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2.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3.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4.xml" ContentType="application/vnd.openxmlformats-officedocument.presentationml.notesSlide+xml"/>
  <Override PartName="/ppt/tags/tag129.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notesSlides/notesSlide6.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7.xml" ContentType="application/vnd.openxmlformats-officedocument.presentationml.notesSlide+xml"/>
  <Override PartName="/ppt/tags/tag138.xml" ContentType="application/vnd.openxmlformats-officedocument.presentationml.tags+xml"/>
  <Override PartName="/ppt/notesSlides/notesSlide8.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9.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notesSlides/notesSlide10.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notesSlides/notesSlide11.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notesSlides/notesSlide12.xml" ContentType="application/vnd.openxmlformats-officedocument.presentationml.notesSlide+xml"/>
  <Override PartName="/ppt/tags/tag174.xml" ContentType="application/vnd.openxmlformats-officedocument.presentationml.tags+xml"/>
  <Override PartName="/ppt/notesSlides/notesSlide13.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16.xml" ContentType="application/vnd.openxmlformats-officedocument.presentationml.notesSlide+xml"/>
  <Override PartName="/ppt/tags/tag19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4"/>
  </p:sldMasterIdLst>
  <p:notesMasterIdLst>
    <p:notesMasterId r:id="rId33"/>
  </p:notesMasterIdLst>
  <p:sldIdLst>
    <p:sldId id="5931" r:id="rId5"/>
    <p:sldId id="5930" r:id="rId6"/>
    <p:sldId id="5888" r:id="rId7"/>
    <p:sldId id="5851" r:id="rId8"/>
    <p:sldId id="4900" r:id="rId9"/>
    <p:sldId id="4944" r:id="rId10"/>
    <p:sldId id="4955" r:id="rId11"/>
    <p:sldId id="4862" r:id="rId12"/>
    <p:sldId id="5793" r:id="rId13"/>
    <p:sldId id="5885" r:id="rId14"/>
    <p:sldId id="5758" r:id="rId15"/>
    <p:sldId id="5884" r:id="rId16"/>
    <p:sldId id="5116" r:id="rId17"/>
    <p:sldId id="4237" r:id="rId18"/>
    <p:sldId id="5184" r:id="rId19"/>
    <p:sldId id="5795" r:id="rId20"/>
    <p:sldId id="5656" r:id="rId21"/>
    <p:sldId id="5132" r:id="rId22"/>
    <p:sldId id="5791" r:id="rId23"/>
    <p:sldId id="5796" r:id="rId24"/>
    <p:sldId id="5182" r:id="rId25"/>
    <p:sldId id="5214" r:id="rId26"/>
    <p:sldId id="5797" r:id="rId27"/>
    <p:sldId id="5886" r:id="rId28"/>
    <p:sldId id="5824" r:id="rId29"/>
    <p:sldId id="5932" r:id="rId30"/>
    <p:sldId id="5649" r:id="rId31"/>
    <p:sldId id="4961" r:id="rId32"/>
  </p:sldIdLst>
  <p:sldSz cx="12192000" cy="6858000"/>
  <p:notesSz cx="6858000" cy="9144000"/>
  <p:custDataLst>
    <p:tags r:id="rId34"/>
  </p:custDataLst>
  <p:defaultTextStyle>
    <a:defPPr>
      <a:defRPr lang="en-US"/>
    </a:defPPr>
    <a:lvl1pPr marL="0" algn="l" defTabSz="914286" rtl="0" eaLnBrk="1" latinLnBrk="0" hangingPunct="1">
      <a:defRPr sz="1900" kern="1200">
        <a:solidFill>
          <a:schemeClr val="tx1"/>
        </a:solidFill>
        <a:latin typeface="+mn-lt"/>
        <a:ea typeface="+mn-ea"/>
        <a:cs typeface="+mn-cs"/>
      </a:defRPr>
    </a:lvl1pPr>
    <a:lvl2pPr marL="457143" algn="l" defTabSz="914286" rtl="0" eaLnBrk="1" latinLnBrk="0" hangingPunct="1">
      <a:defRPr sz="1900" kern="1200">
        <a:solidFill>
          <a:schemeClr val="tx1"/>
        </a:solidFill>
        <a:latin typeface="+mn-lt"/>
        <a:ea typeface="+mn-ea"/>
        <a:cs typeface="+mn-cs"/>
      </a:defRPr>
    </a:lvl2pPr>
    <a:lvl3pPr marL="914286" algn="l" defTabSz="914286" rtl="0" eaLnBrk="1" latinLnBrk="0" hangingPunct="1">
      <a:defRPr sz="1900" kern="1200">
        <a:solidFill>
          <a:schemeClr val="tx1"/>
        </a:solidFill>
        <a:latin typeface="+mn-lt"/>
        <a:ea typeface="+mn-ea"/>
        <a:cs typeface="+mn-cs"/>
      </a:defRPr>
    </a:lvl3pPr>
    <a:lvl4pPr marL="1371430" algn="l" defTabSz="914286" rtl="0" eaLnBrk="1" latinLnBrk="0" hangingPunct="1">
      <a:defRPr sz="1900" kern="1200">
        <a:solidFill>
          <a:schemeClr val="tx1"/>
        </a:solidFill>
        <a:latin typeface="+mn-lt"/>
        <a:ea typeface="+mn-ea"/>
        <a:cs typeface="+mn-cs"/>
      </a:defRPr>
    </a:lvl4pPr>
    <a:lvl5pPr marL="1828573" algn="l" defTabSz="914286" rtl="0" eaLnBrk="1" latinLnBrk="0" hangingPunct="1">
      <a:defRPr sz="1900" kern="1200">
        <a:solidFill>
          <a:schemeClr val="tx1"/>
        </a:solidFill>
        <a:latin typeface="+mn-lt"/>
        <a:ea typeface="+mn-ea"/>
        <a:cs typeface="+mn-cs"/>
      </a:defRPr>
    </a:lvl5pPr>
    <a:lvl6pPr marL="2285718" algn="l" defTabSz="914286" rtl="0" eaLnBrk="1" latinLnBrk="0" hangingPunct="1">
      <a:defRPr sz="1900" kern="1200">
        <a:solidFill>
          <a:schemeClr val="tx1"/>
        </a:solidFill>
        <a:latin typeface="+mn-lt"/>
        <a:ea typeface="+mn-ea"/>
        <a:cs typeface="+mn-cs"/>
      </a:defRPr>
    </a:lvl6pPr>
    <a:lvl7pPr marL="2742858" algn="l" defTabSz="914286" rtl="0" eaLnBrk="1" latinLnBrk="0" hangingPunct="1">
      <a:defRPr sz="1900" kern="1200">
        <a:solidFill>
          <a:schemeClr val="tx1"/>
        </a:solidFill>
        <a:latin typeface="+mn-lt"/>
        <a:ea typeface="+mn-ea"/>
        <a:cs typeface="+mn-cs"/>
      </a:defRPr>
    </a:lvl7pPr>
    <a:lvl8pPr marL="3200000" algn="l" defTabSz="914286" rtl="0" eaLnBrk="1" latinLnBrk="0" hangingPunct="1">
      <a:defRPr sz="1900" kern="1200">
        <a:solidFill>
          <a:schemeClr val="tx1"/>
        </a:solidFill>
        <a:latin typeface="+mn-lt"/>
        <a:ea typeface="+mn-ea"/>
        <a:cs typeface="+mn-cs"/>
      </a:defRPr>
    </a:lvl8pPr>
    <a:lvl9pPr marL="3657143" algn="l" defTabSz="91428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vian Verberne" initials="VV" lastIdx="1" clrIdx="0"/>
  <p:cmAuthor id="2" name="Ligthart, CSM (Catharine)" initials="LC(" lastIdx="6" clrIdx="1"/>
  <p:cmAuthor id="3" name="Wouter" initials="W" lastIdx="5" clrIdx="2">
    <p:extLst>
      <p:ext uri="{19B8F6BF-5375-455C-9EA6-DF929625EA0E}">
        <p15:presenceInfo xmlns:p15="http://schemas.microsoft.com/office/powerpoint/2012/main" userId="Wouter" providerId="None"/>
      </p:ext>
    </p:extLst>
  </p:cmAuthor>
  <p:cmAuthor id="4" name="Drost, LA (Lile)" initials="DL(" lastIdx="26" clrIdx="3">
    <p:extLst>
      <p:ext uri="{19B8F6BF-5375-455C-9EA6-DF929625EA0E}">
        <p15:presenceInfo xmlns:p15="http://schemas.microsoft.com/office/powerpoint/2012/main" userId="S::lile.drost@zilverenkruis.nl::7cc8770a-488f-49ea-adc3-02571a1322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050"/>
    <a:srgbClr val="0C92B6"/>
    <a:srgbClr val="FFFFFF"/>
    <a:srgbClr val="E6F7FB"/>
    <a:srgbClr val="E0F5FF"/>
    <a:srgbClr val="F5E6FA"/>
    <a:srgbClr val="E8C5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B3C4F50-5DBE-07E4-772C-0BECF0E2DDB3}" v="54" dt="2020-12-10T20:28:55.861"/>
    <p1510:client id="{288EA259-6AF4-D426-402C-EAF5F620BB46}" v="93" dt="2020-12-09T11:40:15.837"/>
    <p1510:client id="{3669CF28-8F44-4F24-9D72-25632CD41CCB}" v="295" dt="2020-12-09T12:16:03.575"/>
    <p1510:client id="{996505E1-A517-9D91-0A64-60B83FEADABF}" v="4" dt="2021-01-04T14:57:42.575"/>
    <p1510:client id="{EE9384EF-C5C6-EC4F-A94D-327BE8B71F48}" v="2456" dt="2020-12-09T12:23:58.061"/>
    <p1510:client id="{FE0DD09D-17AC-F1A9-FF74-3FB2AE5C1846}" v="34" dt="2020-12-10T07:17:51.893"/>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930"/>
    <p:restoredTop sz="94640"/>
  </p:normalViewPr>
  <p:slideViewPr>
    <p:cSldViewPr snapToGrid="0">
      <p:cViewPr varScale="1">
        <p:scale>
          <a:sx n="95" d="100"/>
          <a:sy n="95" d="100"/>
        </p:scale>
        <p:origin x="480" y="32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werkblad.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Gewenste contractgrootte Vierstroom</c:v>
                </c:pt>
              </c:strCache>
            </c:strRef>
          </c:tx>
          <c:spPr>
            <a:ln w="12700">
              <a:solidFill>
                <a:schemeClr val="bg1"/>
              </a:solidFill>
            </a:ln>
          </c:spPr>
          <c:dPt>
            <c:idx val="0"/>
            <c:bubble3D val="0"/>
            <c:spPr>
              <a:solidFill>
                <a:schemeClr val="accent5"/>
              </a:solidFill>
              <a:ln w="12700">
                <a:solidFill>
                  <a:schemeClr val="bg1"/>
                </a:solidFill>
              </a:ln>
            </c:spPr>
            <c:extLst>
              <c:ext xmlns:c16="http://schemas.microsoft.com/office/drawing/2014/chart" uri="{C3380CC4-5D6E-409C-BE32-E72D297353CC}">
                <c16:uniqueId val="{00000001-E374-4786-B129-099093C3C76D}"/>
              </c:ext>
            </c:extLst>
          </c:dPt>
          <c:dLbls>
            <c:dLbl>
              <c:idx val="0"/>
              <c:layout>
                <c:manualLayout>
                  <c:x val="-6.9753506397637791E-2"/>
                  <c:y val="0.12020262547966133"/>
                </c:manualLayout>
              </c:layout>
              <c:tx>
                <c:rich>
                  <a:bodyPr/>
                  <a:lstStyle/>
                  <a:p>
                    <a:r>
                      <a:rPr lang="en-US" b="1">
                        <a:solidFill>
                          <a:schemeClr val="bg1"/>
                        </a:solidFill>
                      </a:rPr>
                      <a:t>15%</a:t>
                    </a:r>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E374-4786-B129-099093C3C76D}"/>
                </c:ext>
              </c:extLst>
            </c:dLbl>
            <c:dLbl>
              <c:idx val="1"/>
              <c:layout>
                <c:manualLayout>
                  <c:x val="-9.5698757381889765E-2"/>
                  <c:y val="1.2297673948223797E-2"/>
                </c:manualLayout>
              </c:layout>
              <c:tx>
                <c:rich>
                  <a:bodyPr/>
                  <a:lstStyle/>
                  <a:p>
                    <a:r>
                      <a:rPr lang="en-US" b="1">
                        <a:solidFill>
                          <a:schemeClr val="bg1"/>
                        </a:solidFill>
                      </a:rPr>
                      <a:t>17%</a:t>
                    </a:r>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2-E374-4786-B129-099093C3C76D}"/>
                </c:ext>
              </c:extLst>
            </c:dLbl>
            <c:dLbl>
              <c:idx val="2"/>
              <c:layout>
                <c:manualLayout>
                  <c:x val="0.10390618848425197"/>
                  <c:y val="-9.2818953443715949E-2"/>
                </c:manualLayout>
              </c:layout>
              <c:tx>
                <c:rich>
                  <a:bodyPr/>
                  <a:lstStyle/>
                  <a:p>
                    <a:r>
                      <a:rPr lang="en-US" b="1">
                        <a:solidFill>
                          <a:schemeClr val="bg1"/>
                        </a:solidFill>
                      </a:rPr>
                      <a:t>68%</a:t>
                    </a:r>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E374-4786-B129-099093C3C76D}"/>
                </c:ext>
              </c:extLst>
            </c:dLbl>
            <c:spPr>
              <a:noFill/>
              <a:ln>
                <a:noFill/>
              </a:ln>
              <a:effectLst/>
            </c:spPr>
            <c:showLegendKey val="0"/>
            <c:showVal val="0"/>
            <c:showCatName val="0"/>
            <c:showSerName val="0"/>
            <c:showPercent val="1"/>
            <c:showBubbleSize val="0"/>
            <c:showLeaderLines val="1"/>
            <c:extLst>
              <c:ext xmlns:c15="http://schemas.microsoft.com/office/drawing/2012/chart" uri="{CE6537A1-D6FC-4f65-9D91-7224C49458BB}"/>
            </c:extLst>
          </c:dLbls>
          <c:cat>
            <c:strRef>
              <c:f>Sheet1!$A$2:$A$4</c:f>
              <c:strCache>
                <c:ptCount val="3"/>
                <c:pt idx="0">
                  <c:v>Sowieso meer werk</c:v>
                </c:pt>
                <c:pt idx="1">
                  <c:v>Sowieso niet meer werken</c:v>
                </c:pt>
                <c:pt idx="2">
                  <c:v>Misschien meer werken</c:v>
                </c:pt>
              </c:strCache>
            </c:strRef>
          </c:cat>
          <c:val>
            <c:numRef>
              <c:f>Sheet1!$B$2:$B$4</c:f>
              <c:numCache>
                <c:formatCode>General</c:formatCode>
                <c:ptCount val="3"/>
                <c:pt idx="0">
                  <c:v>32</c:v>
                </c:pt>
                <c:pt idx="1">
                  <c:v>35</c:v>
                </c:pt>
                <c:pt idx="2">
                  <c:v>141</c:v>
                </c:pt>
              </c:numCache>
            </c:numRef>
          </c:val>
          <c:extLst>
            <c:ext xmlns:c16="http://schemas.microsoft.com/office/drawing/2014/chart" uri="{C3380CC4-5D6E-409C-BE32-E72D297353CC}">
              <c16:uniqueId val="{00000004-E374-4786-B129-099093C3C76D}"/>
            </c:ext>
          </c:extLst>
        </c:ser>
        <c:dLbls>
          <c:showLegendKey val="0"/>
          <c:showVal val="0"/>
          <c:showCatName val="0"/>
          <c:showSerName val="0"/>
          <c:showPercent val="1"/>
          <c:showBubbleSize val="0"/>
          <c:showLeaderLines val="1"/>
        </c:dLbls>
        <c:firstSliceAng val="0"/>
      </c:pieChart>
    </c:plotArea>
    <c:plotVisOnly val="1"/>
    <c:dispBlanksAs val="gap"/>
    <c:showDLblsOverMax val="0"/>
  </c:chart>
  <c:txPr>
    <a:bodyPr/>
    <a:lstStyle/>
    <a:p>
      <a:pPr>
        <a:defRPr sz="1800"/>
      </a:pPr>
      <a:endParaRPr lang="nl-NL"/>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E6AF09-45C4-4BC4-8A1E-B6988D130B30}" type="datetimeFigureOut">
              <a:rPr lang="en-GB" smtClean="0"/>
              <a:t>09/02/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66C64E-7AAD-4A31-8666-BA1E51D8AFC0}" type="slidenum">
              <a:rPr lang="en-GB" smtClean="0"/>
              <a:t>‹nr.›</a:t>
            </a:fld>
            <a:endParaRPr lang="en-GB"/>
          </a:p>
        </p:txBody>
      </p:sp>
    </p:spTree>
    <p:extLst>
      <p:ext uri="{BB962C8B-B14F-4D97-AF65-F5344CB8AC3E}">
        <p14:creationId xmlns:p14="http://schemas.microsoft.com/office/powerpoint/2010/main" val="929771549"/>
      </p:ext>
    </p:extLst>
  </p:cSld>
  <p:clrMap bg1="lt1" tx1="dk1" bg2="lt2" tx2="dk2" accent1="accent1" accent2="accent2" accent3="accent3" accent4="accent4" accent5="accent5" accent6="accent6" hlink="hlink" folHlink="folHlink"/>
  <p:notesStyle>
    <a:lvl1pPr marL="0" algn="l" defTabSz="914286" rtl="0" eaLnBrk="1" latinLnBrk="0" hangingPunct="1">
      <a:defRPr sz="1200" kern="1200">
        <a:solidFill>
          <a:schemeClr val="tx1"/>
        </a:solidFill>
        <a:latin typeface="+mn-lt"/>
        <a:ea typeface="+mn-ea"/>
        <a:cs typeface="+mn-cs"/>
      </a:defRPr>
    </a:lvl1pPr>
    <a:lvl2pPr marL="457143" algn="l" defTabSz="914286" rtl="0" eaLnBrk="1" latinLnBrk="0" hangingPunct="1">
      <a:defRPr sz="1200" kern="1200">
        <a:solidFill>
          <a:schemeClr val="tx1"/>
        </a:solidFill>
        <a:latin typeface="+mn-lt"/>
        <a:ea typeface="+mn-ea"/>
        <a:cs typeface="+mn-cs"/>
      </a:defRPr>
    </a:lvl2pPr>
    <a:lvl3pPr marL="914286" algn="l" defTabSz="914286" rtl="0" eaLnBrk="1" latinLnBrk="0" hangingPunct="1">
      <a:defRPr sz="1200" kern="1200">
        <a:solidFill>
          <a:schemeClr val="tx1"/>
        </a:solidFill>
        <a:latin typeface="+mn-lt"/>
        <a:ea typeface="+mn-ea"/>
        <a:cs typeface="+mn-cs"/>
      </a:defRPr>
    </a:lvl3pPr>
    <a:lvl4pPr marL="1371430" algn="l" defTabSz="914286" rtl="0" eaLnBrk="1" latinLnBrk="0" hangingPunct="1">
      <a:defRPr sz="1200" kern="1200">
        <a:solidFill>
          <a:schemeClr val="tx1"/>
        </a:solidFill>
        <a:latin typeface="+mn-lt"/>
        <a:ea typeface="+mn-ea"/>
        <a:cs typeface="+mn-cs"/>
      </a:defRPr>
    </a:lvl4pPr>
    <a:lvl5pPr marL="1828573" algn="l" defTabSz="914286" rtl="0" eaLnBrk="1" latinLnBrk="0" hangingPunct="1">
      <a:defRPr sz="1200" kern="1200">
        <a:solidFill>
          <a:schemeClr val="tx1"/>
        </a:solidFill>
        <a:latin typeface="+mn-lt"/>
        <a:ea typeface="+mn-ea"/>
        <a:cs typeface="+mn-cs"/>
      </a:defRPr>
    </a:lvl5pPr>
    <a:lvl6pPr marL="2285718" algn="l" defTabSz="914286" rtl="0" eaLnBrk="1" latinLnBrk="0" hangingPunct="1">
      <a:defRPr sz="1200" kern="1200">
        <a:solidFill>
          <a:schemeClr val="tx1"/>
        </a:solidFill>
        <a:latin typeface="+mn-lt"/>
        <a:ea typeface="+mn-ea"/>
        <a:cs typeface="+mn-cs"/>
      </a:defRPr>
    </a:lvl6pPr>
    <a:lvl7pPr marL="2742858" algn="l" defTabSz="914286" rtl="0" eaLnBrk="1" latinLnBrk="0" hangingPunct="1">
      <a:defRPr sz="1200" kern="1200">
        <a:solidFill>
          <a:schemeClr val="tx1"/>
        </a:solidFill>
        <a:latin typeface="+mn-lt"/>
        <a:ea typeface="+mn-ea"/>
        <a:cs typeface="+mn-cs"/>
      </a:defRPr>
    </a:lvl7pPr>
    <a:lvl8pPr marL="3200000" algn="l" defTabSz="914286" rtl="0" eaLnBrk="1" latinLnBrk="0" hangingPunct="1">
      <a:defRPr sz="1200" kern="1200">
        <a:solidFill>
          <a:schemeClr val="tx1"/>
        </a:solidFill>
        <a:latin typeface="+mn-lt"/>
        <a:ea typeface="+mn-ea"/>
        <a:cs typeface="+mn-cs"/>
      </a:defRPr>
    </a:lvl8pPr>
    <a:lvl9pPr marL="3657143" algn="l" defTabSz="91428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3B0FF669-0A29-4E29-88E5-4DEB0202903D}" type="slidenum">
              <a:rPr lang="nl-NL" smtClean="0"/>
              <a:t>2</a:t>
            </a:fld>
            <a:endParaRPr lang="nl-NL"/>
          </a:p>
        </p:txBody>
      </p:sp>
    </p:spTree>
    <p:extLst>
      <p:ext uri="{BB962C8B-B14F-4D97-AF65-F5344CB8AC3E}">
        <p14:creationId xmlns:p14="http://schemas.microsoft.com/office/powerpoint/2010/main" val="30017062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DD66C64E-7AAD-4A31-8666-BA1E51D8AFC0}" type="slidenum">
              <a:rPr lang="en-GB" smtClean="0"/>
              <a:t>13</a:t>
            </a:fld>
            <a:endParaRPr lang="en-GB"/>
          </a:p>
        </p:txBody>
      </p:sp>
    </p:spTree>
    <p:extLst>
      <p:ext uri="{BB962C8B-B14F-4D97-AF65-F5344CB8AC3E}">
        <p14:creationId xmlns:p14="http://schemas.microsoft.com/office/powerpoint/2010/main" val="7798361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DD66C64E-7AAD-4A31-8666-BA1E51D8AFC0}" type="slidenum">
              <a:rPr lang="en-GB" smtClean="0"/>
              <a:t>15</a:t>
            </a:fld>
            <a:endParaRPr lang="en-GB"/>
          </a:p>
        </p:txBody>
      </p:sp>
    </p:spTree>
    <p:extLst>
      <p:ext uri="{BB962C8B-B14F-4D97-AF65-F5344CB8AC3E}">
        <p14:creationId xmlns:p14="http://schemas.microsoft.com/office/powerpoint/2010/main" val="18422927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8913" y="530225"/>
            <a:ext cx="6411912" cy="3606800"/>
          </a:xfrm>
        </p:spPr>
      </p:sp>
      <p:sp>
        <p:nvSpPr>
          <p:cNvPr id="3" name="Notes Placeholder 2"/>
          <p:cNvSpPr>
            <a:spLocks noGrp="1"/>
          </p:cNvSpPr>
          <p:nvPr>
            <p:ph type="body" idx="1"/>
          </p:nvPr>
        </p:nvSpPr>
        <p:spPr>
          <a:xfrm>
            <a:off x="545976" y="5304980"/>
            <a:ext cx="5745397" cy="246221"/>
          </a:xfrm>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3A632B-FBDE-46D4-BF6F-6D14421E6342}"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8320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pPr>
              <a:defRPr/>
            </a:pPr>
            <a:fld id="{3C3A632B-FBDE-46D4-BF6F-6D14421E6342}" type="slidenum">
              <a:rPr lang="nl-NL" smtClean="0"/>
              <a:pPr>
                <a:defRPr/>
              </a:pPr>
              <a:t>18</a:t>
            </a:fld>
            <a:endParaRPr lang="nl-NL"/>
          </a:p>
        </p:txBody>
      </p:sp>
    </p:spTree>
    <p:extLst>
      <p:ext uri="{BB962C8B-B14F-4D97-AF65-F5344CB8AC3E}">
        <p14:creationId xmlns:p14="http://schemas.microsoft.com/office/powerpoint/2010/main" val="22594671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8913" y="530225"/>
            <a:ext cx="6411912" cy="3606800"/>
          </a:xfrm>
        </p:spPr>
      </p:sp>
      <p:sp>
        <p:nvSpPr>
          <p:cNvPr id="3" name="Notes Placeholder 2"/>
          <p:cNvSpPr>
            <a:spLocks noGrp="1"/>
          </p:cNvSpPr>
          <p:nvPr>
            <p:ph type="body" idx="1"/>
          </p:nvPr>
        </p:nvSpPr>
        <p:spPr>
          <a:xfrm>
            <a:off x="545976" y="5304980"/>
            <a:ext cx="5745397" cy="246221"/>
          </a:xfrm>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3A632B-FBDE-46D4-BF6F-6D14421E6342}"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35834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D80A43E6-F665-4EA4-8B86-4F95E5107B0E}" type="slidenum">
              <a:rPr lang="nl-NL" smtClean="0"/>
              <a:t>22</a:t>
            </a:fld>
            <a:endParaRPr lang="nl-NL"/>
          </a:p>
        </p:txBody>
      </p:sp>
    </p:spTree>
    <p:extLst>
      <p:ext uri="{BB962C8B-B14F-4D97-AF65-F5344CB8AC3E}">
        <p14:creationId xmlns:p14="http://schemas.microsoft.com/office/powerpoint/2010/main" val="24033991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8913" y="530225"/>
            <a:ext cx="6411912" cy="3606800"/>
          </a:xfrm>
        </p:spPr>
      </p:sp>
      <p:sp>
        <p:nvSpPr>
          <p:cNvPr id="3" name="Notes Placeholder 2"/>
          <p:cNvSpPr>
            <a:spLocks noGrp="1"/>
          </p:cNvSpPr>
          <p:nvPr>
            <p:ph type="body" idx="1"/>
          </p:nvPr>
        </p:nvSpPr>
        <p:spPr>
          <a:xfrm>
            <a:off x="545976" y="5304980"/>
            <a:ext cx="5745397" cy="246221"/>
          </a:xfrm>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3A632B-FBDE-46D4-BF6F-6D14421E6342}"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45017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DD66C64E-7AAD-4A31-8666-BA1E51D8AFC0}" type="slidenum">
              <a:rPr lang="en-GB" smtClean="0"/>
              <a:t>24</a:t>
            </a:fld>
            <a:endParaRPr lang="en-GB"/>
          </a:p>
        </p:txBody>
      </p:sp>
    </p:spTree>
    <p:extLst>
      <p:ext uri="{BB962C8B-B14F-4D97-AF65-F5344CB8AC3E}">
        <p14:creationId xmlns:p14="http://schemas.microsoft.com/office/powerpoint/2010/main" val="38143123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3B0FF669-0A29-4E29-88E5-4DEB0202903D}" type="slidenum">
              <a:rPr lang="nl-NL" smtClean="0"/>
              <a:t>25</a:t>
            </a:fld>
            <a:endParaRPr lang="nl-NL"/>
          </a:p>
        </p:txBody>
      </p:sp>
    </p:spTree>
    <p:extLst>
      <p:ext uri="{BB962C8B-B14F-4D97-AF65-F5344CB8AC3E}">
        <p14:creationId xmlns:p14="http://schemas.microsoft.com/office/powerpoint/2010/main" val="658716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3B0FF669-0A29-4E29-88E5-4DEB0202903D}" type="slidenum">
              <a:rPr lang="nl-NL" smtClean="0"/>
              <a:t>26</a:t>
            </a:fld>
            <a:endParaRPr lang="nl-NL"/>
          </a:p>
        </p:txBody>
      </p:sp>
    </p:spTree>
    <p:extLst>
      <p:ext uri="{BB962C8B-B14F-4D97-AF65-F5344CB8AC3E}">
        <p14:creationId xmlns:p14="http://schemas.microsoft.com/office/powerpoint/2010/main" val="658716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8913" y="530225"/>
            <a:ext cx="6411912" cy="3606800"/>
          </a:xfrm>
        </p:spPr>
      </p:sp>
      <p:sp>
        <p:nvSpPr>
          <p:cNvPr id="3" name="Notes Placeholder 2"/>
          <p:cNvSpPr>
            <a:spLocks noGrp="1"/>
          </p:cNvSpPr>
          <p:nvPr>
            <p:ph type="body" idx="1"/>
          </p:nvPr>
        </p:nvSpPr>
        <p:spPr>
          <a:xfrm>
            <a:off x="545976" y="5304980"/>
            <a:ext cx="5745397" cy="246221"/>
          </a:xfrm>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3A632B-FBDE-46D4-BF6F-6D14421E6342}"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46956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nl-NL" sz="11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nl-NL" sz="11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2800641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2400" y="530225"/>
            <a:ext cx="6411913" cy="3606800"/>
          </a:xfrm>
        </p:spPr>
      </p:sp>
      <p:sp>
        <p:nvSpPr>
          <p:cNvPr id="3" name="Notes Placeholder 2"/>
          <p:cNvSpPr>
            <a:spLocks noGrp="1"/>
          </p:cNvSpPr>
          <p:nvPr>
            <p:ph type="body" idx="1"/>
          </p:nvPr>
        </p:nvSpPr>
        <p:spPr>
          <a:xfrm>
            <a:off x="540059" y="5304977"/>
            <a:ext cx="5683168" cy="246221"/>
          </a:xfrm>
        </p:spPr>
        <p:txBody>
          <a:bodyPr/>
          <a:lstStyle/>
          <a:p>
            <a:endParaRPr/>
          </a:p>
        </p:txBody>
      </p:sp>
      <p:sp>
        <p:nvSpPr>
          <p:cNvPr id="4" name="Slide Number Placeholder 3"/>
          <p:cNvSpPr>
            <a:spLocks noGrp="1"/>
          </p:cNvSpPr>
          <p:nvPr>
            <p:ph type="sldNum" sz="quarter" idx="5"/>
          </p:nvPr>
        </p:nvSpPr>
        <p:spPr/>
        <p:txBody>
          <a:bodyPr/>
          <a:lstStyle/>
          <a:p>
            <a:pPr>
              <a:defRPr/>
            </a:pPr>
            <a:fld id="{3C3A632B-FBDE-46D4-BF6F-6D14421E6342}" type="slidenum">
              <a:rPr lang="en-US" smtClean="0"/>
              <a:pPr>
                <a:defRPr/>
              </a:pPr>
              <a:t>6</a:t>
            </a:fld>
            <a:endParaRPr lang="en-US"/>
          </a:p>
        </p:txBody>
      </p:sp>
    </p:spTree>
    <p:extLst>
      <p:ext uri="{BB962C8B-B14F-4D97-AF65-F5344CB8AC3E}">
        <p14:creationId xmlns:p14="http://schemas.microsoft.com/office/powerpoint/2010/main" val="13738487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1138" y="549275"/>
            <a:ext cx="6650037" cy="3740150"/>
          </a:xfrm>
        </p:spPr>
      </p:sp>
      <p:sp>
        <p:nvSpPr>
          <p:cNvPr id="3" name="Notes Placeholder 2"/>
          <p:cNvSpPr>
            <a:spLocks noGrp="1"/>
          </p:cNvSpPr>
          <p:nvPr>
            <p:ph type="body" idx="1"/>
          </p:nvPr>
        </p:nvSpPr>
        <p:spPr>
          <a:xfrm>
            <a:off x="568670" y="5499468"/>
            <a:ext cx="5984254" cy="246221"/>
          </a:xfrm>
        </p:spPr>
        <p:txBody>
          <a:bodyPr/>
          <a:lstStyle/>
          <a:p>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nl-NL"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nl-NL"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7173711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573088"/>
            <a:ext cx="6924676" cy="3895725"/>
          </a:xfrm>
        </p:spPr>
      </p:sp>
      <p:sp>
        <p:nvSpPr>
          <p:cNvPr id="3" name="Notes Placeholder 2"/>
          <p:cNvSpPr>
            <a:spLocks noGrp="1"/>
          </p:cNvSpPr>
          <p:nvPr>
            <p:ph type="body" idx="1"/>
          </p:nvPr>
        </p:nvSpPr>
        <p:spPr>
          <a:xfrm>
            <a:off x="530939" y="5729564"/>
            <a:ext cx="5587132" cy="265927"/>
          </a:xfrm>
        </p:spPr>
        <p:txBody>
          <a:bodyPr/>
          <a:lstStyle/>
          <a:p>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3A632B-FBDE-46D4-BF6F-6D14421E6342}"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26748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8913" y="530225"/>
            <a:ext cx="6411912" cy="3606800"/>
          </a:xfrm>
        </p:spPr>
      </p:sp>
      <p:sp>
        <p:nvSpPr>
          <p:cNvPr id="3" name="Notes Placeholder 2"/>
          <p:cNvSpPr>
            <a:spLocks noGrp="1"/>
          </p:cNvSpPr>
          <p:nvPr>
            <p:ph type="body" idx="1"/>
          </p:nvPr>
        </p:nvSpPr>
        <p:spPr>
          <a:xfrm>
            <a:off x="545976" y="5304980"/>
            <a:ext cx="5745397" cy="246221"/>
          </a:xfrm>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3A632B-FBDE-46D4-BF6F-6D14421E6342}"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10957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a:t>
            </a:r>
          </a:p>
        </p:txBody>
      </p:sp>
      <p:sp>
        <p:nvSpPr>
          <p:cNvPr id="4" name="Tijdelijke aanduiding voor dianummer 3"/>
          <p:cNvSpPr>
            <a:spLocks noGrp="1"/>
          </p:cNvSpPr>
          <p:nvPr>
            <p:ph type="sldNum" sz="quarter" idx="5"/>
          </p:nvPr>
        </p:nvSpPr>
        <p:spPr/>
        <p:txBody>
          <a:bodyPr/>
          <a:lstStyle/>
          <a:p>
            <a:fld id="{B047F753-1A78-614A-9C9B-A42E6B6AF9C2}" type="slidenum">
              <a:rPr lang="en-US" smtClean="0"/>
              <a:t>10</a:t>
            </a:fld>
            <a:endParaRPr lang="en-US"/>
          </a:p>
        </p:txBody>
      </p:sp>
    </p:spTree>
    <p:extLst>
      <p:ext uri="{BB962C8B-B14F-4D97-AF65-F5344CB8AC3E}">
        <p14:creationId xmlns:p14="http://schemas.microsoft.com/office/powerpoint/2010/main" val="34523123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046A14-AE41-5349-8A36-E519D300B7A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492055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70.xml"/><Relationship Id="rId7" Type="http://schemas.openxmlformats.org/officeDocument/2006/relationships/image" Target="../media/image3.png"/><Relationship Id="rId2" Type="http://schemas.openxmlformats.org/officeDocument/2006/relationships/tags" Target="../tags/tag69.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72.xml"/><Relationship Id="rId4" Type="http://schemas.openxmlformats.org/officeDocument/2006/relationships/tags" Target="../tags/tag71.xml"/><Relationship Id="rId9"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4.xml"/><Relationship Id="rId7" Type="http://schemas.openxmlformats.org/officeDocument/2006/relationships/oleObject" Target="../embeddings/oleObject3.bin"/><Relationship Id="rId2" Type="http://schemas.openxmlformats.org/officeDocument/2006/relationships/tags" Target="../tags/tag73.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76.xml"/><Relationship Id="rId4" Type="http://schemas.openxmlformats.org/officeDocument/2006/relationships/tags" Target="../tags/tag75.xml"/><Relationship Id="rId9"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78.xml"/><Relationship Id="rId7" Type="http://schemas.openxmlformats.org/officeDocument/2006/relationships/image" Target="../media/image5.png"/><Relationship Id="rId2" Type="http://schemas.openxmlformats.org/officeDocument/2006/relationships/tags" Target="../tags/tag77.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80.xml"/><Relationship Id="rId4" Type="http://schemas.openxmlformats.org/officeDocument/2006/relationships/tags" Target="../tags/tag79.xml"/><Relationship Id="rId9"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90.xml"/><Relationship Id="rId7"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vmlDrawing" Target="../drawings/vmlDrawing9.vml"/><Relationship Id="rId6" Type="http://schemas.openxmlformats.org/officeDocument/2006/relationships/tags" Target="../tags/tag93.xml"/><Relationship Id="rId5" Type="http://schemas.openxmlformats.org/officeDocument/2006/relationships/tags" Target="../tags/tag92.xml"/><Relationship Id="rId4" Type="http://schemas.openxmlformats.org/officeDocument/2006/relationships/tags" Target="../tags/tag91.xml"/><Relationship Id="rId9"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95.xml"/><Relationship Id="rId7" Type="http://schemas.openxmlformats.org/officeDocument/2006/relationships/slideMaster" Target="../slideMasters/slideMaster1.xml"/><Relationship Id="rId2" Type="http://schemas.openxmlformats.org/officeDocument/2006/relationships/tags" Target="../tags/tag94.xml"/><Relationship Id="rId1" Type="http://schemas.openxmlformats.org/officeDocument/2006/relationships/vmlDrawing" Target="../drawings/vmlDrawing10.vml"/><Relationship Id="rId6" Type="http://schemas.openxmlformats.org/officeDocument/2006/relationships/tags" Target="../tags/tag98.xml"/><Relationship Id="rId5" Type="http://schemas.openxmlformats.org/officeDocument/2006/relationships/tags" Target="../tags/tag97.xml"/><Relationship Id="rId4" Type="http://schemas.openxmlformats.org/officeDocument/2006/relationships/tags" Target="../tags/tag96.xml"/><Relationship Id="rId9"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6" name="Afbeelding 5" descr="Afbeelding met plein&#10;&#10;Automatisch gegenereerde beschrijving">
            <a:extLst>
              <a:ext uri="{FF2B5EF4-FFF2-40B4-BE49-F238E27FC236}">
                <a16:creationId xmlns:a16="http://schemas.microsoft.com/office/drawing/2014/main" id="{DB591B04-25CD-3845-9E23-8622158F5B7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00990" y="3469430"/>
            <a:ext cx="2656850" cy="2888360"/>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spid="_x0000_s2050" name="think-cell Slide" r:id="rId8" imgW="359" imgH="358" progId="TCLayout.ActiveDocument.1">
                  <p:embed/>
                </p:oleObj>
              </mc:Choice>
              <mc:Fallback>
                <p:oleObj name="think-cell Slide" r:id="rId8" imgW="359" imgH="358" progId="TCLayout.ActiveDocument.1">
                  <p:embed/>
                  <p:pic>
                    <p:nvPicPr>
                      <p:cNvPr id="2" name="Object 1" hidden="1"/>
                      <p:cNvPicPr/>
                      <p:nvPr/>
                    </p:nvPicPr>
                    <p:blipFill>
                      <a:blip r:embed="rId9"/>
                      <a:stretch>
                        <a:fillRect/>
                      </a:stretch>
                    </p:blipFill>
                    <p:spPr>
                      <a:xfrm>
                        <a:off x="1622" y="1622"/>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0A8022C-FCF5-4321-A142-BB77692D2905}"/>
              </a:ext>
            </a:extLst>
          </p:cNvPr>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4489"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8" name="Date" hidden="1">
            <a:extLst>
              <a:ext uri="{FF2B5EF4-FFF2-40B4-BE49-F238E27FC236}">
                <a16:creationId xmlns:a16="http://schemas.microsoft.com/office/drawing/2014/main" id="{C5D91C98-91AE-477E-AB5B-7A8EA5E64DEB}"/>
              </a:ext>
            </a:extLst>
          </p:cNvPr>
          <p:cNvSpPr txBox="1">
            <a:spLocks noChangeArrowheads="1"/>
          </p:cNvSpPr>
          <p:nvPr userDrawn="1"/>
        </p:nvSpPr>
        <p:spPr bwMode="gray">
          <a:xfrm>
            <a:off x="5241545" y="4236935"/>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nl-NL" sz="1400">
                <a:latin typeface="+mn-lt"/>
                <a:ea typeface="+mn-ea"/>
                <a:sym typeface="+mn-lt"/>
              </a:rPr>
              <a:t>Datum </a:t>
            </a:r>
          </a:p>
        </p:txBody>
      </p:sp>
      <p:sp>
        <p:nvSpPr>
          <p:cNvPr id="11" name="Document type" hidden="1">
            <a:extLst>
              <a:ext uri="{FF2B5EF4-FFF2-40B4-BE49-F238E27FC236}">
                <a16:creationId xmlns:a16="http://schemas.microsoft.com/office/drawing/2014/main" id="{676C88BA-1FB4-47A1-95B6-78FCBEAC46A0}"/>
              </a:ext>
            </a:extLst>
          </p:cNvPr>
          <p:cNvSpPr txBox="1">
            <a:spLocks noChangeArrowheads="1"/>
          </p:cNvSpPr>
          <p:nvPr userDrawn="1"/>
        </p:nvSpPr>
        <p:spPr bwMode="gray">
          <a:xfrm>
            <a:off x="5241545" y="3963197"/>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nl-NL" sz="1400">
                <a:latin typeface="+mn-lt"/>
                <a:ea typeface="+mn-ea"/>
                <a:sym typeface="+mn-lt"/>
              </a:rPr>
              <a:t>Documenttype </a:t>
            </a:r>
          </a:p>
        </p:txBody>
      </p:sp>
      <p:sp>
        <p:nvSpPr>
          <p:cNvPr id="9" name="Title">
            <a:extLst>
              <a:ext uri="{FF2B5EF4-FFF2-40B4-BE49-F238E27FC236}">
                <a16:creationId xmlns:a16="http://schemas.microsoft.com/office/drawing/2014/main" id="{18C39C5E-E955-4292-A1EE-42C1DB267787}"/>
              </a:ext>
            </a:extLst>
          </p:cNvPr>
          <p:cNvSpPr>
            <a:spLocks noGrp="1"/>
          </p:cNvSpPr>
          <p:nvPr>
            <p:ph type="ctrTitle" hasCustomPrompt="1"/>
            <p:custDataLst>
              <p:tags r:id="rId4"/>
            </p:custDataLst>
          </p:nvPr>
        </p:nvSpPr>
        <p:spPr>
          <a:xfrm>
            <a:off x="4414048" y="2546003"/>
            <a:ext cx="7361972" cy="1354217"/>
          </a:xfrm>
        </p:spPr>
        <p:txBody>
          <a:bodyPr anchor="b"/>
          <a:lstStyle>
            <a:lvl1pPr>
              <a:defRPr sz="4400"/>
            </a:lvl1pPr>
          </a:lstStyle>
          <a:p>
            <a:r>
              <a:rPr lang="nl-NL" sz="4489" noProof="0"/>
              <a:t>Click </a:t>
            </a:r>
            <a:r>
              <a:rPr lang="nl-NL" sz="4489" noProof="0" err="1"/>
              <a:t>to</a:t>
            </a:r>
            <a:r>
              <a:rPr lang="nl-NL" sz="4489" noProof="0"/>
              <a:t> </a:t>
            </a:r>
            <a:r>
              <a:rPr lang="nl-NL" sz="4489" noProof="0" err="1"/>
              <a:t>edit</a:t>
            </a:r>
            <a:r>
              <a:rPr lang="nl-NL" sz="4489" noProof="0"/>
              <a:t> Master </a:t>
            </a:r>
            <a:r>
              <a:rPr lang="nl-NL" sz="4489" noProof="0" err="1"/>
              <a:t>title</a:t>
            </a:r>
            <a:r>
              <a:rPr lang="nl-NL" sz="4489" noProof="0"/>
              <a:t> </a:t>
            </a:r>
            <a:r>
              <a:rPr lang="nl-NL" sz="4489" noProof="0" err="1"/>
              <a:t>style</a:t>
            </a:r>
            <a:endParaRPr lang="nl-NL" sz="4489">
              <a:solidFill>
                <a:schemeClr val="tx2"/>
              </a:solidFill>
            </a:endParaRPr>
          </a:p>
        </p:txBody>
      </p:sp>
      <p:sp>
        <p:nvSpPr>
          <p:cNvPr id="10" name="Subtitle">
            <a:extLst>
              <a:ext uri="{FF2B5EF4-FFF2-40B4-BE49-F238E27FC236}">
                <a16:creationId xmlns:a16="http://schemas.microsoft.com/office/drawing/2014/main" id="{04196BC9-9AE0-4A7B-B527-24F96C775B6C}"/>
              </a:ext>
            </a:extLst>
          </p:cNvPr>
          <p:cNvSpPr>
            <a:spLocks noGrp="1"/>
          </p:cNvSpPr>
          <p:nvPr>
            <p:ph type="subTitle" idx="4294967295"/>
            <p:custDataLst>
              <p:tags r:id="rId5"/>
            </p:custDataLst>
          </p:nvPr>
        </p:nvSpPr>
        <p:spPr>
          <a:xfrm>
            <a:off x="4414048" y="4062830"/>
            <a:ext cx="7361972" cy="500166"/>
          </a:xfrm>
        </p:spPr>
        <p:txBody>
          <a:bodyPr/>
          <a:lstStyle>
            <a:lvl1pPr>
              <a:defRPr/>
            </a:lvl1pPr>
          </a:lstStyle>
          <a:p>
            <a:pPr lvl="0"/>
            <a:r>
              <a:rPr lang="nl-NL" noProof="0"/>
              <a:t>Click </a:t>
            </a:r>
            <a:r>
              <a:rPr lang="nl-NL" noProof="0" err="1"/>
              <a:t>to</a:t>
            </a:r>
            <a:r>
              <a:rPr lang="nl-NL" noProof="0"/>
              <a:t> </a:t>
            </a:r>
            <a:r>
              <a:rPr lang="nl-NL" noProof="0" err="1"/>
              <a:t>edit</a:t>
            </a:r>
            <a:r>
              <a:rPr lang="nl-NL" noProof="0"/>
              <a:t> Master </a:t>
            </a:r>
            <a:r>
              <a:rPr lang="nl-NL" noProof="0" err="1"/>
              <a:t>subtitle</a:t>
            </a:r>
            <a:r>
              <a:rPr lang="nl-NL" noProof="0"/>
              <a:t> </a:t>
            </a:r>
            <a:r>
              <a:rPr lang="nl-NL" noProof="0" err="1"/>
              <a:t>style</a:t>
            </a:r>
            <a:endParaRPr lang="nl-NL" noProof="0"/>
          </a:p>
        </p:txBody>
      </p:sp>
      <p:sp>
        <p:nvSpPr>
          <p:cNvPr id="13" name="Rectangle 3">
            <a:extLst>
              <a:ext uri="{FF2B5EF4-FFF2-40B4-BE49-F238E27FC236}">
                <a16:creationId xmlns:a16="http://schemas.microsoft.com/office/drawing/2014/main" id="{E5B49B66-1E56-A545-85FD-9601BB1554B6}"/>
              </a:ext>
            </a:extLst>
          </p:cNvPr>
          <p:cNvSpPr/>
          <p:nvPr userDrawn="1"/>
        </p:nvSpPr>
        <p:spPr>
          <a:xfrm>
            <a:off x="4216932" y="5777659"/>
            <a:ext cx="7434930" cy="832633"/>
          </a:xfrm>
          <a:prstGeom prst="rect">
            <a:avLst/>
          </a:prstGeom>
        </p:spPr>
        <p:txBody>
          <a:bodyPr wrap="square" lIns="0" tIns="0" rIns="0" bIns="0">
            <a:spAutoFit/>
          </a:bodyPr>
          <a:lstStyle/>
          <a:p>
            <a:pPr marL="0" marR="0" lvl="0" indent="0" algn="l" defTabSz="932962" rtl="0" eaLnBrk="1" fontAlgn="base" latinLnBrk="0" hangingPunct="1">
              <a:lnSpc>
                <a:spcPct val="100000"/>
              </a:lnSpc>
              <a:spcBef>
                <a:spcPct val="50000"/>
              </a:spcBef>
              <a:spcAft>
                <a:spcPct val="0"/>
              </a:spcAft>
              <a:buClrTx/>
              <a:buSzTx/>
              <a:buFontTx/>
              <a:buNone/>
              <a:tabLst/>
              <a:defRPr/>
            </a:pPr>
            <a:r>
              <a:rPr kumimoji="0" lang="nl-NL" sz="816" b="0" i="1" u="none" strike="noStrike" kern="1200" cap="none" spc="0" normalizeH="0" baseline="0" noProof="0">
                <a:ln>
                  <a:noFill/>
                </a:ln>
                <a:solidFill>
                  <a:srgbClr val="000000"/>
                </a:solidFill>
                <a:effectLst/>
                <a:uLnTx/>
                <a:uFillTx/>
                <a:latin typeface="Arial" charset="0"/>
                <a:ea typeface="ＭＳ Ｐゴシック"/>
                <a:cs typeface="+mn-cs"/>
              </a:rPr>
              <a:t>De informatie in dit document is uitsluitend bedoeld als algemene informatie. Aan de informatie kunnen geen rechten worden ontleend. Hoewel stichting Het Potentieel Pakken zorgvuldigheid in acht neemt bij het samenstellen en onderhouden van dit document, staat de stichting niet in voor de juistheid, volledigheid en/of actualiteit van de informatie en wijst iedere aansprakelijkheid ten aanzien hiervan uitdrukkelijk van de hand.</a:t>
            </a:r>
          </a:p>
          <a:p>
            <a:pPr marL="0" marR="0" lvl="0" indent="0" algn="l" defTabSz="932962" rtl="0" eaLnBrk="1" fontAlgn="base" latinLnBrk="0" hangingPunct="1">
              <a:lnSpc>
                <a:spcPct val="100000"/>
              </a:lnSpc>
              <a:spcBef>
                <a:spcPct val="50000"/>
              </a:spcBef>
              <a:spcAft>
                <a:spcPct val="0"/>
              </a:spcAft>
              <a:buClrTx/>
              <a:buSzTx/>
              <a:buFontTx/>
              <a:buNone/>
              <a:tabLst/>
              <a:defRPr/>
            </a:pPr>
            <a:r>
              <a:rPr kumimoji="0" lang="nl-NL" sz="816" b="0" i="1" u="none" strike="noStrike" kern="1200" cap="none" spc="0" normalizeH="0" baseline="0" noProof="0">
                <a:ln>
                  <a:noFill/>
                </a:ln>
                <a:solidFill>
                  <a:srgbClr val="000000"/>
                </a:solidFill>
                <a:effectLst/>
                <a:uLnTx/>
                <a:uFillTx/>
                <a:latin typeface="Arial" charset="0"/>
                <a:ea typeface="ＭＳ Ｐゴシック"/>
                <a:cs typeface="+mn-cs"/>
              </a:rPr>
              <a:t>© Copyright stichting Het Potentieel Pakken 2020. Alle rechten worden voorbehouden. Niets van de in dit document gepubliceerde gegevens (waaronder begrepen beeldmateriaal) mag zonder uitdrukkelijke voorafgaande schriftelijke toestemming van stichting Het Potentieel Pakken worden verveelvoudigd, bewerkt, en/of (verder) openbaar worden gemaakt, online noch offline.</a:t>
            </a:r>
            <a:endParaRPr kumimoji="0" lang="en-US" sz="918" b="0" i="1" u="none" strike="noStrike" kern="1200" cap="none" spc="0" normalizeH="0" baseline="0" noProof="0">
              <a:ln>
                <a:noFill/>
              </a:ln>
              <a:solidFill>
                <a:srgbClr val="000000"/>
              </a:solidFill>
              <a:effectLst/>
              <a:uLnTx/>
              <a:uFillTx/>
              <a:latin typeface="Arial" charset="0"/>
              <a:ea typeface="ＭＳ Ｐゴシック"/>
              <a:cs typeface="+mn-cs"/>
            </a:endParaRPr>
          </a:p>
        </p:txBody>
      </p:sp>
      <p:cxnSp>
        <p:nvCxnSpPr>
          <p:cNvPr id="14" name="Rechte verbindingslijn 13">
            <a:extLst>
              <a:ext uri="{FF2B5EF4-FFF2-40B4-BE49-F238E27FC236}">
                <a16:creationId xmlns:a16="http://schemas.microsoft.com/office/drawing/2014/main" id="{EB770320-1757-1543-87CE-C72A097811D3}"/>
              </a:ext>
            </a:extLst>
          </p:cNvPr>
          <p:cNvCxnSpPr/>
          <p:nvPr userDrawn="1"/>
        </p:nvCxnSpPr>
        <p:spPr>
          <a:xfrm>
            <a:off x="4272352" y="3971310"/>
            <a:ext cx="7617373" cy="0"/>
          </a:xfrm>
          <a:prstGeom prst="line">
            <a:avLst/>
          </a:prstGeom>
          <a:ln/>
        </p:spPr>
        <p:style>
          <a:lnRef idx="2">
            <a:schemeClr val="accent3"/>
          </a:lnRef>
          <a:fillRef idx="0">
            <a:schemeClr val="accent3"/>
          </a:fillRef>
          <a:effectRef idx="1">
            <a:schemeClr val="accent3"/>
          </a:effectRef>
          <a:fontRef idx="minor">
            <a:schemeClr val="tx1"/>
          </a:fontRef>
        </p:style>
      </p:cxnSp>
    </p:spTree>
    <p:extLst>
      <p:ext uri="{BB962C8B-B14F-4D97-AF65-F5344CB8AC3E}">
        <p14:creationId xmlns:p14="http://schemas.microsoft.com/office/powerpoint/2010/main" val="4920309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C5515A-B16D-49DA-87E0-F4655E15C650}"/>
              </a:ext>
            </a:extLst>
          </p:cNvPr>
          <p:cNvGraphicFramePr>
            <a:graphicFrameLocks noChangeAspect="1"/>
          </p:cNvGraphicFramePr>
          <p:nvPr userDrawn="1">
            <p:custDataLst>
              <p:tags r:id="rId2"/>
            </p:custDataLst>
          </p:nvPr>
        </p:nvGraphicFramePr>
        <p:xfrm>
          <a:off x="1623" y="1623"/>
          <a:ext cx="1620" cy="1620"/>
        </p:xfrm>
        <a:graphic>
          <a:graphicData uri="http://schemas.openxmlformats.org/presentationml/2006/ole">
            <mc:AlternateContent xmlns:mc="http://schemas.openxmlformats.org/markup-compatibility/2006">
              <mc:Choice xmlns:v="urn:schemas-microsoft-com:vml" Requires="v">
                <p:oleObj spid="_x0000_s11266"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46C5515A-B16D-49DA-87E0-F4655E15C650}"/>
                          </a:ext>
                        </a:extLst>
                      </p:cNvPr>
                      <p:cNvPicPr/>
                      <p:nvPr/>
                    </p:nvPicPr>
                    <p:blipFill>
                      <a:blip r:embed="rId6"/>
                      <a:stretch>
                        <a:fillRect/>
                      </a:stretch>
                    </p:blipFill>
                    <p:spPr>
                      <a:xfrm>
                        <a:off x="1623" y="1623"/>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3B7D5DD-9F10-45D4-9154-5034CE7E90BC}"/>
              </a:ext>
            </a:extLst>
          </p:cNvPr>
          <p:cNvSpPr/>
          <p:nvPr userDrawn="1">
            <p:custDataLst>
              <p:tags r:id="rId3"/>
            </p:custDataLst>
          </p:nvPr>
        </p:nvSpPr>
        <p:spPr>
          <a:xfrm>
            <a:off x="3" y="0"/>
            <a:ext cx="161977" cy="161975"/>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800"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2" name="Title 1">
            <a:extLst>
              <a:ext uri="{FF2B5EF4-FFF2-40B4-BE49-F238E27FC236}">
                <a16:creationId xmlns:a16="http://schemas.microsoft.com/office/drawing/2014/main" id="{5F69AF79-6314-480D-89E2-D2CA5ADBCFD0}"/>
              </a:ext>
            </a:extLst>
          </p:cNvPr>
          <p:cNvSpPr>
            <a:spLocks noGrp="1"/>
          </p:cNvSpPr>
          <p:nvPr>
            <p:ph type="title"/>
          </p:nvPr>
        </p:nvSpPr>
        <p:spPr/>
        <p:txBody>
          <a:bodyPr/>
          <a:lstStyle/>
          <a:p>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
        <p:nvSpPr>
          <p:cNvPr id="3" name="Content Placeholder 2">
            <a:extLst>
              <a:ext uri="{FF2B5EF4-FFF2-40B4-BE49-F238E27FC236}">
                <a16:creationId xmlns:a16="http://schemas.microsoft.com/office/drawing/2014/main" id="{8FCABD97-432D-4263-98DE-AE5C7EE36169}"/>
              </a:ext>
            </a:extLst>
          </p:cNvPr>
          <p:cNvSpPr>
            <a:spLocks noGrp="1"/>
          </p:cNvSpPr>
          <p:nvPr>
            <p:ph idx="1"/>
          </p:nvPr>
        </p:nvSpPr>
        <p:spPr/>
        <p:txBody>
          <a:bodyPr/>
          <a:lstStyle/>
          <a:p>
            <a:pPr lvl="0"/>
            <a:r>
              <a:rPr lang="nl-NL" err="1"/>
              <a:t>Edit</a:t>
            </a:r>
            <a:r>
              <a:rPr lang="nl-NL"/>
              <a:t> Master </a:t>
            </a:r>
            <a:r>
              <a:rPr lang="nl-NL" err="1"/>
              <a:t>text</a:t>
            </a:r>
            <a:r>
              <a:rPr lang="nl-NL"/>
              <a:t> </a:t>
            </a:r>
            <a:r>
              <a:rPr lang="nl-NL" err="1"/>
              <a:t>styles</a:t>
            </a:r>
            <a:endParaRPr lang="nl-NL"/>
          </a:p>
          <a:p>
            <a:pPr lvl="1"/>
            <a:r>
              <a:rPr lang="nl-NL"/>
              <a:t>Second level</a:t>
            </a:r>
          </a:p>
          <a:p>
            <a:pPr lvl="2"/>
            <a:r>
              <a:rPr lang="nl-NL" err="1"/>
              <a:t>Third</a:t>
            </a:r>
            <a:r>
              <a:rPr lang="nl-NL"/>
              <a:t> level</a:t>
            </a:r>
          </a:p>
          <a:p>
            <a:pPr lvl="3"/>
            <a:r>
              <a:rPr lang="nl-NL" err="1"/>
              <a:t>Fourth</a:t>
            </a:r>
            <a:r>
              <a:rPr lang="nl-NL"/>
              <a:t> level</a:t>
            </a:r>
          </a:p>
          <a:p>
            <a:pPr lvl="4"/>
            <a:r>
              <a:rPr lang="nl-NL" err="1"/>
              <a:t>Fifth</a:t>
            </a:r>
            <a:r>
              <a:rPr lang="nl-NL"/>
              <a:t> level</a:t>
            </a:r>
          </a:p>
        </p:txBody>
      </p:sp>
    </p:spTree>
    <p:extLst>
      <p:ext uri="{BB962C8B-B14F-4D97-AF65-F5344CB8AC3E}">
        <p14:creationId xmlns:p14="http://schemas.microsoft.com/office/powerpoint/2010/main" val="15905373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761C6E-D43D-43BA-9B36-69C65EFFF2A0}"/>
              </a:ext>
            </a:extLst>
          </p:cNvPr>
          <p:cNvGraphicFramePr>
            <a:graphicFrameLocks noChangeAspect="1"/>
          </p:cNvGraphicFramePr>
          <p:nvPr userDrawn="1">
            <p:custDataLst>
              <p:tags r:id="rId2"/>
            </p:custDataLst>
          </p:nvPr>
        </p:nvGraphicFramePr>
        <p:xfrm>
          <a:off x="1623" y="1623"/>
          <a:ext cx="1620" cy="1620"/>
        </p:xfrm>
        <a:graphic>
          <a:graphicData uri="http://schemas.openxmlformats.org/presentationml/2006/ole">
            <mc:AlternateContent xmlns:mc="http://schemas.openxmlformats.org/markup-compatibility/2006">
              <mc:Choice xmlns:v="urn:schemas-microsoft-com:vml" Requires="v">
                <p:oleObj spid="_x0000_s12290"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B3761C6E-D43D-43BA-9B36-69C65EFFF2A0}"/>
                          </a:ext>
                        </a:extLst>
                      </p:cNvPr>
                      <p:cNvPicPr/>
                      <p:nvPr/>
                    </p:nvPicPr>
                    <p:blipFill>
                      <a:blip r:embed="rId6"/>
                      <a:stretch>
                        <a:fillRect/>
                      </a:stretch>
                    </p:blipFill>
                    <p:spPr>
                      <a:xfrm>
                        <a:off x="1623" y="1623"/>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042ECAD-49E9-46BA-83A1-F970AC83D1F9}"/>
              </a:ext>
            </a:extLst>
          </p:cNvPr>
          <p:cNvSpPr/>
          <p:nvPr userDrawn="1">
            <p:custDataLst>
              <p:tags r:id="rId3"/>
            </p:custDataLst>
          </p:nvPr>
        </p:nvSpPr>
        <p:spPr>
          <a:xfrm>
            <a:off x="3" y="0"/>
            <a:ext cx="161977" cy="161975"/>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800"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2" name="Title 1">
            <a:extLst>
              <a:ext uri="{FF2B5EF4-FFF2-40B4-BE49-F238E27FC236}">
                <a16:creationId xmlns:a16="http://schemas.microsoft.com/office/drawing/2014/main" id="{3A5FBDF9-7DCE-4DA9-8E39-452339FEAB03}"/>
              </a:ext>
            </a:extLst>
          </p:cNvPr>
          <p:cNvSpPr>
            <a:spLocks noGrp="1"/>
          </p:cNvSpPr>
          <p:nvPr>
            <p:ph type="title"/>
          </p:nvPr>
        </p:nvSpPr>
        <p:spPr/>
        <p:txBody>
          <a:bodyPr/>
          <a:lstStyle/>
          <a:p>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Tree>
    <p:extLst>
      <p:ext uri="{BB962C8B-B14F-4D97-AF65-F5344CB8AC3E}">
        <p14:creationId xmlns:p14="http://schemas.microsoft.com/office/powerpoint/2010/main" val="30088621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3" y="1624"/>
          <a:ext cx="2159" cy="1619"/>
        </p:xfrm>
        <a:graphic>
          <a:graphicData uri="http://schemas.openxmlformats.org/presentationml/2006/ole">
            <mc:AlternateContent xmlns:mc="http://schemas.openxmlformats.org/markup-compatibility/2006">
              <mc:Choice xmlns:v="urn:schemas-microsoft-com:vml" Requires="v">
                <p:oleObj spid="_x0000_s13314"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3" y="1624"/>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852E13-85EB-4EA2-91B0-2DA1C3D63BC3}"/>
              </a:ext>
            </a:extLst>
          </p:cNvPr>
          <p:cNvSpPr/>
          <p:nvPr userDrawn="1">
            <p:custDataLst>
              <p:tags r:id="rId3"/>
            </p:custDataLst>
          </p:nvPr>
        </p:nvSpPr>
        <p:spPr>
          <a:xfrm>
            <a:off x="0" y="2"/>
            <a:ext cx="158749"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400" fontAlgn="base">
              <a:spcBef>
                <a:spcPct val="0"/>
              </a:spcBef>
              <a:spcAft>
                <a:spcPct val="0"/>
              </a:spcAft>
            </a:pPr>
            <a:endParaRPr lang="nl-NL" sz="2800">
              <a:solidFill>
                <a:srgbClr val="000000"/>
              </a:solidFill>
              <a:latin typeface="Andada" panose="02000000000000000000" pitchFamily="50" charset="0"/>
              <a:sym typeface="Andada" panose="02000000000000000000" pitchFamily="50"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6" y="472847"/>
            <a:ext cx="11082528"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a:latin typeface="+mj-lt"/>
                <a:ea typeface="+mj-ea"/>
                <a:sym typeface="+mj-lt"/>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6" name="Subtitle">
            <a:extLst>
              <a:ext uri="{FF2B5EF4-FFF2-40B4-BE49-F238E27FC236}">
                <a16:creationId xmlns:a16="http://schemas.microsoft.com/office/drawing/2014/main" id="{979B57B0-0700-4648-8B9B-8191ED14C58C}"/>
              </a:ext>
            </a:extLst>
          </p:cNvPr>
          <p:cNvSpPr>
            <a:spLocks noGrp="1" noChangeArrowheads="1"/>
          </p:cNvSpPr>
          <p:nvPr>
            <p:ph type="subTitle" idx="1"/>
          </p:nvPr>
        </p:nvSpPr>
        <p:spPr bwMode="gray">
          <a:xfrm>
            <a:off x="554736" y="994231"/>
            <a:ext cx="11082528" cy="314028"/>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lang="nl-NL" sz="1600" noProof="0" dirty="0">
                <a:latin typeface="+mn-lt"/>
                <a:ea typeface="+mn-ea"/>
                <a:sym typeface="+mn-lt"/>
              </a:defRPr>
            </a:lvl1pPr>
          </a:lstStyle>
          <a:p>
            <a:pPr lvl="0"/>
            <a:r>
              <a:rPr lang="nl-NL" noProof="0"/>
              <a:t>Click </a:t>
            </a:r>
            <a:r>
              <a:rPr lang="nl-NL" noProof="0" err="1"/>
              <a:t>to</a:t>
            </a:r>
            <a:r>
              <a:rPr lang="nl-NL" noProof="0"/>
              <a:t> </a:t>
            </a:r>
            <a:r>
              <a:rPr lang="nl-NL" noProof="0" err="1"/>
              <a:t>edit</a:t>
            </a:r>
            <a:r>
              <a:rPr lang="nl-NL" noProof="0"/>
              <a:t> Master </a:t>
            </a:r>
            <a:r>
              <a:rPr lang="nl-NL" noProof="0" err="1"/>
              <a:t>subtitle</a:t>
            </a:r>
            <a:r>
              <a:rPr lang="nl-NL" noProof="0"/>
              <a:t> </a:t>
            </a:r>
            <a:r>
              <a:rPr lang="nl-NL" noProof="0" err="1"/>
              <a:t>style</a:t>
            </a:r>
            <a:endParaRPr lang="nl-NL" noProof="0"/>
          </a:p>
        </p:txBody>
      </p:sp>
      <p:sp>
        <p:nvSpPr>
          <p:cNvPr id="8" name="Rectangle 286">
            <a:extLst>
              <a:ext uri="{FF2B5EF4-FFF2-40B4-BE49-F238E27FC236}">
                <a16:creationId xmlns:a16="http://schemas.microsoft.com/office/drawing/2014/main" id="{F2499952-2F2E-4621-804D-0A98D95DA0D2}"/>
              </a:ext>
            </a:extLst>
          </p:cNvPr>
          <p:cNvSpPr>
            <a:spLocks noGrp="1" noChangeArrowheads="1"/>
          </p:cNvSpPr>
          <p:nvPr>
            <p:ph idx="10"/>
          </p:nvPr>
        </p:nvSpPr>
        <p:spPr bwMode="gray">
          <a:xfrm>
            <a:off x="554736" y="1565901"/>
            <a:ext cx="1108252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nl-NL" noProof="0" err="1"/>
              <a:t>Edit</a:t>
            </a:r>
            <a:r>
              <a:rPr lang="nl-NL" noProof="0"/>
              <a:t> Master </a:t>
            </a:r>
            <a:r>
              <a:rPr lang="nl-NL" noProof="0" err="1"/>
              <a:t>text</a:t>
            </a:r>
            <a:r>
              <a:rPr lang="nl-NL" noProof="0"/>
              <a:t> </a:t>
            </a:r>
            <a:r>
              <a:rPr lang="nl-NL" noProof="0" err="1"/>
              <a:t>styles</a:t>
            </a:r>
            <a:endParaRPr lang="nl-NL" noProof="0"/>
          </a:p>
          <a:p>
            <a:pPr lvl="1"/>
            <a:r>
              <a:rPr lang="nl-NL" noProof="0"/>
              <a:t>Second level</a:t>
            </a:r>
          </a:p>
          <a:p>
            <a:pPr lvl="2"/>
            <a:r>
              <a:rPr lang="nl-NL" noProof="0" err="1"/>
              <a:t>Third</a:t>
            </a:r>
            <a:r>
              <a:rPr lang="nl-NL" noProof="0"/>
              <a:t> level</a:t>
            </a:r>
          </a:p>
          <a:p>
            <a:pPr lvl="3"/>
            <a:r>
              <a:rPr lang="nl-NL" noProof="0" err="1"/>
              <a:t>Fourth</a:t>
            </a:r>
            <a:r>
              <a:rPr lang="nl-NL" noProof="0"/>
              <a:t> level</a:t>
            </a:r>
          </a:p>
          <a:p>
            <a:pPr lvl="4"/>
            <a:r>
              <a:rPr lang="nl-NL" noProof="0" err="1"/>
              <a:t>Fifth</a:t>
            </a:r>
            <a:r>
              <a:rPr lang="nl-NL" noProof="0"/>
              <a:t> level</a:t>
            </a:r>
          </a:p>
        </p:txBody>
      </p:sp>
    </p:spTree>
    <p:extLst>
      <p:ext uri="{BB962C8B-B14F-4D97-AF65-F5344CB8AC3E}">
        <p14:creationId xmlns:p14="http://schemas.microsoft.com/office/powerpoint/2010/main" val="11945925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5" y="1625"/>
          <a:ext cx="1619" cy="1619"/>
        </p:xfrm>
        <a:graphic>
          <a:graphicData uri="http://schemas.openxmlformats.org/presentationml/2006/ole">
            <mc:AlternateContent xmlns:mc="http://schemas.openxmlformats.org/markup-compatibility/2006">
              <mc:Choice xmlns:v="urn:schemas-microsoft-com:vml" Requires="v">
                <p:oleObj spid="_x0000_s3074" name="think-cell Slide" r:id="rId7" imgW="359" imgH="358" progId="TCLayout.ActiveDocument.1">
                  <p:embed/>
                </p:oleObj>
              </mc:Choice>
              <mc:Fallback>
                <p:oleObj name="think-cell Slide" r:id="rId7" imgW="359" imgH="358" progId="TCLayout.ActiveDocument.1">
                  <p:embed/>
                  <p:pic>
                    <p:nvPicPr>
                      <p:cNvPr id="2" name="Object 1" hidden="1"/>
                      <p:cNvPicPr/>
                      <p:nvPr/>
                    </p:nvPicPr>
                    <p:blipFill>
                      <a:blip r:embed="rId8"/>
                      <a:stretch>
                        <a:fillRect/>
                      </a:stretch>
                    </p:blipFill>
                    <p:spPr>
                      <a:xfrm>
                        <a:off x="1625" y="1625"/>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74BBF1E-B288-462F-A32C-0F3869BD8031}"/>
              </a:ext>
            </a:extLst>
          </p:cNvPr>
          <p:cNvSpPr/>
          <p:nvPr userDrawn="1">
            <p:custDataLst>
              <p:tags r:id="rId3"/>
            </p:custDataLst>
          </p:nvPr>
        </p:nvSpPr>
        <p:spPr>
          <a:xfrm>
            <a:off x="4" y="6"/>
            <a:ext cx="158751"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4400"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8" name="Date" hidden="1">
            <a:extLst>
              <a:ext uri="{FF2B5EF4-FFF2-40B4-BE49-F238E27FC236}">
                <a16:creationId xmlns:a16="http://schemas.microsoft.com/office/drawing/2014/main" id="{C5D91C98-91AE-477E-AB5B-7A8EA5E64DEB}"/>
              </a:ext>
            </a:extLst>
          </p:cNvPr>
          <p:cNvSpPr txBox="1">
            <a:spLocks noChangeArrowheads="1"/>
          </p:cNvSpPr>
          <p:nvPr userDrawn="1"/>
        </p:nvSpPr>
        <p:spPr bwMode="gray">
          <a:xfrm>
            <a:off x="5241545" y="4236936"/>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nl-NL" sz="1500">
                <a:latin typeface="+mn-lt"/>
                <a:ea typeface="+mn-ea"/>
                <a:sym typeface="+mn-lt"/>
              </a:rPr>
              <a:t>Datum </a:t>
            </a:r>
          </a:p>
        </p:txBody>
      </p:sp>
      <p:sp>
        <p:nvSpPr>
          <p:cNvPr id="11" name="Document type" hidden="1">
            <a:extLst>
              <a:ext uri="{FF2B5EF4-FFF2-40B4-BE49-F238E27FC236}">
                <a16:creationId xmlns:a16="http://schemas.microsoft.com/office/drawing/2014/main" id="{676C88BA-1FB4-47A1-95B6-78FCBEAC46A0}"/>
              </a:ext>
            </a:extLst>
          </p:cNvPr>
          <p:cNvSpPr txBox="1">
            <a:spLocks noChangeArrowheads="1"/>
          </p:cNvSpPr>
          <p:nvPr userDrawn="1"/>
        </p:nvSpPr>
        <p:spPr bwMode="gray">
          <a:xfrm>
            <a:off x="5241545" y="3963200"/>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nl-NL" sz="1500">
                <a:latin typeface="+mn-lt"/>
                <a:ea typeface="+mn-ea"/>
                <a:sym typeface="+mn-lt"/>
              </a:rPr>
              <a:t>Documenttype </a:t>
            </a:r>
          </a:p>
        </p:txBody>
      </p:sp>
      <p:pic>
        <p:nvPicPr>
          <p:cNvPr id="9" name="Afbeelding 8" descr="Afbeelding met plein&#10;&#10;Automatisch gegenereerde beschrijving">
            <a:extLst>
              <a:ext uri="{FF2B5EF4-FFF2-40B4-BE49-F238E27FC236}">
                <a16:creationId xmlns:a16="http://schemas.microsoft.com/office/drawing/2014/main" id="{4D7BBA1F-3059-AC49-9F3C-A35DE39DA374}"/>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371550" y="3429000"/>
            <a:ext cx="2669879" cy="2902525"/>
          </a:xfrm>
          <a:prstGeom prst="rect">
            <a:avLst/>
          </a:prstGeom>
        </p:spPr>
      </p:pic>
      <p:sp>
        <p:nvSpPr>
          <p:cNvPr id="10" name="Title">
            <a:extLst>
              <a:ext uri="{FF2B5EF4-FFF2-40B4-BE49-F238E27FC236}">
                <a16:creationId xmlns:a16="http://schemas.microsoft.com/office/drawing/2014/main" id="{A32C950A-97DC-9A42-A3E0-919B1DB04848}"/>
              </a:ext>
            </a:extLst>
          </p:cNvPr>
          <p:cNvSpPr>
            <a:spLocks noGrp="1"/>
          </p:cNvSpPr>
          <p:nvPr>
            <p:ph type="ctrTitle"/>
            <p:custDataLst>
              <p:tags r:id="rId4"/>
            </p:custDataLst>
          </p:nvPr>
        </p:nvSpPr>
        <p:spPr>
          <a:xfrm>
            <a:off x="4414048" y="2546003"/>
            <a:ext cx="7361972" cy="1354217"/>
          </a:xfrm>
        </p:spPr>
        <p:txBody>
          <a:bodyPr anchor="b"/>
          <a:lstStyle>
            <a:lvl1pPr>
              <a:defRPr/>
            </a:lvl1pPr>
          </a:lstStyle>
          <a:p>
            <a:r>
              <a:rPr lang="nl-NL" sz="4489" noProof="0"/>
              <a:t>Click </a:t>
            </a:r>
            <a:r>
              <a:rPr lang="nl-NL" sz="4489" noProof="0" err="1"/>
              <a:t>to</a:t>
            </a:r>
            <a:r>
              <a:rPr lang="nl-NL" sz="4489" noProof="0"/>
              <a:t> </a:t>
            </a:r>
            <a:r>
              <a:rPr lang="nl-NL" sz="4489" noProof="0" err="1"/>
              <a:t>edit</a:t>
            </a:r>
            <a:r>
              <a:rPr lang="nl-NL" sz="4489" noProof="0"/>
              <a:t> Master </a:t>
            </a:r>
            <a:r>
              <a:rPr lang="nl-NL" sz="4489" noProof="0" err="1"/>
              <a:t>title</a:t>
            </a:r>
            <a:r>
              <a:rPr lang="nl-NL" sz="4489" noProof="0"/>
              <a:t> </a:t>
            </a:r>
            <a:r>
              <a:rPr lang="nl-NL" sz="4489" noProof="0" err="1"/>
              <a:t>style</a:t>
            </a:r>
            <a:endParaRPr lang="nl-NL" sz="4489">
              <a:solidFill>
                <a:schemeClr val="tx2"/>
              </a:solidFill>
            </a:endParaRPr>
          </a:p>
        </p:txBody>
      </p:sp>
      <p:sp>
        <p:nvSpPr>
          <p:cNvPr id="13" name="Rectangle 3">
            <a:extLst>
              <a:ext uri="{FF2B5EF4-FFF2-40B4-BE49-F238E27FC236}">
                <a16:creationId xmlns:a16="http://schemas.microsoft.com/office/drawing/2014/main" id="{03309D7D-9318-DF48-BAB3-A0C5C5A28490}"/>
              </a:ext>
            </a:extLst>
          </p:cNvPr>
          <p:cNvSpPr/>
          <p:nvPr userDrawn="1"/>
        </p:nvSpPr>
        <p:spPr>
          <a:xfrm>
            <a:off x="4216932" y="5777659"/>
            <a:ext cx="7434930" cy="832633"/>
          </a:xfrm>
          <a:prstGeom prst="rect">
            <a:avLst/>
          </a:prstGeom>
        </p:spPr>
        <p:txBody>
          <a:bodyPr wrap="square" lIns="0" tIns="0" rIns="0" bIns="0">
            <a:spAutoFit/>
          </a:bodyPr>
          <a:lstStyle/>
          <a:p>
            <a:pPr marL="0" marR="0" lvl="0" indent="0" algn="l" defTabSz="932962" rtl="0" eaLnBrk="1" fontAlgn="base" latinLnBrk="0" hangingPunct="1">
              <a:lnSpc>
                <a:spcPct val="100000"/>
              </a:lnSpc>
              <a:spcBef>
                <a:spcPct val="50000"/>
              </a:spcBef>
              <a:spcAft>
                <a:spcPct val="0"/>
              </a:spcAft>
              <a:buClrTx/>
              <a:buSzTx/>
              <a:buFontTx/>
              <a:buNone/>
              <a:tabLst/>
              <a:defRPr/>
            </a:pPr>
            <a:r>
              <a:rPr kumimoji="0" lang="nl-NL" sz="816" b="0" i="1" u="none" strike="noStrike" kern="1200" cap="none" spc="0" normalizeH="0" baseline="0" noProof="0">
                <a:ln>
                  <a:noFill/>
                </a:ln>
                <a:solidFill>
                  <a:srgbClr val="000000"/>
                </a:solidFill>
                <a:effectLst/>
                <a:uLnTx/>
                <a:uFillTx/>
                <a:latin typeface="Arial" charset="0"/>
                <a:ea typeface="ＭＳ Ｐゴシック"/>
                <a:cs typeface="+mn-cs"/>
              </a:rPr>
              <a:t>De informatie in dit document is uitsluitend bedoeld als algemene informatie. Aan de informatie kunnen geen rechten worden ontleend. Hoewel stichting Het Potentieel Pakken zorgvuldigheid in acht neemt bij het samenstellen en onderhouden van dit document, staat de stichting niet in voor de juistheid, volledigheid en/of actualiteit van de informatie en wijst iedere aansprakelijkheid ten aanzien hiervan uitdrukkelijk van de hand.</a:t>
            </a:r>
          </a:p>
          <a:p>
            <a:pPr marL="0" marR="0" lvl="0" indent="0" algn="l" defTabSz="932962" rtl="0" eaLnBrk="1" fontAlgn="base" latinLnBrk="0" hangingPunct="1">
              <a:lnSpc>
                <a:spcPct val="100000"/>
              </a:lnSpc>
              <a:spcBef>
                <a:spcPct val="50000"/>
              </a:spcBef>
              <a:spcAft>
                <a:spcPct val="0"/>
              </a:spcAft>
              <a:buClrTx/>
              <a:buSzTx/>
              <a:buFontTx/>
              <a:buNone/>
              <a:tabLst/>
              <a:defRPr/>
            </a:pPr>
            <a:r>
              <a:rPr kumimoji="0" lang="nl-NL" sz="816" b="0" i="1" u="none" strike="noStrike" kern="1200" cap="none" spc="0" normalizeH="0" baseline="0" noProof="0">
                <a:ln>
                  <a:noFill/>
                </a:ln>
                <a:solidFill>
                  <a:srgbClr val="000000"/>
                </a:solidFill>
                <a:effectLst/>
                <a:uLnTx/>
                <a:uFillTx/>
                <a:latin typeface="Arial" charset="0"/>
                <a:ea typeface="ＭＳ Ｐゴシック"/>
                <a:cs typeface="+mn-cs"/>
              </a:rPr>
              <a:t>© Copyright stichting Het Potentieel Pakken 2020. Alle rechten worden voorbehouden. Niets van de in dit document gepubliceerde gegevens (waaronder begrepen beeldmateriaal) mag zonder uitdrukkelijke voorafgaande schriftelijke toestemming van stichting Het Potentieel Pakken worden verveelvoudigd, bewerkt, en/of (verder) openbaar worden gemaakt, online noch offline.</a:t>
            </a:r>
            <a:endParaRPr kumimoji="0" lang="en-US" sz="918" b="0" i="1" u="none" strike="noStrike" kern="1200" cap="none" spc="0" normalizeH="0" baseline="0" noProof="0">
              <a:ln>
                <a:noFill/>
              </a:ln>
              <a:solidFill>
                <a:srgbClr val="000000"/>
              </a:solidFill>
              <a:effectLst/>
              <a:uLnTx/>
              <a:uFillTx/>
              <a:latin typeface="Arial" charset="0"/>
              <a:ea typeface="ＭＳ Ｐゴシック"/>
              <a:cs typeface="+mn-cs"/>
            </a:endParaRPr>
          </a:p>
        </p:txBody>
      </p:sp>
      <p:cxnSp>
        <p:nvCxnSpPr>
          <p:cNvPr id="14" name="Rechte verbindingslijn 13">
            <a:extLst>
              <a:ext uri="{FF2B5EF4-FFF2-40B4-BE49-F238E27FC236}">
                <a16:creationId xmlns:a16="http://schemas.microsoft.com/office/drawing/2014/main" id="{22E03EDB-EAF8-3447-9BE0-218693EE836C}"/>
              </a:ext>
            </a:extLst>
          </p:cNvPr>
          <p:cNvCxnSpPr/>
          <p:nvPr userDrawn="1"/>
        </p:nvCxnSpPr>
        <p:spPr>
          <a:xfrm>
            <a:off x="4272352" y="3971310"/>
            <a:ext cx="7617373" cy="0"/>
          </a:xfrm>
          <a:prstGeom prst="line">
            <a:avLst/>
          </a:prstGeom>
          <a:ln/>
        </p:spPr>
        <p:style>
          <a:lnRef idx="2">
            <a:schemeClr val="accent3"/>
          </a:lnRef>
          <a:fillRef idx="0">
            <a:schemeClr val="accent3"/>
          </a:fillRef>
          <a:effectRef idx="1">
            <a:schemeClr val="accent3"/>
          </a:effectRef>
          <a:fontRef idx="minor">
            <a:schemeClr val="tx1"/>
          </a:fontRef>
        </p:style>
      </p:cxnSp>
      <p:sp>
        <p:nvSpPr>
          <p:cNvPr id="15" name="Subtitle">
            <a:extLst>
              <a:ext uri="{FF2B5EF4-FFF2-40B4-BE49-F238E27FC236}">
                <a16:creationId xmlns:a16="http://schemas.microsoft.com/office/drawing/2014/main" id="{D2568FE7-645A-3B40-BBDC-8FEED8C885D4}"/>
              </a:ext>
            </a:extLst>
          </p:cNvPr>
          <p:cNvSpPr>
            <a:spLocks noGrp="1"/>
          </p:cNvSpPr>
          <p:nvPr>
            <p:ph type="subTitle" idx="4294967295"/>
            <p:custDataLst>
              <p:tags r:id="rId5"/>
            </p:custDataLst>
          </p:nvPr>
        </p:nvSpPr>
        <p:spPr>
          <a:xfrm>
            <a:off x="4414048" y="4062830"/>
            <a:ext cx="7361972" cy="500166"/>
          </a:xfrm>
        </p:spPr>
        <p:txBody>
          <a:bodyPr/>
          <a:lstStyle>
            <a:lvl1pPr>
              <a:defRPr/>
            </a:lvl1pPr>
          </a:lstStyle>
          <a:p>
            <a:pPr lvl="0"/>
            <a:r>
              <a:rPr lang="nl-NL" noProof="0"/>
              <a:t>Click </a:t>
            </a:r>
            <a:r>
              <a:rPr lang="nl-NL" noProof="0" err="1"/>
              <a:t>to</a:t>
            </a:r>
            <a:r>
              <a:rPr lang="nl-NL" noProof="0"/>
              <a:t> </a:t>
            </a:r>
            <a:r>
              <a:rPr lang="nl-NL" noProof="0" err="1"/>
              <a:t>edit</a:t>
            </a:r>
            <a:r>
              <a:rPr lang="nl-NL" noProof="0"/>
              <a:t> Master </a:t>
            </a:r>
            <a:r>
              <a:rPr lang="nl-NL" noProof="0" err="1"/>
              <a:t>subtitle</a:t>
            </a:r>
            <a:r>
              <a:rPr lang="nl-NL" noProof="0"/>
              <a:t> </a:t>
            </a:r>
            <a:r>
              <a:rPr lang="nl-NL" noProof="0" err="1"/>
              <a:t>style</a:t>
            </a:r>
            <a:endParaRPr lang="nl-NL" noProof="0"/>
          </a:p>
        </p:txBody>
      </p:sp>
    </p:spTree>
    <p:extLst>
      <p:ext uri="{BB962C8B-B14F-4D97-AF65-F5344CB8AC3E}">
        <p14:creationId xmlns:p14="http://schemas.microsoft.com/office/powerpoint/2010/main" val="26511738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pic>
        <p:nvPicPr>
          <p:cNvPr id="7" name="Afbeelding 6" descr="Afbeelding met plein&#10;&#10;Automatisch gegenereerde beschrijving">
            <a:extLst>
              <a:ext uri="{FF2B5EF4-FFF2-40B4-BE49-F238E27FC236}">
                <a16:creationId xmlns:a16="http://schemas.microsoft.com/office/drawing/2014/main" id="{AC4757C9-B3C8-834D-BC21-F002C218659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47245" y="3399021"/>
            <a:ext cx="2700411" cy="2941820"/>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spid="_x0000_s4098" name="think-cell Slide" r:id="rId8" imgW="359" imgH="358" progId="TCLayout.ActiveDocument.1">
                  <p:embed/>
                </p:oleObj>
              </mc:Choice>
              <mc:Fallback>
                <p:oleObj name="think-cell Slide" r:id="rId8" imgW="359" imgH="358" progId="TCLayout.ActiveDocument.1">
                  <p:embed/>
                  <p:pic>
                    <p:nvPicPr>
                      <p:cNvPr id="2" name="Object 1" hidden="1"/>
                      <p:cNvPicPr/>
                      <p:nvPr/>
                    </p:nvPicPr>
                    <p:blipFill>
                      <a:blip r:embed="rId9"/>
                      <a:stretch>
                        <a:fillRect/>
                      </a:stretch>
                    </p:blipFill>
                    <p:spPr>
                      <a:xfrm>
                        <a:off x="1622" y="1622"/>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74BBF1E-B288-462F-A32C-0F3869BD8031}"/>
              </a:ext>
            </a:extLst>
          </p:cNvPr>
          <p:cNvSpPr/>
          <p:nvPr userDrawn="1">
            <p:custDataLst>
              <p:tags r:id="rId3"/>
            </p:custDataLst>
          </p:nvPr>
        </p:nvSpPr>
        <p:spPr>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4489"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8" name="Date" hidden="1">
            <a:extLst>
              <a:ext uri="{FF2B5EF4-FFF2-40B4-BE49-F238E27FC236}">
                <a16:creationId xmlns:a16="http://schemas.microsoft.com/office/drawing/2014/main" id="{C5D91C98-91AE-477E-AB5B-7A8EA5E64DEB}"/>
              </a:ext>
            </a:extLst>
          </p:cNvPr>
          <p:cNvSpPr txBox="1">
            <a:spLocks noChangeArrowheads="1"/>
          </p:cNvSpPr>
          <p:nvPr userDrawn="1"/>
        </p:nvSpPr>
        <p:spPr bwMode="gray">
          <a:xfrm>
            <a:off x="5241545" y="4236935"/>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nl-NL" sz="1400">
                <a:latin typeface="+mn-lt"/>
                <a:ea typeface="+mn-ea"/>
                <a:sym typeface="+mn-lt"/>
              </a:rPr>
              <a:t>Datum </a:t>
            </a:r>
          </a:p>
        </p:txBody>
      </p:sp>
      <p:sp>
        <p:nvSpPr>
          <p:cNvPr id="11" name="Document type" hidden="1">
            <a:extLst>
              <a:ext uri="{FF2B5EF4-FFF2-40B4-BE49-F238E27FC236}">
                <a16:creationId xmlns:a16="http://schemas.microsoft.com/office/drawing/2014/main" id="{676C88BA-1FB4-47A1-95B6-78FCBEAC46A0}"/>
              </a:ext>
            </a:extLst>
          </p:cNvPr>
          <p:cNvSpPr txBox="1">
            <a:spLocks noChangeArrowheads="1"/>
          </p:cNvSpPr>
          <p:nvPr userDrawn="1"/>
        </p:nvSpPr>
        <p:spPr bwMode="gray">
          <a:xfrm>
            <a:off x="5241545" y="3963197"/>
            <a:ext cx="5597144" cy="220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oAutofit/>
          </a:bodyPr>
          <a:lstStyle>
            <a:defPPr>
              <a:defRPr lang="en-US"/>
            </a:defPPr>
            <a:lvl1pPr eaLnBrk="1" hangingPunct="1">
              <a:defRPr sz="1400" baseline="0">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nl-NL" sz="1400">
                <a:latin typeface="+mn-lt"/>
                <a:ea typeface="+mn-ea"/>
                <a:sym typeface="+mn-lt"/>
              </a:rPr>
              <a:t>Documenttype </a:t>
            </a:r>
          </a:p>
        </p:txBody>
      </p:sp>
      <p:sp>
        <p:nvSpPr>
          <p:cNvPr id="15" name="Title">
            <a:extLst>
              <a:ext uri="{FF2B5EF4-FFF2-40B4-BE49-F238E27FC236}">
                <a16:creationId xmlns:a16="http://schemas.microsoft.com/office/drawing/2014/main" id="{CBE545AD-8310-4304-9413-D42CEBAA7671}"/>
              </a:ext>
            </a:extLst>
          </p:cNvPr>
          <p:cNvSpPr>
            <a:spLocks noGrp="1"/>
          </p:cNvSpPr>
          <p:nvPr>
            <p:ph type="ctrTitle"/>
            <p:custDataLst>
              <p:tags r:id="rId4"/>
            </p:custDataLst>
          </p:nvPr>
        </p:nvSpPr>
        <p:spPr>
          <a:xfrm>
            <a:off x="4414048" y="2546003"/>
            <a:ext cx="7361972" cy="1354217"/>
          </a:xfrm>
        </p:spPr>
        <p:txBody>
          <a:bodyPr anchor="b"/>
          <a:lstStyle>
            <a:lvl1pPr>
              <a:defRPr/>
            </a:lvl1pPr>
          </a:lstStyle>
          <a:p>
            <a:r>
              <a:rPr lang="nl-NL" sz="4489" noProof="0"/>
              <a:t>Click </a:t>
            </a:r>
            <a:r>
              <a:rPr lang="nl-NL" sz="4489" noProof="0" err="1"/>
              <a:t>to</a:t>
            </a:r>
            <a:r>
              <a:rPr lang="nl-NL" sz="4489" noProof="0"/>
              <a:t> </a:t>
            </a:r>
            <a:r>
              <a:rPr lang="nl-NL" sz="4489" noProof="0" err="1"/>
              <a:t>edit</a:t>
            </a:r>
            <a:r>
              <a:rPr lang="nl-NL" sz="4489" noProof="0"/>
              <a:t> Master </a:t>
            </a:r>
            <a:r>
              <a:rPr lang="nl-NL" sz="4489" noProof="0" err="1"/>
              <a:t>title</a:t>
            </a:r>
            <a:r>
              <a:rPr lang="nl-NL" sz="4489" noProof="0"/>
              <a:t> </a:t>
            </a:r>
            <a:r>
              <a:rPr lang="nl-NL" sz="4489" noProof="0" err="1"/>
              <a:t>style</a:t>
            </a:r>
            <a:endParaRPr lang="nl-NL" sz="4489">
              <a:solidFill>
                <a:schemeClr val="tx2"/>
              </a:solidFill>
            </a:endParaRPr>
          </a:p>
        </p:txBody>
      </p:sp>
      <p:sp>
        <p:nvSpPr>
          <p:cNvPr id="9" name="Rectangle 3">
            <a:extLst>
              <a:ext uri="{FF2B5EF4-FFF2-40B4-BE49-F238E27FC236}">
                <a16:creationId xmlns:a16="http://schemas.microsoft.com/office/drawing/2014/main" id="{B268919A-F387-8A44-AA8B-C58AFD59CF22}"/>
              </a:ext>
            </a:extLst>
          </p:cNvPr>
          <p:cNvSpPr/>
          <p:nvPr userDrawn="1"/>
        </p:nvSpPr>
        <p:spPr>
          <a:xfrm>
            <a:off x="4216932" y="5777659"/>
            <a:ext cx="7434930" cy="832633"/>
          </a:xfrm>
          <a:prstGeom prst="rect">
            <a:avLst/>
          </a:prstGeom>
        </p:spPr>
        <p:txBody>
          <a:bodyPr wrap="square" lIns="0" tIns="0" rIns="0" bIns="0">
            <a:spAutoFit/>
          </a:bodyPr>
          <a:lstStyle/>
          <a:p>
            <a:pPr marL="0" marR="0" lvl="0" indent="0" algn="l" defTabSz="932962" rtl="0" eaLnBrk="1" fontAlgn="base" latinLnBrk="0" hangingPunct="1">
              <a:lnSpc>
                <a:spcPct val="100000"/>
              </a:lnSpc>
              <a:spcBef>
                <a:spcPct val="50000"/>
              </a:spcBef>
              <a:spcAft>
                <a:spcPct val="0"/>
              </a:spcAft>
              <a:buClrTx/>
              <a:buSzTx/>
              <a:buFontTx/>
              <a:buNone/>
              <a:tabLst/>
              <a:defRPr/>
            </a:pPr>
            <a:r>
              <a:rPr kumimoji="0" lang="nl-NL" sz="816" b="0" i="1" u="none" strike="noStrike" kern="1200" cap="none" spc="0" normalizeH="0" baseline="0" noProof="0">
                <a:ln>
                  <a:noFill/>
                </a:ln>
                <a:solidFill>
                  <a:srgbClr val="000000"/>
                </a:solidFill>
                <a:effectLst/>
                <a:uLnTx/>
                <a:uFillTx/>
                <a:latin typeface="Arial" charset="0"/>
                <a:ea typeface="ＭＳ Ｐゴシック"/>
                <a:cs typeface="+mn-cs"/>
              </a:rPr>
              <a:t>De informatie in dit document is uitsluitend bedoeld als algemene informatie. Aan de informatie kunnen geen rechten worden ontleend. Hoewel stichting Het Potentieel Pakken zorgvuldigheid in acht neemt bij het samenstellen en onderhouden van dit document, staat de stichting niet in voor de juistheid, volledigheid en/of actualiteit van de informatie en wijst iedere aansprakelijkheid ten aanzien hiervan uitdrukkelijk van de hand.</a:t>
            </a:r>
          </a:p>
          <a:p>
            <a:pPr marL="0" marR="0" lvl="0" indent="0" algn="l" defTabSz="932962" rtl="0" eaLnBrk="1" fontAlgn="base" latinLnBrk="0" hangingPunct="1">
              <a:lnSpc>
                <a:spcPct val="100000"/>
              </a:lnSpc>
              <a:spcBef>
                <a:spcPct val="50000"/>
              </a:spcBef>
              <a:spcAft>
                <a:spcPct val="0"/>
              </a:spcAft>
              <a:buClrTx/>
              <a:buSzTx/>
              <a:buFontTx/>
              <a:buNone/>
              <a:tabLst/>
              <a:defRPr/>
            </a:pPr>
            <a:r>
              <a:rPr kumimoji="0" lang="nl-NL" sz="816" b="0" i="1" u="none" strike="noStrike" kern="1200" cap="none" spc="0" normalizeH="0" baseline="0" noProof="0">
                <a:ln>
                  <a:noFill/>
                </a:ln>
                <a:solidFill>
                  <a:srgbClr val="000000"/>
                </a:solidFill>
                <a:effectLst/>
                <a:uLnTx/>
                <a:uFillTx/>
                <a:latin typeface="Arial" charset="0"/>
                <a:ea typeface="ＭＳ Ｐゴシック"/>
                <a:cs typeface="+mn-cs"/>
              </a:rPr>
              <a:t>© Copyright stichting Het Potentieel Pakken 2020. Alle rechten worden voorbehouden. Niets van de in dit document gepubliceerde gegevens (waaronder begrepen beeldmateriaal) mag zonder uitdrukkelijke voorafgaande schriftelijke toestemming van stichting Het Potentieel Pakken worden verveelvoudigd, bewerkt, en/of (verder) openbaar worden gemaakt, online noch offline.</a:t>
            </a:r>
            <a:endParaRPr kumimoji="0" lang="en-US" sz="918" b="0" i="1" u="none" strike="noStrike" kern="1200" cap="none" spc="0" normalizeH="0" baseline="0" noProof="0">
              <a:ln>
                <a:noFill/>
              </a:ln>
              <a:solidFill>
                <a:srgbClr val="000000"/>
              </a:solidFill>
              <a:effectLst/>
              <a:uLnTx/>
              <a:uFillTx/>
              <a:latin typeface="Arial" charset="0"/>
              <a:ea typeface="ＭＳ Ｐゴシック"/>
              <a:cs typeface="+mn-cs"/>
            </a:endParaRPr>
          </a:p>
        </p:txBody>
      </p:sp>
      <p:cxnSp>
        <p:nvCxnSpPr>
          <p:cNvPr id="13" name="Rechte verbindingslijn 12">
            <a:extLst>
              <a:ext uri="{FF2B5EF4-FFF2-40B4-BE49-F238E27FC236}">
                <a16:creationId xmlns:a16="http://schemas.microsoft.com/office/drawing/2014/main" id="{D0F6A81D-E2C1-D048-86AB-03CA40CA3CD5}"/>
              </a:ext>
            </a:extLst>
          </p:cNvPr>
          <p:cNvCxnSpPr/>
          <p:nvPr userDrawn="1"/>
        </p:nvCxnSpPr>
        <p:spPr>
          <a:xfrm>
            <a:off x="4272352" y="3971310"/>
            <a:ext cx="7617373" cy="0"/>
          </a:xfrm>
          <a:prstGeom prst="line">
            <a:avLst/>
          </a:prstGeom>
          <a:ln/>
        </p:spPr>
        <p:style>
          <a:lnRef idx="2">
            <a:schemeClr val="accent3"/>
          </a:lnRef>
          <a:fillRef idx="0">
            <a:schemeClr val="accent3"/>
          </a:fillRef>
          <a:effectRef idx="1">
            <a:schemeClr val="accent3"/>
          </a:effectRef>
          <a:fontRef idx="minor">
            <a:schemeClr val="tx1"/>
          </a:fontRef>
        </p:style>
      </p:cxnSp>
      <p:sp>
        <p:nvSpPr>
          <p:cNvPr id="17" name="Subtitle">
            <a:extLst>
              <a:ext uri="{FF2B5EF4-FFF2-40B4-BE49-F238E27FC236}">
                <a16:creationId xmlns:a16="http://schemas.microsoft.com/office/drawing/2014/main" id="{098FB0C6-0B43-3948-A0C9-60344E6152AF}"/>
              </a:ext>
            </a:extLst>
          </p:cNvPr>
          <p:cNvSpPr>
            <a:spLocks noGrp="1"/>
          </p:cNvSpPr>
          <p:nvPr>
            <p:ph type="subTitle" idx="4294967295"/>
            <p:custDataLst>
              <p:tags r:id="rId5"/>
            </p:custDataLst>
          </p:nvPr>
        </p:nvSpPr>
        <p:spPr>
          <a:xfrm>
            <a:off x="4414048" y="4062830"/>
            <a:ext cx="7361972" cy="500166"/>
          </a:xfrm>
        </p:spPr>
        <p:txBody>
          <a:bodyPr/>
          <a:lstStyle>
            <a:lvl1pPr>
              <a:defRPr/>
            </a:lvl1pPr>
          </a:lstStyle>
          <a:p>
            <a:pPr lvl="0"/>
            <a:r>
              <a:rPr lang="nl-NL" noProof="0"/>
              <a:t>Click </a:t>
            </a:r>
            <a:r>
              <a:rPr lang="nl-NL" noProof="0" err="1"/>
              <a:t>to</a:t>
            </a:r>
            <a:r>
              <a:rPr lang="nl-NL" noProof="0"/>
              <a:t> </a:t>
            </a:r>
            <a:r>
              <a:rPr lang="nl-NL" noProof="0" err="1"/>
              <a:t>edit</a:t>
            </a:r>
            <a:r>
              <a:rPr lang="nl-NL" noProof="0"/>
              <a:t> Master </a:t>
            </a:r>
            <a:r>
              <a:rPr lang="nl-NL" noProof="0" err="1"/>
              <a:t>subtitle</a:t>
            </a:r>
            <a:r>
              <a:rPr lang="nl-NL" noProof="0"/>
              <a:t> </a:t>
            </a:r>
            <a:r>
              <a:rPr lang="nl-NL" noProof="0" err="1"/>
              <a:t>style</a:t>
            </a:r>
            <a:endParaRPr lang="nl-NL" noProof="0"/>
          </a:p>
        </p:txBody>
      </p:sp>
    </p:spTree>
    <p:extLst>
      <p:ext uri="{BB962C8B-B14F-4D97-AF65-F5344CB8AC3E}">
        <p14:creationId xmlns:p14="http://schemas.microsoft.com/office/powerpoint/2010/main" val="17416373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7" y="1625"/>
          <a:ext cx="2159" cy="1619"/>
        </p:xfrm>
        <a:graphic>
          <a:graphicData uri="http://schemas.openxmlformats.org/presentationml/2006/ole">
            <mc:AlternateContent xmlns:mc="http://schemas.openxmlformats.org/markup-compatibility/2006">
              <mc:Choice xmlns:v="urn:schemas-microsoft-com:vml" Requires="v">
                <p:oleObj spid="_x0000_s5122"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7" y="1625"/>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852E13-85EB-4EA2-91B0-2DA1C3D63BC3}"/>
              </a:ext>
            </a:extLst>
          </p:cNvPr>
          <p:cNvSpPr/>
          <p:nvPr userDrawn="1">
            <p:custDataLst>
              <p:tags r:id="rId3"/>
            </p:custDataLst>
          </p:nvPr>
        </p:nvSpPr>
        <p:spPr>
          <a:xfrm>
            <a:off x="4" y="6"/>
            <a:ext cx="158751"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800"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7" y="472853"/>
            <a:ext cx="11082528"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defRPr>
                <a:latin typeface="+mj-lt"/>
                <a:ea typeface="+mj-ea"/>
                <a:sym typeface="+mj-lt"/>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Tree>
    <p:extLst>
      <p:ext uri="{BB962C8B-B14F-4D97-AF65-F5344CB8AC3E}">
        <p14:creationId xmlns:p14="http://schemas.microsoft.com/office/powerpoint/2010/main" val="20956672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lt.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7" y="1625"/>
          <a:ext cx="2159" cy="1619"/>
        </p:xfrm>
        <a:graphic>
          <a:graphicData uri="http://schemas.openxmlformats.org/presentationml/2006/ole">
            <mc:AlternateContent xmlns:mc="http://schemas.openxmlformats.org/markup-compatibility/2006">
              <mc:Choice xmlns:v="urn:schemas-microsoft-com:vml" Requires="v">
                <p:oleObj spid="_x0000_s6146"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7" y="1625"/>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CDA74ED-0336-4806-9831-0D6B17C68BE2}"/>
              </a:ext>
            </a:extLst>
          </p:cNvPr>
          <p:cNvSpPr/>
          <p:nvPr userDrawn="1">
            <p:custDataLst>
              <p:tags r:id="rId3"/>
            </p:custDataLst>
          </p:nvPr>
        </p:nvSpPr>
        <p:spPr>
          <a:xfrm>
            <a:off x="4" y="6"/>
            <a:ext cx="158751"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l-NL" sz="2800"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7" y="2652042"/>
            <a:ext cx="3465576" cy="861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a:latin typeface="+mj-lt"/>
                <a:ea typeface="+mj-ea"/>
                <a:sym typeface="+mj-lt"/>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6" name="3. Unit of measure" hidden="1">
            <a:extLst>
              <a:ext uri="{FF2B5EF4-FFF2-40B4-BE49-F238E27FC236}">
                <a16:creationId xmlns:a16="http://schemas.microsoft.com/office/drawing/2014/main" id="{33C0BA8B-A6DC-41B6-B34E-F10C35197C90}"/>
              </a:ext>
            </a:extLst>
          </p:cNvPr>
          <p:cNvSpPr txBox="1">
            <a:spLocks noChangeArrowheads="1"/>
          </p:cNvSpPr>
          <p:nvPr userDrawn="1"/>
        </p:nvSpPr>
        <p:spPr bwMode="gray">
          <a:xfrm>
            <a:off x="554736" y="3659651"/>
            <a:ext cx="3465576"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nl-NL" sz="1900">
                <a:latin typeface="+mn-lt"/>
                <a:ea typeface="+mn-ea"/>
                <a:sym typeface="+mn-lt"/>
              </a:rPr>
              <a:t>Meeteenheid </a:t>
            </a:r>
          </a:p>
        </p:txBody>
      </p:sp>
      <p:sp>
        <p:nvSpPr>
          <p:cNvPr id="8" name="Rectangle 7">
            <a:extLst>
              <a:ext uri="{FF2B5EF4-FFF2-40B4-BE49-F238E27FC236}">
                <a16:creationId xmlns:a16="http://schemas.microsoft.com/office/drawing/2014/main" id="{6F32F541-4C5A-4992-90B3-AB9730445461}"/>
              </a:ext>
            </a:extLst>
          </p:cNvPr>
          <p:cNvSpPr>
            <a:spLocks/>
          </p:cNvSpPr>
          <p:nvPr userDrawn="1"/>
        </p:nvSpPr>
        <p:spPr bwMode="gray">
          <a:xfrm>
            <a:off x="5772151" y="592456"/>
            <a:ext cx="5867400" cy="581025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noAutofit/>
          </a:bodyPr>
          <a:lstStyle/>
          <a:p>
            <a:pPr marL="0" lvl="0" algn="ctr" defTabSz="914282" eaLnBrk="1" latinLnBrk="0" hangingPunct="1"/>
            <a:endParaRPr lang="nl-NL" sz="1900">
              <a:solidFill>
                <a:schemeClr val="tx1"/>
              </a:solidFill>
            </a:endParaRPr>
          </a:p>
        </p:txBody>
      </p:sp>
      <p:sp>
        <p:nvSpPr>
          <p:cNvPr id="10" name="4. Footnote" hidden="1">
            <a:extLst>
              <a:ext uri="{FF2B5EF4-FFF2-40B4-BE49-F238E27FC236}">
                <a16:creationId xmlns:a16="http://schemas.microsoft.com/office/drawing/2014/main" id="{43744A64-9617-47EA-AFA1-EC1E7ABB0343}"/>
              </a:ext>
            </a:extLst>
          </p:cNvPr>
          <p:cNvSpPr txBox="1">
            <a:spLocks noChangeArrowheads="1"/>
          </p:cNvSpPr>
          <p:nvPr userDrawn="1"/>
        </p:nvSpPr>
        <p:spPr bwMode="gray">
          <a:xfrm>
            <a:off x="554740" y="6071657"/>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40" indent="-95240"/>
            <a:r>
              <a:rPr lang="nl-NL" sz="900">
                <a:latin typeface="+mn-lt"/>
                <a:ea typeface="+mn-ea"/>
                <a:sym typeface="+mn-lt"/>
              </a:rPr>
              <a:t>1 Voetnoot </a:t>
            </a:r>
          </a:p>
        </p:txBody>
      </p:sp>
      <p:sp>
        <p:nvSpPr>
          <p:cNvPr id="11" name="5. Source" hidden="1">
            <a:extLst>
              <a:ext uri="{FF2B5EF4-FFF2-40B4-BE49-F238E27FC236}">
                <a16:creationId xmlns:a16="http://schemas.microsoft.com/office/drawing/2014/main" id="{318C7451-78B0-4413-BDD6-D4B843EDEC15}"/>
              </a:ext>
            </a:extLst>
          </p:cNvPr>
          <p:cNvSpPr>
            <a:spLocks noChangeArrowheads="1"/>
          </p:cNvSpPr>
          <p:nvPr userDrawn="1"/>
        </p:nvSpPr>
        <p:spPr bwMode="gray">
          <a:xfrm>
            <a:off x="554740" y="6261395"/>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59" indent="-304759" defTabSz="895236">
              <a:tabLst/>
            </a:pPr>
            <a:r>
              <a:rPr lang="nl-NL" sz="900" baseline="0" noProof="0">
                <a:latin typeface="+mn-lt"/>
                <a:ea typeface="+mn-ea"/>
                <a:sym typeface="+mn-lt"/>
              </a:rPr>
              <a:t>Bron: Bron </a:t>
            </a:r>
          </a:p>
        </p:txBody>
      </p:sp>
    </p:spTree>
    <p:extLst>
      <p:ext uri="{BB962C8B-B14F-4D97-AF65-F5344CB8AC3E}">
        <p14:creationId xmlns:p14="http://schemas.microsoft.com/office/powerpoint/2010/main" val="29441699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Alt.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7" y="1625"/>
          <a:ext cx="2159" cy="1619"/>
        </p:xfrm>
        <a:graphic>
          <a:graphicData uri="http://schemas.openxmlformats.org/presentationml/2006/ole">
            <mc:AlternateContent xmlns:mc="http://schemas.openxmlformats.org/markup-compatibility/2006">
              <mc:Choice xmlns:v="urn:schemas-microsoft-com:vml" Requires="v">
                <p:oleObj spid="_x0000_s7170"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7" y="1625"/>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CDA74ED-0336-4806-9831-0D6B17C68BE2}"/>
              </a:ext>
            </a:extLst>
          </p:cNvPr>
          <p:cNvSpPr/>
          <p:nvPr userDrawn="1">
            <p:custDataLst>
              <p:tags r:id="rId3"/>
            </p:custDataLst>
          </p:nvPr>
        </p:nvSpPr>
        <p:spPr>
          <a:xfrm>
            <a:off x="4" y="6"/>
            <a:ext cx="158751"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l-NL" sz="2800"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37" y="2652042"/>
            <a:ext cx="3465576" cy="861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a:latin typeface="+mj-lt"/>
                <a:ea typeface="+mj-ea"/>
                <a:sym typeface="+mj-lt"/>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6" name="3. Unit of measure" hidden="1">
            <a:extLst>
              <a:ext uri="{FF2B5EF4-FFF2-40B4-BE49-F238E27FC236}">
                <a16:creationId xmlns:a16="http://schemas.microsoft.com/office/drawing/2014/main" id="{33C0BA8B-A6DC-41B6-B34E-F10C35197C90}"/>
              </a:ext>
            </a:extLst>
          </p:cNvPr>
          <p:cNvSpPr txBox="1">
            <a:spLocks noChangeArrowheads="1"/>
          </p:cNvSpPr>
          <p:nvPr userDrawn="1"/>
        </p:nvSpPr>
        <p:spPr bwMode="gray">
          <a:xfrm>
            <a:off x="554736" y="3659651"/>
            <a:ext cx="3465576"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nl-NL" sz="1900">
                <a:latin typeface="+mn-lt"/>
                <a:ea typeface="+mn-ea"/>
                <a:sym typeface="+mn-lt"/>
              </a:rPr>
              <a:t>Meeteenheid </a:t>
            </a:r>
          </a:p>
        </p:txBody>
      </p:sp>
      <p:sp>
        <p:nvSpPr>
          <p:cNvPr id="10" name="4. Footnote" hidden="1">
            <a:extLst>
              <a:ext uri="{FF2B5EF4-FFF2-40B4-BE49-F238E27FC236}">
                <a16:creationId xmlns:a16="http://schemas.microsoft.com/office/drawing/2014/main" id="{43744A64-9617-47EA-AFA1-EC1E7ABB0343}"/>
              </a:ext>
            </a:extLst>
          </p:cNvPr>
          <p:cNvSpPr txBox="1">
            <a:spLocks noChangeArrowheads="1"/>
          </p:cNvSpPr>
          <p:nvPr userDrawn="1"/>
        </p:nvSpPr>
        <p:spPr bwMode="gray">
          <a:xfrm>
            <a:off x="554740" y="6071657"/>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40" indent="-95240"/>
            <a:r>
              <a:rPr lang="nl-NL" sz="900">
                <a:latin typeface="+mn-lt"/>
                <a:ea typeface="+mn-ea"/>
                <a:sym typeface="+mn-lt"/>
              </a:rPr>
              <a:t>1 Voetnoot </a:t>
            </a:r>
          </a:p>
        </p:txBody>
      </p:sp>
      <p:sp>
        <p:nvSpPr>
          <p:cNvPr id="11" name="5. Source" hidden="1">
            <a:extLst>
              <a:ext uri="{FF2B5EF4-FFF2-40B4-BE49-F238E27FC236}">
                <a16:creationId xmlns:a16="http://schemas.microsoft.com/office/drawing/2014/main" id="{318C7451-78B0-4413-BDD6-D4B843EDEC15}"/>
              </a:ext>
            </a:extLst>
          </p:cNvPr>
          <p:cNvSpPr>
            <a:spLocks noChangeArrowheads="1"/>
          </p:cNvSpPr>
          <p:nvPr userDrawn="1"/>
        </p:nvSpPr>
        <p:spPr bwMode="gray">
          <a:xfrm>
            <a:off x="554740" y="6261395"/>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59" indent="-304759" defTabSz="895236">
              <a:tabLst/>
            </a:pPr>
            <a:r>
              <a:rPr lang="nl-NL" sz="900" baseline="0" noProof="0">
                <a:latin typeface="+mn-lt"/>
                <a:ea typeface="+mn-ea"/>
                <a:sym typeface="+mn-lt"/>
              </a:rPr>
              <a:t>Bron: Bron </a:t>
            </a:r>
          </a:p>
        </p:txBody>
      </p:sp>
      <p:sp>
        <p:nvSpPr>
          <p:cNvPr id="12" name="Rectangle 11">
            <a:extLst>
              <a:ext uri="{FF2B5EF4-FFF2-40B4-BE49-F238E27FC236}">
                <a16:creationId xmlns:a16="http://schemas.microsoft.com/office/drawing/2014/main" id="{75A7CF91-FFBB-4FDC-936C-81A9CA8A356A}"/>
              </a:ext>
            </a:extLst>
          </p:cNvPr>
          <p:cNvSpPr/>
          <p:nvPr userDrawn="1"/>
        </p:nvSpPr>
        <p:spPr>
          <a:xfrm>
            <a:off x="4671226" y="590548"/>
            <a:ext cx="6979431" cy="5760000"/>
          </a:xfrm>
          <a:prstGeom prst="rect">
            <a:avLst/>
          </a:prstGeom>
          <a:solidFill>
            <a:srgbClr val="FFFFFF">
              <a:lumMod val="95000"/>
            </a:srgbClr>
          </a:solidFill>
          <a:ln w="9525" cap="flat" cmpd="sng" algn="ctr">
            <a:noFill/>
            <a:prstDash val="solid"/>
          </a:ln>
          <a:effectLst/>
        </p:spPr>
        <p:txBody>
          <a:bodyPr lIns="91430" tIns="45718" rIns="91430" bIns="45718" rtlCol="0" anchor="ctr"/>
          <a:lstStyle/>
          <a:p>
            <a:pPr marL="0" marR="0" lvl="0" indent="0" algn="ctr" defTabSz="914282" eaLnBrk="1" fontAlgn="auto" latinLnBrk="0" hangingPunct="1">
              <a:lnSpc>
                <a:spcPct val="100000"/>
              </a:lnSpc>
              <a:spcBef>
                <a:spcPts val="0"/>
              </a:spcBef>
              <a:spcAft>
                <a:spcPts val="0"/>
              </a:spcAft>
              <a:buClrTx/>
              <a:buSzTx/>
              <a:buFontTx/>
              <a:buNone/>
              <a:tabLst/>
              <a:defRPr/>
            </a:pPr>
            <a:endParaRPr kumimoji="0" lang="nl-NL" sz="1900" b="0" i="0" u="none" strike="noStrike" kern="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8714690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Alt.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7" y="1625"/>
          <a:ext cx="2159" cy="1619"/>
        </p:xfrm>
        <a:graphic>
          <a:graphicData uri="http://schemas.openxmlformats.org/presentationml/2006/ole">
            <mc:AlternateContent xmlns:mc="http://schemas.openxmlformats.org/markup-compatibility/2006">
              <mc:Choice xmlns:v="urn:schemas-microsoft-com:vml" Requires="v">
                <p:oleObj spid="_x0000_s8194"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2167" y="1625"/>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CDA74ED-0336-4806-9831-0D6B17C68BE2}"/>
              </a:ext>
            </a:extLst>
          </p:cNvPr>
          <p:cNvSpPr/>
          <p:nvPr userDrawn="1">
            <p:custDataLst>
              <p:tags r:id="rId3"/>
            </p:custDataLst>
          </p:nvPr>
        </p:nvSpPr>
        <p:spPr>
          <a:xfrm>
            <a:off x="4" y="6"/>
            <a:ext cx="158751"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l-NL" sz="2800"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7" name="Title">
            <a:extLst>
              <a:ext uri="{FF2B5EF4-FFF2-40B4-BE49-F238E27FC236}">
                <a16:creationId xmlns:a16="http://schemas.microsoft.com/office/drawing/2014/main" id="{6E397DE7-A8EB-4772-B9B0-A45BB37C6C58}"/>
              </a:ext>
            </a:extLst>
          </p:cNvPr>
          <p:cNvSpPr>
            <a:spLocks noGrp="1" noChangeArrowheads="1"/>
          </p:cNvSpPr>
          <p:nvPr>
            <p:ph type="title"/>
          </p:nvPr>
        </p:nvSpPr>
        <p:spPr bwMode="gray">
          <a:xfrm>
            <a:off x="554743" y="2652042"/>
            <a:ext cx="2556327" cy="861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defRPr>
                <a:latin typeface="+mj-lt"/>
                <a:ea typeface="+mj-ea"/>
                <a:sym typeface="+mj-lt"/>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6" name="3. Unit of measure" hidden="1">
            <a:extLst>
              <a:ext uri="{FF2B5EF4-FFF2-40B4-BE49-F238E27FC236}">
                <a16:creationId xmlns:a16="http://schemas.microsoft.com/office/drawing/2014/main" id="{33C0BA8B-A6DC-41B6-B34E-F10C35197C90}"/>
              </a:ext>
            </a:extLst>
          </p:cNvPr>
          <p:cNvSpPr txBox="1">
            <a:spLocks noChangeArrowheads="1"/>
          </p:cNvSpPr>
          <p:nvPr userDrawn="1"/>
        </p:nvSpPr>
        <p:spPr bwMode="gray">
          <a:xfrm>
            <a:off x="554736" y="3659651"/>
            <a:ext cx="3465576"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nl-NL" sz="1900">
                <a:latin typeface="+mn-lt"/>
                <a:ea typeface="+mn-ea"/>
                <a:sym typeface="+mn-lt"/>
              </a:rPr>
              <a:t>Meeteenheid </a:t>
            </a:r>
          </a:p>
        </p:txBody>
      </p:sp>
      <p:sp>
        <p:nvSpPr>
          <p:cNvPr id="10" name="4. Footnote" hidden="1">
            <a:extLst>
              <a:ext uri="{FF2B5EF4-FFF2-40B4-BE49-F238E27FC236}">
                <a16:creationId xmlns:a16="http://schemas.microsoft.com/office/drawing/2014/main" id="{43744A64-9617-47EA-AFA1-EC1E7ABB0343}"/>
              </a:ext>
            </a:extLst>
          </p:cNvPr>
          <p:cNvSpPr txBox="1">
            <a:spLocks noChangeArrowheads="1"/>
          </p:cNvSpPr>
          <p:nvPr userDrawn="1"/>
        </p:nvSpPr>
        <p:spPr bwMode="gray">
          <a:xfrm>
            <a:off x="554740" y="6071657"/>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40" indent="-95240"/>
            <a:r>
              <a:rPr lang="nl-NL" sz="900">
                <a:latin typeface="+mn-lt"/>
                <a:ea typeface="+mn-ea"/>
                <a:sym typeface="+mn-lt"/>
              </a:rPr>
              <a:t>1 Voetnoot </a:t>
            </a:r>
          </a:p>
        </p:txBody>
      </p:sp>
      <p:sp>
        <p:nvSpPr>
          <p:cNvPr id="11" name="5. Source" hidden="1">
            <a:extLst>
              <a:ext uri="{FF2B5EF4-FFF2-40B4-BE49-F238E27FC236}">
                <a16:creationId xmlns:a16="http://schemas.microsoft.com/office/drawing/2014/main" id="{318C7451-78B0-4413-BDD6-D4B843EDEC15}"/>
              </a:ext>
            </a:extLst>
          </p:cNvPr>
          <p:cNvSpPr>
            <a:spLocks noChangeArrowheads="1"/>
          </p:cNvSpPr>
          <p:nvPr userDrawn="1"/>
        </p:nvSpPr>
        <p:spPr bwMode="gray">
          <a:xfrm>
            <a:off x="554740" y="6261395"/>
            <a:ext cx="5007863"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59" indent="-304759" defTabSz="895236">
              <a:tabLst/>
            </a:pPr>
            <a:r>
              <a:rPr lang="nl-NL" sz="900" baseline="0" noProof="0">
                <a:latin typeface="+mn-lt"/>
                <a:ea typeface="+mn-ea"/>
                <a:sym typeface="+mn-lt"/>
              </a:rPr>
              <a:t>Bron: Bron </a:t>
            </a:r>
          </a:p>
        </p:txBody>
      </p:sp>
      <p:sp>
        <p:nvSpPr>
          <p:cNvPr id="12" name="Rectangle 11">
            <a:extLst>
              <a:ext uri="{FF2B5EF4-FFF2-40B4-BE49-F238E27FC236}">
                <a16:creationId xmlns:a16="http://schemas.microsoft.com/office/drawing/2014/main" id="{75A7CF91-FFBB-4FDC-936C-81A9CA8A356A}"/>
              </a:ext>
            </a:extLst>
          </p:cNvPr>
          <p:cNvSpPr/>
          <p:nvPr userDrawn="1"/>
        </p:nvSpPr>
        <p:spPr>
          <a:xfrm>
            <a:off x="3447393" y="590548"/>
            <a:ext cx="8203256" cy="5760000"/>
          </a:xfrm>
          <a:prstGeom prst="rect">
            <a:avLst/>
          </a:prstGeom>
          <a:solidFill>
            <a:srgbClr val="FFFFFF">
              <a:lumMod val="95000"/>
            </a:srgbClr>
          </a:solidFill>
          <a:ln w="9525" cap="flat" cmpd="sng" algn="ctr">
            <a:noFill/>
            <a:prstDash val="solid"/>
          </a:ln>
          <a:effectLst/>
        </p:spPr>
        <p:txBody>
          <a:bodyPr lIns="91430" tIns="45718" rIns="91430" bIns="45718" rtlCol="0" anchor="ctr"/>
          <a:lstStyle/>
          <a:p>
            <a:pPr marL="0" marR="0" lvl="0" indent="0" algn="ctr" defTabSz="914282" eaLnBrk="1" fontAlgn="auto" latinLnBrk="0" hangingPunct="1">
              <a:lnSpc>
                <a:spcPct val="100000"/>
              </a:lnSpc>
              <a:spcBef>
                <a:spcPts val="0"/>
              </a:spcBef>
              <a:spcAft>
                <a:spcPts val="0"/>
              </a:spcAft>
              <a:buClrTx/>
              <a:buSzTx/>
              <a:buFontTx/>
              <a:buNone/>
              <a:tabLst/>
              <a:defRPr/>
            </a:pPr>
            <a:endParaRPr kumimoji="0" lang="nl-NL" sz="1900" b="0" i="0" u="none" strike="noStrike" kern="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6456275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op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18AF618-B98E-48ED-A178-28F84BAF5DC6}"/>
              </a:ext>
            </a:extLst>
          </p:cNvPr>
          <p:cNvGraphicFramePr>
            <a:graphicFrameLocks noChangeAspect="1"/>
          </p:cNvGraphicFramePr>
          <p:nvPr userDrawn="1">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8" imgW="408" imgH="408" progId="TCLayout.ActiveDocument.1">
                  <p:embed/>
                </p:oleObj>
              </mc:Choice>
              <mc:Fallback>
                <p:oleObj name="think-cell Slide" r:id="rId8" imgW="408" imgH="408" progId="TCLayout.ActiveDocument.1">
                  <p:embed/>
                  <p:pic>
                    <p:nvPicPr>
                      <p:cNvPr id="7" name="Object 6" hidden="1">
                        <a:extLst>
                          <a:ext uri="{FF2B5EF4-FFF2-40B4-BE49-F238E27FC236}">
                            <a16:creationId xmlns:a16="http://schemas.microsoft.com/office/drawing/2014/main" id="{718AF618-B98E-48ED-A178-28F84BAF5DC6}"/>
                          </a:ext>
                        </a:extLst>
                      </p:cNvPr>
                      <p:cNvPicPr/>
                      <p:nvPr/>
                    </p:nvPicPr>
                    <p:blipFill>
                      <a:blip r:embed="rId9"/>
                      <a:stretch>
                        <a:fillRect/>
                      </a:stretch>
                    </p:blipFill>
                    <p:spPr>
                      <a:xfrm>
                        <a:off x="1591" y="1591"/>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13BDCCB-D4EF-4072-A8A7-7E15371C7F2F}"/>
              </a:ext>
            </a:extLst>
          </p:cNvPr>
          <p:cNvSpPr/>
          <p:nvPr userDrawn="1">
            <p:custDataLst>
              <p:tags r:id="rId3"/>
            </p:custDataLst>
          </p:nvPr>
        </p:nvSpPr>
        <p:spPr>
          <a:xfrm>
            <a:off x="4" y="6"/>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nl-NL" sz="2800" b="0" i="0" baseline="0">
              <a:solidFill>
                <a:schemeClr val="bg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6" y="6501671"/>
            <a:ext cx="7277861" cy="125612"/>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800"/>
              <a:t>Source: …</a:t>
            </a:r>
          </a:p>
        </p:txBody>
      </p:sp>
      <p:sp>
        <p:nvSpPr>
          <p:cNvPr id="5" name="Rectangle 4">
            <a:extLst>
              <a:ext uri="{FF2B5EF4-FFF2-40B4-BE49-F238E27FC236}">
                <a16:creationId xmlns:a16="http://schemas.microsoft.com/office/drawing/2014/main" id="{3EE81947-0D95-49BC-AF3F-3F5785D063DB}"/>
              </a:ext>
            </a:extLst>
          </p:cNvPr>
          <p:cNvSpPr/>
          <p:nvPr userDrawn="1"/>
        </p:nvSpPr>
        <p:spPr>
          <a:xfrm>
            <a:off x="554740" y="523376"/>
            <a:ext cx="11090911" cy="5885045"/>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8" rIns="91428" bIns="45718" numCol="1" spcCol="0" rtlCol="0" fromWordArt="0" anchor="ctr" anchorCtr="0" forceAA="0" compatLnSpc="1">
            <a:prstTxWarp prst="textNoShape">
              <a:avLst/>
            </a:prstTxWarp>
            <a:noAutofit/>
          </a:bodyPr>
          <a:lstStyle/>
          <a:p>
            <a:pPr algn="ctr">
              <a:spcBef>
                <a:spcPts val="300"/>
              </a:spcBef>
              <a:spcAft>
                <a:spcPts val="300"/>
              </a:spcAft>
            </a:pPr>
            <a:endParaRPr lang="nl-NL" sz="1600">
              <a:solidFill>
                <a:schemeClr val="bg1"/>
              </a:solidFill>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5"/>
            </p:custDataLst>
          </p:nvPr>
        </p:nvSpPr>
        <p:spPr>
          <a:xfrm>
            <a:off x="1088137" y="1706570"/>
            <a:ext cx="4408291" cy="387799"/>
          </a:xfrm>
          <a:prstGeom prst="rect">
            <a:avLst/>
          </a:prstGeom>
        </p:spPr>
        <p:txBody>
          <a:bodyPr wrap="square" anchor="t">
            <a:spAutoFit/>
          </a:bodyPr>
          <a:lstStyle>
            <a:lvl1pPr>
              <a:lnSpc>
                <a:spcPct val="90000"/>
              </a:lnSpc>
              <a:defRPr>
                <a:ln w="6350" cap="flat">
                  <a:noFill/>
                  <a:miter lim="800000"/>
                </a:ln>
              </a:defRPr>
            </a:lvl1pPr>
          </a:lstStyle>
          <a:p>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
        <p:nvSpPr>
          <p:cNvPr id="9" name="Slide Number">
            <a:extLst>
              <a:ext uri="{FF2B5EF4-FFF2-40B4-BE49-F238E27FC236}">
                <a16:creationId xmlns:a16="http://schemas.microsoft.com/office/drawing/2014/main" id="{6DAEBA97-0363-448D-ADC5-B79043564A57}"/>
              </a:ext>
            </a:extLst>
          </p:cNvPr>
          <p:cNvSpPr>
            <a:spLocks noChangeArrowheads="1"/>
          </p:cNvSpPr>
          <p:nvPr userDrawn="1">
            <p:custDataLst>
              <p:tags r:id="rId6"/>
            </p:custDataLst>
          </p:nvPr>
        </p:nvSpPr>
        <p:spPr bwMode="black">
          <a:xfrm>
            <a:off x="11312528" y="6493628"/>
            <a:ext cx="325501" cy="143629"/>
          </a:xfrm>
          <a:prstGeom prst="rect">
            <a:avLst/>
          </a:prstGeom>
          <a:noFill/>
          <a:ln w="9525" algn="ctr">
            <a:noFill/>
            <a:miter lim="800000"/>
            <a:headEnd/>
            <a:tailEnd/>
          </a:ln>
          <a:effectLst/>
        </p:spPr>
        <p:txBody>
          <a:bodyPr wrap="square" lIns="0" tIns="0" rIns="0" bIns="0" anchor="b">
            <a:spAutoFit/>
          </a:bodyPr>
          <a:lstStyle/>
          <a:p>
            <a:pPr algn="r" defTabSz="610663" fontAlgn="auto">
              <a:spcBef>
                <a:spcPts val="0"/>
              </a:spcBef>
              <a:spcAft>
                <a:spcPts val="0"/>
              </a:spcAft>
              <a:defRPr/>
            </a:pPr>
            <a:fld id="{4ABDCABE-3F10-B64C-92F1-862014417034}" type="slidenum">
              <a:rPr lang="nl-NL" sz="900" smtClean="0">
                <a:solidFill>
                  <a:schemeClr val="tx1"/>
                </a:solidFill>
                <a:latin typeface="Andada" panose="02000000000000000000" pitchFamily="50" charset="0"/>
                <a:ea typeface="+mn-ea"/>
                <a:cs typeface="Arial" panose="020B0604020202020204" pitchFamily="34" charset="0"/>
              </a:rPr>
              <a:pPr algn="r" defTabSz="610663" fontAlgn="auto">
                <a:spcBef>
                  <a:spcPts val="0"/>
                </a:spcBef>
                <a:spcAft>
                  <a:spcPts val="0"/>
                </a:spcAft>
                <a:defRPr/>
              </a:pPr>
              <a:t>‹nr.›</a:t>
            </a:fld>
            <a:endParaRPr lang="nl-NL" sz="900">
              <a:solidFill>
                <a:schemeClr val="tx1"/>
              </a:solidFill>
              <a:latin typeface="Andada" panose="02000000000000000000" pitchFamily="50" charset="0"/>
              <a:ea typeface="+mn-ea"/>
              <a:cs typeface="Arial" panose="020B0604020202020204" pitchFamily="34" charset="0"/>
            </a:endParaRPr>
          </a:p>
        </p:txBody>
      </p:sp>
    </p:spTree>
    <p:extLst>
      <p:ext uri="{BB962C8B-B14F-4D97-AF65-F5344CB8AC3E}">
        <p14:creationId xmlns:p14="http://schemas.microsoft.com/office/powerpoint/2010/main" val="10567881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op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18AF618-B98E-48ED-A178-28F84BAF5DC6}"/>
              </a:ext>
            </a:extLst>
          </p:cNvPr>
          <p:cNvGraphicFramePr>
            <a:graphicFrameLocks noChangeAspect="1"/>
          </p:cNvGraphicFramePr>
          <p:nvPr userDrawn="1">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8" imgW="408" imgH="408" progId="TCLayout.ActiveDocument.1">
                  <p:embed/>
                </p:oleObj>
              </mc:Choice>
              <mc:Fallback>
                <p:oleObj name="think-cell Slide" r:id="rId8" imgW="408" imgH="408" progId="TCLayout.ActiveDocument.1">
                  <p:embed/>
                  <p:pic>
                    <p:nvPicPr>
                      <p:cNvPr id="7" name="Object 6" hidden="1">
                        <a:extLst>
                          <a:ext uri="{FF2B5EF4-FFF2-40B4-BE49-F238E27FC236}">
                            <a16:creationId xmlns:a16="http://schemas.microsoft.com/office/drawing/2014/main" id="{718AF618-B98E-48ED-A178-28F84BAF5DC6}"/>
                          </a:ext>
                        </a:extLst>
                      </p:cNvPr>
                      <p:cNvPicPr/>
                      <p:nvPr/>
                    </p:nvPicPr>
                    <p:blipFill>
                      <a:blip r:embed="rId9"/>
                      <a:stretch>
                        <a:fillRect/>
                      </a:stretch>
                    </p:blipFill>
                    <p:spPr>
                      <a:xfrm>
                        <a:off x="1591" y="1591"/>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13BDCCB-D4EF-4072-A8A7-7E15371C7F2F}"/>
              </a:ext>
            </a:extLst>
          </p:cNvPr>
          <p:cNvSpPr/>
          <p:nvPr userDrawn="1">
            <p:custDataLst>
              <p:tags r:id="rId3"/>
            </p:custDataLst>
          </p:nvPr>
        </p:nvSpPr>
        <p:spPr>
          <a:xfrm>
            <a:off x="4" y="6"/>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nl-NL" sz="2800" b="0" i="0" baseline="0">
              <a:solidFill>
                <a:schemeClr val="bg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6" y="6501671"/>
            <a:ext cx="7277861" cy="125612"/>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nl-NL" sz="800"/>
              <a:t>Source: …</a:t>
            </a:r>
          </a:p>
        </p:txBody>
      </p:sp>
      <p:sp>
        <p:nvSpPr>
          <p:cNvPr id="5" name="Rectangle 4">
            <a:extLst>
              <a:ext uri="{FF2B5EF4-FFF2-40B4-BE49-F238E27FC236}">
                <a16:creationId xmlns:a16="http://schemas.microsoft.com/office/drawing/2014/main" id="{3EE81947-0D95-49BC-AF3F-3F5785D063DB}"/>
              </a:ext>
            </a:extLst>
          </p:cNvPr>
          <p:cNvSpPr/>
          <p:nvPr userDrawn="1"/>
        </p:nvSpPr>
        <p:spPr>
          <a:xfrm>
            <a:off x="554740" y="523376"/>
            <a:ext cx="11090911" cy="5885045"/>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8" rIns="91428" bIns="45718" numCol="1" spcCol="0" rtlCol="0" fromWordArt="0" anchor="ctr" anchorCtr="0" forceAA="0" compatLnSpc="1">
            <a:prstTxWarp prst="textNoShape">
              <a:avLst/>
            </a:prstTxWarp>
            <a:noAutofit/>
          </a:bodyPr>
          <a:lstStyle/>
          <a:p>
            <a:pPr algn="ctr">
              <a:spcBef>
                <a:spcPts val="300"/>
              </a:spcBef>
              <a:spcAft>
                <a:spcPts val="300"/>
              </a:spcAft>
            </a:pPr>
            <a:endParaRPr lang="nl-NL" sz="1600">
              <a:solidFill>
                <a:schemeClr val="bg1"/>
              </a:solidFill>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5"/>
            </p:custDataLst>
          </p:nvPr>
        </p:nvSpPr>
        <p:spPr>
          <a:xfrm>
            <a:off x="1088137" y="1706570"/>
            <a:ext cx="4408291" cy="387799"/>
          </a:xfrm>
          <a:prstGeom prst="rect">
            <a:avLst/>
          </a:prstGeom>
        </p:spPr>
        <p:txBody>
          <a:bodyPr wrap="square" anchor="t">
            <a:spAutoFit/>
          </a:bodyPr>
          <a:lstStyle>
            <a:lvl1pPr>
              <a:lnSpc>
                <a:spcPct val="90000"/>
              </a:lnSpc>
              <a:defRPr>
                <a:ln w="6350" cap="flat">
                  <a:noFill/>
                  <a:miter lim="800000"/>
                </a:ln>
              </a:defRPr>
            </a:lvl1pPr>
          </a:lstStyle>
          <a:p>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
        <p:nvSpPr>
          <p:cNvPr id="9" name="Slide Number">
            <a:extLst>
              <a:ext uri="{FF2B5EF4-FFF2-40B4-BE49-F238E27FC236}">
                <a16:creationId xmlns:a16="http://schemas.microsoft.com/office/drawing/2014/main" id="{6DAEBA97-0363-448D-ADC5-B79043564A57}"/>
              </a:ext>
            </a:extLst>
          </p:cNvPr>
          <p:cNvSpPr>
            <a:spLocks noChangeArrowheads="1"/>
          </p:cNvSpPr>
          <p:nvPr userDrawn="1">
            <p:custDataLst>
              <p:tags r:id="rId6"/>
            </p:custDataLst>
          </p:nvPr>
        </p:nvSpPr>
        <p:spPr bwMode="black">
          <a:xfrm>
            <a:off x="11312528" y="6493628"/>
            <a:ext cx="325501" cy="143629"/>
          </a:xfrm>
          <a:prstGeom prst="rect">
            <a:avLst/>
          </a:prstGeom>
          <a:noFill/>
          <a:ln w="9525" algn="ctr">
            <a:noFill/>
            <a:miter lim="800000"/>
            <a:headEnd/>
            <a:tailEnd/>
          </a:ln>
          <a:effectLst/>
        </p:spPr>
        <p:txBody>
          <a:bodyPr wrap="square" lIns="0" tIns="0" rIns="0" bIns="0" anchor="b">
            <a:spAutoFit/>
          </a:bodyPr>
          <a:lstStyle/>
          <a:p>
            <a:pPr algn="r" defTabSz="610663" fontAlgn="auto">
              <a:spcBef>
                <a:spcPts val="0"/>
              </a:spcBef>
              <a:spcAft>
                <a:spcPts val="0"/>
              </a:spcAft>
              <a:defRPr/>
            </a:pPr>
            <a:fld id="{4ABDCABE-3F10-B64C-92F1-862014417034}" type="slidenum">
              <a:rPr lang="nl-NL" sz="900" smtClean="0">
                <a:solidFill>
                  <a:schemeClr val="tx1"/>
                </a:solidFill>
                <a:latin typeface="Andada" panose="02000000000000000000" pitchFamily="50" charset="0"/>
                <a:ea typeface="+mn-ea"/>
                <a:cs typeface="Arial" panose="020B0604020202020204" pitchFamily="34" charset="0"/>
              </a:rPr>
              <a:pPr algn="r" defTabSz="610663" fontAlgn="auto">
                <a:spcBef>
                  <a:spcPts val="0"/>
                </a:spcBef>
                <a:spcAft>
                  <a:spcPts val="0"/>
                </a:spcAft>
                <a:defRPr/>
              </a:pPr>
              <a:t>‹nr.›</a:t>
            </a:fld>
            <a:endParaRPr lang="nl-NL" sz="900">
              <a:solidFill>
                <a:schemeClr val="tx1"/>
              </a:solidFill>
              <a:latin typeface="Andada" panose="02000000000000000000" pitchFamily="50" charset="0"/>
              <a:ea typeface="+mn-ea"/>
              <a:cs typeface="Arial" panose="020B0604020202020204" pitchFamily="34" charset="0"/>
            </a:endParaRPr>
          </a:p>
        </p:txBody>
      </p:sp>
    </p:spTree>
    <p:extLst>
      <p:ext uri="{BB962C8B-B14F-4D97-AF65-F5344CB8AC3E}">
        <p14:creationId xmlns:p14="http://schemas.microsoft.com/office/powerpoint/2010/main" val="219217327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tags" Target="../tags/tag13.xml"/><Relationship Id="rId21" Type="http://schemas.openxmlformats.org/officeDocument/2006/relationships/tags" Target="../tags/tag8.xml"/><Relationship Id="rId42" Type="http://schemas.openxmlformats.org/officeDocument/2006/relationships/tags" Target="../tags/tag29.xml"/><Relationship Id="rId47" Type="http://schemas.openxmlformats.org/officeDocument/2006/relationships/tags" Target="../tags/tag34.xml"/><Relationship Id="rId63" Type="http://schemas.openxmlformats.org/officeDocument/2006/relationships/tags" Target="../tags/tag50.xml"/><Relationship Id="rId68" Type="http://schemas.openxmlformats.org/officeDocument/2006/relationships/tags" Target="../tags/tag55.xml"/><Relationship Id="rId16" Type="http://schemas.openxmlformats.org/officeDocument/2006/relationships/tags" Target="../tags/tag3.xml"/><Relationship Id="rId11" Type="http://schemas.openxmlformats.org/officeDocument/2006/relationships/slideLayout" Target="../slideLayouts/slideLayout11.xml"/><Relationship Id="rId32" Type="http://schemas.openxmlformats.org/officeDocument/2006/relationships/tags" Target="../tags/tag19.xml"/><Relationship Id="rId37" Type="http://schemas.openxmlformats.org/officeDocument/2006/relationships/tags" Target="../tags/tag24.xml"/><Relationship Id="rId53" Type="http://schemas.openxmlformats.org/officeDocument/2006/relationships/tags" Target="../tags/tag40.xml"/><Relationship Id="rId58" Type="http://schemas.openxmlformats.org/officeDocument/2006/relationships/tags" Target="../tags/tag45.xml"/><Relationship Id="rId74" Type="http://schemas.openxmlformats.org/officeDocument/2006/relationships/tags" Target="../tags/tag61.xml"/><Relationship Id="rId79" Type="http://schemas.openxmlformats.org/officeDocument/2006/relationships/tags" Target="../tags/tag66.xml"/><Relationship Id="rId5" Type="http://schemas.openxmlformats.org/officeDocument/2006/relationships/slideLayout" Target="../slideLayouts/slideLayout5.xml"/><Relationship Id="rId61" Type="http://schemas.openxmlformats.org/officeDocument/2006/relationships/tags" Target="../tags/tag48.xml"/><Relationship Id="rId82" Type="http://schemas.openxmlformats.org/officeDocument/2006/relationships/oleObject" Target="../embeddings/oleObject1.bin"/><Relationship Id="rId19" Type="http://schemas.openxmlformats.org/officeDocument/2006/relationships/tags" Target="../tags/tag6.xml"/><Relationship Id="rId14" Type="http://schemas.openxmlformats.org/officeDocument/2006/relationships/vmlDrawing" Target="../drawings/vmlDrawing1.vml"/><Relationship Id="rId22" Type="http://schemas.openxmlformats.org/officeDocument/2006/relationships/tags" Target="../tags/tag9.xml"/><Relationship Id="rId27" Type="http://schemas.openxmlformats.org/officeDocument/2006/relationships/tags" Target="../tags/tag14.xml"/><Relationship Id="rId30" Type="http://schemas.openxmlformats.org/officeDocument/2006/relationships/tags" Target="../tags/tag17.xml"/><Relationship Id="rId35" Type="http://schemas.openxmlformats.org/officeDocument/2006/relationships/tags" Target="../tags/tag22.xml"/><Relationship Id="rId43" Type="http://schemas.openxmlformats.org/officeDocument/2006/relationships/tags" Target="../tags/tag30.xml"/><Relationship Id="rId48" Type="http://schemas.openxmlformats.org/officeDocument/2006/relationships/tags" Target="../tags/tag35.xml"/><Relationship Id="rId56" Type="http://schemas.openxmlformats.org/officeDocument/2006/relationships/tags" Target="../tags/tag43.xml"/><Relationship Id="rId64" Type="http://schemas.openxmlformats.org/officeDocument/2006/relationships/tags" Target="../tags/tag51.xml"/><Relationship Id="rId69" Type="http://schemas.openxmlformats.org/officeDocument/2006/relationships/tags" Target="../tags/tag56.xml"/><Relationship Id="rId77" Type="http://schemas.openxmlformats.org/officeDocument/2006/relationships/tags" Target="../tags/tag64.xml"/><Relationship Id="rId8" Type="http://schemas.openxmlformats.org/officeDocument/2006/relationships/slideLayout" Target="../slideLayouts/slideLayout8.xml"/><Relationship Id="rId51" Type="http://schemas.openxmlformats.org/officeDocument/2006/relationships/tags" Target="../tags/tag38.xml"/><Relationship Id="rId72" Type="http://schemas.openxmlformats.org/officeDocument/2006/relationships/tags" Target="../tags/tag59.xml"/><Relationship Id="rId80" Type="http://schemas.openxmlformats.org/officeDocument/2006/relationships/tags" Target="../tags/tag67.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4.xml"/><Relationship Id="rId25" Type="http://schemas.openxmlformats.org/officeDocument/2006/relationships/tags" Target="../tags/tag12.xml"/><Relationship Id="rId33" Type="http://schemas.openxmlformats.org/officeDocument/2006/relationships/tags" Target="../tags/tag20.xml"/><Relationship Id="rId38" Type="http://schemas.openxmlformats.org/officeDocument/2006/relationships/tags" Target="../tags/tag25.xml"/><Relationship Id="rId46" Type="http://schemas.openxmlformats.org/officeDocument/2006/relationships/tags" Target="../tags/tag33.xml"/><Relationship Id="rId59" Type="http://schemas.openxmlformats.org/officeDocument/2006/relationships/tags" Target="../tags/tag46.xml"/><Relationship Id="rId67" Type="http://schemas.openxmlformats.org/officeDocument/2006/relationships/tags" Target="../tags/tag54.xml"/><Relationship Id="rId20" Type="http://schemas.openxmlformats.org/officeDocument/2006/relationships/tags" Target="../tags/tag7.xml"/><Relationship Id="rId41" Type="http://schemas.openxmlformats.org/officeDocument/2006/relationships/tags" Target="../tags/tag28.xml"/><Relationship Id="rId54" Type="http://schemas.openxmlformats.org/officeDocument/2006/relationships/tags" Target="../tags/tag41.xml"/><Relationship Id="rId62" Type="http://schemas.openxmlformats.org/officeDocument/2006/relationships/tags" Target="../tags/tag49.xml"/><Relationship Id="rId70" Type="http://schemas.openxmlformats.org/officeDocument/2006/relationships/tags" Target="../tags/tag57.xml"/><Relationship Id="rId75" Type="http://schemas.openxmlformats.org/officeDocument/2006/relationships/tags" Target="../tags/tag62.xml"/><Relationship Id="rId83"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tags" Target="../tags/tag2.xml"/><Relationship Id="rId23" Type="http://schemas.openxmlformats.org/officeDocument/2006/relationships/tags" Target="../tags/tag10.xml"/><Relationship Id="rId28" Type="http://schemas.openxmlformats.org/officeDocument/2006/relationships/tags" Target="../tags/tag15.xml"/><Relationship Id="rId36" Type="http://schemas.openxmlformats.org/officeDocument/2006/relationships/tags" Target="../tags/tag23.xml"/><Relationship Id="rId49" Type="http://schemas.openxmlformats.org/officeDocument/2006/relationships/tags" Target="../tags/tag36.xml"/><Relationship Id="rId57" Type="http://schemas.openxmlformats.org/officeDocument/2006/relationships/tags" Target="../tags/tag44.xml"/><Relationship Id="rId10" Type="http://schemas.openxmlformats.org/officeDocument/2006/relationships/slideLayout" Target="../slideLayouts/slideLayout10.xml"/><Relationship Id="rId31" Type="http://schemas.openxmlformats.org/officeDocument/2006/relationships/tags" Target="../tags/tag18.xml"/><Relationship Id="rId44" Type="http://schemas.openxmlformats.org/officeDocument/2006/relationships/tags" Target="../tags/tag31.xml"/><Relationship Id="rId52" Type="http://schemas.openxmlformats.org/officeDocument/2006/relationships/tags" Target="../tags/tag39.xml"/><Relationship Id="rId60" Type="http://schemas.openxmlformats.org/officeDocument/2006/relationships/tags" Target="../tags/tag47.xml"/><Relationship Id="rId65" Type="http://schemas.openxmlformats.org/officeDocument/2006/relationships/tags" Target="../tags/tag52.xml"/><Relationship Id="rId73" Type="http://schemas.openxmlformats.org/officeDocument/2006/relationships/tags" Target="../tags/tag60.xml"/><Relationship Id="rId78" Type="http://schemas.openxmlformats.org/officeDocument/2006/relationships/tags" Target="../tags/tag65.xml"/><Relationship Id="rId81" Type="http://schemas.openxmlformats.org/officeDocument/2006/relationships/tags" Target="../tags/tag68.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theme" Target="../theme/theme1.xml"/><Relationship Id="rId18" Type="http://schemas.openxmlformats.org/officeDocument/2006/relationships/tags" Target="../tags/tag5.xml"/><Relationship Id="rId39" Type="http://schemas.openxmlformats.org/officeDocument/2006/relationships/tags" Target="../tags/tag26.xml"/><Relationship Id="rId34" Type="http://schemas.openxmlformats.org/officeDocument/2006/relationships/tags" Target="../tags/tag21.xml"/><Relationship Id="rId50" Type="http://schemas.openxmlformats.org/officeDocument/2006/relationships/tags" Target="../tags/tag37.xml"/><Relationship Id="rId55" Type="http://schemas.openxmlformats.org/officeDocument/2006/relationships/tags" Target="../tags/tag42.xml"/><Relationship Id="rId76" Type="http://schemas.openxmlformats.org/officeDocument/2006/relationships/tags" Target="../tags/tag63.xml"/><Relationship Id="rId7" Type="http://schemas.openxmlformats.org/officeDocument/2006/relationships/slideLayout" Target="../slideLayouts/slideLayout7.xml"/><Relationship Id="rId71" Type="http://schemas.openxmlformats.org/officeDocument/2006/relationships/tags" Target="../tags/tag58.xml"/><Relationship Id="rId2" Type="http://schemas.openxmlformats.org/officeDocument/2006/relationships/slideLayout" Target="../slideLayouts/slideLayout2.xml"/><Relationship Id="rId29" Type="http://schemas.openxmlformats.org/officeDocument/2006/relationships/tags" Target="../tags/tag16.xml"/><Relationship Id="rId24" Type="http://schemas.openxmlformats.org/officeDocument/2006/relationships/tags" Target="../tags/tag11.xml"/><Relationship Id="rId40" Type="http://schemas.openxmlformats.org/officeDocument/2006/relationships/tags" Target="../tags/tag27.xml"/><Relationship Id="rId45" Type="http://schemas.openxmlformats.org/officeDocument/2006/relationships/tags" Target="../tags/tag32.xml"/><Relationship Id="rId66" Type="http://schemas.openxmlformats.org/officeDocument/2006/relationships/tags" Target="../tags/tag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5"/>
            </p:custDataLst>
          </p:nvPr>
        </p:nvGraphicFramePr>
        <p:xfrm>
          <a:off x="1" y="0"/>
          <a:ext cx="215979" cy="161975"/>
        </p:xfrm>
        <a:graphic>
          <a:graphicData uri="http://schemas.openxmlformats.org/presentationml/2006/ole">
            <mc:AlternateContent xmlns:mc="http://schemas.openxmlformats.org/markup-compatibility/2006">
              <mc:Choice xmlns:v="urn:schemas-microsoft-com:vml" Requires="v">
                <p:oleObj spid="_x0000_s1026" name="think-cell Slide" r:id="rId82" imgW="270" imgH="270" progId="TCLayout.ActiveDocument.1">
                  <p:embed/>
                </p:oleObj>
              </mc:Choice>
              <mc:Fallback>
                <p:oleObj name="think-cell Slide" r:id="rId82" imgW="270" imgH="270" progId="TCLayout.ActiveDocument.1">
                  <p:embed/>
                  <p:pic>
                    <p:nvPicPr>
                      <p:cNvPr id="2" name="Object 1" hidden="1"/>
                      <p:cNvPicPr/>
                      <p:nvPr/>
                    </p:nvPicPr>
                    <p:blipFill>
                      <a:blip r:embed="rId83"/>
                      <a:stretch>
                        <a:fillRect/>
                      </a:stretch>
                    </p:blipFill>
                    <p:spPr>
                      <a:xfrm>
                        <a:off x="1" y="0"/>
                        <a:ext cx="215979" cy="161975"/>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DECF405-9BE0-4DFA-9830-F84E5BB1EADA}"/>
              </a:ext>
            </a:extLst>
          </p:cNvPr>
          <p:cNvSpPr/>
          <p:nvPr userDrawn="1">
            <p:custDataLst>
              <p:tags r:id="rId16"/>
            </p:custDataLst>
          </p:nvPr>
        </p:nvSpPr>
        <p:spPr>
          <a:xfrm>
            <a:off x="4" y="6"/>
            <a:ext cx="158751" cy="15875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l-NL" sz="2800" b="0" i="0" baseline="0">
              <a:solidFill>
                <a:schemeClr val="tx1"/>
              </a:solidFill>
              <a:latin typeface="Andada" panose="02000000000000000000" pitchFamily="50" charset="0"/>
              <a:ea typeface="ＭＳ Ｐゴシック" panose="020B0600070205080204" pitchFamily="34" charset="-128"/>
              <a:cs typeface="+mj-cs"/>
              <a:sym typeface="Andada" panose="02000000000000000000" pitchFamily="50" charset="0"/>
            </a:endParaRPr>
          </a:p>
        </p:txBody>
      </p:sp>
      <p:grpSp>
        <p:nvGrpSpPr>
          <p:cNvPr id="82" name="FlowLine" hidden="1">
            <a:extLst>
              <a:ext uri="{FF2B5EF4-FFF2-40B4-BE49-F238E27FC236}">
                <a16:creationId xmlns:a16="http://schemas.microsoft.com/office/drawing/2014/main" id="{A6CDAA08-2C5D-497C-9191-E9226F837A21}"/>
              </a:ext>
            </a:extLst>
          </p:cNvPr>
          <p:cNvGrpSpPr/>
          <p:nvPr userDrawn="1">
            <p:custDataLst>
              <p:tags r:id="rId17"/>
            </p:custDataLst>
          </p:nvPr>
        </p:nvGrpSpPr>
        <p:grpSpPr>
          <a:xfrm>
            <a:off x="1036653" y="4748123"/>
            <a:ext cx="5079595" cy="1337991"/>
            <a:chOff x="5905500" y="3124200"/>
            <a:chExt cx="4978400" cy="1311354"/>
          </a:xfrm>
        </p:grpSpPr>
        <p:grpSp>
          <p:nvGrpSpPr>
            <p:cNvPr id="83" name="Group 82">
              <a:extLst>
                <a:ext uri="{FF2B5EF4-FFF2-40B4-BE49-F238E27FC236}">
                  <a16:creationId xmlns:a16="http://schemas.microsoft.com/office/drawing/2014/main" id="{827DA976-D5BE-4015-A977-74EA452DBA81}"/>
                </a:ext>
              </a:extLst>
            </p:cNvPr>
            <p:cNvGrpSpPr/>
            <p:nvPr>
              <p:custDataLst>
                <p:tags r:id="rId73"/>
              </p:custDataLst>
            </p:nvPr>
          </p:nvGrpSpPr>
          <p:grpSpPr>
            <a:xfrm>
              <a:off x="5905500" y="3124200"/>
              <a:ext cx="1828800" cy="914400"/>
              <a:chOff x="5905500" y="3124200"/>
              <a:chExt cx="1828800" cy="914400"/>
            </a:xfrm>
          </p:grpSpPr>
          <p:sp>
            <p:nvSpPr>
              <p:cNvPr id="151" name="Freeform: Shape 150">
                <a:extLst>
                  <a:ext uri="{FF2B5EF4-FFF2-40B4-BE49-F238E27FC236}">
                    <a16:creationId xmlns:a16="http://schemas.microsoft.com/office/drawing/2014/main" id="{3B443A03-ED53-4CBC-9685-ED2243EAE580}"/>
                  </a:ext>
                </a:extLst>
              </p:cNvPr>
              <p:cNvSpPr/>
              <p:nvPr>
                <p:custDataLst>
                  <p:tags r:id="rId80"/>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52" name="TextBox 151">
                <a:extLst>
                  <a:ext uri="{FF2B5EF4-FFF2-40B4-BE49-F238E27FC236}">
                    <a16:creationId xmlns:a16="http://schemas.microsoft.com/office/drawing/2014/main" id="{FB650E0C-CB2C-41AE-844E-3A77DA61C90F}"/>
                  </a:ext>
                </a:extLst>
              </p:cNvPr>
              <p:cNvSpPr txBox="1"/>
              <p:nvPr>
                <p:custDataLst>
                  <p:tags r:id="rId81"/>
                </p:custDataLst>
              </p:nvPr>
            </p:nvSpPr>
            <p:spPr>
              <a:xfrm>
                <a:off x="5969000" y="3187700"/>
                <a:ext cx="1524000" cy="7523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grpSp>
          <p:nvGrpSpPr>
            <p:cNvPr id="84" name="Group 83">
              <a:extLst>
                <a:ext uri="{FF2B5EF4-FFF2-40B4-BE49-F238E27FC236}">
                  <a16:creationId xmlns:a16="http://schemas.microsoft.com/office/drawing/2014/main" id="{07ACA8B6-27C1-409B-B73D-D538DCAE43F9}"/>
                </a:ext>
              </a:extLst>
            </p:cNvPr>
            <p:cNvGrpSpPr/>
            <p:nvPr>
              <p:custDataLst>
                <p:tags r:id="rId74"/>
              </p:custDataLst>
            </p:nvPr>
          </p:nvGrpSpPr>
          <p:grpSpPr>
            <a:xfrm>
              <a:off x="7480300" y="3124200"/>
              <a:ext cx="1828800" cy="914400"/>
              <a:chOff x="6057900" y="3276600"/>
              <a:chExt cx="1828800" cy="914400"/>
            </a:xfrm>
          </p:grpSpPr>
          <p:sp>
            <p:nvSpPr>
              <p:cNvPr id="91" name="Freeform: Shape 90">
                <a:extLst>
                  <a:ext uri="{FF2B5EF4-FFF2-40B4-BE49-F238E27FC236}">
                    <a16:creationId xmlns:a16="http://schemas.microsoft.com/office/drawing/2014/main" id="{E99FE415-5A84-4374-9C1E-65847112F08F}"/>
                  </a:ext>
                </a:extLst>
              </p:cNvPr>
              <p:cNvSpPr/>
              <p:nvPr>
                <p:custDataLst>
                  <p:tags r:id="rId78"/>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92" name="TextBox 91">
                <a:extLst>
                  <a:ext uri="{FF2B5EF4-FFF2-40B4-BE49-F238E27FC236}">
                    <a16:creationId xmlns:a16="http://schemas.microsoft.com/office/drawing/2014/main" id="{21692A66-52EC-4D52-89C2-D11E1EE90C4C}"/>
                  </a:ext>
                </a:extLst>
              </p:cNvPr>
              <p:cNvSpPr txBox="1"/>
              <p:nvPr>
                <p:custDataLst>
                  <p:tags r:id="rId79"/>
                </p:custDataLst>
              </p:nvPr>
            </p:nvSpPr>
            <p:spPr>
              <a:xfrm>
                <a:off x="6273292" y="3340100"/>
                <a:ext cx="1448816" cy="7674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grpSp>
          <p:nvGrpSpPr>
            <p:cNvPr id="85" name="Group 84">
              <a:extLst>
                <a:ext uri="{FF2B5EF4-FFF2-40B4-BE49-F238E27FC236}">
                  <a16:creationId xmlns:a16="http://schemas.microsoft.com/office/drawing/2014/main" id="{88442098-6AB6-4AC7-8B39-B4239BDE5838}"/>
                </a:ext>
              </a:extLst>
            </p:cNvPr>
            <p:cNvGrpSpPr/>
            <p:nvPr>
              <p:custDataLst>
                <p:tags r:id="rId75"/>
              </p:custDataLst>
            </p:nvPr>
          </p:nvGrpSpPr>
          <p:grpSpPr>
            <a:xfrm>
              <a:off x="9055100" y="3124200"/>
              <a:ext cx="1828800" cy="914400"/>
              <a:chOff x="6057900" y="3276600"/>
              <a:chExt cx="1828800" cy="914400"/>
            </a:xfrm>
          </p:grpSpPr>
          <p:sp>
            <p:nvSpPr>
              <p:cNvPr id="89" name="Freeform: Shape 88">
                <a:extLst>
                  <a:ext uri="{FF2B5EF4-FFF2-40B4-BE49-F238E27FC236}">
                    <a16:creationId xmlns:a16="http://schemas.microsoft.com/office/drawing/2014/main" id="{EA0883F0-BF6F-4F10-98AE-58DDEE99A35A}"/>
                  </a:ext>
                </a:extLst>
              </p:cNvPr>
              <p:cNvSpPr/>
              <p:nvPr>
                <p:custDataLst>
                  <p:tags r:id="rId76"/>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90" name="TextBox 89">
                <a:extLst>
                  <a:ext uri="{FF2B5EF4-FFF2-40B4-BE49-F238E27FC236}">
                    <a16:creationId xmlns:a16="http://schemas.microsoft.com/office/drawing/2014/main" id="{C52EEFDB-B329-47A9-B2CF-25FA2C736DA6}"/>
                  </a:ext>
                </a:extLst>
              </p:cNvPr>
              <p:cNvSpPr txBox="1"/>
              <p:nvPr>
                <p:custDataLst>
                  <p:tags r:id="rId77"/>
                </p:custDataLst>
              </p:nvPr>
            </p:nvSpPr>
            <p:spPr>
              <a:xfrm>
                <a:off x="6273292" y="3340100"/>
                <a:ext cx="1448816" cy="7674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sp>
          <p:nvSpPr>
            <p:cNvPr id="86" name="TextBox 85">
              <a:extLst>
                <a:ext uri="{FF2B5EF4-FFF2-40B4-BE49-F238E27FC236}">
                  <a16:creationId xmlns:a16="http://schemas.microsoft.com/office/drawing/2014/main" id="{78011D69-C2E3-446B-BAA0-4AFFF8E1E6EC}"/>
                </a:ext>
              </a:extLst>
            </p:cNvPr>
            <p:cNvSpPr txBox="1"/>
            <p:nvPr/>
          </p:nvSpPr>
          <p:spPr>
            <a:xfrm>
              <a:off x="5969000" y="4189333"/>
              <a:ext cx="1524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nl-NL" sz="1600" err="1">
                  <a:latin typeface="+mn-lt"/>
                  <a:ea typeface="+mn-ea"/>
                  <a:sym typeface="+mn-lt"/>
                </a:rPr>
                <a:t>Text</a:t>
              </a:r>
              <a:endParaRPr lang="nl-NL" sz="1600">
                <a:latin typeface="+mn-lt"/>
                <a:ea typeface="+mn-ea"/>
                <a:sym typeface="+mn-lt"/>
              </a:endParaRPr>
            </a:p>
          </p:txBody>
        </p:sp>
        <p:sp>
          <p:nvSpPr>
            <p:cNvPr id="87" name="TextBox 86">
              <a:extLst>
                <a:ext uri="{FF2B5EF4-FFF2-40B4-BE49-F238E27FC236}">
                  <a16:creationId xmlns:a16="http://schemas.microsoft.com/office/drawing/2014/main" id="{50325E5F-28A0-479C-AF19-6B7871207F3F}"/>
                </a:ext>
              </a:extLst>
            </p:cNvPr>
            <p:cNvSpPr txBox="1"/>
            <p:nvPr/>
          </p:nvSpPr>
          <p:spPr>
            <a:xfrm>
              <a:off x="7695692" y="4189333"/>
              <a:ext cx="1524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nl-NL" sz="1600" err="1">
                  <a:latin typeface="+mn-lt"/>
                  <a:ea typeface="+mn-ea"/>
                  <a:sym typeface="+mn-lt"/>
                </a:rPr>
                <a:t>Text</a:t>
              </a:r>
              <a:endParaRPr lang="nl-NL" sz="1600">
                <a:latin typeface="+mn-lt"/>
                <a:ea typeface="+mn-ea"/>
                <a:sym typeface="+mn-lt"/>
              </a:endParaRPr>
            </a:p>
          </p:txBody>
        </p:sp>
        <p:sp>
          <p:nvSpPr>
            <p:cNvPr id="88" name="TextBox 87">
              <a:extLst>
                <a:ext uri="{FF2B5EF4-FFF2-40B4-BE49-F238E27FC236}">
                  <a16:creationId xmlns:a16="http://schemas.microsoft.com/office/drawing/2014/main" id="{EE6AB98E-DF04-42B8-AA37-EE19EAD3A270}"/>
                </a:ext>
              </a:extLst>
            </p:cNvPr>
            <p:cNvSpPr txBox="1"/>
            <p:nvPr/>
          </p:nvSpPr>
          <p:spPr>
            <a:xfrm>
              <a:off x="9270492" y="4189333"/>
              <a:ext cx="1524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nl-NL" sz="1600" err="1">
                  <a:latin typeface="+mn-lt"/>
                  <a:ea typeface="+mn-ea"/>
                  <a:sym typeface="+mn-lt"/>
                </a:rPr>
                <a:t>Text</a:t>
              </a:r>
              <a:endParaRPr lang="nl-NL" sz="1600">
                <a:latin typeface="+mn-lt"/>
                <a:ea typeface="+mn-ea"/>
                <a:sym typeface="+mn-lt"/>
              </a:endParaRPr>
            </a:p>
          </p:txBody>
        </p:sp>
      </p:grpSp>
      <p:grpSp>
        <p:nvGrpSpPr>
          <p:cNvPr id="153" name="FlowLine2" hidden="1">
            <a:extLst>
              <a:ext uri="{FF2B5EF4-FFF2-40B4-BE49-F238E27FC236}">
                <a16:creationId xmlns:a16="http://schemas.microsoft.com/office/drawing/2014/main" id="{EA95151A-A134-46F4-9830-A32D16619219}"/>
              </a:ext>
            </a:extLst>
          </p:cNvPr>
          <p:cNvGrpSpPr/>
          <p:nvPr userDrawn="1">
            <p:custDataLst>
              <p:tags r:id="rId18"/>
            </p:custDataLst>
          </p:nvPr>
        </p:nvGrpSpPr>
        <p:grpSpPr>
          <a:xfrm>
            <a:off x="6290145" y="4748125"/>
            <a:ext cx="5079595" cy="1338409"/>
            <a:chOff x="5905500" y="3124200"/>
            <a:chExt cx="4978400" cy="1311765"/>
          </a:xfrm>
          <a:solidFill>
            <a:schemeClr val="accent2"/>
          </a:solidFill>
        </p:grpSpPr>
        <p:grpSp>
          <p:nvGrpSpPr>
            <p:cNvPr id="154" name="Group 153">
              <a:extLst>
                <a:ext uri="{FF2B5EF4-FFF2-40B4-BE49-F238E27FC236}">
                  <a16:creationId xmlns:a16="http://schemas.microsoft.com/office/drawing/2014/main" id="{16E0A500-A586-430F-AA9F-D76C3683C482}"/>
                </a:ext>
              </a:extLst>
            </p:cNvPr>
            <p:cNvGrpSpPr/>
            <p:nvPr>
              <p:custDataLst>
                <p:tags r:id="rId64"/>
              </p:custDataLst>
            </p:nvPr>
          </p:nvGrpSpPr>
          <p:grpSpPr>
            <a:xfrm>
              <a:off x="5905500" y="3124200"/>
              <a:ext cx="1828800" cy="914400"/>
              <a:chOff x="5905500" y="3124200"/>
              <a:chExt cx="1828800" cy="914400"/>
            </a:xfrm>
            <a:grpFill/>
          </p:grpSpPr>
          <p:sp>
            <p:nvSpPr>
              <p:cNvPr id="164" name="Freeform: Shape 163">
                <a:extLst>
                  <a:ext uri="{FF2B5EF4-FFF2-40B4-BE49-F238E27FC236}">
                    <a16:creationId xmlns:a16="http://schemas.microsoft.com/office/drawing/2014/main" id="{56C979E7-1391-4571-806E-27AE4CC52D2A}"/>
                  </a:ext>
                </a:extLst>
              </p:cNvPr>
              <p:cNvSpPr/>
              <p:nvPr>
                <p:custDataLst>
                  <p:tags r:id="rId71"/>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65" name="TextBox 164">
                <a:extLst>
                  <a:ext uri="{FF2B5EF4-FFF2-40B4-BE49-F238E27FC236}">
                    <a16:creationId xmlns:a16="http://schemas.microsoft.com/office/drawing/2014/main" id="{D367FB65-C08C-466B-8D0E-714AD241CBD3}"/>
                  </a:ext>
                </a:extLst>
              </p:cNvPr>
              <p:cNvSpPr txBox="1"/>
              <p:nvPr>
                <p:custDataLst>
                  <p:tags r:id="rId72"/>
                </p:custDataLst>
              </p:nvPr>
            </p:nvSpPr>
            <p:spPr>
              <a:xfrm>
                <a:off x="5969000" y="3187700"/>
                <a:ext cx="1524000" cy="77692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grpSp>
          <p:nvGrpSpPr>
            <p:cNvPr id="155" name="Group 154">
              <a:extLst>
                <a:ext uri="{FF2B5EF4-FFF2-40B4-BE49-F238E27FC236}">
                  <a16:creationId xmlns:a16="http://schemas.microsoft.com/office/drawing/2014/main" id="{4B4B99D9-97ED-4FB5-86A8-A501ED27361B}"/>
                </a:ext>
              </a:extLst>
            </p:cNvPr>
            <p:cNvGrpSpPr/>
            <p:nvPr>
              <p:custDataLst>
                <p:tags r:id="rId65"/>
              </p:custDataLst>
            </p:nvPr>
          </p:nvGrpSpPr>
          <p:grpSpPr>
            <a:xfrm>
              <a:off x="7480300" y="3124200"/>
              <a:ext cx="1828800" cy="914400"/>
              <a:chOff x="6057900" y="3276600"/>
              <a:chExt cx="1828800" cy="914400"/>
            </a:xfrm>
            <a:grpFill/>
          </p:grpSpPr>
          <p:sp>
            <p:nvSpPr>
              <p:cNvPr id="162" name="Freeform: Shape 161">
                <a:extLst>
                  <a:ext uri="{FF2B5EF4-FFF2-40B4-BE49-F238E27FC236}">
                    <a16:creationId xmlns:a16="http://schemas.microsoft.com/office/drawing/2014/main" id="{25528564-6B27-415B-9C27-C8F05C1D65BA}"/>
                  </a:ext>
                </a:extLst>
              </p:cNvPr>
              <p:cNvSpPr/>
              <p:nvPr>
                <p:custDataLst>
                  <p:tags r:id="rId69"/>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63" name="TextBox 162">
                <a:extLst>
                  <a:ext uri="{FF2B5EF4-FFF2-40B4-BE49-F238E27FC236}">
                    <a16:creationId xmlns:a16="http://schemas.microsoft.com/office/drawing/2014/main" id="{3D6C7D27-397F-42E6-991E-2C97670FB7B6}"/>
                  </a:ext>
                </a:extLst>
              </p:cNvPr>
              <p:cNvSpPr txBox="1"/>
              <p:nvPr>
                <p:custDataLst>
                  <p:tags r:id="rId70"/>
                </p:custDataLst>
              </p:nvPr>
            </p:nvSpPr>
            <p:spPr>
              <a:xfrm>
                <a:off x="6273292" y="3340100"/>
                <a:ext cx="1448816" cy="7925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grpSp>
          <p:nvGrpSpPr>
            <p:cNvPr id="156" name="Group 155">
              <a:extLst>
                <a:ext uri="{FF2B5EF4-FFF2-40B4-BE49-F238E27FC236}">
                  <a16:creationId xmlns:a16="http://schemas.microsoft.com/office/drawing/2014/main" id="{131590DC-7B29-4705-B810-28E21C64C128}"/>
                </a:ext>
              </a:extLst>
            </p:cNvPr>
            <p:cNvGrpSpPr/>
            <p:nvPr>
              <p:custDataLst>
                <p:tags r:id="rId66"/>
              </p:custDataLst>
            </p:nvPr>
          </p:nvGrpSpPr>
          <p:grpSpPr>
            <a:xfrm>
              <a:off x="9055100" y="3124200"/>
              <a:ext cx="1828800" cy="914400"/>
              <a:chOff x="6057900" y="3276600"/>
              <a:chExt cx="1828800" cy="914400"/>
            </a:xfrm>
            <a:grpFill/>
          </p:grpSpPr>
          <p:sp>
            <p:nvSpPr>
              <p:cNvPr id="160" name="Freeform: Shape 159">
                <a:extLst>
                  <a:ext uri="{FF2B5EF4-FFF2-40B4-BE49-F238E27FC236}">
                    <a16:creationId xmlns:a16="http://schemas.microsoft.com/office/drawing/2014/main" id="{EFD4C73B-07D1-4A75-AD31-F46FFE653C09}"/>
                  </a:ext>
                </a:extLst>
              </p:cNvPr>
              <p:cNvSpPr/>
              <p:nvPr>
                <p:custDataLst>
                  <p:tags r:id="rId67"/>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61" name="TextBox 160">
                <a:extLst>
                  <a:ext uri="{FF2B5EF4-FFF2-40B4-BE49-F238E27FC236}">
                    <a16:creationId xmlns:a16="http://schemas.microsoft.com/office/drawing/2014/main" id="{7B448815-1452-4A00-B3B2-7BA08B4DE74B}"/>
                  </a:ext>
                </a:extLst>
              </p:cNvPr>
              <p:cNvSpPr txBox="1"/>
              <p:nvPr>
                <p:custDataLst>
                  <p:tags r:id="rId68"/>
                </p:custDataLst>
              </p:nvPr>
            </p:nvSpPr>
            <p:spPr>
              <a:xfrm>
                <a:off x="6273292" y="3340100"/>
                <a:ext cx="1448816" cy="7925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sp>
          <p:nvSpPr>
            <p:cNvPr id="157" name="TextBox 156">
              <a:extLst>
                <a:ext uri="{FF2B5EF4-FFF2-40B4-BE49-F238E27FC236}">
                  <a16:creationId xmlns:a16="http://schemas.microsoft.com/office/drawing/2014/main" id="{93C0379E-07AB-44AD-A66B-C5606AB56726}"/>
                </a:ext>
              </a:extLst>
            </p:cNvPr>
            <p:cNvSpPr txBox="1"/>
            <p:nvPr/>
          </p:nvSpPr>
          <p:spPr>
            <a:xfrm>
              <a:off x="5969000" y="4189744"/>
              <a:ext cx="1524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nl-NL" sz="1600" err="1">
                  <a:latin typeface="+mn-lt"/>
                  <a:ea typeface="+mn-ea"/>
                  <a:sym typeface="+mn-lt"/>
                </a:rPr>
                <a:t>Text</a:t>
              </a:r>
              <a:endParaRPr lang="nl-NL" sz="1600">
                <a:latin typeface="+mn-lt"/>
                <a:ea typeface="+mn-ea"/>
                <a:sym typeface="+mn-lt"/>
              </a:endParaRPr>
            </a:p>
          </p:txBody>
        </p:sp>
        <p:sp>
          <p:nvSpPr>
            <p:cNvPr id="158" name="TextBox 157">
              <a:extLst>
                <a:ext uri="{FF2B5EF4-FFF2-40B4-BE49-F238E27FC236}">
                  <a16:creationId xmlns:a16="http://schemas.microsoft.com/office/drawing/2014/main" id="{415D7F68-8FF1-47F4-AD38-1288BF48C0E9}"/>
                </a:ext>
              </a:extLst>
            </p:cNvPr>
            <p:cNvSpPr txBox="1"/>
            <p:nvPr/>
          </p:nvSpPr>
          <p:spPr>
            <a:xfrm>
              <a:off x="7695692" y="4189744"/>
              <a:ext cx="1524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nl-NL" sz="1600" err="1">
                  <a:latin typeface="+mn-lt"/>
                  <a:ea typeface="+mn-ea"/>
                  <a:sym typeface="+mn-lt"/>
                </a:rPr>
                <a:t>Text</a:t>
              </a:r>
              <a:endParaRPr lang="nl-NL" sz="1600">
                <a:latin typeface="+mn-lt"/>
                <a:ea typeface="+mn-ea"/>
                <a:sym typeface="+mn-lt"/>
              </a:endParaRPr>
            </a:p>
          </p:txBody>
        </p:sp>
        <p:sp>
          <p:nvSpPr>
            <p:cNvPr id="159" name="TextBox 158">
              <a:extLst>
                <a:ext uri="{FF2B5EF4-FFF2-40B4-BE49-F238E27FC236}">
                  <a16:creationId xmlns:a16="http://schemas.microsoft.com/office/drawing/2014/main" id="{541B0ABB-D260-43DF-9A88-F8078609A203}"/>
                </a:ext>
              </a:extLst>
            </p:cNvPr>
            <p:cNvSpPr txBox="1"/>
            <p:nvPr/>
          </p:nvSpPr>
          <p:spPr>
            <a:xfrm>
              <a:off x="9270492" y="4189744"/>
              <a:ext cx="1524000"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nl-NL" sz="1600" err="1">
                  <a:latin typeface="+mn-lt"/>
                  <a:ea typeface="+mn-ea"/>
                  <a:sym typeface="+mn-lt"/>
                </a:rPr>
                <a:t>Text</a:t>
              </a:r>
              <a:endParaRPr lang="nl-NL" sz="1600">
                <a:latin typeface="+mn-lt"/>
                <a:ea typeface="+mn-ea"/>
                <a:sym typeface="+mn-lt"/>
              </a:endParaRPr>
            </a:p>
          </p:txBody>
        </p:sp>
      </p:grpSp>
      <p:sp>
        <p:nvSpPr>
          <p:cNvPr id="1036" name="Rectangle 286"/>
          <p:cNvSpPr>
            <a:spLocks noGrp="1" noChangeArrowheads="1"/>
          </p:cNvSpPr>
          <p:nvPr>
            <p:ph type="body" idx="1"/>
          </p:nvPr>
        </p:nvSpPr>
        <p:spPr bwMode="gray">
          <a:xfrm>
            <a:off x="554737" y="1565901"/>
            <a:ext cx="1108252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nl-NL" noProof="0" err="1"/>
              <a:t>Edit</a:t>
            </a:r>
            <a:r>
              <a:rPr lang="nl-NL" noProof="0"/>
              <a:t> Master </a:t>
            </a:r>
            <a:r>
              <a:rPr lang="nl-NL" noProof="0" err="1"/>
              <a:t>text</a:t>
            </a:r>
            <a:r>
              <a:rPr lang="nl-NL" noProof="0"/>
              <a:t> </a:t>
            </a:r>
            <a:r>
              <a:rPr lang="nl-NL" noProof="0" err="1"/>
              <a:t>styles</a:t>
            </a:r>
            <a:endParaRPr lang="nl-NL" noProof="0"/>
          </a:p>
          <a:p>
            <a:pPr lvl="1"/>
            <a:r>
              <a:rPr lang="nl-NL" noProof="0"/>
              <a:t>Second level</a:t>
            </a:r>
          </a:p>
          <a:p>
            <a:pPr lvl="2"/>
            <a:r>
              <a:rPr lang="nl-NL" noProof="0" err="1"/>
              <a:t>Third</a:t>
            </a:r>
            <a:r>
              <a:rPr lang="nl-NL" noProof="0"/>
              <a:t> level</a:t>
            </a:r>
          </a:p>
          <a:p>
            <a:pPr lvl="3"/>
            <a:r>
              <a:rPr lang="nl-NL" noProof="0" err="1"/>
              <a:t>Fourth</a:t>
            </a:r>
            <a:r>
              <a:rPr lang="nl-NL" noProof="0"/>
              <a:t> level</a:t>
            </a:r>
          </a:p>
          <a:p>
            <a:pPr lvl="4"/>
            <a:r>
              <a:rPr lang="nl-NL" noProof="0" err="1"/>
              <a:t>Fifth</a:t>
            </a:r>
            <a:r>
              <a:rPr lang="nl-NL" noProof="0"/>
              <a:t> level</a:t>
            </a:r>
          </a:p>
        </p:txBody>
      </p:sp>
      <p:sp>
        <p:nvSpPr>
          <p:cNvPr id="19" name="Title"/>
          <p:cNvSpPr>
            <a:spLocks noGrp="1" noChangeArrowheads="1"/>
          </p:cNvSpPr>
          <p:nvPr>
            <p:ph type="title"/>
          </p:nvPr>
        </p:nvSpPr>
        <p:spPr bwMode="gray">
          <a:xfrm>
            <a:off x="554737" y="472853"/>
            <a:ext cx="11082528"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p>
            <a:pPr lvl="0"/>
            <a:r>
              <a:rPr lang="nl-NL" noProof="0"/>
              <a:t>Click </a:t>
            </a:r>
            <a:r>
              <a:rPr lang="nl-NL" noProof="0" err="1"/>
              <a:t>to</a:t>
            </a:r>
            <a:r>
              <a:rPr lang="nl-NL" noProof="0"/>
              <a:t> </a:t>
            </a:r>
            <a:r>
              <a:rPr lang="nl-NL" noProof="0" err="1"/>
              <a:t>edit</a:t>
            </a:r>
            <a:r>
              <a:rPr lang="nl-NL" noProof="0"/>
              <a:t> aster </a:t>
            </a:r>
            <a:r>
              <a:rPr lang="nl-NL" noProof="0" err="1"/>
              <a:t>title</a:t>
            </a:r>
            <a:r>
              <a:rPr lang="nl-NL" noProof="0"/>
              <a:t> </a:t>
            </a:r>
            <a:r>
              <a:rPr lang="nl-NL" noProof="0" err="1"/>
              <a:t>style</a:t>
            </a:r>
            <a:endParaRPr lang="nl-NL" noProof="0"/>
          </a:p>
        </p:txBody>
      </p:sp>
      <p:sp>
        <p:nvSpPr>
          <p:cNvPr id="3" name="Slide Number"/>
          <p:cNvSpPr>
            <a:spLocks/>
          </p:cNvSpPr>
          <p:nvPr/>
        </p:nvSpPr>
        <p:spPr bwMode="gray">
          <a:xfrm>
            <a:off x="11380785" y="6491064"/>
            <a:ext cx="256480" cy="169277"/>
          </a:xfrm>
          <a:prstGeom prst="rect">
            <a:avLst/>
          </a:prstGeom>
        </p:spPr>
        <p:txBody>
          <a:bodyPr vert="horz" wrap="none" lIns="0" tIns="0" rIns="0" bIns="0" rtlCol="0" anchor="ctr">
            <a:spAutoFit/>
          </a:bodyPr>
          <a:lstStyle/>
          <a:p>
            <a:pPr lvl="0" algn="r">
              <a:buClr>
                <a:schemeClr val="tx2"/>
              </a:buClr>
            </a:pPr>
            <a:fld id="{42C328C1-A84F-4A39-A664-DBA00541A8C6}" type="slidenum">
              <a:rPr lang="nl-NL" sz="1100" b="0" noProof="0" smtClean="0">
                <a:solidFill>
                  <a:schemeClr val="tx1"/>
                </a:solidFill>
                <a:latin typeface="+mn-lt"/>
                <a:ea typeface="+mn-ea"/>
                <a:sym typeface="+mn-lt"/>
              </a:rPr>
              <a:pPr lvl="0" algn="r">
                <a:buClr>
                  <a:schemeClr val="tx2"/>
                </a:buClr>
              </a:pPr>
              <a:t>‹nr.›</a:t>
            </a:fld>
            <a:endParaRPr lang="nl-NL" sz="1100" b="0" baseline="0" noProof="0">
              <a:solidFill>
                <a:schemeClr val="tx1"/>
              </a:solidFill>
              <a:latin typeface="+mn-lt"/>
              <a:ea typeface="+mn-ea"/>
              <a:sym typeface="+mn-lt"/>
            </a:endParaRPr>
          </a:p>
        </p:txBody>
      </p:sp>
      <p:sp>
        <p:nvSpPr>
          <p:cNvPr id="93" name="Oval" hidden="1"/>
          <p:cNvSpPr txBox="1">
            <a:spLocks/>
          </p:cNvSpPr>
          <p:nvPr>
            <p:custDataLst>
              <p:tags r:id="rId19"/>
            </p:custDataLst>
          </p:nvPr>
        </p:nvSpPr>
        <p:spPr bwMode="gray">
          <a:xfrm>
            <a:off x="6878925" y="1451181"/>
            <a:ext cx="1554979" cy="1554955"/>
          </a:xfrm>
          <a:prstGeom prst="ellipse">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998" tIns="35998" rIns="35998" bIns="35998" numCol="1" anchor="ctr" anchorCtr="0" compatLnSpc="1">
            <a:prstTxWarp prst="textNoShape">
              <a:avLst/>
            </a:prstTxWarp>
            <a:noAutofit/>
          </a:bodyPr>
          <a:lstStyle>
            <a:defPPr>
              <a:defRPr lang="en-US"/>
            </a:defPPr>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lgn="ctr">
              <a:buClr>
                <a:schemeClr val="tx2"/>
              </a:buClr>
            </a:pPr>
            <a:r>
              <a:rPr lang="nl-NL" sz="1600" b="0" err="1">
                <a:solidFill>
                  <a:schemeClr val="tx1"/>
                </a:solidFill>
                <a:latin typeface="+mn-lt"/>
                <a:ea typeface="+mn-ea"/>
                <a:sym typeface="+mn-lt"/>
              </a:rPr>
              <a:t>Text</a:t>
            </a:r>
            <a:endParaRPr lang="nl-NL" sz="1600" b="0">
              <a:solidFill>
                <a:schemeClr val="tx1"/>
              </a:solidFill>
              <a:latin typeface="+mn-lt"/>
              <a:ea typeface="+mn-ea"/>
              <a:sym typeface="+mn-lt"/>
            </a:endParaRPr>
          </a:p>
        </p:txBody>
      </p:sp>
      <p:sp>
        <p:nvSpPr>
          <p:cNvPr id="94" name="Rectangle" hidden="1"/>
          <p:cNvSpPr txBox="1">
            <a:spLocks/>
          </p:cNvSpPr>
          <p:nvPr>
            <p:custDataLst>
              <p:tags r:id="rId20"/>
            </p:custDataLst>
          </p:nvPr>
        </p:nvSpPr>
        <p:spPr bwMode="gray">
          <a:xfrm>
            <a:off x="3524057" y="1451181"/>
            <a:ext cx="1554979" cy="1554955"/>
          </a:xfrm>
          <a:prstGeom prst="rect">
            <a:avLst/>
          </a:prstGeom>
          <a:solidFill>
            <a:schemeClr val="accent1"/>
          </a:solidFill>
          <a:ln w="9525">
            <a:solidFill>
              <a:schemeClr val="tx1"/>
            </a:solidFill>
            <a:miter lim="800000"/>
            <a:headEnd/>
            <a:tailEnd/>
          </a:ln>
          <a:effectLst/>
        </p:spPr>
        <p:txBody>
          <a:bodyPr vert="horz" wrap="square" lIns="71992" tIns="71992" rIns="71992" bIns="71992"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err="1">
                <a:latin typeface="+mn-lt"/>
                <a:ea typeface="+mn-ea"/>
                <a:sym typeface="+mn-lt"/>
              </a:rPr>
              <a:t>Text</a:t>
            </a:r>
            <a:endParaRPr lang="nl-NL" sz="1600">
              <a:latin typeface="+mn-lt"/>
              <a:ea typeface="+mn-ea"/>
              <a:sym typeface="+mn-lt"/>
            </a:endParaRPr>
          </a:p>
        </p:txBody>
      </p:sp>
      <p:sp>
        <p:nvSpPr>
          <p:cNvPr id="95" name="RoundedRectangle" hidden="1"/>
          <p:cNvSpPr txBox="1">
            <a:spLocks/>
          </p:cNvSpPr>
          <p:nvPr>
            <p:custDataLst>
              <p:tags r:id="rId21"/>
            </p:custDataLst>
          </p:nvPr>
        </p:nvSpPr>
        <p:spPr bwMode="gray">
          <a:xfrm>
            <a:off x="5217041" y="1451181"/>
            <a:ext cx="1554979" cy="1554955"/>
          </a:xfrm>
          <a:prstGeom prst="roundRect">
            <a:avLst/>
          </a:prstGeom>
          <a:solidFill>
            <a:schemeClr val="accent1"/>
          </a:solidFill>
          <a:ln w="9525">
            <a:solidFill>
              <a:schemeClr val="tx1"/>
            </a:solidFill>
            <a:miter lim="800000"/>
            <a:headEnd/>
            <a:tailEnd/>
          </a:ln>
          <a:effectLst/>
        </p:spPr>
        <p:txBody>
          <a:bodyPr vert="horz" wrap="square" lIns="71992" tIns="71992" rIns="71992" bIns="71992"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err="1">
                <a:latin typeface="+mn-lt"/>
                <a:ea typeface="+mn-ea"/>
                <a:sym typeface="+mn-lt"/>
              </a:rPr>
              <a:t>Text</a:t>
            </a:r>
            <a:endParaRPr lang="nl-NL" sz="1600">
              <a:latin typeface="+mn-lt"/>
              <a:ea typeface="+mn-ea"/>
              <a:sym typeface="+mn-lt"/>
            </a:endParaRPr>
          </a:p>
        </p:txBody>
      </p:sp>
      <p:sp>
        <p:nvSpPr>
          <p:cNvPr id="96" name="Arrow" hidden="1"/>
          <p:cNvSpPr txBox="1">
            <a:spLocks/>
          </p:cNvSpPr>
          <p:nvPr>
            <p:custDataLst>
              <p:tags r:id="rId22"/>
            </p:custDataLst>
          </p:nvPr>
        </p:nvSpPr>
        <p:spPr bwMode="gray">
          <a:xfrm>
            <a:off x="3490723" y="4223448"/>
            <a:ext cx="1865975" cy="932973"/>
          </a:xfrm>
          <a:prstGeom prst="rightArrow">
            <a:avLst>
              <a:gd name="adj1" fmla="val 54000"/>
              <a:gd name="adj2" fmla="val 37676"/>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1992" tIns="71992" rIns="71992" bIns="71992"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buClr>
                <a:schemeClr val="tx2"/>
              </a:buClr>
            </a:pPr>
            <a:r>
              <a:rPr lang="nl-NL" sz="1600" b="0" err="1">
                <a:solidFill>
                  <a:schemeClr val="tx1"/>
                </a:solidFill>
                <a:latin typeface="+mn-lt"/>
                <a:ea typeface="+mn-ea"/>
                <a:sym typeface="+mn-lt"/>
              </a:rPr>
              <a:t>Text</a:t>
            </a:r>
            <a:endParaRPr lang="nl-NL" sz="1600" b="0">
              <a:solidFill>
                <a:schemeClr val="tx1"/>
              </a:solidFill>
              <a:latin typeface="+mn-lt"/>
              <a:ea typeface="+mn-ea"/>
              <a:sym typeface="+mn-lt"/>
            </a:endParaRPr>
          </a:p>
        </p:txBody>
      </p:sp>
      <p:sp>
        <p:nvSpPr>
          <p:cNvPr id="97" name="DirArrow" hidden="1"/>
          <p:cNvSpPr>
            <a:spLocks noChangeArrowheads="1"/>
          </p:cNvSpPr>
          <p:nvPr>
            <p:custDataLst>
              <p:tags r:id="rId23"/>
            </p:custDataLst>
          </p:nvPr>
        </p:nvSpPr>
        <p:spPr bwMode="gray">
          <a:xfrm rot="5400000">
            <a:off x="7170384" y="2852711"/>
            <a:ext cx="3153449" cy="350388"/>
          </a:xfrm>
          <a:prstGeom prst="triangle">
            <a:avLst>
              <a:gd name="adj" fmla="val 50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8" rIns="91430" bIns="45718" anchor="ctr"/>
          <a:lstStyle/>
          <a:p>
            <a:endParaRPr lang="nl-NL" sz="1600">
              <a:latin typeface="+mn-lt"/>
              <a:ea typeface="+mn-ea"/>
              <a:sym typeface="+mn-lt"/>
            </a:endParaRPr>
          </a:p>
        </p:txBody>
      </p:sp>
      <p:sp>
        <p:nvSpPr>
          <p:cNvPr id="98" name="Bracket" hidden="1"/>
          <p:cNvSpPr>
            <a:spLocks noChangeAspect="1"/>
          </p:cNvSpPr>
          <p:nvPr>
            <p:custDataLst>
              <p:tags r:id="rId24"/>
            </p:custDataLst>
          </p:nvPr>
        </p:nvSpPr>
        <p:spPr bwMode="gray">
          <a:xfrm>
            <a:off x="7584101" y="3148305"/>
            <a:ext cx="189515" cy="1865947"/>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4797"/>
              <a:gd name="connsiteY0" fmla="*/ 0 h 3096"/>
              <a:gd name="connsiteX1" fmla="*/ 4747 w 4797"/>
              <a:gd name="connsiteY1" fmla="*/ 1944 h 3096"/>
              <a:gd name="connsiteX2" fmla="*/ 4747 w 4797"/>
              <a:gd name="connsiteY2" fmla="*/ 2472 h 3096"/>
              <a:gd name="connsiteX3" fmla="*/ 4797 w 4797"/>
              <a:gd name="connsiteY3" fmla="*/ 2520 h 3096"/>
              <a:gd name="connsiteX4" fmla="*/ 4747 w 4797"/>
              <a:gd name="connsiteY4" fmla="*/ 2568 h 3096"/>
              <a:gd name="connsiteX5" fmla="*/ 4747 w 4797"/>
              <a:gd name="connsiteY5" fmla="*/ 3096 h 3096"/>
              <a:gd name="connsiteX6" fmla="*/ 4682 w 4797"/>
              <a:gd name="connsiteY6" fmla="*/ 3096 h 3096"/>
              <a:gd name="connsiteX0" fmla="*/ 0 w 4797"/>
              <a:gd name="connsiteY0" fmla="*/ 0 h 3096"/>
              <a:gd name="connsiteX1" fmla="*/ 78 w 4797"/>
              <a:gd name="connsiteY1" fmla="*/ 0 h 3096"/>
              <a:gd name="connsiteX2" fmla="*/ 4747 w 4797"/>
              <a:gd name="connsiteY2" fmla="*/ 2472 h 3096"/>
              <a:gd name="connsiteX3" fmla="*/ 4797 w 4797"/>
              <a:gd name="connsiteY3" fmla="*/ 2520 h 3096"/>
              <a:gd name="connsiteX4" fmla="*/ 4747 w 4797"/>
              <a:gd name="connsiteY4" fmla="*/ 2568 h 3096"/>
              <a:gd name="connsiteX5" fmla="*/ 4747 w 4797"/>
              <a:gd name="connsiteY5" fmla="*/ 3096 h 3096"/>
              <a:gd name="connsiteX6" fmla="*/ 4682 w 4797"/>
              <a:gd name="connsiteY6" fmla="*/ 3096 h 3096"/>
              <a:gd name="connsiteX0" fmla="*/ 0 w 4797"/>
              <a:gd name="connsiteY0" fmla="*/ 0 h 3096"/>
              <a:gd name="connsiteX1" fmla="*/ 78 w 4797"/>
              <a:gd name="connsiteY1" fmla="*/ 0 h 3096"/>
              <a:gd name="connsiteX2" fmla="*/ 78 w 4797"/>
              <a:gd name="connsiteY2" fmla="*/ 537 h 3096"/>
              <a:gd name="connsiteX3" fmla="*/ 4797 w 4797"/>
              <a:gd name="connsiteY3" fmla="*/ 2520 h 3096"/>
              <a:gd name="connsiteX4" fmla="*/ 4747 w 4797"/>
              <a:gd name="connsiteY4" fmla="*/ 2568 h 3096"/>
              <a:gd name="connsiteX5" fmla="*/ 4747 w 4797"/>
              <a:gd name="connsiteY5" fmla="*/ 3096 h 3096"/>
              <a:gd name="connsiteX6" fmla="*/ 4682 w 4797"/>
              <a:gd name="connsiteY6" fmla="*/ 3096 h 3096"/>
              <a:gd name="connsiteX0" fmla="*/ 0 w 4747"/>
              <a:gd name="connsiteY0" fmla="*/ 0 h 3096"/>
              <a:gd name="connsiteX1" fmla="*/ 78 w 4747"/>
              <a:gd name="connsiteY1" fmla="*/ 0 h 3096"/>
              <a:gd name="connsiteX2" fmla="*/ 78 w 4747"/>
              <a:gd name="connsiteY2" fmla="*/ 537 h 3096"/>
              <a:gd name="connsiteX3" fmla="*/ 117 w 4747"/>
              <a:gd name="connsiteY3" fmla="*/ 576 h 3096"/>
              <a:gd name="connsiteX4" fmla="*/ 4747 w 4747"/>
              <a:gd name="connsiteY4" fmla="*/ 2568 h 3096"/>
              <a:gd name="connsiteX5" fmla="*/ 4747 w 4747"/>
              <a:gd name="connsiteY5" fmla="*/ 3096 h 3096"/>
              <a:gd name="connsiteX6" fmla="*/ 4682 w 4747"/>
              <a:gd name="connsiteY6" fmla="*/ 3096 h 3096"/>
              <a:gd name="connsiteX0" fmla="*/ 0 w 4747"/>
              <a:gd name="connsiteY0" fmla="*/ 0 h 3096"/>
              <a:gd name="connsiteX1" fmla="*/ 78 w 4747"/>
              <a:gd name="connsiteY1" fmla="*/ 0 h 3096"/>
              <a:gd name="connsiteX2" fmla="*/ 78 w 4747"/>
              <a:gd name="connsiteY2" fmla="*/ 537 h 3096"/>
              <a:gd name="connsiteX3" fmla="*/ 117 w 4747"/>
              <a:gd name="connsiteY3" fmla="*/ 576 h 3096"/>
              <a:gd name="connsiteX4" fmla="*/ 78 w 4747"/>
              <a:gd name="connsiteY4" fmla="*/ 616 h 3096"/>
              <a:gd name="connsiteX5" fmla="*/ 4747 w 4747"/>
              <a:gd name="connsiteY5" fmla="*/ 3096 h 3096"/>
              <a:gd name="connsiteX6" fmla="*/ 4682 w 4747"/>
              <a:gd name="connsiteY6" fmla="*/ 3096 h 3096"/>
              <a:gd name="connsiteX0" fmla="*/ 0 w 4682"/>
              <a:gd name="connsiteY0" fmla="*/ 0 h 3096"/>
              <a:gd name="connsiteX1" fmla="*/ 78 w 4682"/>
              <a:gd name="connsiteY1" fmla="*/ 0 h 3096"/>
              <a:gd name="connsiteX2" fmla="*/ 78 w 4682"/>
              <a:gd name="connsiteY2" fmla="*/ 537 h 3096"/>
              <a:gd name="connsiteX3" fmla="*/ 117 w 4682"/>
              <a:gd name="connsiteY3" fmla="*/ 576 h 3096"/>
              <a:gd name="connsiteX4" fmla="*/ 78 w 4682"/>
              <a:gd name="connsiteY4" fmla="*/ 616 h 3096"/>
              <a:gd name="connsiteX5" fmla="*/ 78 w 4682"/>
              <a:gd name="connsiteY5" fmla="*/ 1152 h 3096"/>
              <a:gd name="connsiteX6" fmla="*/ 4682 w 4682"/>
              <a:gd name="connsiteY6" fmla="*/ 3096 h 3096"/>
              <a:gd name="connsiteX0" fmla="*/ 0 w 117"/>
              <a:gd name="connsiteY0" fmla="*/ 0 h 1152"/>
              <a:gd name="connsiteX1" fmla="*/ 78 w 117"/>
              <a:gd name="connsiteY1" fmla="*/ 0 h 1152"/>
              <a:gd name="connsiteX2" fmla="*/ 78 w 117"/>
              <a:gd name="connsiteY2" fmla="*/ 537 h 1152"/>
              <a:gd name="connsiteX3" fmla="*/ 117 w 117"/>
              <a:gd name="connsiteY3" fmla="*/ 576 h 1152"/>
              <a:gd name="connsiteX4" fmla="*/ 78 w 117"/>
              <a:gd name="connsiteY4" fmla="*/ 616 h 1152"/>
              <a:gd name="connsiteX5" fmla="*/ 78 w 117"/>
              <a:gd name="connsiteY5" fmla="*/ 1152 h 1152"/>
              <a:gd name="connsiteX6" fmla="*/ 0 w 117"/>
              <a:gd name="connsiteY6" fmla="*/ 1152 h 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 h="1152">
                <a:moveTo>
                  <a:pt x="0" y="0"/>
                </a:moveTo>
                <a:lnTo>
                  <a:pt x="78" y="0"/>
                </a:lnTo>
                <a:lnTo>
                  <a:pt x="78" y="537"/>
                </a:lnTo>
                <a:lnTo>
                  <a:pt x="117" y="576"/>
                </a:lnTo>
                <a:lnTo>
                  <a:pt x="78" y="616"/>
                </a:lnTo>
                <a:lnTo>
                  <a:pt x="78" y="1152"/>
                </a:lnTo>
                <a:lnTo>
                  <a:pt x="0" y="1152"/>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8" rIns="91430" bIns="45718" anchor="ctr"/>
          <a:lstStyle/>
          <a:p>
            <a:endParaRPr lang="nl-NL" sz="1600" baseline="30000">
              <a:latin typeface="+mn-lt"/>
              <a:ea typeface="+mn-ea"/>
              <a:sym typeface="+mn-lt"/>
            </a:endParaRPr>
          </a:p>
        </p:txBody>
      </p:sp>
      <p:grpSp>
        <p:nvGrpSpPr>
          <p:cNvPr id="99" name="Flow" hidden="1"/>
          <p:cNvGrpSpPr>
            <a:grpSpLocks/>
          </p:cNvGrpSpPr>
          <p:nvPr>
            <p:custDataLst>
              <p:tags r:id="rId25"/>
            </p:custDataLst>
          </p:nvPr>
        </p:nvGrpSpPr>
        <p:grpSpPr bwMode="gray">
          <a:xfrm>
            <a:off x="3492963" y="3148304"/>
            <a:ext cx="1865975" cy="932973"/>
            <a:chOff x="5905500" y="3124200"/>
            <a:chExt cx="1828800" cy="914400"/>
          </a:xfrm>
        </p:grpSpPr>
        <p:sp>
          <p:nvSpPr>
            <p:cNvPr id="100" name="Freeform 99"/>
            <p:cNvSpPr/>
            <p:nvPr>
              <p:custDataLst>
                <p:tags r:id="rId62"/>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01" name="TextBox 100"/>
            <p:cNvSpPr txBox="1"/>
            <p:nvPr>
              <p:custDataLst>
                <p:tags r:id="rId63"/>
              </p:custDataLst>
            </p:nvPr>
          </p:nvSpPr>
          <p:spPr bwMode="gray">
            <a:xfrm>
              <a:off x="5969000" y="3187700"/>
              <a:ext cx="1524000" cy="79929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grpSp>
        <p:nvGrpSpPr>
          <p:cNvPr id="102" name="SplitFlow" hidden="1"/>
          <p:cNvGrpSpPr/>
          <p:nvPr>
            <p:custDataLst>
              <p:tags r:id="rId26"/>
            </p:custDataLst>
          </p:nvPr>
        </p:nvGrpSpPr>
        <p:grpSpPr bwMode="gray">
          <a:xfrm>
            <a:off x="5538535" y="3148304"/>
            <a:ext cx="1865975" cy="932973"/>
            <a:chOff x="114300" y="1270000"/>
            <a:chExt cx="1828800" cy="914400"/>
          </a:xfrm>
        </p:grpSpPr>
        <p:sp>
          <p:nvSpPr>
            <p:cNvPr id="103" name="Freeform 102"/>
            <p:cNvSpPr/>
            <p:nvPr>
              <p:custDataLst>
                <p:tags r:id="rId58"/>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04" name="TextBox 103"/>
            <p:cNvSpPr txBox="1"/>
            <p:nvPr>
              <p:custDataLst>
                <p:tags r:id="rId59"/>
              </p:custDataLst>
            </p:nvPr>
          </p:nvSpPr>
          <p:spPr bwMode="gray">
            <a:xfrm>
              <a:off x="177800" y="1327150"/>
              <a:ext cx="1524000" cy="3383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sp>
          <p:nvSpPr>
            <p:cNvPr id="105" name="Freeform 104"/>
            <p:cNvSpPr/>
            <p:nvPr>
              <p:custDataLst>
                <p:tags r:id="rId60"/>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06" name="TextBox 105"/>
            <p:cNvSpPr txBox="1"/>
            <p:nvPr>
              <p:custDataLst>
                <p:tags r:id="rId61"/>
              </p:custDataLst>
            </p:nvPr>
          </p:nvSpPr>
          <p:spPr bwMode="gray">
            <a:xfrm>
              <a:off x="177800" y="1784350"/>
              <a:ext cx="1524000" cy="34514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grpSp>
        <p:nvGrpSpPr>
          <p:cNvPr id="123" name="Sticker" hidden="1"/>
          <p:cNvGrpSpPr/>
          <p:nvPr/>
        </p:nvGrpSpPr>
        <p:grpSpPr bwMode="gray">
          <a:xfrm>
            <a:off x="10970400" y="887192"/>
            <a:ext cx="666849" cy="241447"/>
            <a:chOff x="8087210" y="288162"/>
            <a:chExt cx="653565" cy="236638"/>
          </a:xfrm>
        </p:grpSpPr>
        <p:sp>
          <p:nvSpPr>
            <p:cNvPr id="124" name="StickerRectangle"/>
            <p:cNvSpPr>
              <a:spLocks noChangeArrowheads="1"/>
            </p:cNvSpPr>
            <p:nvPr/>
          </p:nvSpPr>
          <p:spPr bwMode="gray">
            <a:xfrm>
              <a:off x="8087210" y="288162"/>
              <a:ext cx="653565" cy="2366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895236">
                <a:buClr>
                  <a:schemeClr val="tx2"/>
                </a:buClr>
              </a:pPr>
              <a:r>
                <a:rPr lang="nl-NL" sz="1200" noProof="0">
                  <a:solidFill>
                    <a:schemeClr val="tx1"/>
                  </a:solidFill>
                  <a:latin typeface="+mn-lt"/>
                  <a:ea typeface="+mn-ea"/>
                  <a:sym typeface="+mn-lt"/>
                </a:rPr>
                <a:t>STICKER</a:t>
              </a:r>
            </a:p>
          </p:txBody>
        </p:sp>
        <p:cxnSp>
          <p:nvCxnSpPr>
            <p:cNvPr id="125" name="AutoShape 32"/>
            <p:cNvCxnSpPr>
              <a:cxnSpLocks noChangeShapeType="1"/>
              <a:stCxn id="124" idx="4"/>
              <a:endCxn id="124" idx="6"/>
            </p:cNvCxnSpPr>
            <p:nvPr/>
          </p:nvCxnSpPr>
          <p:spPr bwMode="gray">
            <a:xfrm>
              <a:off x="8087210" y="524800"/>
              <a:ext cx="653565"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26" name="AutoShape 32"/>
            <p:cNvCxnSpPr>
              <a:cxnSpLocks noChangeShapeType="1"/>
              <a:stCxn id="124" idx="2"/>
              <a:endCxn id="124" idx="0"/>
            </p:cNvCxnSpPr>
            <p:nvPr userDrawn="1"/>
          </p:nvCxnSpPr>
          <p:spPr bwMode="gray">
            <a:xfrm>
              <a:off x="8087210" y="288162"/>
              <a:ext cx="653565"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148" name="Moon" hidden="1"/>
          <p:cNvGrpSpPr/>
          <p:nvPr>
            <p:custDataLst>
              <p:tags r:id="rId27"/>
            </p:custDataLst>
          </p:nvPr>
        </p:nvGrpSpPr>
        <p:grpSpPr bwMode="gray">
          <a:xfrm>
            <a:off x="9777013" y="4818919"/>
            <a:ext cx="259163" cy="259159"/>
            <a:chOff x="762000" y="1270000"/>
            <a:chExt cx="254000" cy="254000"/>
          </a:xfrm>
        </p:grpSpPr>
        <p:sp>
          <p:nvSpPr>
            <p:cNvPr id="149" name="Oval 148"/>
            <p:cNvSpPr/>
            <p:nvPr/>
          </p:nvSpPr>
          <p:spPr bwMode="gray">
            <a:xfrm>
              <a:off x="762000" y="1270000"/>
              <a:ext cx="254000" cy="25400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chemeClr val="tx1"/>
                </a:solidFill>
                <a:latin typeface="+mn-lt"/>
                <a:ea typeface="+mn-ea"/>
                <a:sym typeface="+mn-lt"/>
              </a:endParaRPr>
            </a:p>
          </p:txBody>
        </p:sp>
        <p:sp>
          <p:nvSpPr>
            <p:cNvPr id="150" name="Arc 149"/>
            <p:cNvSpPr/>
            <p:nvPr/>
          </p:nvSpPr>
          <p:spPr bwMode="gray">
            <a:xfrm>
              <a:off x="762000" y="1270000"/>
              <a:ext cx="254000" cy="254000"/>
            </a:xfrm>
            <a:prstGeom prst="arc">
              <a:avLst/>
            </a:prstGeom>
            <a:solidFill>
              <a:schemeClr val="accent4"/>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600">
                <a:latin typeface="+mn-lt"/>
                <a:ea typeface="+mn-ea"/>
                <a:sym typeface="+mn-lt"/>
              </a:endParaRPr>
            </a:p>
          </p:txBody>
        </p:sp>
      </p:grpSp>
      <p:sp>
        <p:nvSpPr>
          <p:cNvPr id="74" name="SingleChevron" hidden="1">
            <a:extLst>
              <a:ext uri="{FF2B5EF4-FFF2-40B4-BE49-F238E27FC236}">
                <a16:creationId xmlns:a16="http://schemas.microsoft.com/office/drawing/2014/main" id="{34779F02-BFE0-43F0-98F6-F54EEC0C08FC}"/>
              </a:ext>
            </a:extLst>
          </p:cNvPr>
          <p:cNvSpPr>
            <a:spLocks noChangeAspect="1"/>
          </p:cNvSpPr>
          <p:nvPr userDrawn="1">
            <p:custDataLst>
              <p:tags r:id="rId28"/>
            </p:custDataLst>
          </p:nvPr>
        </p:nvSpPr>
        <p:spPr>
          <a:xfrm>
            <a:off x="511474" y="3485693"/>
            <a:ext cx="680303" cy="1554955"/>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nl-NL" sz="1600">
              <a:solidFill>
                <a:schemeClr val="tx1"/>
              </a:solidFill>
              <a:latin typeface="+mn-lt"/>
              <a:ea typeface="+mn-ea"/>
              <a:sym typeface="+mn-lt"/>
            </a:endParaRPr>
          </a:p>
        </p:txBody>
      </p:sp>
      <p:grpSp>
        <p:nvGrpSpPr>
          <p:cNvPr id="75" name="DoubleChevron" hidden="1">
            <a:extLst>
              <a:ext uri="{FF2B5EF4-FFF2-40B4-BE49-F238E27FC236}">
                <a16:creationId xmlns:a16="http://schemas.microsoft.com/office/drawing/2014/main" id="{7B5D8A4B-083D-4ABD-9144-478A22DE8263}"/>
              </a:ext>
            </a:extLst>
          </p:cNvPr>
          <p:cNvGrpSpPr>
            <a:grpSpLocks noChangeAspect="1"/>
          </p:cNvGrpSpPr>
          <p:nvPr userDrawn="1">
            <p:custDataLst>
              <p:tags r:id="rId29"/>
            </p:custDataLst>
          </p:nvPr>
        </p:nvGrpSpPr>
        <p:grpSpPr>
          <a:xfrm>
            <a:off x="1041169" y="3498649"/>
            <a:ext cx="1034947" cy="1554955"/>
            <a:chOff x="1270000" y="1270000"/>
            <a:chExt cx="2409032" cy="3619500"/>
          </a:xfrm>
        </p:grpSpPr>
        <p:sp>
          <p:nvSpPr>
            <p:cNvPr id="76" name="Chevron1">
              <a:extLst>
                <a:ext uri="{FF2B5EF4-FFF2-40B4-BE49-F238E27FC236}">
                  <a16:creationId xmlns:a16="http://schemas.microsoft.com/office/drawing/2014/main" id="{78D8F1E3-49EA-4E52-A99D-D7C48D6DAB03}"/>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chemeClr val="tx1"/>
                </a:solidFill>
                <a:latin typeface="+mn-lt"/>
                <a:ea typeface="+mn-ea"/>
                <a:sym typeface="+mn-lt"/>
              </a:endParaRPr>
            </a:p>
          </p:txBody>
        </p:sp>
        <p:sp>
          <p:nvSpPr>
            <p:cNvPr id="78" name="Chevron2">
              <a:extLst>
                <a:ext uri="{FF2B5EF4-FFF2-40B4-BE49-F238E27FC236}">
                  <a16:creationId xmlns:a16="http://schemas.microsoft.com/office/drawing/2014/main" id="{5754E2D5-2E54-4CB9-AE67-DD1D86D332EC}"/>
                </a:ext>
              </a:extLst>
            </p:cNvPr>
            <p:cNvSpPr>
              <a:spLocks noChangeAspect="1"/>
            </p:cNvSpPr>
            <p:nvPr/>
          </p:nvSpPr>
          <p:spPr>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chemeClr val="tx1"/>
                </a:solidFill>
                <a:latin typeface="+mn-lt"/>
                <a:ea typeface="+mn-ea"/>
                <a:sym typeface="+mn-lt"/>
              </a:endParaRPr>
            </a:p>
          </p:txBody>
        </p:sp>
      </p:grpSp>
      <p:grpSp>
        <p:nvGrpSpPr>
          <p:cNvPr id="79" name="DoubleChevron2" hidden="1">
            <a:extLst>
              <a:ext uri="{FF2B5EF4-FFF2-40B4-BE49-F238E27FC236}">
                <a16:creationId xmlns:a16="http://schemas.microsoft.com/office/drawing/2014/main" id="{245F0981-B798-40E7-B6D6-18736A2E1386}"/>
              </a:ext>
            </a:extLst>
          </p:cNvPr>
          <p:cNvGrpSpPr>
            <a:grpSpLocks noChangeAspect="1"/>
          </p:cNvGrpSpPr>
          <p:nvPr userDrawn="1">
            <p:custDataLst>
              <p:tags r:id="rId30"/>
            </p:custDataLst>
          </p:nvPr>
        </p:nvGrpSpPr>
        <p:grpSpPr>
          <a:xfrm>
            <a:off x="1888085" y="3498649"/>
            <a:ext cx="1268195" cy="1554955"/>
            <a:chOff x="1270000" y="1270000"/>
            <a:chExt cx="2951957" cy="3619500"/>
          </a:xfrm>
        </p:grpSpPr>
        <p:sp>
          <p:nvSpPr>
            <p:cNvPr id="80" name="Chevron1">
              <a:extLst>
                <a:ext uri="{FF2B5EF4-FFF2-40B4-BE49-F238E27FC236}">
                  <a16:creationId xmlns:a16="http://schemas.microsoft.com/office/drawing/2014/main" id="{E1BFC1E0-1C65-4844-ABEE-DE02AA2947F7}"/>
                </a:ext>
              </a:extLst>
            </p:cNvPr>
            <p:cNvSpPr>
              <a:spLocks noChangeAspect="1"/>
            </p:cNvSpPr>
            <p:nvPr/>
          </p:nvSpPr>
          <p:spPr>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chemeClr val="tx1"/>
                </a:solidFill>
                <a:latin typeface="+mn-lt"/>
                <a:ea typeface="+mn-ea"/>
                <a:sym typeface="+mn-lt"/>
              </a:endParaRPr>
            </a:p>
          </p:txBody>
        </p:sp>
        <p:sp>
          <p:nvSpPr>
            <p:cNvPr id="81" name="Chevron2">
              <a:extLst>
                <a:ext uri="{FF2B5EF4-FFF2-40B4-BE49-F238E27FC236}">
                  <a16:creationId xmlns:a16="http://schemas.microsoft.com/office/drawing/2014/main" id="{AD28838F-F139-4F7E-974C-AC978DE75C2C}"/>
                </a:ext>
              </a:extLst>
            </p:cNvPr>
            <p:cNvSpPr>
              <a:spLocks noChangeAspect="1"/>
            </p:cNvSpPr>
            <p:nvPr/>
          </p:nvSpPr>
          <p:spPr>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1"/>
            </a:solidFill>
            <a:ln w="9525"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chemeClr val="tx1"/>
                </a:solidFill>
                <a:latin typeface="+mn-lt"/>
                <a:ea typeface="+mn-ea"/>
                <a:sym typeface="+mn-lt"/>
              </a:endParaRPr>
            </a:p>
          </p:txBody>
        </p:sp>
      </p:grpSp>
      <p:grpSp>
        <p:nvGrpSpPr>
          <p:cNvPr id="166" name="SplitFlow2" hidden="1">
            <a:extLst>
              <a:ext uri="{FF2B5EF4-FFF2-40B4-BE49-F238E27FC236}">
                <a16:creationId xmlns:a16="http://schemas.microsoft.com/office/drawing/2014/main" id="{842CB557-2814-4A67-9911-BD3630815E45}"/>
              </a:ext>
            </a:extLst>
          </p:cNvPr>
          <p:cNvGrpSpPr/>
          <p:nvPr userDrawn="1">
            <p:custDataLst>
              <p:tags r:id="rId31"/>
            </p:custDataLst>
          </p:nvPr>
        </p:nvGrpSpPr>
        <p:grpSpPr>
          <a:xfrm>
            <a:off x="9203359" y="2145092"/>
            <a:ext cx="1865975" cy="932973"/>
            <a:chOff x="1003299" y="1892300"/>
            <a:chExt cx="1828801" cy="914400"/>
          </a:xfrm>
          <a:solidFill>
            <a:schemeClr val="accent2"/>
          </a:solidFill>
        </p:grpSpPr>
        <p:sp>
          <p:nvSpPr>
            <p:cNvPr id="167" name="Freeform: Shape 166">
              <a:extLst>
                <a:ext uri="{FF2B5EF4-FFF2-40B4-BE49-F238E27FC236}">
                  <a16:creationId xmlns:a16="http://schemas.microsoft.com/office/drawing/2014/main" id="{E93B8A91-3F02-4BCE-AD5D-07320BE2BAC0}"/>
                </a:ext>
              </a:extLst>
            </p:cNvPr>
            <p:cNvSpPr/>
            <p:nvPr>
              <p:custDataLst>
                <p:tags r:id="rId52"/>
              </p:custDataLst>
            </p:nvPr>
          </p:nvSpPr>
          <p:spPr>
            <a:xfrm>
              <a:off x="1003300" y="18923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68" name="TextBox 167">
              <a:extLst>
                <a:ext uri="{FF2B5EF4-FFF2-40B4-BE49-F238E27FC236}">
                  <a16:creationId xmlns:a16="http://schemas.microsoft.com/office/drawing/2014/main" id="{0C0E7281-AFAC-4D91-952E-76EFDF44165D}"/>
                </a:ext>
              </a:extLst>
            </p:cNvPr>
            <p:cNvSpPr txBox="1"/>
            <p:nvPr>
              <p:custDataLst>
                <p:tags r:id="rId53"/>
              </p:custDataLst>
            </p:nvPr>
          </p:nvSpPr>
          <p:spPr>
            <a:xfrm>
              <a:off x="1066800" y="1949450"/>
              <a:ext cx="1600708" cy="3451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sp>
          <p:nvSpPr>
            <p:cNvPr id="169" name="Freeform: Shape 168">
              <a:extLst>
                <a:ext uri="{FF2B5EF4-FFF2-40B4-BE49-F238E27FC236}">
                  <a16:creationId xmlns:a16="http://schemas.microsoft.com/office/drawing/2014/main" id="{BB7BED76-2503-4209-8A7E-CA5A477F5F00}"/>
                </a:ext>
              </a:extLst>
            </p:cNvPr>
            <p:cNvSpPr/>
            <p:nvPr>
              <p:custDataLst>
                <p:tags r:id="rId54"/>
              </p:custDataLst>
            </p:nvPr>
          </p:nvSpPr>
          <p:spPr>
            <a:xfrm>
              <a:off x="1003299" y="2349500"/>
              <a:ext cx="996697"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980237 w 1664208"/>
                <a:gd name="connsiteY0" fmla="*/ 0 h 457200"/>
                <a:gd name="connsiteX1" fmla="*/ 1664208 w 1664208"/>
                <a:gd name="connsiteY1" fmla="*/ 457200 h 457200"/>
                <a:gd name="connsiteX2" fmla="*/ 0 w 1664208"/>
                <a:gd name="connsiteY2" fmla="*/ 457200 h 457200"/>
                <a:gd name="connsiteX3" fmla="*/ 0 w 1664208"/>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96696 w 996696"/>
                <a:gd name="connsiteY0" fmla="*/ 0 h 457200"/>
                <a:gd name="connsiteX1" fmla="*/ 848563 w 996696"/>
                <a:gd name="connsiteY1" fmla="*/ 457200 h 457200"/>
                <a:gd name="connsiteX2" fmla="*/ 0 w 996696"/>
                <a:gd name="connsiteY2" fmla="*/ 457200 h 457200"/>
                <a:gd name="connsiteX3" fmla="*/ 0 w 996696"/>
                <a:gd name="connsiteY3" fmla="*/ 0 h 457200"/>
                <a:gd name="connsiteX0" fmla="*/ 996696 w 996696"/>
                <a:gd name="connsiteY0" fmla="*/ 0 h 457200"/>
                <a:gd name="connsiteX1" fmla="*/ 832103 w 996696"/>
                <a:gd name="connsiteY1" fmla="*/ 457200 h 457200"/>
                <a:gd name="connsiteX2" fmla="*/ 0 w 996696"/>
                <a:gd name="connsiteY2" fmla="*/ 457200 h 457200"/>
                <a:gd name="connsiteX3" fmla="*/ 0 w 996696"/>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Lst>
              <a:ahLst/>
              <a:cxnLst>
                <a:cxn ang="0">
                  <a:pos x="connsiteX0" y="connsiteY0"/>
                </a:cxn>
                <a:cxn ang="0">
                  <a:pos x="connsiteX1" y="connsiteY1"/>
                </a:cxn>
                <a:cxn ang="0">
                  <a:pos x="connsiteX2" y="connsiteY2"/>
                </a:cxn>
                <a:cxn ang="0">
                  <a:pos x="connsiteX3" y="connsiteY3"/>
                </a:cxn>
              </a:cxnLst>
              <a:rect l="l" t="t" r="r" b="b"/>
              <a:pathLst>
                <a:path w="996697" h="457200">
                  <a:moveTo>
                    <a:pt x="996697" y="0"/>
                  </a:moveTo>
                  <a:lnTo>
                    <a:pt x="832104" y="457200"/>
                  </a:lnTo>
                  <a:lnTo>
                    <a:pt x="0" y="457200"/>
                  </a:lnTo>
                  <a:lnTo>
                    <a:pt x="1" y="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70" name="TextBox 169">
              <a:extLst>
                <a:ext uri="{FF2B5EF4-FFF2-40B4-BE49-F238E27FC236}">
                  <a16:creationId xmlns:a16="http://schemas.microsoft.com/office/drawing/2014/main" id="{02A660C1-994C-4A22-BAA1-A2B684FACCC3}"/>
                </a:ext>
              </a:extLst>
            </p:cNvPr>
            <p:cNvSpPr txBox="1"/>
            <p:nvPr>
              <p:custDataLst>
                <p:tags r:id="rId55"/>
              </p:custDataLst>
            </p:nvPr>
          </p:nvSpPr>
          <p:spPr>
            <a:xfrm>
              <a:off x="1066800" y="2406650"/>
              <a:ext cx="768604" cy="3451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sp>
          <p:nvSpPr>
            <p:cNvPr id="171" name="Freeform: Shape 170">
              <a:extLst>
                <a:ext uri="{FF2B5EF4-FFF2-40B4-BE49-F238E27FC236}">
                  <a16:creationId xmlns:a16="http://schemas.microsoft.com/office/drawing/2014/main" id="{2D42E41B-DC12-4382-AC13-5867DF745C14}"/>
                </a:ext>
              </a:extLst>
            </p:cNvPr>
            <p:cNvSpPr/>
            <p:nvPr>
              <p:custDataLst>
                <p:tags r:id="rId56"/>
              </p:custDataLst>
            </p:nvPr>
          </p:nvSpPr>
          <p:spPr>
            <a:xfrm>
              <a:off x="1835404" y="2349500"/>
              <a:ext cx="996696"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97126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97126 w 1828800"/>
                <a:gd name="connsiteY1" fmla="*/ 457200 h 457200"/>
                <a:gd name="connsiteX2" fmla="*/ 848563 w 1828800"/>
                <a:gd name="connsiteY2" fmla="*/ 457200 h 457200"/>
                <a:gd name="connsiteX3" fmla="*/ 0 w 1828800"/>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131674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131674 w 980237"/>
                <a:gd name="connsiteY3" fmla="*/ 0 h 457200"/>
                <a:gd name="connsiteX0" fmla="*/ 980237 w 980237"/>
                <a:gd name="connsiteY0" fmla="*/ 0 h 457200"/>
                <a:gd name="connsiteX1" fmla="*/ 815645 w 980237"/>
                <a:gd name="connsiteY1" fmla="*/ 457200 h 457200"/>
                <a:gd name="connsiteX2" fmla="*/ 0 w 980237"/>
                <a:gd name="connsiteY2" fmla="*/ 457200 h 457200"/>
                <a:gd name="connsiteX3" fmla="*/ 131674 w 980237"/>
                <a:gd name="connsiteY3" fmla="*/ 0 h 457200"/>
                <a:gd name="connsiteX0" fmla="*/ 996696 w 996696"/>
                <a:gd name="connsiteY0" fmla="*/ 0 h 457200"/>
                <a:gd name="connsiteX1" fmla="*/ 832104 w 996696"/>
                <a:gd name="connsiteY1" fmla="*/ 457200 h 457200"/>
                <a:gd name="connsiteX2" fmla="*/ 0 w 996696"/>
                <a:gd name="connsiteY2" fmla="*/ 457200 h 457200"/>
                <a:gd name="connsiteX3" fmla="*/ 148133 w 996696"/>
                <a:gd name="connsiteY3" fmla="*/ 0 h 457200"/>
                <a:gd name="connsiteX0" fmla="*/ 996696 w 996696"/>
                <a:gd name="connsiteY0" fmla="*/ 0 h 457200"/>
                <a:gd name="connsiteX1" fmla="*/ 832104 w 996696"/>
                <a:gd name="connsiteY1" fmla="*/ 457200 h 457200"/>
                <a:gd name="connsiteX2" fmla="*/ 0 w 996696"/>
                <a:gd name="connsiteY2" fmla="*/ 457200 h 457200"/>
                <a:gd name="connsiteX3" fmla="*/ 164592 w 996696"/>
                <a:gd name="connsiteY3" fmla="*/ 0 h 457200"/>
              </a:gdLst>
              <a:ahLst/>
              <a:cxnLst>
                <a:cxn ang="0">
                  <a:pos x="connsiteX0" y="connsiteY0"/>
                </a:cxn>
                <a:cxn ang="0">
                  <a:pos x="connsiteX1" y="connsiteY1"/>
                </a:cxn>
                <a:cxn ang="0">
                  <a:pos x="connsiteX2" y="connsiteY2"/>
                </a:cxn>
                <a:cxn ang="0">
                  <a:pos x="connsiteX3" y="connsiteY3"/>
                </a:cxn>
              </a:cxnLst>
              <a:rect l="l" t="t" r="r" b="b"/>
              <a:pathLst>
                <a:path w="996696" h="457200">
                  <a:moveTo>
                    <a:pt x="996696" y="0"/>
                  </a:moveTo>
                  <a:lnTo>
                    <a:pt x="832104" y="457200"/>
                  </a:lnTo>
                  <a:lnTo>
                    <a:pt x="0" y="457200"/>
                  </a:lnTo>
                  <a:lnTo>
                    <a:pt x="164592" y="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72" name="TextBox 171">
              <a:extLst>
                <a:ext uri="{FF2B5EF4-FFF2-40B4-BE49-F238E27FC236}">
                  <a16:creationId xmlns:a16="http://schemas.microsoft.com/office/drawing/2014/main" id="{6F62D4DB-A1A0-4964-A3C2-4E3696D4DC50}"/>
                </a:ext>
              </a:extLst>
            </p:cNvPr>
            <p:cNvSpPr txBox="1"/>
            <p:nvPr>
              <p:custDataLst>
                <p:tags r:id="rId57"/>
              </p:custDataLst>
            </p:nvPr>
          </p:nvSpPr>
          <p:spPr>
            <a:xfrm>
              <a:off x="2038096" y="2406650"/>
              <a:ext cx="629412" cy="3451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grpSp>
        <p:nvGrpSpPr>
          <p:cNvPr id="18" name="Flow2" hidden="1">
            <a:extLst>
              <a:ext uri="{FF2B5EF4-FFF2-40B4-BE49-F238E27FC236}">
                <a16:creationId xmlns:a16="http://schemas.microsoft.com/office/drawing/2014/main" id="{B9EB7F0D-EA33-4484-8128-C9649ED20BF6}"/>
              </a:ext>
            </a:extLst>
          </p:cNvPr>
          <p:cNvGrpSpPr/>
          <p:nvPr userDrawn="1">
            <p:custDataLst>
              <p:tags r:id="rId32"/>
            </p:custDataLst>
          </p:nvPr>
        </p:nvGrpSpPr>
        <p:grpSpPr>
          <a:xfrm>
            <a:off x="9203357" y="3163188"/>
            <a:ext cx="1865975" cy="932973"/>
            <a:chOff x="1003300" y="1892300"/>
            <a:chExt cx="1828800" cy="914400"/>
          </a:xfrm>
        </p:grpSpPr>
        <p:sp>
          <p:nvSpPr>
            <p:cNvPr id="181" name="Freeform: Shape 180">
              <a:extLst>
                <a:ext uri="{FF2B5EF4-FFF2-40B4-BE49-F238E27FC236}">
                  <a16:creationId xmlns:a16="http://schemas.microsoft.com/office/drawing/2014/main" id="{812B2E58-D01F-4417-9967-0B823FF151DA}"/>
                </a:ext>
              </a:extLst>
            </p:cNvPr>
            <p:cNvSpPr/>
            <p:nvPr>
              <p:custDataLst>
                <p:tags r:id="rId50"/>
              </p:custDataLst>
            </p:nvPr>
          </p:nvSpPr>
          <p:spPr>
            <a:xfrm>
              <a:off x="1003300" y="18923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nl-NL" sz="1600">
                <a:solidFill>
                  <a:schemeClr val="tx1"/>
                </a:solidFill>
                <a:latin typeface="+mn-lt"/>
                <a:ea typeface="+mn-ea"/>
                <a:sym typeface="+mn-lt"/>
              </a:endParaRPr>
            </a:p>
          </p:txBody>
        </p:sp>
        <p:sp>
          <p:nvSpPr>
            <p:cNvPr id="182" name="TextBox 181">
              <a:extLst>
                <a:ext uri="{FF2B5EF4-FFF2-40B4-BE49-F238E27FC236}">
                  <a16:creationId xmlns:a16="http://schemas.microsoft.com/office/drawing/2014/main" id="{EC51BA75-B8E8-45E8-A6F1-F676FD841BBA}"/>
                </a:ext>
              </a:extLst>
            </p:cNvPr>
            <p:cNvSpPr txBox="1"/>
            <p:nvPr>
              <p:custDataLst>
                <p:tags r:id="rId51"/>
              </p:custDataLst>
            </p:nvPr>
          </p:nvSpPr>
          <p:spPr>
            <a:xfrm>
              <a:off x="1066800" y="1955800"/>
              <a:ext cx="1600708" cy="7959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79997" lvl="1" indent="-179997" defTabSz="895350" eaLnBrk="1" hangingPunct="1">
                <a:buClr>
                  <a:schemeClr val="tx1"/>
                </a:buClr>
                <a:buSzPct val="100000"/>
                <a:buFont typeface="Arial" pitchFamily="34" charset="0"/>
                <a:buChar char="•"/>
                <a:defRPr sz="1600" baseline="0">
                  <a:latin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defRPr>
              </a:lvl3pPr>
              <a:lvl4pPr marL="539991" lvl="3" indent="-179997" defTabSz="895350" eaLnBrk="1" hangingPunct="1">
                <a:buClr>
                  <a:schemeClr val="tx1"/>
                </a:buClr>
                <a:buSzPct val="100000"/>
                <a:buFont typeface="Arial" pitchFamily="34" charset="0"/>
                <a:buChar char="»"/>
                <a:defRPr sz="1600" baseline="0">
                  <a:latin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nl-NL" sz="1600" b="1" err="1">
                  <a:latin typeface="+mn-lt"/>
                  <a:ea typeface="+mn-ea"/>
                  <a:sym typeface="+mn-lt"/>
                </a:rPr>
                <a:t>Text</a:t>
              </a:r>
              <a:endParaRPr lang="nl-NL" sz="1600" b="1">
                <a:latin typeface="+mn-lt"/>
                <a:ea typeface="+mn-ea"/>
                <a:sym typeface="+mn-lt"/>
              </a:endParaRPr>
            </a:p>
          </p:txBody>
        </p:sp>
      </p:grpSp>
      <p:grpSp>
        <p:nvGrpSpPr>
          <p:cNvPr id="183" name="DoubleChevron3" hidden="1">
            <a:extLst>
              <a:ext uri="{FF2B5EF4-FFF2-40B4-BE49-F238E27FC236}">
                <a16:creationId xmlns:a16="http://schemas.microsoft.com/office/drawing/2014/main" id="{B4B20734-1C9D-4C35-8017-5FDB0D5C7517}"/>
              </a:ext>
            </a:extLst>
          </p:cNvPr>
          <p:cNvGrpSpPr/>
          <p:nvPr userDrawn="1">
            <p:custDataLst>
              <p:tags r:id="rId33"/>
            </p:custDataLst>
          </p:nvPr>
        </p:nvGrpSpPr>
        <p:grpSpPr>
          <a:xfrm>
            <a:off x="11216130" y="2578639"/>
            <a:ext cx="460015" cy="518319"/>
            <a:chOff x="1270000" y="1270000"/>
            <a:chExt cx="450850" cy="508000"/>
          </a:xfrm>
        </p:grpSpPr>
        <p:sp>
          <p:nvSpPr>
            <p:cNvPr id="184" name="Chevron1">
              <a:extLst>
                <a:ext uri="{FF2B5EF4-FFF2-40B4-BE49-F238E27FC236}">
                  <a16:creationId xmlns:a16="http://schemas.microsoft.com/office/drawing/2014/main" id="{8C56CA0F-3AF0-41C3-BAF3-2773B8AE569D}"/>
                </a:ext>
              </a:extLst>
            </p:cNvPr>
            <p:cNvSpPr>
              <a:spLocks noChangeAspect="1"/>
            </p:cNvSpPr>
            <p:nvPr/>
          </p:nvSpPr>
          <p:spPr>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chemeClr val="tx1"/>
                </a:solidFill>
                <a:latin typeface="+mn-lt"/>
                <a:ea typeface="+mn-ea"/>
                <a:sym typeface="+mn-lt"/>
              </a:endParaRPr>
            </a:p>
          </p:txBody>
        </p:sp>
        <p:sp>
          <p:nvSpPr>
            <p:cNvPr id="185" name="Chevron2">
              <a:extLst>
                <a:ext uri="{FF2B5EF4-FFF2-40B4-BE49-F238E27FC236}">
                  <a16:creationId xmlns:a16="http://schemas.microsoft.com/office/drawing/2014/main" id="{A1656928-579D-4508-A1EE-2B57C467F770}"/>
                </a:ext>
              </a:extLst>
            </p:cNvPr>
            <p:cNvSpPr>
              <a:spLocks noChangeAspect="1"/>
            </p:cNvSpPr>
            <p:nvPr/>
          </p:nvSpPr>
          <p:spPr>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chemeClr val="tx1"/>
                </a:solidFill>
                <a:latin typeface="+mn-lt"/>
                <a:ea typeface="+mn-ea"/>
                <a:sym typeface="+mn-lt"/>
              </a:endParaRPr>
            </a:p>
          </p:txBody>
        </p:sp>
      </p:grpSp>
      <p:grpSp>
        <p:nvGrpSpPr>
          <p:cNvPr id="173" name="ACET" hidden="1">
            <a:extLst>
              <a:ext uri="{FF2B5EF4-FFF2-40B4-BE49-F238E27FC236}">
                <a16:creationId xmlns:a16="http://schemas.microsoft.com/office/drawing/2014/main" id="{8F35C115-449B-4D17-8156-DBDFF1F9F80D}"/>
              </a:ext>
            </a:extLst>
          </p:cNvPr>
          <p:cNvGrpSpPr>
            <a:grpSpLocks/>
          </p:cNvGrpSpPr>
          <p:nvPr userDrawn="1"/>
        </p:nvGrpSpPr>
        <p:grpSpPr bwMode="gray">
          <a:xfrm>
            <a:off x="554743" y="3020714"/>
            <a:ext cx="2493855" cy="516697"/>
            <a:chOff x="915" y="711"/>
            <a:chExt cx="2686" cy="319"/>
          </a:xfrm>
        </p:grpSpPr>
        <p:cxnSp>
          <p:nvCxnSpPr>
            <p:cNvPr id="174" name="AutoShape 249">
              <a:extLst>
                <a:ext uri="{FF2B5EF4-FFF2-40B4-BE49-F238E27FC236}">
                  <a16:creationId xmlns:a16="http://schemas.microsoft.com/office/drawing/2014/main" id="{B498294E-C698-4F50-9F42-504D555869BE}"/>
                </a:ext>
              </a:extLst>
            </p:cNvPr>
            <p:cNvCxnSpPr>
              <a:cxnSpLocks noChangeShapeType="1"/>
              <a:stCxn id="175" idx="4"/>
              <a:endCxn id="175"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5" name="AutoShape 250">
              <a:extLst>
                <a:ext uri="{FF2B5EF4-FFF2-40B4-BE49-F238E27FC236}">
                  <a16:creationId xmlns:a16="http://schemas.microsoft.com/office/drawing/2014/main" id="{F3E183D4-E2EE-4D82-A3AF-F57556E220B8}"/>
                </a:ext>
              </a:extLst>
            </p:cNvPr>
            <p:cNvSpPr>
              <a:spLocks noChangeArrowheads="1"/>
            </p:cNvSpPr>
            <p:nvPr/>
          </p:nvSpPr>
          <p:spPr bwMode="gray">
            <a:xfrm>
              <a:off x="915" y="711"/>
              <a:ext cx="2686" cy="31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nl-NL" sz="1600" b="1">
                  <a:latin typeface="+mn-lt"/>
                  <a:ea typeface="+mn-ea"/>
                  <a:sym typeface="+mn-lt"/>
                </a:rPr>
                <a:t>Titel</a:t>
              </a:r>
            </a:p>
            <a:p>
              <a:r>
                <a:rPr lang="nl-NL" sz="1600" b="0">
                  <a:latin typeface="+mn-lt"/>
                  <a:ea typeface="+mn-ea"/>
                  <a:sym typeface="+mn-lt"/>
                </a:rPr>
                <a:t>Meeteenheid </a:t>
              </a:r>
            </a:p>
          </p:txBody>
        </p:sp>
      </p:grpSp>
      <p:grpSp>
        <p:nvGrpSpPr>
          <p:cNvPr id="177" name="LegendBoxes" hidden="1">
            <a:extLst>
              <a:ext uri="{FF2B5EF4-FFF2-40B4-BE49-F238E27FC236}">
                <a16:creationId xmlns:a16="http://schemas.microsoft.com/office/drawing/2014/main" id="{8A263A5C-54AC-4CC2-9DF3-E4BB3CDBC37D}"/>
              </a:ext>
            </a:extLst>
          </p:cNvPr>
          <p:cNvGrpSpPr/>
          <p:nvPr userDrawn="1"/>
        </p:nvGrpSpPr>
        <p:grpSpPr bwMode="gray">
          <a:xfrm>
            <a:off x="10771307" y="884728"/>
            <a:ext cx="865967" cy="1017725"/>
            <a:chOff x="7941273" y="531813"/>
            <a:chExt cx="848714" cy="997467"/>
          </a:xfrm>
        </p:grpSpPr>
        <p:sp>
          <p:nvSpPr>
            <p:cNvPr id="178" name="Legend1">
              <a:extLst>
                <a:ext uri="{FF2B5EF4-FFF2-40B4-BE49-F238E27FC236}">
                  <a16:creationId xmlns:a16="http://schemas.microsoft.com/office/drawing/2014/main" id="{D9E27758-4B94-4833-9B0E-931E7B894680}"/>
                </a:ext>
              </a:extLst>
            </p:cNvPr>
            <p:cNvSpPr>
              <a:spLocks noChangeArrowheads="1"/>
            </p:cNvSpPr>
            <p:nvPr/>
          </p:nvSpPr>
          <p:spPr bwMode="gray">
            <a:xfrm>
              <a:off x="8195273" y="531813"/>
              <a:ext cx="59471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36">
                <a:buClr>
                  <a:schemeClr val="tx2"/>
                </a:buClr>
              </a:pPr>
              <a:r>
                <a:rPr lang="nl-NL" sz="1200">
                  <a:latin typeface="+mn-lt"/>
                  <a:ea typeface="+mn-ea"/>
                  <a:sym typeface="+mn-lt"/>
                </a:rPr>
                <a:t>Legenda</a:t>
              </a:r>
            </a:p>
          </p:txBody>
        </p:sp>
        <p:sp>
          <p:nvSpPr>
            <p:cNvPr id="179" name="LegendRectangle1">
              <a:extLst>
                <a:ext uri="{FF2B5EF4-FFF2-40B4-BE49-F238E27FC236}">
                  <a16:creationId xmlns:a16="http://schemas.microsoft.com/office/drawing/2014/main" id="{99194796-B8A2-4B7A-8AED-07DB4BEBA9F5}"/>
                </a:ext>
              </a:extLst>
            </p:cNvPr>
            <p:cNvSpPr>
              <a:spLocks noChangeArrowheads="1"/>
            </p:cNvSpPr>
            <p:nvPr/>
          </p:nvSpPr>
          <p:spPr bwMode="gray">
            <a:xfrm>
              <a:off x="7941273" y="542926"/>
              <a:ext cx="165100" cy="16033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sp>
          <p:nvSpPr>
            <p:cNvPr id="180" name="Legend2">
              <a:extLst>
                <a:ext uri="{FF2B5EF4-FFF2-40B4-BE49-F238E27FC236}">
                  <a16:creationId xmlns:a16="http://schemas.microsoft.com/office/drawing/2014/main" id="{64EB259F-3733-46DE-8BD9-42ACD8901467}"/>
                </a:ext>
              </a:extLst>
            </p:cNvPr>
            <p:cNvSpPr>
              <a:spLocks noChangeArrowheads="1"/>
            </p:cNvSpPr>
            <p:nvPr/>
          </p:nvSpPr>
          <p:spPr bwMode="gray">
            <a:xfrm>
              <a:off x="8195273" y="801688"/>
              <a:ext cx="59471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36">
                <a:buClr>
                  <a:schemeClr val="tx2"/>
                </a:buClr>
              </a:pPr>
              <a:r>
                <a:rPr lang="nl-NL" sz="1200">
                  <a:latin typeface="+mn-lt"/>
                  <a:ea typeface="+mn-ea"/>
                  <a:sym typeface="+mn-lt"/>
                </a:rPr>
                <a:t>Legenda</a:t>
              </a:r>
            </a:p>
          </p:txBody>
        </p:sp>
        <p:sp>
          <p:nvSpPr>
            <p:cNvPr id="186" name="LegendRectangle2">
              <a:extLst>
                <a:ext uri="{FF2B5EF4-FFF2-40B4-BE49-F238E27FC236}">
                  <a16:creationId xmlns:a16="http://schemas.microsoft.com/office/drawing/2014/main" id="{89779B19-7585-485D-B736-E9BF0747A030}"/>
                </a:ext>
              </a:extLst>
            </p:cNvPr>
            <p:cNvSpPr>
              <a:spLocks noChangeArrowheads="1"/>
            </p:cNvSpPr>
            <p:nvPr/>
          </p:nvSpPr>
          <p:spPr bwMode="gray">
            <a:xfrm>
              <a:off x="7941273" y="812801"/>
              <a:ext cx="165100" cy="160338"/>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sp>
          <p:nvSpPr>
            <p:cNvPr id="187" name="Legend3">
              <a:extLst>
                <a:ext uri="{FF2B5EF4-FFF2-40B4-BE49-F238E27FC236}">
                  <a16:creationId xmlns:a16="http://schemas.microsoft.com/office/drawing/2014/main" id="{48519B74-516B-4FB0-9A80-FF730A762818}"/>
                </a:ext>
              </a:extLst>
            </p:cNvPr>
            <p:cNvSpPr>
              <a:spLocks noChangeArrowheads="1"/>
            </p:cNvSpPr>
            <p:nvPr/>
          </p:nvSpPr>
          <p:spPr bwMode="gray">
            <a:xfrm>
              <a:off x="8195273" y="1073151"/>
              <a:ext cx="59471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36">
                <a:buClr>
                  <a:schemeClr val="tx2"/>
                </a:buClr>
              </a:pPr>
              <a:r>
                <a:rPr lang="nl-NL" sz="1200">
                  <a:latin typeface="+mn-lt"/>
                  <a:ea typeface="+mn-ea"/>
                  <a:sym typeface="+mn-lt"/>
                </a:rPr>
                <a:t>Legenda</a:t>
              </a:r>
            </a:p>
          </p:txBody>
        </p:sp>
        <p:sp>
          <p:nvSpPr>
            <p:cNvPr id="188" name="LegendRectangle3">
              <a:extLst>
                <a:ext uri="{FF2B5EF4-FFF2-40B4-BE49-F238E27FC236}">
                  <a16:creationId xmlns:a16="http://schemas.microsoft.com/office/drawing/2014/main" id="{7D31BF5C-1CD9-45D0-B631-835A3AA3A358}"/>
                </a:ext>
              </a:extLst>
            </p:cNvPr>
            <p:cNvSpPr>
              <a:spLocks noChangeArrowheads="1"/>
            </p:cNvSpPr>
            <p:nvPr/>
          </p:nvSpPr>
          <p:spPr bwMode="gray">
            <a:xfrm>
              <a:off x="7941273" y="1084264"/>
              <a:ext cx="165100" cy="160338"/>
            </a:xfrm>
            <a:prstGeom prst="rect">
              <a:avLst/>
            </a:prstGeom>
            <a:solidFill>
              <a:schemeClr val="accent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sp>
          <p:nvSpPr>
            <p:cNvPr id="189" name="Legend4">
              <a:extLst>
                <a:ext uri="{FF2B5EF4-FFF2-40B4-BE49-F238E27FC236}">
                  <a16:creationId xmlns:a16="http://schemas.microsoft.com/office/drawing/2014/main" id="{B010FD43-8E89-4D11-B8E0-277EB9580FFD}"/>
                </a:ext>
              </a:extLst>
            </p:cNvPr>
            <p:cNvSpPr>
              <a:spLocks noChangeArrowheads="1"/>
            </p:cNvSpPr>
            <p:nvPr/>
          </p:nvSpPr>
          <p:spPr bwMode="gray">
            <a:xfrm>
              <a:off x="8195273" y="1344614"/>
              <a:ext cx="59471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36">
                <a:buClr>
                  <a:schemeClr val="tx2"/>
                </a:buClr>
              </a:pPr>
              <a:r>
                <a:rPr lang="nl-NL" sz="1200">
                  <a:latin typeface="+mn-lt"/>
                  <a:ea typeface="+mn-ea"/>
                  <a:sym typeface="+mn-lt"/>
                </a:rPr>
                <a:t>Legenda</a:t>
              </a:r>
            </a:p>
          </p:txBody>
        </p:sp>
        <p:sp>
          <p:nvSpPr>
            <p:cNvPr id="190" name="LegendRectangle4">
              <a:extLst>
                <a:ext uri="{FF2B5EF4-FFF2-40B4-BE49-F238E27FC236}">
                  <a16:creationId xmlns:a16="http://schemas.microsoft.com/office/drawing/2014/main" id="{41A535FA-5D29-47E5-9A96-10006BFB7BB4}"/>
                </a:ext>
              </a:extLst>
            </p:cNvPr>
            <p:cNvSpPr>
              <a:spLocks noChangeArrowheads="1"/>
            </p:cNvSpPr>
            <p:nvPr/>
          </p:nvSpPr>
          <p:spPr bwMode="gray">
            <a:xfrm>
              <a:off x="7941273" y="1355726"/>
              <a:ext cx="165100" cy="160338"/>
            </a:xfrm>
            <a:prstGeom prst="rect">
              <a:avLst/>
            </a:prstGeom>
            <a:solidFill>
              <a:schemeClr val="accent4"/>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grpSp>
      <p:grpSp>
        <p:nvGrpSpPr>
          <p:cNvPr id="191" name="LegendLines" hidden="1">
            <a:extLst>
              <a:ext uri="{FF2B5EF4-FFF2-40B4-BE49-F238E27FC236}">
                <a16:creationId xmlns:a16="http://schemas.microsoft.com/office/drawing/2014/main" id="{DF0A38EC-F176-430A-8F0A-3991500BDA7C}"/>
              </a:ext>
            </a:extLst>
          </p:cNvPr>
          <p:cNvGrpSpPr/>
          <p:nvPr userDrawn="1"/>
        </p:nvGrpSpPr>
        <p:grpSpPr bwMode="gray">
          <a:xfrm>
            <a:off x="10457065" y="884725"/>
            <a:ext cx="1180203" cy="745611"/>
            <a:chOff x="7633298" y="531813"/>
            <a:chExt cx="1156689" cy="730767"/>
          </a:xfrm>
        </p:grpSpPr>
        <p:sp>
          <p:nvSpPr>
            <p:cNvPr id="192" name="LineLegend1">
              <a:extLst>
                <a:ext uri="{FF2B5EF4-FFF2-40B4-BE49-F238E27FC236}">
                  <a16:creationId xmlns:a16="http://schemas.microsoft.com/office/drawing/2014/main" id="{7568C150-905C-4774-8AB2-6F039C7B4CE9}"/>
                </a:ext>
              </a:extLst>
            </p:cNvPr>
            <p:cNvSpPr>
              <a:spLocks noChangeShapeType="1"/>
            </p:cNvSpPr>
            <p:nvPr/>
          </p:nvSpPr>
          <p:spPr bwMode="gray">
            <a:xfrm>
              <a:off x="7633298" y="622301"/>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nl-NL" sz="1200">
                <a:latin typeface="+mn-lt"/>
                <a:ea typeface="+mn-ea"/>
                <a:sym typeface="+mn-lt"/>
              </a:endParaRPr>
            </a:p>
          </p:txBody>
        </p:sp>
        <p:sp>
          <p:nvSpPr>
            <p:cNvPr id="193" name="LineLegend2">
              <a:extLst>
                <a:ext uri="{FF2B5EF4-FFF2-40B4-BE49-F238E27FC236}">
                  <a16:creationId xmlns:a16="http://schemas.microsoft.com/office/drawing/2014/main" id="{EABE6AE1-28F0-4367-84E9-E3B2CE1AB670}"/>
                </a:ext>
              </a:extLst>
            </p:cNvPr>
            <p:cNvSpPr>
              <a:spLocks noChangeShapeType="1"/>
            </p:cNvSpPr>
            <p:nvPr/>
          </p:nvSpPr>
          <p:spPr bwMode="gray">
            <a:xfrm>
              <a:off x="7633298" y="890588"/>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nl-NL" sz="1200">
                <a:latin typeface="+mn-lt"/>
                <a:ea typeface="+mn-ea"/>
                <a:sym typeface="+mn-lt"/>
              </a:endParaRPr>
            </a:p>
          </p:txBody>
        </p:sp>
        <p:sp>
          <p:nvSpPr>
            <p:cNvPr id="194" name="LineLegend3">
              <a:extLst>
                <a:ext uri="{FF2B5EF4-FFF2-40B4-BE49-F238E27FC236}">
                  <a16:creationId xmlns:a16="http://schemas.microsoft.com/office/drawing/2014/main" id="{1153364A-EDB0-452B-9EBD-867A971A8ABD}"/>
                </a:ext>
              </a:extLst>
            </p:cNvPr>
            <p:cNvSpPr>
              <a:spLocks noChangeShapeType="1"/>
            </p:cNvSpPr>
            <p:nvPr/>
          </p:nvSpPr>
          <p:spPr bwMode="gray">
            <a:xfrm>
              <a:off x="7633298" y="1168401"/>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nl-NL" sz="1200">
                <a:latin typeface="+mn-lt"/>
                <a:ea typeface="+mn-ea"/>
                <a:sym typeface="+mn-lt"/>
              </a:endParaRPr>
            </a:p>
          </p:txBody>
        </p:sp>
        <p:sp>
          <p:nvSpPr>
            <p:cNvPr id="195" name="Legend1">
              <a:extLst>
                <a:ext uri="{FF2B5EF4-FFF2-40B4-BE49-F238E27FC236}">
                  <a16:creationId xmlns:a16="http://schemas.microsoft.com/office/drawing/2014/main" id="{FD4F4B85-6216-4276-878A-26C3EB77F72D}"/>
                </a:ext>
              </a:extLst>
            </p:cNvPr>
            <p:cNvSpPr>
              <a:spLocks noChangeArrowheads="1"/>
            </p:cNvSpPr>
            <p:nvPr/>
          </p:nvSpPr>
          <p:spPr bwMode="gray">
            <a:xfrm>
              <a:off x="8195273" y="531813"/>
              <a:ext cx="59471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36">
                <a:buClr>
                  <a:schemeClr val="tx2"/>
                </a:buClr>
              </a:pPr>
              <a:r>
                <a:rPr lang="nl-NL" sz="1200">
                  <a:latin typeface="+mn-lt"/>
                  <a:ea typeface="+mn-ea"/>
                  <a:sym typeface="+mn-lt"/>
                </a:rPr>
                <a:t>Legenda</a:t>
              </a:r>
            </a:p>
          </p:txBody>
        </p:sp>
        <p:sp>
          <p:nvSpPr>
            <p:cNvPr id="196" name="Legend2">
              <a:extLst>
                <a:ext uri="{FF2B5EF4-FFF2-40B4-BE49-F238E27FC236}">
                  <a16:creationId xmlns:a16="http://schemas.microsoft.com/office/drawing/2014/main" id="{ACB441B7-1C22-4242-A225-D084E9D9AB97}"/>
                </a:ext>
              </a:extLst>
            </p:cNvPr>
            <p:cNvSpPr>
              <a:spLocks noChangeArrowheads="1"/>
            </p:cNvSpPr>
            <p:nvPr/>
          </p:nvSpPr>
          <p:spPr bwMode="gray">
            <a:xfrm>
              <a:off x="8195273" y="798513"/>
              <a:ext cx="59471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36">
                <a:buClr>
                  <a:schemeClr val="tx2"/>
                </a:buClr>
              </a:pPr>
              <a:r>
                <a:rPr lang="nl-NL" sz="1200">
                  <a:latin typeface="+mn-lt"/>
                  <a:ea typeface="+mn-ea"/>
                  <a:sym typeface="+mn-lt"/>
                </a:rPr>
                <a:t>Legenda</a:t>
              </a:r>
            </a:p>
          </p:txBody>
        </p:sp>
        <p:sp>
          <p:nvSpPr>
            <p:cNvPr id="197" name="Legend3">
              <a:extLst>
                <a:ext uri="{FF2B5EF4-FFF2-40B4-BE49-F238E27FC236}">
                  <a16:creationId xmlns:a16="http://schemas.microsoft.com/office/drawing/2014/main" id="{11D3EFDC-0CBD-44EA-B0D9-68E576B14DEA}"/>
                </a:ext>
              </a:extLst>
            </p:cNvPr>
            <p:cNvSpPr>
              <a:spLocks noChangeArrowheads="1"/>
            </p:cNvSpPr>
            <p:nvPr/>
          </p:nvSpPr>
          <p:spPr bwMode="gray">
            <a:xfrm>
              <a:off x="8195273" y="1077914"/>
              <a:ext cx="59471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36">
                <a:buClr>
                  <a:schemeClr val="tx2"/>
                </a:buClr>
              </a:pPr>
              <a:r>
                <a:rPr lang="nl-NL" sz="1200">
                  <a:latin typeface="+mn-lt"/>
                  <a:ea typeface="+mn-ea"/>
                  <a:sym typeface="+mn-lt"/>
                </a:rPr>
                <a:t>Legenda</a:t>
              </a:r>
            </a:p>
          </p:txBody>
        </p:sp>
      </p:grpSp>
      <p:grpSp>
        <p:nvGrpSpPr>
          <p:cNvPr id="198" name="LegendMoons" hidden="1">
            <a:extLst>
              <a:ext uri="{FF2B5EF4-FFF2-40B4-BE49-F238E27FC236}">
                <a16:creationId xmlns:a16="http://schemas.microsoft.com/office/drawing/2014/main" id="{F3C39F06-210F-42A0-90EF-F755B92B01D2}"/>
              </a:ext>
            </a:extLst>
          </p:cNvPr>
          <p:cNvGrpSpPr/>
          <p:nvPr userDrawn="1"/>
        </p:nvGrpSpPr>
        <p:grpSpPr bwMode="gray">
          <a:xfrm>
            <a:off x="10703272" y="884731"/>
            <a:ext cx="933997" cy="1333055"/>
            <a:chOff x="7874598" y="531813"/>
            <a:chExt cx="915391" cy="1306516"/>
          </a:xfrm>
        </p:grpSpPr>
        <p:grpSp>
          <p:nvGrpSpPr>
            <p:cNvPr id="199" name="MoonLegend1">
              <a:extLst>
                <a:ext uri="{FF2B5EF4-FFF2-40B4-BE49-F238E27FC236}">
                  <a16:creationId xmlns:a16="http://schemas.microsoft.com/office/drawing/2014/main" id="{C3BAEEAB-0145-48E3-BBDB-8452B25EA929}"/>
                </a:ext>
              </a:extLst>
            </p:cNvPr>
            <p:cNvGrpSpPr>
              <a:grpSpLocks noChangeAspect="1"/>
            </p:cNvGrpSpPr>
            <p:nvPr>
              <p:custDataLst>
                <p:tags r:id="rId35"/>
              </p:custDataLst>
            </p:nvPr>
          </p:nvGrpSpPr>
          <p:grpSpPr bwMode="gray">
            <a:xfrm>
              <a:off x="7874598" y="531813"/>
              <a:ext cx="209550" cy="209551"/>
              <a:chOff x="4533" y="183"/>
              <a:chExt cx="144" cy="144"/>
            </a:xfrm>
          </p:grpSpPr>
          <p:sp>
            <p:nvSpPr>
              <p:cNvPr id="217" name="Oval 38">
                <a:extLst>
                  <a:ext uri="{FF2B5EF4-FFF2-40B4-BE49-F238E27FC236}">
                    <a16:creationId xmlns:a16="http://schemas.microsoft.com/office/drawing/2014/main" id="{C36AA9CE-482A-41D0-B6AB-CAF3037B7D47}"/>
                  </a:ext>
                </a:extLst>
              </p:cNvPr>
              <p:cNvSpPr>
                <a:spLocks noChangeAspect="1" noChangeArrowheads="1"/>
              </p:cNvSpPr>
              <p:nvPr>
                <p:custDataLst>
                  <p:tags r:id="rId48"/>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sp>
            <p:nvSpPr>
              <p:cNvPr id="218" name="Arc 39">
                <a:extLst>
                  <a:ext uri="{FF2B5EF4-FFF2-40B4-BE49-F238E27FC236}">
                    <a16:creationId xmlns:a16="http://schemas.microsoft.com/office/drawing/2014/main" id="{3937AE63-DD76-487D-9983-FD73227C3C18}"/>
                  </a:ext>
                </a:extLst>
              </p:cNvPr>
              <p:cNvSpPr>
                <a:spLocks noChangeAspect="1"/>
              </p:cNvSpPr>
              <p:nvPr>
                <p:custDataLst>
                  <p:tags r:id="rId49"/>
                </p:custDataLst>
              </p:nvPr>
            </p:nvSpPr>
            <p:spPr bwMode="gray">
              <a:xfrm>
                <a:off x="4533" y="183"/>
                <a:ext cx="144" cy="144"/>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grpSp>
        <p:grpSp>
          <p:nvGrpSpPr>
            <p:cNvPr id="200" name="MoonLegend2">
              <a:extLst>
                <a:ext uri="{FF2B5EF4-FFF2-40B4-BE49-F238E27FC236}">
                  <a16:creationId xmlns:a16="http://schemas.microsoft.com/office/drawing/2014/main" id="{5E00FE4E-6EBC-49DE-999D-9202B27D5C1F}"/>
                </a:ext>
              </a:extLst>
            </p:cNvPr>
            <p:cNvGrpSpPr>
              <a:grpSpLocks noChangeAspect="1"/>
            </p:cNvGrpSpPr>
            <p:nvPr>
              <p:custDataLst>
                <p:tags r:id="rId36"/>
              </p:custDataLst>
            </p:nvPr>
          </p:nvGrpSpPr>
          <p:grpSpPr bwMode="gray">
            <a:xfrm>
              <a:off x="7874598" y="806054"/>
              <a:ext cx="209550" cy="209551"/>
              <a:chOff x="1694" y="2044"/>
              <a:chExt cx="160" cy="160"/>
            </a:xfrm>
          </p:grpSpPr>
          <p:sp>
            <p:nvSpPr>
              <p:cNvPr id="215" name="Oval 41">
                <a:extLst>
                  <a:ext uri="{FF2B5EF4-FFF2-40B4-BE49-F238E27FC236}">
                    <a16:creationId xmlns:a16="http://schemas.microsoft.com/office/drawing/2014/main" id="{EF55A1A7-D874-43B4-AC6F-74C87D541B95}"/>
                  </a:ext>
                </a:extLst>
              </p:cNvPr>
              <p:cNvSpPr>
                <a:spLocks noChangeAspect="1" noChangeArrowheads="1"/>
              </p:cNvSpPr>
              <p:nvPr>
                <p:custDataLst>
                  <p:tags r:id="rId46"/>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sp>
            <p:nvSpPr>
              <p:cNvPr id="216" name="Arc 42">
                <a:extLst>
                  <a:ext uri="{FF2B5EF4-FFF2-40B4-BE49-F238E27FC236}">
                    <a16:creationId xmlns:a16="http://schemas.microsoft.com/office/drawing/2014/main" id="{60C65AC4-40DB-4411-BF33-9B753A8520F8}"/>
                  </a:ext>
                </a:extLst>
              </p:cNvPr>
              <p:cNvSpPr>
                <a:spLocks noChangeAspect="1"/>
              </p:cNvSpPr>
              <p:nvPr>
                <p:custDataLst>
                  <p:tags r:id="rId47"/>
                </p:custDataLst>
              </p:nvPr>
            </p:nvSpPr>
            <p:spPr bwMode="gray">
              <a:xfrm>
                <a:off x="1694" y="2044"/>
                <a:ext cx="160" cy="160"/>
              </a:xfrm>
              <a:prstGeom prst="arc">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grpSp>
        <p:grpSp>
          <p:nvGrpSpPr>
            <p:cNvPr id="201" name="MoonLegend4">
              <a:extLst>
                <a:ext uri="{FF2B5EF4-FFF2-40B4-BE49-F238E27FC236}">
                  <a16:creationId xmlns:a16="http://schemas.microsoft.com/office/drawing/2014/main" id="{A64668C9-9373-41F5-8C3F-490467BBA65D}"/>
                </a:ext>
              </a:extLst>
            </p:cNvPr>
            <p:cNvGrpSpPr>
              <a:grpSpLocks noChangeAspect="1"/>
            </p:cNvGrpSpPr>
            <p:nvPr>
              <p:custDataLst>
                <p:tags r:id="rId37"/>
              </p:custDataLst>
            </p:nvPr>
          </p:nvGrpSpPr>
          <p:grpSpPr bwMode="gray">
            <a:xfrm>
              <a:off x="7874598" y="1354536"/>
              <a:ext cx="209550" cy="209551"/>
              <a:chOff x="4495" y="1198"/>
              <a:chExt cx="160" cy="160"/>
            </a:xfrm>
          </p:grpSpPr>
          <p:sp>
            <p:nvSpPr>
              <p:cNvPr id="213" name="Oval 47">
                <a:extLst>
                  <a:ext uri="{FF2B5EF4-FFF2-40B4-BE49-F238E27FC236}">
                    <a16:creationId xmlns:a16="http://schemas.microsoft.com/office/drawing/2014/main" id="{370FDAA1-E355-46D9-B1E6-E32E9D92C7C0}"/>
                  </a:ext>
                </a:extLst>
              </p:cNvPr>
              <p:cNvSpPr>
                <a:spLocks noChangeAspect="1" noChangeArrowheads="1"/>
              </p:cNvSpPr>
              <p:nvPr>
                <p:custDataLst>
                  <p:tags r:id="rId44"/>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sp>
            <p:nvSpPr>
              <p:cNvPr id="214" name="Arc 48">
                <a:extLst>
                  <a:ext uri="{FF2B5EF4-FFF2-40B4-BE49-F238E27FC236}">
                    <a16:creationId xmlns:a16="http://schemas.microsoft.com/office/drawing/2014/main" id="{AB5F107A-550E-437C-8372-C3CBD2D6EDC9}"/>
                  </a:ext>
                </a:extLst>
              </p:cNvPr>
              <p:cNvSpPr>
                <a:spLocks noChangeAspect="1"/>
              </p:cNvSpPr>
              <p:nvPr>
                <p:custDataLst>
                  <p:tags r:id="rId45"/>
                </p:custDataLst>
              </p:nvPr>
            </p:nvSpPr>
            <p:spPr bwMode="gray">
              <a:xfrm>
                <a:off x="4495" y="1198"/>
                <a:ext cx="160" cy="160"/>
              </a:xfrm>
              <a:prstGeom prst="arc">
                <a:avLst>
                  <a:gd name="adj1" fmla="val 16200000"/>
                  <a:gd name="adj2" fmla="val 108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grpSp>
        <p:grpSp>
          <p:nvGrpSpPr>
            <p:cNvPr id="202" name="MoonLegend5">
              <a:extLst>
                <a:ext uri="{FF2B5EF4-FFF2-40B4-BE49-F238E27FC236}">
                  <a16:creationId xmlns:a16="http://schemas.microsoft.com/office/drawing/2014/main" id="{FA574694-2584-4500-B298-A26F96A31303}"/>
                </a:ext>
              </a:extLst>
            </p:cNvPr>
            <p:cNvGrpSpPr>
              <a:grpSpLocks noChangeAspect="1"/>
            </p:cNvGrpSpPr>
            <p:nvPr>
              <p:custDataLst>
                <p:tags r:id="rId38"/>
              </p:custDataLst>
            </p:nvPr>
          </p:nvGrpSpPr>
          <p:grpSpPr bwMode="gray">
            <a:xfrm>
              <a:off x="7874598" y="1628778"/>
              <a:ext cx="209550" cy="209551"/>
              <a:chOff x="4495" y="1440"/>
              <a:chExt cx="160" cy="160"/>
            </a:xfrm>
          </p:grpSpPr>
          <p:sp>
            <p:nvSpPr>
              <p:cNvPr id="211" name="Oval 50">
                <a:extLst>
                  <a:ext uri="{FF2B5EF4-FFF2-40B4-BE49-F238E27FC236}">
                    <a16:creationId xmlns:a16="http://schemas.microsoft.com/office/drawing/2014/main" id="{72C0456F-E199-4789-AB59-25B7AA3096D3}"/>
                  </a:ext>
                </a:extLst>
              </p:cNvPr>
              <p:cNvSpPr>
                <a:spLocks noChangeAspect="1" noChangeArrowheads="1"/>
              </p:cNvSpPr>
              <p:nvPr>
                <p:custDataLst>
                  <p:tags r:id="rId42"/>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sp>
            <p:nvSpPr>
              <p:cNvPr id="212" name="Oval 51">
                <a:extLst>
                  <a:ext uri="{FF2B5EF4-FFF2-40B4-BE49-F238E27FC236}">
                    <a16:creationId xmlns:a16="http://schemas.microsoft.com/office/drawing/2014/main" id="{404E39EF-66F3-44DB-BFC7-119EC4D0092B}"/>
                  </a:ext>
                </a:extLst>
              </p:cNvPr>
              <p:cNvSpPr>
                <a:spLocks noChangeAspect="1" noChangeArrowheads="1"/>
              </p:cNvSpPr>
              <p:nvPr>
                <p:custDataLst>
                  <p:tags r:id="rId43"/>
                </p:custDataLst>
              </p:nvPr>
            </p:nvSpPr>
            <p:spPr bwMode="gray">
              <a:xfrm>
                <a:off x="4495" y="1440"/>
                <a:ext cx="160" cy="160"/>
              </a:xfrm>
              <a:prstGeom prst="arc">
                <a:avLst>
                  <a:gd name="adj1" fmla="val 16200000"/>
                  <a:gd name="adj2" fmla="val 162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grpSp>
        <p:sp>
          <p:nvSpPr>
            <p:cNvPr id="203" name="Legend1">
              <a:extLst>
                <a:ext uri="{FF2B5EF4-FFF2-40B4-BE49-F238E27FC236}">
                  <a16:creationId xmlns:a16="http://schemas.microsoft.com/office/drawing/2014/main" id="{96F87422-DBE1-47F1-8753-7BFD5542983C}"/>
                </a:ext>
              </a:extLst>
            </p:cNvPr>
            <p:cNvSpPr>
              <a:spLocks noChangeArrowheads="1"/>
            </p:cNvSpPr>
            <p:nvPr/>
          </p:nvSpPr>
          <p:spPr bwMode="gray">
            <a:xfrm>
              <a:off x="8195273" y="544513"/>
              <a:ext cx="5947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36">
                <a:buClr>
                  <a:schemeClr val="tx2"/>
                </a:buClr>
              </a:pPr>
              <a:r>
                <a:rPr lang="nl-NL" sz="1200">
                  <a:latin typeface="+mn-lt"/>
                  <a:ea typeface="+mn-ea"/>
                  <a:sym typeface="+mn-lt"/>
                </a:rPr>
                <a:t>Legenda</a:t>
              </a:r>
            </a:p>
          </p:txBody>
        </p:sp>
        <p:sp>
          <p:nvSpPr>
            <p:cNvPr id="204" name="Legend2">
              <a:extLst>
                <a:ext uri="{FF2B5EF4-FFF2-40B4-BE49-F238E27FC236}">
                  <a16:creationId xmlns:a16="http://schemas.microsoft.com/office/drawing/2014/main" id="{143D0CE1-A9BC-446F-AB3E-B1CF212FC288}"/>
                </a:ext>
              </a:extLst>
            </p:cNvPr>
            <p:cNvSpPr>
              <a:spLocks noChangeArrowheads="1"/>
            </p:cNvSpPr>
            <p:nvPr/>
          </p:nvSpPr>
          <p:spPr bwMode="gray">
            <a:xfrm>
              <a:off x="8195273" y="819151"/>
              <a:ext cx="5947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36">
                <a:buClr>
                  <a:schemeClr val="tx2"/>
                </a:buClr>
              </a:pPr>
              <a:r>
                <a:rPr lang="nl-NL" sz="1200">
                  <a:latin typeface="+mn-lt"/>
                  <a:ea typeface="+mn-ea"/>
                  <a:sym typeface="+mn-lt"/>
                </a:rPr>
                <a:t>Legenda</a:t>
              </a:r>
            </a:p>
          </p:txBody>
        </p:sp>
        <p:sp>
          <p:nvSpPr>
            <p:cNvPr id="205" name="Legend3">
              <a:extLst>
                <a:ext uri="{FF2B5EF4-FFF2-40B4-BE49-F238E27FC236}">
                  <a16:creationId xmlns:a16="http://schemas.microsoft.com/office/drawing/2014/main" id="{26CC909B-05BF-4084-92C1-EE0782C82EAD}"/>
                </a:ext>
              </a:extLst>
            </p:cNvPr>
            <p:cNvSpPr>
              <a:spLocks noChangeArrowheads="1"/>
            </p:cNvSpPr>
            <p:nvPr/>
          </p:nvSpPr>
          <p:spPr bwMode="gray">
            <a:xfrm>
              <a:off x="8195273" y="1093790"/>
              <a:ext cx="5947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36">
                <a:buClr>
                  <a:schemeClr val="tx2"/>
                </a:buClr>
              </a:pPr>
              <a:r>
                <a:rPr lang="nl-NL" sz="1200">
                  <a:latin typeface="+mn-lt"/>
                  <a:ea typeface="+mn-ea"/>
                  <a:sym typeface="+mn-lt"/>
                </a:rPr>
                <a:t>Legenda</a:t>
              </a:r>
            </a:p>
          </p:txBody>
        </p:sp>
        <p:sp>
          <p:nvSpPr>
            <p:cNvPr id="206" name="Legend4">
              <a:extLst>
                <a:ext uri="{FF2B5EF4-FFF2-40B4-BE49-F238E27FC236}">
                  <a16:creationId xmlns:a16="http://schemas.microsoft.com/office/drawing/2014/main" id="{66E624F5-2545-4855-9745-8A0DE427D090}"/>
                </a:ext>
              </a:extLst>
            </p:cNvPr>
            <p:cNvSpPr>
              <a:spLocks noChangeArrowheads="1"/>
            </p:cNvSpPr>
            <p:nvPr/>
          </p:nvSpPr>
          <p:spPr bwMode="gray">
            <a:xfrm>
              <a:off x="8195273" y="1365253"/>
              <a:ext cx="5947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36">
                <a:buClr>
                  <a:schemeClr val="tx2"/>
                </a:buClr>
              </a:pPr>
              <a:r>
                <a:rPr lang="nl-NL" sz="1200">
                  <a:latin typeface="+mn-lt"/>
                  <a:ea typeface="+mn-ea"/>
                  <a:sym typeface="+mn-lt"/>
                </a:rPr>
                <a:t>Legenda</a:t>
              </a:r>
            </a:p>
          </p:txBody>
        </p:sp>
        <p:sp>
          <p:nvSpPr>
            <p:cNvPr id="207" name="Legend5">
              <a:extLst>
                <a:ext uri="{FF2B5EF4-FFF2-40B4-BE49-F238E27FC236}">
                  <a16:creationId xmlns:a16="http://schemas.microsoft.com/office/drawing/2014/main" id="{0BA21D7F-3F48-42F1-93DD-6C7ECB1BC146}"/>
                </a:ext>
              </a:extLst>
            </p:cNvPr>
            <p:cNvSpPr>
              <a:spLocks noChangeArrowheads="1"/>
            </p:cNvSpPr>
            <p:nvPr/>
          </p:nvSpPr>
          <p:spPr bwMode="gray">
            <a:xfrm>
              <a:off x="8195273" y="1641478"/>
              <a:ext cx="594716"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36">
                <a:buClr>
                  <a:schemeClr val="tx2"/>
                </a:buClr>
              </a:pPr>
              <a:r>
                <a:rPr lang="nl-NL" sz="1200">
                  <a:latin typeface="+mn-lt"/>
                  <a:ea typeface="+mn-ea"/>
                  <a:sym typeface="+mn-lt"/>
                </a:rPr>
                <a:t>Legenda</a:t>
              </a:r>
            </a:p>
          </p:txBody>
        </p:sp>
        <p:grpSp>
          <p:nvGrpSpPr>
            <p:cNvPr id="208" name="MoonLegend3">
              <a:extLst>
                <a:ext uri="{FF2B5EF4-FFF2-40B4-BE49-F238E27FC236}">
                  <a16:creationId xmlns:a16="http://schemas.microsoft.com/office/drawing/2014/main" id="{08D46450-30A9-4DD7-953F-4533B0D94BDF}"/>
                </a:ext>
              </a:extLst>
            </p:cNvPr>
            <p:cNvGrpSpPr>
              <a:grpSpLocks noChangeAspect="1"/>
            </p:cNvGrpSpPr>
            <p:nvPr>
              <p:custDataLst>
                <p:tags r:id="rId39"/>
              </p:custDataLst>
            </p:nvPr>
          </p:nvGrpSpPr>
          <p:grpSpPr bwMode="gray">
            <a:xfrm>
              <a:off x="7874598" y="1080295"/>
              <a:ext cx="209550" cy="209551"/>
              <a:chOff x="4495" y="1198"/>
              <a:chExt cx="160" cy="160"/>
            </a:xfrm>
          </p:grpSpPr>
          <p:sp>
            <p:nvSpPr>
              <p:cNvPr id="209" name="Oval 47">
                <a:extLst>
                  <a:ext uri="{FF2B5EF4-FFF2-40B4-BE49-F238E27FC236}">
                    <a16:creationId xmlns:a16="http://schemas.microsoft.com/office/drawing/2014/main" id="{CF083AA9-EC0A-48FD-B3F2-2BF8DBB5DA55}"/>
                  </a:ext>
                </a:extLst>
              </p:cNvPr>
              <p:cNvSpPr>
                <a:spLocks noChangeAspect="1" noChangeArrowheads="1"/>
              </p:cNvSpPr>
              <p:nvPr>
                <p:custDataLst>
                  <p:tags r:id="rId40"/>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sp>
            <p:nvSpPr>
              <p:cNvPr id="210" name="Arc 48">
                <a:extLst>
                  <a:ext uri="{FF2B5EF4-FFF2-40B4-BE49-F238E27FC236}">
                    <a16:creationId xmlns:a16="http://schemas.microsoft.com/office/drawing/2014/main" id="{9602DC3B-5886-40F0-ABAA-7F7BD5ECDAEC}"/>
                  </a:ext>
                </a:extLst>
              </p:cNvPr>
              <p:cNvSpPr>
                <a:spLocks noChangeAspect="1"/>
              </p:cNvSpPr>
              <p:nvPr>
                <p:custDataLst>
                  <p:tags r:id="rId41"/>
                </p:custDataLst>
              </p:nvPr>
            </p:nvSpPr>
            <p:spPr bwMode="gray">
              <a:xfrm>
                <a:off x="4495" y="1198"/>
                <a:ext cx="160" cy="160"/>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l-NL" sz="1200">
                  <a:latin typeface="+mn-lt"/>
                  <a:ea typeface="+mn-ea"/>
                  <a:sym typeface="+mn-lt"/>
                </a:endParaRPr>
              </a:p>
            </p:txBody>
          </p:sp>
        </p:grpSp>
      </p:grpSp>
      <p:sp>
        <p:nvSpPr>
          <p:cNvPr id="220" name="1. On-page tracker" hidden="1">
            <a:extLst>
              <a:ext uri="{FF2B5EF4-FFF2-40B4-BE49-F238E27FC236}">
                <a16:creationId xmlns:a16="http://schemas.microsoft.com/office/drawing/2014/main" id="{393F50AD-F2BA-4A94-B1BE-A22BD93528DD}"/>
              </a:ext>
            </a:extLst>
          </p:cNvPr>
          <p:cNvSpPr>
            <a:spLocks noChangeArrowheads="1"/>
          </p:cNvSpPr>
          <p:nvPr userDrawn="1"/>
        </p:nvSpPr>
        <p:spPr bwMode="gray">
          <a:xfrm>
            <a:off x="554738" y="54998"/>
            <a:ext cx="793260"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447615" algn="l"/>
              </a:tabLst>
            </a:pPr>
            <a:r>
              <a:rPr lang="nl-NL" sz="1200" cap="all">
                <a:latin typeface="+mn-lt"/>
                <a:ea typeface="+mn-ea"/>
                <a:sym typeface="+mn-lt"/>
              </a:rPr>
              <a:t>TRACKER </a:t>
            </a:r>
          </a:p>
        </p:txBody>
      </p:sp>
      <p:sp>
        <p:nvSpPr>
          <p:cNvPr id="221" name="3. Unit of measure" hidden="1">
            <a:extLst>
              <a:ext uri="{FF2B5EF4-FFF2-40B4-BE49-F238E27FC236}">
                <a16:creationId xmlns:a16="http://schemas.microsoft.com/office/drawing/2014/main" id="{E55A0174-2AA7-4422-91B5-9EDC6C6FD641}"/>
              </a:ext>
            </a:extLst>
          </p:cNvPr>
          <p:cNvSpPr txBox="1">
            <a:spLocks noChangeArrowheads="1"/>
          </p:cNvSpPr>
          <p:nvPr userDrawn="1"/>
        </p:nvSpPr>
        <p:spPr bwMode="gray">
          <a:xfrm>
            <a:off x="554737" y="884731"/>
            <a:ext cx="11082528"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defPPr>
              <a:defRPr lang="en-US"/>
            </a:defPPr>
            <a:lvl1pPr defTabSz="895350">
              <a:tabLst>
                <a:tab pos="447675" algn="l"/>
              </a:tabLst>
              <a:defRPr baseline="0">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a:tabLst>
                <a:tab pos="444445" algn="l"/>
              </a:tabLst>
            </a:pPr>
            <a:r>
              <a:rPr lang="nl-NL" sz="1900">
                <a:latin typeface="+mn-lt"/>
                <a:ea typeface="+mn-ea"/>
                <a:sym typeface="+mn-lt"/>
              </a:rPr>
              <a:t>Meeteenheid </a:t>
            </a:r>
          </a:p>
        </p:txBody>
      </p:sp>
      <p:sp>
        <p:nvSpPr>
          <p:cNvPr id="224" name="SlideLogoText">
            <a:extLst>
              <a:ext uri="{FF2B5EF4-FFF2-40B4-BE49-F238E27FC236}">
                <a16:creationId xmlns:a16="http://schemas.microsoft.com/office/drawing/2014/main" id="{51FEF47F-29E7-4DC7-B7B4-DCFFA64CFB5C}"/>
              </a:ext>
            </a:extLst>
          </p:cNvPr>
          <p:cNvSpPr txBox="1"/>
          <p:nvPr userDrawn="1">
            <p:custDataLst>
              <p:tags r:id="rId34"/>
            </p:custDataLst>
          </p:nvPr>
        </p:nvSpPr>
        <p:spPr bwMode="gray">
          <a:xfrm>
            <a:off x="10069017" y="6468604"/>
            <a:ext cx="1396216" cy="169277"/>
          </a:xfrm>
          <a:prstGeom prst="rect">
            <a:avLst/>
          </a:prstGeom>
          <a:noFill/>
        </p:spPr>
        <p:txBody>
          <a:bodyPr wrap="none" lIns="0" tIns="0" rIns="0" bIns="0" rtlCol="0" anchor="b">
            <a:spAutoFit/>
          </a:bodyPr>
          <a:lstStyle/>
          <a:p>
            <a:pPr marL="0" marR="0" lvl="0" indent="0" algn="ctr" defTabSz="914282" rtl="0" eaLnBrk="1" fontAlgn="auto" latinLnBrk="0" hangingPunct="1">
              <a:lnSpc>
                <a:spcPct val="100000"/>
              </a:lnSpc>
              <a:spcBef>
                <a:spcPts val="0"/>
              </a:spcBef>
              <a:spcAft>
                <a:spcPts val="0"/>
              </a:spcAft>
              <a:buClrTx/>
              <a:buSzTx/>
              <a:buFontTx/>
              <a:buNone/>
              <a:tabLst/>
              <a:defRPr/>
            </a:pPr>
            <a:r>
              <a:rPr lang="nl-NL" sz="1100" kern="1200">
                <a:solidFill>
                  <a:schemeClr val="tx1"/>
                </a:solidFill>
                <a:latin typeface="+mn-lt"/>
                <a:ea typeface="+mn-ea"/>
                <a:cs typeface="+mn-cs"/>
                <a:sym typeface="+mn-lt"/>
              </a:rPr>
              <a:t>Het Potentieel Pakken</a:t>
            </a:r>
          </a:p>
        </p:txBody>
      </p:sp>
      <p:sp>
        <p:nvSpPr>
          <p:cNvPr id="127" name="4. Footnote" hidden="1">
            <a:extLst>
              <a:ext uri="{FF2B5EF4-FFF2-40B4-BE49-F238E27FC236}">
                <a16:creationId xmlns:a16="http://schemas.microsoft.com/office/drawing/2014/main" id="{A14B2A86-4461-4C74-A3B7-2ED43BEE94DE}"/>
              </a:ext>
            </a:extLst>
          </p:cNvPr>
          <p:cNvSpPr txBox="1">
            <a:spLocks noChangeArrowheads="1"/>
          </p:cNvSpPr>
          <p:nvPr userDrawn="1"/>
        </p:nvSpPr>
        <p:spPr bwMode="gray">
          <a:xfrm>
            <a:off x="554743" y="6071657"/>
            <a:ext cx="11082527"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marL="88900" indent="-889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marL="95240" indent="-95240"/>
            <a:r>
              <a:rPr lang="nl-NL" sz="900">
                <a:latin typeface="+mn-lt"/>
                <a:ea typeface="+mn-ea"/>
                <a:sym typeface="+mn-lt"/>
              </a:rPr>
              <a:t>1 Voetnoot </a:t>
            </a:r>
          </a:p>
        </p:txBody>
      </p:sp>
      <p:sp>
        <p:nvSpPr>
          <p:cNvPr id="128" name="5. Source" hidden="1">
            <a:extLst>
              <a:ext uri="{FF2B5EF4-FFF2-40B4-BE49-F238E27FC236}">
                <a16:creationId xmlns:a16="http://schemas.microsoft.com/office/drawing/2014/main" id="{C45E53CE-DA09-4FD6-ABCE-11F3BF699FAA}"/>
              </a:ext>
            </a:extLst>
          </p:cNvPr>
          <p:cNvSpPr>
            <a:spLocks noChangeArrowheads="1"/>
          </p:cNvSpPr>
          <p:nvPr userDrawn="1"/>
        </p:nvSpPr>
        <p:spPr bwMode="gray">
          <a:xfrm>
            <a:off x="554742" y="6261395"/>
            <a:ext cx="11082527"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marL="304759" indent="-304759" defTabSz="895236">
              <a:tabLst/>
            </a:pPr>
            <a:r>
              <a:rPr lang="nl-NL" sz="900" baseline="0" noProof="0">
                <a:latin typeface="+mn-lt"/>
                <a:ea typeface="+mn-ea"/>
                <a:sym typeface="+mn-lt"/>
              </a:rPr>
              <a:t>Bron: Bron </a:t>
            </a:r>
          </a:p>
        </p:txBody>
      </p:sp>
    </p:spTree>
    <p:extLst>
      <p:ext uri="{BB962C8B-B14F-4D97-AF65-F5344CB8AC3E}">
        <p14:creationId xmlns:p14="http://schemas.microsoft.com/office/powerpoint/2010/main" val="3075982697"/>
      </p:ext>
    </p:extLst>
  </p:cSld>
  <p:clrMap bg1="lt1" tx1="dk1" bg2="lt2" tx2="dk2" accent1="accent1" accent2="accent2" accent3="accent3" accent4="accent4" accent5="accent5" accent6="accent6" hlink="hlink" folHlink="folHlink"/>
  <p:sldLayoutIdLst>
    <p:sldLayoutId id="2147483786" r:id="rId1"/>
    <p:sldLayoutId id="2147483675" r:id="rId2"/>
    <p:sldLayoutId id="2147483788" r:id="rId3"/>
    <p:sldLayoutId id="2147483676" r:id="rId4"/>
    <p:sldLayoutId id="2147483677" r:id="rId5"/>
    <p:sldLayoutId id="2147483678" r:id="rId6"/>
    <p:sldLayoutId id="2147483679" r:id="rId7"/>
    <p:sldLayoutId id="2147483680" r:id="rId8"/>
    <p:sldLayoutId id="2147483681" r:id="rId9"/>
    <p:sldLayoutId id="2147483682" r:id="rId10"/>
    <p:sldLayoutId id="2147483684" r:id="rId11"/>
    <p:sldLayoutId id="2147483785" r:id="rId12"/>
  </p:sldLayoutIdLst>
  <p:hf sldNum="0" hdr="0"/>
  <p:txStyles>
    <p:titleStyle>
      <a:lvl1pPr algn="l" defTabSz="895236" rtl="0" eaLnBrk="1" fontAlgn="base" hangingPunct="1">
        <a:spcBef>
          <a:spcPct val="0"/>
        </a:spcBef>
        <a:spcAft>
          <a:spcPct val="0"/>
        </a:spcAft>
        <a:tabLst>
          <a:tab pos="444445" algn="l"/>
        </a:tabLst>
        <a:defRPr lang="nl-NL" sz="2800" b="0" baseline="0" noProof="0" dirty="0">
          <a:solidFill>
            <a:schemeClr val="tx2"/>
          </a:solidFill>
          <a:latin typeface="+mj-lt"/>
          <a:ea typeface="+mj-ea"/>
          <a:cs typeface="+mj-cs"/>
          <a:sym typeface="+mj-lt"/>
        </a:defRPr>
      </a:lvl1pPr>
      <a:lvl2pPr algn="l" defTabSz="895236" rtl="0" eaLnBrk="1" fontAlgn="base" hangingPunct="1">
        <a:spcBef>
          <a:spcPct val="0"/>
        </a:spcBef>
        <a:spcAft>
          <a:spcPct val="0"/>
        </a:spcAft>
        <a:defRPr sz="1900" b="1">
          <a:solidFill>
            <a:schemeClr val="tx2"/>
          </a:solidFill>
          <a:latin typeface="Arial" charset="0"/>
        </a:defRPr>
      </a:lvl2pPr>
      <a:lvl3pPr algn="l" defTabSz="895236" rtl="0" eaLnBrk="1" fontAlgn="base" hangingPunct="1">
        <a:spcBef>
          <a:spcPct val="0"/>
        </a:spcBef>
        <a:spcAft>
          <a:spcPct val="0"/>
        </a:spcAft>
        <a:defRPr sz="1900" b="1">
          <a:solidFill>
            <a:schemeClr val="tx2"/>
          </a:solidFill>
          <a:latin typeface="Arial" charset="0"/>
        </a:defRPr>
      </a:lvl3pPr>
      <a:lvl4pPr algn="l" defTabSz="895236" rtl="0" eaLnBrk="1" fontAlgn="base" hangingPunct="1">
        <a:spcBef>
          <a:spcPct val="0"/>
        </a:spcBef>
        <a:spcAft>
          <a:spcPct val="0"/>
        </a:spcAft>
        <a:defRPr sz="1900" b="1">
          <a:solidFill>
            <a:schemeClr val="tx2"/>
          </a:solidFill>
          <a:latin typeface="Arial" charset="0"/>
        </a:defRPr>
      </a:lvl4pPr>
      <a:lvl5pPr algn="l" defTabSz="895236" rtl="0" eaLnBrk="1" fontAlgn="base" hangingPunct="1">
        <a:spcBef>
          <a:spcPct val="0"/>
        </a:spcBef>
        <a:spcAft>
          <a:spcPct val="0"/>
        </a:spcAft>
        <a:defRPr sz="1900" b="1">
          <a:solidFill>
            <a:schemeClr val="tx2"/>
          </a:solidFill>
          <a:latin typeface="Arial" charset="0"/>
        </a:defRPr>
      </a:lvl5pPr>
      <a:lvl6pPr marL="457139" algn="l" defTabSz="895236" rtl="0" eaLnBrk="1" fontAlgn="base" hangingPunct="1">
        <a:spcBef>
          <a:spcPct val="0"/>
        </a:spcBef>
        <a:spcAft>
          <a:spcPct val="0"/>
        </a:spcAft>
        <a:defRPr sz="1900" b="1">
          <a:solidFill>
            <a:schemeClr val="tx2"/>
          </a:solidFill>
          <a:latin typeface="Arial" charset="0"/>
        </a:defRPr>
      </a:lvl6pPr>
      <a:lvl7pPr marL="914282" algn="l" defTabSz="895236" rtl="0" eaLnBrk="1" fontAlgn="base" hangingPunct="1">
        <a:spcBef>
          <a:spcPct val="0"/>
        </a:spcBef>
        <a:spcAft>
          <a:spcPct val="0"/>
        </a:spcAft>
        <a:defRPr sz="1900" b="1">
          <a:solidFill>
            <a:schemeClr val="tx2"/>
          </a:solidFill>
          <a:latin typeface="Arial" charset="0"/>
        </a:defRPr>
      </a:lvl7pPr>
      <a:lvl8pPr marL="1371424" algn="l" defTabSz="895236" rtl="0" eaLnBrk="1" fontAlgn="base" hangingPunct="1">
        <a:spcBef>
          <a:spcPct val="0"/>
        </a:spcBef>
        <a:spcAft>
          <a:spcPct val="0"/>
        </a:spcAft>
        <a:defRPr sz="1900" b="1">
          <a:solidFill>
            <a:schemeClr val="tx2"/>
          </a:solidFill>
          <a:latin typeface="Arial" charset="0"/>
        </a:defRPr>
      </a:lvl8pPr>
      <a:lvl9pPr marL="1828566" algn="l" defTabSz="895236" rtl="0" eaLnBrk="1" fontAlgn="base" hangingPunct="1">
        <a:spcBef>
          <a:spcPct val="0"/>
        </a:spcBef>
        <a:spcAft>
          <a:spcPct val="0"/>
        </a:spcAft>
        <a:defRPr sz="1900" b="1">
          <a:solidFill>
            <a:schemeClr val="tx2"/>
          </a:solidFill>
          <a:latin typeface="Arial" charset="0"/>
        </a:defRPr>
      </a:lvl9pPr>
    </p:titleStyle>
    <p:bodyStyle>
      <a:lvl1pPr marL="0" indent="0" algn="l" defTabSz="895236" rtl="0" eaLnBrk="1" fontAlgn="base" hangingPunct="1">
        <a:spcBef>
          <a:spcPct val="0"/>
        </a:spcBef>
        <a:spcAft>
          <a:spcPct val="0"/>
        </a:spcAft>
        <a:buClr>
          <a:schemeClr val="tx2"/>
        </a:buClr>
        <a:defRPr sz="1600" baseline="0">
          <a:solidFill>
            <a:schemeClr val="tx1"/>
          </a:solidFill>
          <a:latin typeface="+mn-lt"/>
          <a:ea typeface="+mn-ea"/>
          <a:cs typeface="+mn-cs"/>
          <a:sym typeface="+mn-lt"/>
        </a:defRPr>
      </a:lvl1pPr>
      <a:lvl2pPr marL="179976" indent="-179976" algn="l" defTabSz="895236" rtl="0" eaLnBrk="1" fontAlgn="base" hangingPunct="1">
        <a:spcBef>
          <a:spcPct val="0"/>
        </a:spcBef>
        <a:spcAft>
          <a:spcPct val="0"/>
        </a:spcAft>
        <a:buClr>
          <a:schemeClr val="tx1"/>
        </a:buClr>
        <a:buSzPct val="100000"/>
        <a:buFont typeface="Arial" pitchFamily="34" charset="0"/>
        <a:buChar char="•"/>
        <a:defRPr sz="1600" baseline="0">
          <a:solidFill>
            <a:schemeClr val="tx1"/>
          </a:solidFill>
          <a:latin typeface="+mn-lt"/>
          <a:sym typeface="+mn-lt"/>
        </a:defRPr>
      </a:lvl2pPr>
      <a:lvl3pPr marL="359950" indent="-179976" algn="l" defTabSz="895236" rtl="0" eaLnBrk="1" fontAlgn="base" hangingPunct="1">
        <a:spcBef>
          <a:spcPct val="0"/>
        </a:spcBef>
        <a:spcAft>
          <a:spcPct val="0"/>
        </a:spcAft>
        <a:buClr>
          <a:schemeClr val="tx1"/>
        </a:buClr>
        <a:buSzPct val="100000"/>
        <a:buFont typeface="Arial" panose="020B0604020202020204" pitchFamily="34" charset="0"/>
        <a:buChar char="–"/>
        <a:defRPr sz="1600" baseline="0">
          <a:solidFill>
            <a:schemeClr val="tx1"/>
          </a:solidFill>
          <a:latin typeface="+mn-lt"/>
          <a:sym typeface="+mn-lt"/>
        </a:defRPr>
      </a:lvl3pPr>
      <a:lvl4pPr marL="539923" indent="-179976" algn="l" defTabSz="895236" rtl="0" eaLnBrk="1" fontAlgn="base" hangingPunct="1">
        <a:spcBef>
          <a:spcPct val="0"/>
        </a:spcBef>
        <a:spcAft>
          <a:spcPct val="0"/>
        </a:spcAft>
        <a:buClr>
          <a:schemeClr val="tx1"/>
        </a:buClr>
        <a:buSzPct val="100000"/>
        <a:buFont typeface="Arial" pitchFamily="34" charset="0"/>
        <a:buChar char="»"/>
        <a:defRPr sz="1600" baseline="0">
          <a:solidFill>
            <a:schemeClr val="tx1"/>
          </a:solidFill>
          <a:latin typeface="+mn-lt"/>
          <a:sym typeface="+mn-lt"/>
        </a:defRPr>
      </a:lvl4pPr>
      <a:lvl5pPr marL="719895" indent="-179976" algn="l" defTabSz="895236" rtl="0" eaLnBrk="1" fontAlgn="base" hangingPunct="1">
        <a:spcBef>
          <a:spcPct val="0"/>
        </a:spcBef>
        <a:spcAft>
          <a:spcPct val="0"/>
        </a:spcAft>
        <a:buClr>
          <a:schemeClr val="tx2"/>
        </a:buClr>
        <a:buSzPct val="100000"/>
        <a:buFont typeface="Arial" panose="020B0604020202020204" pitchFamily="34" charset="0"/>
        <a:buChar char="›"/>
        <a:defRPr sz="1600" baseline="0">
          <a:solidFill>
            <a:schemeClr val="tx1"/>
          </a:solidFill>
          <a:latin typeface="+mn-lt"/>
          <a:sym typeface="+mn-lt"/>
        </a:defRPr>
      </a:lvl5pPr>
      <a:lvl6pPr marL="749712" indent="-130155" algn="l" defTabSz="8952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12" indent="-130155" algn="l" defTabSz="8952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12" indent="-130155" algn="l" defTabSz="8952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12" indent="-130155" algn="l" defTabSz="8952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282" rtl="0" eaLnBrk="1" latinLnBrk="0" hangingPunct="1">
        <a:defRPr sz="1900" kern="1200">
          <a:solidFill>
            <a:schemeClr val="tx1"/>
          </a:solidFill>
          <a:latin typeface="+mn-lt"/>
          <a:ea typeface="+mn-ea"/>
          <a:cs typeface="+mn-cs"/>
        </a:defRPr>
      </a:lvl1pPr>
      <a:lvl2pPr marL="457139" algn="l" defTabSz="914282" rtl="0" eaLnBrk="1" latinLnBrk="0" hangingPunct="1">
        <a:defRPr sz="1900" kern="1200">
          <a:solidFill>
            <a:schemeClr val="tx1"/>
          </a:solidFill>
          <a:latin typeface="+mn-lt"/>
          <a:ea typeface="+mn-ea"/>
          <a:cs typeface="+mn-cs"/>
        </a:defRPr>
      </a:lvl2pPr>
      <a:lvl3pPr marL="914282" algn="l" defTabSz="914282" rtl="0" eaLnBrk="1" latinLnBrk="0" hangingPunct="1">
        <a:defRPr sz="1900" kern="1200">
          <a:solidFill>
            <a:schemeClr val="tx1"/>
          </a:solidFill>
          <a:latin typeface="+mn-lt"/>
          <a:ea typeface="+mn-ea"/>
          <a:cs typeface="+mn-cs"/>
        </a:defRPr>
      </a:lvl3pPr>
      <a:lvl4pPr marL="1371424" algn="l" defTabSz="914282" rtl="0" eaLnBrk="1" latinLnBrk="0" hangingPunct="1">
        <a:defRPr sz="1900" kern="1200">
          <a:solidFill>
            <a:schemeClr val="tx1"/>
          </a:solidFill>
          <a:latin typeface="+mn-lt"/>
          <a:ea typeface="+mn-ea"/>
          <a:cs typeface="+mn-cs"/>
        </a:defRPr>
      </a:lvl4pPr>
      <a:lvl5pPr marL="1828566" algn="l" defTabSz="914282" rtl="0" eaLnBrk="1" latinLnBrk="0" hangingPunct="1">
        <a:defRPr sz="1900" kern="1200">
          <a:solidFill>
            <a:schemeClr val="tx1"/>
          </a:solidFill>
          <a:latin typeface="+mn-lt"/>
          <a:ea typeface="+mn-ea"/>
          <a:cs typeface="+mn-cs"/>
        </a:defRPr>
      </a:lvl5pPr>
      <a:lvl6pPr marL="2285710" algn="l" defTabSz="914282" rtl="0" eaLnBrk="1" latinLnBrk="0" hangingPunct="1">
        <a:defRPr sz="1900" kern="1200">
          <a:solidFill>
            <a:schemeClr val="tx1"/>
          </a:solidFill>
          <a:latin typeface="+mn-lt"/>
          <a:ea typeface="+mn-ea"/>
          <a:cs typeface="+mn-cs"/>
        </a:defRPr>
      </a:lvl6pPr>
      <a:lvl7pPr marL="2742849" algn="l" defTabSz="914282" rtl="0" eaLnBrk="1" latinLnBrk="0" hangingPunct="1">
        <a:defRPr sz="1900" kern="1200">
          <a:solidFill>
            <a:schemeClr val="tx1"/>
          </a:solidFill>
          <a:latin typeface="+mn-lt"/>
          <a:ea typeface="+mn-ea"/>
          <a:cs typeface="+mn-cs"/>
        </a:defRPr>
      </a:lvl7pPr>
      <a:lvl8pPr marL="3199987" algn="l" defTabSz="914282" rtl="0" eaLnBrk="1" latinLnBrk="0" hangingPunct="1">
        <a:defRPr sz="1900" kern="1200">
          <a:solidFill>
            <a:schemeClr val="tx1"/>
          </a:solidFill>
          <a:latin typeface="+mn-lt"/>
          <a:ea typeface="+mn-ea"/>
          <a:cs typeface="+mn-cs"/>
        </a:defRPr>
      </a:lvl8pPr>
      <a:lvl9pPr marL="3657127" algn="l" defTabSz="914282"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138.xml"/><Relationship Id="rId5" Type="http://schemas.openxmlformats.org/officeDocument/2006/relationships/image" Target="../media/image15.svg"/><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3" Type="http://schemas.openxmlformats.org/officeDocument/2006/relationships/tags" Target="../tags/tag141.xml"/><Relationship Id="rId7" Type="http://schemas.openxmlformats.org/officeDocument/2006/relationships/image" Target="../media/image17.png"/><Relationship Id="rId12" Type="http://schemas.openxmlformats.org/officeDocument/2006/relationships/image" Target="../media/image22.svg"/><Relationship Id="rId2" Type="http://schemas.openxmlformats.org/officeDocument/2006/relationships/tags" Target="../tags/tag140.xml"/><Relationship Id="rId16" Type="http://schemas.openxmlformats.org/officeDocument/2006/relationships/image" Target="../media/image26.svg"/><Relationship Id="rId1" Type="http://schemas.openxmlformats.org/officeDocument/2006/relationships/tags" Target="../tags/tag139.xml"/><Relationship Id="rId6" Type="http://schemas.openxmlformats.org/officeDocument/2006/relationships/notesSlide" Target="../notesSlides/notesSlide9.xml"/><Relationship Id="rId11" Type="http://schemas.openxmlformats.org/officeDocument/2006/relationships/image" Target="../media/image21.png"/><Relationship Id="rId5" Type="http://schemas.openxmlformats.org/officeDocument/2006/relationships/slideLayout" Target="../slideLayouts/slideLayout4.xml"/><Relationship Id="rId15" Type="http://schemas.openxmlformats.org/officeDocument/2006/relationships/image" Target="../media/image25.png"/><Relationship Id="rId10" Type="http://schemas.openxmlformats.org/officeDocument/2006/relationships/image" Target="../media/image20.svg"/><Relationship Id="rId4" Type="http://schemas.openxmlformats.org/officeDocument/2006/relationships/tags" Target="../tags/tag142.xml"/><Relationship Id="rId9" Type="http://schemas.openxmlformats.org/officeDocument/2006/relationships/image" Target="../media/image19.png"/><Relationship Id="rId14" Type="http://schemas.openxmlformats.org/officeDocument/2006/relationships/image" Target="../media/image24.sv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4.xml"/><Relationship Id="rId1" Type="http://schemas.openxmlformats.org/officeDocument/2006/relationships/tags" Target="../tags/tag143.xml"/><Relationship Id="rId4"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8" Type="http://schemas.openxmlformats.org/officeDocument/2006/relationships/tags" Target="../tags/tag151.xml"/><Relationship Id="rId13" Type="http://schemas.openxmlformats.org/officeDocument/2006/relationships/tags" Target="../tags/tag156.xml"/><Relationship Id="rId18" Type="http://schemas.openxmlformats.org/officeDocument/2006/relationships/tags" Target="../tags/tag161.xml"/><Relationship Id="rId3" Type="http://schemas.openxmlformats.org/officeDocument/2006/relationships/tags" Target="../tags/tag146.xml"/><Relationship Id="rId21" Type="http://schemas.openxmlformats.org/officeDocument/2006/relationships/tags" Target="../tags/tag164.xml"/><Relationship Id="rId7" Type="http://schemas.openxmlformats.org/officeDocument/2006/relationships/tags" Target="../tags/tag150.xml"/><Relationship Id="rId12" Type="http://schemas.openxmlformats.org/officeDocument/2006/relationships/tags" Target="../tags/tag155.xml"/><Relationship Id="rId17" Type="http://schemas.openxmlformats.org/officeDocument/2006/relationships/tags" Target="../tags/tag160.xml"/><Relationship Id="rId25" Type="http://schemas.openxmlformats.org/officeDocument/2006/relationships/image" Target="../media/image27.emf"/><Relationship Id="rId2" Type="http://schemas.openxmlformats.org/officeDocument/2006/relationships/tags" Target="../tags/tag145.xml"/><Relationship Id="rId16" Type="http://schemas.openxmlformats.org/officeDocument/2006/relationships/tags" Target="../tags/tag159.xml"/><Relationship Id="rId20" Type="http://schemas.openxmlformats.org/officeDocument/2006/relationships/tags" Target="../tags/tag163.xml"/><Relationship Id="rId1" Type="http://schemas.openxmlformats.org/officeDocument/2006/relationships/vmlDrawing" Target="../drawings/vmlDrawing18.vml"/><Relationship Id="rId6" Type="http://schemas.openxmlformats.org/officeDocument/2006/relationships/tags" Target="../tags/tag149.xml"/><Relationship Id="rId11" Type="http://schemas.openxmlformats.org/officeDocument/2006/relationships/tags" Target="../tags/tag154.xml"/><Relationship Id="rId24" Type="http://schemas.openxmlformats.org/officeDocument/2006/relationships/oleObject" Target="../embeddings/oleObject17.bin"/><Relationship Id="rId5" Type="http://schemas.openxmlformats.org/officeDocument/2006/relationships/tags" Target="../tags/tag148.xml"/><Relationship Id="rId15" Type="http://schemas.openxmlformats.org/officeDocument/2006/relationships/tags" Target="../tags/tag158.xml"/><Relationship Id="rId23" Type="http://schemas.openxmlformats.org/officeDocument/2006/relationships/slideLayout" Target="../slideLayouts/slideLayout4.xml"/><Relationship Id="rId10" Type="http://schemas.openxmlformats.org/officeDocument/2006/relationships/tags" Target="../tags/tag153.xml"/><Relationship Id="rId19" Type="http://schemas.openxmlformats.org/officeDocument/2006/relationships/tags" Target="../tags/tag162.xml"/><Relationship Id="rId4" Type="http://schemas.openxmlformats.org/officeDocument/2006/relationships/tags" Target="../tags/tag147.xml"/><Relationship Id="rId9" Type="http://schemas.openxmlformats.org/officeDocument/2006/relationships/tags" Target="../tags/tag152.xml"/><Relationship Id="rId14" Type="http://schemas.openxmlformats.org/officeDocument/2006/relationships/tags" Target="../tags/tag157.xml"/><Relationship Id="rId22" Type="http://schemas.openxmlformats.org/officeDocument/2006/relationships/tags" Target="../tags/tag165.xml"/></Relationships>
</file>

<file path=ppt/slides/_rels/slide15.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sv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31.sv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s>
</file>

<file path=ppt/slides/_rels/slide16.xml.rels><?xml version="1.0" encoding="UTF-8" standalone="yes"?>
<Relationships xmlns="http://schemas.openxmlformats.org/package/2006/relationships"><Relationship Id="rId8" Type="http://schemas.openxmlformats.org/officeDocument/2006/relationships/tags" Target="../tags/tag172.xml"/><Relationship Id="rId13" Type="http://schemas.openxmlformats.org/officeDocument/2006/relationships/image" Target="../media/image10.emf"/><Relationship Id="rId3" Type="http://schemas.openxmlformats.org/officeDocument/2006/relationships/tags" Target="../tags/tag167.xml"/><Relationship Id="rId7" Type="http://schemas.openxmlformats.org/officeDocument/2006/relationships/tags" Target="../tags/tag171.xml"/><Relationship Id="rId12" Type="http://schemas.openxmlformats.org/officeDocument/2006/relationships/oleObject" Target="../embeddings/oleObject14.bin"/><Relationship Id="rId2" Type="http://schemas.openxmlformats.org/officeDocument/2006/relationships/tags" Target="../tags/tag166.xml"/><Relationship Id="rId1" Type="http://schemas.openxmlformats.org/officeDocument/2006/relationships/vmlDrawing" Target="../drawings/vmlDrawing19.vml"/><Relationship Id="rId6" Type="http://schemas.openxmlformats.org/officeDocument/2006/relationships/tags" Target="../tags/tag170.xml"/><Relationship Id="rId11" Type="http://schemas.openxmlformats.org/officeDocument/2006/relationships/notesSlide" Target="../notesSlides/notesSlide12.xml"/><Relationship Id="rId5" Type="http://schemas.openxmlformats.org/officeDocument/2006/relationships/tags" Target="../tags/tag169.xml"/><Relationship Id="rId10" Type="http://schemas.openxmlformats.org/officeDocument/2006/relationships/slideLayout" Target="../slideLayouts/slideLayout4.xml"/><Relationship Id="rId4" Type="http://schemas.openxmlformats.org/officeDocument/2006/relationships/tags" Target="../tags/tag168.xml"/><Relationship Id="rId9" Type="http://schemas.openxmlformats.org/officeDocument/2006/relationships/tags" Target="../tags/tag173.xml"/></Relationships>
</file>

<file path=ppt/slides/_rels/slide17.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svg"/><Relationship Id="rId2" Type="http://schemas.openxmlformats.org/officeDocument/2006/relationships/slideLayout" Target="../slideLayouts/slideLayout4.xml"/><Relationship Id="rId1" Type="http://schemas.openxmlformats.org/officeDocument/2006/relationships/tags" Target="../tags/tag174.xml"/><Relationship Id="rId6" Type="http://schemas.openxmlformats.org/officeDocument/2006/relationships/image" Target="../media/image41.svg"/><Relationship Id="rId11" Type="http://schemas.openxmlformats.org/officeDocument/2006/relationships/image" Target="../media/image46.pn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9.svg"/></Relationships>
</file>

<file path=ppt/slides/_rels/slide20.xml.rels><?xml version="1.0" encoding="UTF-8" standalone="yes"?>
<Relationships xmlns="http://schemas.openxmlformats.org/package/2006/relationships"><Relationship Id="rId8" Type="http://schemas.openxmlformats.org/officeDocument/2006/relationships/tags" Target="../tags/tag181.xml"/><Relationship Id="rId13" Type="http://schemas.openxmlformats.org/officeDocument/2006/relationships/image" Target="../media/image10.emf"/><Relationship Id="rId3" Type="http://schemas.openxmlformats.org/officeDocument/2006/relationships/tags" Target="../tags/tag176.xml"/><Relationship Id="rId7" Type="http://schemas.openxmlformats.org/officeDocument/2006/relationships/tags" Target="../tags/tag180.xml"/><Relationship Id="rId12" Type="http://schemas.openxmlformats.org/officeDocument/2006/relationships/oleObject" Target="../embeddings/oleObject14.bin"/><Relationship Id="rId2" Type="http://schemas.openxmlformats.org/officeDocument/2006/relationships/tags" Target="../tags/tag175.xml"/><Relationship Id="rId1" Type="http://schemas.openxmlformats.org/officeDocument/2006/relationships/vmlDrawing" Target="../drawings/vmlDrawing20.vml"/><Relationship Id="rId6" Type="http://schemas.openxmlformats.org/officeDocument/2006/relationships/tags" Target="../tags/tag179.xml"/><Relationship Id="rId11" Type="http://schemas.openxmlformats.org/officeDocument/2006/relationships/notesSlide" Target="../notesSlides/notesSlide14.xml"/><Relationship Id="rId5" Type="http://schemas.openxmlformats.org/officeDocument/2006/relationships/tags" Target="../tags/tag178.xml"/><Relationship Id="rId10" Type="http://schemas.openxmlformats.org/officeDocument/2006/relationships/slideLayout" Target="../slideLayouts/slideLayout4.xml"/><Relationship Id="rId4" Type="http://schemas.openxmlformats.org/officeDocument/2006/relationships/tags" Target="../tags/tag177.xml"/><Relationship Id="rId9" Type="http://schemas.openxmlformats.org/officeDocument/2006/relationships/tags" Target="../tags/tag182.xml"/></Relationships>
</file>

<file path=ppt/slides/_rels/slide21.xml.rels><?xml version="1.0" encoding="UTF-8" standalone="yes"?>
<Relationships xmlns="http://schemas.openxmlformats.org/package/2006/relationships"><Relationship Id="rId2" Type="http://schemas.openxmlformats.org/officeDocument/2006/relationships/image" Target="../media/image48.gif"/><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8.sv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52.svg"/><Relationship Id="rId11" Type="http://schemas.openxmlformats.org/officeDocument/2006/relationships/image" Target="../media/image57.png"/><Relationship Id="rId5" Type="http://schemas.openxmlformats.org/officeDocument/2006/relationships/image" Target="../media/image51.png"/><Relationship Id="rId10" Type="http://schemas.openxmlformats.org/officeDocument/2006/relationships/image" Target="../media/image56.svg"/><Relationship Id="rId4" Type="http://schemas.openxmlformats.org/officeDocument/2006/relationships/image" Target="../media/image50.svg"/><Relationship Id="rId9" Type="http://schemas.openxmlformats.org/officeDocument/2006/relationships/image" Target="../media/image55.png"/></Relationships>
</file>

<file path=ppt/slides/_rels/slide23.xml.rels><?xml version="1.0" encoding="UTF-8" standalone="yes"?>
<Relationships xmlns="http://schemas.openxmlformats.org/package/2006/relationships"><Relationship Id="rId8" Type="http://schemas.openxmlformats.org/officeDocument/2006/relationships/tags" Target="../tags/tag189.xml"/><Relationship Id="rId13" Type="http://schemas.openxmlformats.org/officeDocument/2006/relationships/image" Target="../media/image10.emf"/><Relationship Id="rId3" Type="http://schemas.openxmlformats.org/officeDocument/2006/relationships/tags" Target="../tags/tag184.xml"/><Relationship Id="rId7" Type="http://schemas.openxmlformats.org/officeDocument/2006/relationships/tags" Target="../tags/tag188.xml"/><Relationship Id="rId12" Type="http://schemas.openxmlformats.org/officeDocument/2006/relationships/oleObject" Target="../embeddings/oleObject14.bin"/><Relationship Id="rId2" Type="http://schemas.openxmlformats.org/officeDocument/2006/relationships/tags" Target="../tags/tag183.xml"/><Relationship Id="rId1" Type="http://schemas.openxmlformats.org/officeDocument/2006/relationships/vmlDrawing" Target="../drawings/vmlDrawing21.vml"/><Relationship Id="rId6" Type="http://schemas.openxmlformats.org/officeDocument/2006/relationships/tags" Target="../tags/tag187.xml"/><Relationship Id="rId11" Type="http://schemas.openxmlformats.org/officeDocument/2006/relationships/notesSlide" Target="../notesSlides/notesSlide16.xml"/><Relationship Id="rId5" Type="http://schemas.openxmlformats.org/officeDocument/2006/relationships/tags" Target="../tags/tag186.xml"/><Relationship Id="rId10" Type="http://schemas.openxmlformats.org/officeDocument/2006/relationships/slideLayout" Target="../slideLayouts/slideLayout4.xml"/><Relationship Id="rId4" Type="http://schemas.openxmlformats.org/officeDocument/2006/relationships/tags" Target="../tags/tag185.xml"/><Relationship Id="rId9" Type="http://schemas.openxmlformats.org/officeDocument/2006/relationships/tags" Target="../tags/tag190.xml"/></Relationships>
</file>

<file path=ppt/slides/_rels/slide24.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notesSlide" Target="../notesSlides/notesSlide17.xml"/><Relationship Id="rId7" Type="http://schemas.openxmlformats.org/officeDocument/2006/relationships/image" Target="../media/image62.svg"/><Relationship Id="rId2" Type="http://schemas.openxmlformats.org/officeDocument/2006/relationships/slideLayout" Target="../slideLayouts/slideLayout4.xml"/><Relationship Id="rId1" Type="http://schemas.openxmlformats.org/officeDocument/2006/relationships/tags" Target="../tags/tag191.xml"/><Relationship Id="rId6" Type="http://schemas.openxmlformats.org/officeDocument/2006/relationships/image" Target="../media/image61.png"/><Relationship Id="rId11" Type="http://schemas.openxmlformats.org/officeDocument/2006/relationships/image" Target="../media/image43.svg"/><Relationship Id="rId5" Type="http://schemas.openxmlformats.org/officeDocument/2006/relationships/image" Target="../media/image60.svg"/><Relationship Id="rId10" Type="http://schemas.openxmlformats.org/officeDocument/2006/relationships/image" Target="../media/image42.png"/><Relationship Id="rId4" Type="http://schemas.openxmlformats.org/officeDocument/2006/relationships/image" Target="../media/image59.png"/><Relationship Id="rId9" Type="http://schemas.openxmlformats.org/officeDocument/2006/relationships/image" Target="../media/image64.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image" Target="../media/image67.svg"/><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image" Target="../media/image12.png"/><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image" Target="../media/image66.svg"/><Relationship Id="rId5" Type="http://schemas.openxmlformats.org/officeDocument/2006/relationships/tags" Target="../tags/tag196.xml"/><Relationship Id="rId10" Type="http://schemas.openxmlformats.org/officeDocument/2006/relationships/image" Target="../media/image65.png"/><Relationship Id="rId4" Type="http://schemas.openxmlformats.org/officeDocument/2006/relationships/tags" Target="../tags/tag195.xml"/><Relationship Id="rId9"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image" Target="../media/image10.emf"/><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oleObject" Target="../embeddings/oleObject14.bin"/><Relationship Id="rId2" Type="http://schemas.openxmlformats.org/officeDocument/2006/relationships/tags" Target="../tags/tag105.xml"/><Relationship Id="rId1" Type="http://schemas.openxmlformats.org/officeDocument/2006/relationships/vmlDrawing" Target="../drawings/vmlDrawing14.vml"/><Relationship Id="rId6" Type="http://schemas.openxmlformats.org/officeDocument/2006/relationships/tags" Target="../tags/tag109.xml"/><Relationship Id="rId11" Type="http://schemas.openxmlformats.org/officeDocument/2006/relationships/notesSlide" Target="../notesSlides/notesSlide2.xml"/><Relationship Id="rId5" Type="http://schemas.openxmlformats.org/officeDocument/2006/relationships/tags" Target="../tags/tag108.xml"/><Relationship Id="rId10" Type="http://schemas.openxmlformats.org/officeDocument/2006/relationships/slideLayout" Target="../slideLayouts/slideLayout4.xml"/><Relationship Id="rId4" Type="http://schemas.openxmlformats.org/officeDocument/2006/relationships/tags" Target="../tags/tag107.xml"/><Relationship Id="rId9" Type="http://schemas.openxmlformats.org/officeDocument/2006/relationships/tags" Target="../tags/tag112.xml"/></Relationships>
</file>

<file path=ppt/slides/_rels/slide4.xml.rels><?xml version="1.0" encoding="UTF-8" standalone="yes"?>
<Relationships xmlns="http://schemas.openxmlformats.org/package/2006/relationships"><Relationship Id="rId8" Type="http://schemas.openxmlformats.org/officeDocument/2006/relationships/tags" Target="../tags/tag119.xml"/><Relationship Id="rId3" Type="http://schemas.openxmlformats.org/officeDocument/2006/relationships/tags" Target="../tags/tag114.xml"/><Relationship Id="rId7" Type="http://schemas.openxmlformats.org/officeDocument/2006/relationships/tags" Target="../tags/tag118.xml"/><Relationship Id="rId12" Type="http://schemas.openxmlformats.org/officeDocument/2006/relationships/image" Target="../media/image7.emf"/><Relationship Id="rId2" Type="http://schemas.openxmlformats.org/officeDocument/2006/relationships/tags" Target="../tags/tag113.xml"/><Relationship Id="rId1" Type="http://schemas.openxmlformats.org/officeDocument/2006/relationships/vmlDrawing" Target="../drawings/vmlDrawing15.vml"/><Relationship Id="rId6" Type="http://schemas.openxmlformats.org/officeDocument/2006/relationships/tags" Target="../tags/tag117.xml"/><Relationship Id="rId11" Type="http://schemas.openxmlformats.org/officeDocument/2006/relationships/oleObject" Target="../embeddings/oleObject15.bin"/><Relationship Id="rId5" Type="http://schemas.openxmlformats.org/officeDocument/2006/relationships/tags" Target="../tags/tag116.xml"/><Relationship Id="rId10" Type="http://schemas.openxmlformats.org/officeDocument/2006/relationships/notesSlide" Target="../notesSlides/notesSlide3.xml"/><Relationship Id="rId4" Type="http://schemas.openxmlformats.org/officeDocument/2006/relationships/tags" Target="../tags/tag115.xml"/><Relationship Id="rId9"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tags" Target="../tags/tag126.xml"/><Relationship Id="rId13" Type="http://schemas.openxmlformats.org/officeDocument/2006/relationships/image" Target="../media/image12.png"/><Relationship Id="rId3" Type="http://schemas.openxmlformats.org/officeDocument/2006/relationships/tags" Target="../tags/tag121.xml"/><Relationship Id="rId7" Type="http://schemas.openxmlformats.org/officeDocument/2006/relationships/tags" Target="../tags/tag125.xml"/><Relationship Id="rId12" Type="http://schemas.openxmlformats.org/officeDocument/2006/relationships/image" Target="../media/image11.emf"/><Relationship Id="rId2" Type="http://schemas.openxmlformats.org/officeDocument/2006/relationships/tags" Target="../tags/tag120.xml"/><Relationship Id="rId1" Type="http://schemas.openxmlformats.org/officeDocument/2006/relationships/vmlDrawing" Target="../drawings/vmlDrawing16.vml"/><Relationship Id="rId6" Type="http://schemas.openxmlformats.org/officeDocument/2006/relationships/tags" Target="../tags/tag124.xml"/><Relationship Id="rId11" Type="http://schemas.openxmlformats.org/officeDocument/2006/relationships/oleObject" Target="../embeddings/oleObject16.bin"/><Relationship Id="rId5" Type="http://schemas.openxmlformats.org/officeDocument/2006/relationships/tags" Target="../tags/tag123.xml"/><Relationship Id="rId10" Type="http://schemas.openxmlformats.org/officeDocument/2006/relationships/slideLayout" Target="../slideLayouts/slideLayout4.xml"/><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image" Target="../media/image13.sv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128.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129.xml"/><Relationship Id="rId4" Type="http://schemas.openxmlformats.org/officeDocument/2006/relationships/chart" Target="../charts/char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tags" Target="../tags/tag136.xml"/><Relationship Id="rId13" Type="http://schemas.openxmlformats.org/officeDocument/2006/relationships/image" Target="../media/image10.emf"/><Relationship Id="rId3" Type="http://schemas.openxmlformats.org/officeDocument/2006/relationships/tags" Target="../tags/tag131.xml"/><Relationship Id="rId7" Type="http://schemas.openxmlformats.org/officeDocument/2006/relationships/tags" Target="../tags/tag135.xml"/><Relationship Id="rId12" Type="http://schemas.openxmlformats.org/officeDocument/2006/relationships/oleObject" Target="../embeddings/oleObject14.bin"/><Relationship Id="rId2" Type="http://schemas.openxmlformats.org/officeDocument/2006/relationships/tags" Target="../tags/tag130.xml"/><Relationship Id="rId1" Type="http://schemas.openxmlformats.org/officeDocument/2006/relationships/vmlDrawing" Target="../drawings/vmlDrawing17.vml"/><Relationship Id="rId6" Type="http://schemas.openxmlformats.org/officeDocument/2006/relationships/tags" Target="../tags/tag134.xml"/><Relationship Id="rId11" Type="http://schemas.openxmlformats.org/officeDocument/2006/relationships/notesSlide" Target="../notesSlides/notesSlide7.xml"/><Relationship Id="rId5" Type="http://schemas.openxmlformats.org/officeDocument/2006/relationships/tags" Target="../tags/tag133.xml"/><Relationship Id="rId10" Type="http://schemas.openxmlformats.org/officeDocument/2006/relationships/slideLayout" Target="../slideLayouts/slideLayout4.xml"/><Relationship Id="rId4" Type="http://schemas.openxmlformats.org/officeDocument/2006/relationships/tags" Target="../tags/tag132.xml"/><Relationship Id="rId9" Type="http://schemas.openxmlformats.org/officeDocument/2006/relationships/tags" Target="../tags/tag1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811CCDE-B0AB-274E-A8B1-08E66578B1A9}"/>
              </a:ext>
            </a:extLst>
          </p:cNvPr>
          <p:cNvSpPr>
            <a:spLocks noGrp="1"/>
          </p:cNvSpPr>
          <p:nvPr>
            <p:ph type="ctrTitle"/>
          </p:nvPr>
        </p:nvSpPr>
        <p:spPr/>
        <p:txBody>
          <a:bodyPr/>
          <a:lstStyle/>
          <a:p>
            <a:r>
              <a:rPr lang="nl-NL" sz="4000"/>
              <a:t>Einddocument Goed Gesprek</a:t>
            </a:r>
          </a:p>
        </p:txBody>
      </p:sp>
      <p:sp>
        <p:nvSpPr>
          <p:cNvPr id="3" name="Ondertitel 2">
            <a:extLst>
              <a:ext uri="{FF2B5EF4-FFF2-40B4-BE49-F238E27FC236}">
                <a16:creationId xmlns:a16="http://schemas.microsoft.com/office/drawing/2014/main" id="{30B718E3-DB9F-9348-B1AA-10EDB78ADA9C}"/>
              </a:ext>
            </a:extLst>
          </p:cNvPr>
          <p:cNvSpPr>
            <a:spLocks noGrp="1"/>
          </p:cNvSpPr>
          <p:nvPr>
            <p:ph type="subTitle" idx="4294967295"/>
          </p:nvPr>
        </p:nvSpPr>
        <p:spPr>
          <a:xfrm>
            <a:off x="4414048" y="4062830"/>
            <a:ext cx="7361972" cy="500166"/>
          </a:xfrm>
        </p:spPr>
        <p:txBody>
          <a:bodyPr/>
          <a:lstStyle/>
          <a:p>
            <a:r>
              <a:rPr lang="nl-NL"/>
              <a:t>[Instelling] | [datum]</a:t>
            </a:r>
          </a:p>
          <a:p>
            <a:endParaRPr lang="nl-NL"/>
          </a:p>
        </p:txBody>
      </p:sp>
      <p:sp>
        <p:nvSpPr>
          <p:cNvPr id="4" name="Rechthoek 3">
            <a:extLst>
              <a:ext uri="{FF2B5EF4-FFF2-40B4-BE49-F238E27FC236}">
                <a16:creationId xmlns:a16="http://schemas.microsoft.com/office/drawing/2014/main" id="{1268F7EE-0858-F740-AA9E-24C807F2436C}"/>
              </a:ext>
            </a:extLst>
          </p:cNvPr>
          <p:cNvSpPr/>
          <p:nvPr/>
        </p:nvSpPr>
        <p:spPr>
          <a:xfrm>
            <a:off x="415980" y="2041583"/>
            <a:ext cx="2024009" cy="1181528"/>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a:solidFill>
                  <a:schemeClr val="tx1"/>
                </a:solidFill>
              </a:rPr>
              <a:t>Invoegen logo instelling</a:t>
            </a:r>
          </a:p>
        </p:txBody>
      </p:sp>
    </p:spTree>
    <p:extLst>
      <p:ext uri="{BB962C8B-B14F-4D97-AF65-F5344CB8AC3E}">
        <p14:creationId xmlns:p14="http://schemas.microsoft.com/office/powerpoint/2010/main" val="42924533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hoek 12">
            <a:extLst>
              <a:ext uri="{FF2B5EF4-FFF2-40B4-BE49-F238E27FC236}">
                <a16:creationId xmlns:a16="http://schemas.microsoft.com/office/drawing/2014/main" id="{9E83209C-37CE-42C8-A719-2631BDFE198A}"/>
              </a:ext>
            </a:extLst>
          </p:cNvPr>
          <p:cNvSpPr/>
          <p:nvPr/>
        </p:nvSpPr>
        <p:spPr>
          <a:xfrm>
            <a:off x="3959985" y="1791623"/>
            <a:ext cx="7706797" cy="3396826"/>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32" err="1">
              <a:solidFill>
                <a:schemeClr val="tx1"/>
              </a:solidFill>
            </a:endParaRPr>
          </a:p>
        </p:txBody>
      </p:sp>
      <p:sp>
        <p:nvSpPr>
          <p:cNvPr id="2" name="Titel 1">
            <a:extLst>
              <a:ext uri="{FF2B5EF4-FFF2-40B4-BE49-F238E27FC236}">
                <a16:creationId xmlns:a16="http://schemas.microsoft.com/office/drawing/2014/main" id="{E90D2C88-4D24-4866-BB9E-4945AF66A281}"/>
              </a:ext>
            </a:extLst>
          </p:cNvPr>
          <p:cNvSpPr>
            <a:spLocks noGrp="1"/>
          </p:cNvSpPr>
          <p:nvPr>
            <p:ph type="title"/>
          </p:nvPr>
        </p:nvSpPr>
        <p:spPr>
          <a:xfrm>
            <a:off x="500139" y="579178"/>
            <a:ext cx="11082528" cy="439639"/>
          </a:xfrm>
        </p:spPr>
        <p:txBody>
          <a:bodyPr/>
          <a:lstStyle/>
          <a:p>
            <a:r>
              <a:rPr lang="nl-NL" sz="2850"/>
              <a:t>Wat bedoelen wij bij Het Potentieel Pakken met het Goede Gesprek? </a:t>
            </a:r>
          </a:p>
        </p:txBody>
      </p:sp>
      <p:sp>
        <p:nvSpPr>
          <p:cNvPr id="3" name="Tekstvak 2">
            <a:extLst>
              <a:ext uri="{FF2B5EF4-FFF2-40B4-BE49-F238E27FC236}">
                <a16:creationId xmlns:a16="http://schemas.microsoft.com/office/drawing/2014/main" id="{8A4700A3-B28B-4FD6-A646-0E88A0D8DD11}"/>
              </a:ext>
            </a:extLst>
          </p:cNvPr>
          <p:cNvSpPr txBox="1"/>
          <p:nvPr/>
        </p:nvSpPr>
        <p:spPr>
          <a:xfrm>
            <a:off x="4735859" y="2247570"/>
            <a:ext cx="6254436" cy="24622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nl-NL" sz="2000" i="1">
                <a:solidFill>
                  <a:schemeClr val="accent4"/>
                </a:solidFill>
                <a:latin typeface="Arial"/>
                <a:cs typeface="Arial"/>
              </a:rPr>
              <a:t>“ Het Goede Gesprek is een </a:t>
            </a:r>
            <a:r>
              <a:rPr lang="nl-NL" sz="2000" b="1" i="1">
                <a:solidFill>
                  <a:schemeClr val="accent4"/>
                </a:solidFill>
                <a:latin typeface="Arial"/>
                <a:cs typeface="Arial"/>
              </a:rPr>
              <a:t>één-op-één gesprek </a:t>
            </a:r>
            <a:r>
              <a:rPr lang="nl-NL" sz="2000" i="1">
                <a:solidFill>
                  <a:schemeClr val="accent4"/>
                </a:solidFill>
                <a:latin typeface="Arial"/>
                <a:cs typeface="Arial"/>
              </a:rPr>
              <a:t>met een medewerker die </a:t>
            </a:r>
            <a:r>
              <a:rPr lang="nl-NL" sz="2000" b="1" i="1">
                <a:solidFill>
                  <a:schemeClr val="accent4"/>
                </a:solidFill>
                <a:latin typeface="Arial"/>
                <a:cs typeface="Arial"/>
              </a:rPr>
              <a:t>geïnteresseerd is in een eventuele contractuitbreiding.</a:t>
            </a:r>
            <a:r>
              <a:rPr lang="nl-NL" sz="2000" i="1">
                <a:solidFill>
                  <a:schemeClr val="accent4"/>
                </a:solidFill>
                <a:latin typeface="Arial"/>
                <a:cs typeface="Arial"/>
              </a:rPr>
              <a:t> Hierin wordt gekeken naar de </a:t>
            </a:r>
            <a:r>
              <a:rPr lang="nl-NL" sz="2000" b="1" i="1">
                <a:solidFill>
                  <a:schemeClr val="accent4"/>
                </a:solidFill>
                <a:latin typeface="Arial"/>
                <a:cs typeface="Arial"/>
              </a:rPr>
              <a:t>persoonlijke situatie </a:t>
            </a:r>
            <a:r>
              <a:rPr lang="nl-NL" sz="2000" i="1">
                <a:solidFill>
                  <a:schemeClr val="accent4"/>
                </a:solidFill>
                <a:latin typeface="Arial"/>
                <a:cs typeface="Arial"/>
              </a:rPr>
              <a:t>van deze medewerker en wordt op een </a:t>
            </a:r>
            <a:r>
              <a:rPr lang="nl-NL" sz="2000" b="1" i="1">
                <a:solidFill>
                  <a:schemeClr val="accent4"/>
                </a:solidFill>
                <a:latin typeface="Arial"/>
                <a:cs typeface="Arial"/>
              </a:rPr>
              <a:t>open manier </a:t>
            </a:r>
            <a:r>
              <a:rPr lang="nl-NL" sz="2000" i="1">
                <a:solidFill>
                  <a:schemeClr val="accent4"/>
                </a:solidFill>
                <a:latin typeface="Arial"/>
                <a:cs typeface="Arial"/>
              </a:rPr>
              <a:t>gepraat over zijn/haar </a:t>
            </a:r>
            <a:r>
              <a:rPr lang="nl-NL" sz="2000" b="1" i="1">
                <a:solidFill>
                  <a:schemeClr val="accent4"/>
                </a:solidFill>
                <a:latin typeface="Arial"/>
                <a:cs typeface="Arial"/>
              </a:rPr>
              <a:t>rooster </a:t>
            </a:r>
            <a:r>
              <a:rPr lang="nl-NL" sz="2000" b="1" i="1">
                <a:solidFill>
                  <a:schemeClr val="accent4"/>
                </a:solidFill>
                <a:cs typeface="Arial"/>
              </a:rPr>
              <a:t>wensen en voorkeuren</a:t>
            </a:r>
            <a:r>
              <a:rPr lang="nl-NL" sz="2000" i="1">
                <a:solidFill>
                  <a:schemeClr val="accent4"/>
                </a:solidFill>
                <a:cs typeface="Arial"/>
              </a:rPr>
              <a:t>. Het onderwerp “</a:t>
            </a:r>
            <a:r>
              <a:rPr lang="nl-NL" sz="2000" b="1" i="1">
                <a:solidFill>
                  <a:schemeClr val="accent4"/>
                </a:solidFill>
                <a:cs typeface="Arial"/>
              </a:rPr>
              <a:t>passende contractgrootte” </a:t>
            </a:r>
            <a:r>
              <a:rPr lang="nl-NL" sz="2000" i="1">
                <a:solidFill>
                  <a:schemeClr val="accent4"/>
                </a:solidFill>
                <a:cs typeface="Arial"/>
              </a:rPr>
              <a:t>staat hierbij vast op de agenda.”</a:t>
            </a:r>
            <a:endParaRPr lang="en-US">
              <a:solidFill>
                <a:schemeClr val="accent4"/>
              </a:solidFill>
            </a:endParaRPr>
          </a:p>
        </p:txBody>
      </p:sp>
      <p:pic>
        <p:nvPicPr>
          <p:cNvPr id="8" name="CustomIcon">
            <a:extLst>
              <a:ext uri="{FF2B5EF4-FFF2-40B4-BE49-F238E27FC236}">
                <a16:creationId xmlns:a16="http://schemas.microsoft.com/office/drawing/2014/main" id="{C0602717-0E01-4863-A982-421104989B58}"/>
              </a:ext>
            </a:extLst>
          </p:cNvPr>
          <p:cNvPicPr>
            <a:picLocks noChangeAspect="1"/>
          </p:cNvPicPr>
          <p:nvPr>
            <p:custDataLst>
              <p:tags r:id="rId1"/>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62539" y="2228523"/>
            <a:ext cx="1779951" cy="1779951"/>
          </a:xfrm>
          <a:prstGeom prst="rect">
            <a:avLst/>
          </a:prstGeom>
        </p:spPr>
      </p:pic>
    </p:spTree>
    <p:extLst>
      <p:ext uri="{BB962C8B-B14F-4D97-AF65-F5344CB8AC3E}">
        <p14:creationId xmlns:p14="http://schemas.microsoft.com/office/powerpoint/2010/main" val="41071577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F583182-3E7F-47C6-B0C6-DA64E1821954}"/>
              </a:ext>
            </a:extLst>
          </p:cNvPr>
          <p:cNvSpPr>
            <a:spLocks noGrp="1"/>
          </p:cNvSpPr>
          <p:nvPr>
            <p:ph type="title"/>
          </p:nvPr>
        </p:nvSpPr>
        <p:spPr/>
        <p:txBody>
          <a:bodyPr/>
          <a:lstStyle/>
          <a:p>
            <a:r>
              <a:rPr lang="nl-NL"/>
              <a:t>Het Goede Gesprek op één pagina </a:t>
            </a:r>
          </a:p>
        </p:txBody>
      </p:sp>
      <p:sp>
        <p:nvSpPr>
          <p:cNvPr id="4" name="TextBox 8">
            <a:extLst>
              <a:ext uri="{FF2B5EF4-FFF2-40B4-BE49-F238E27FC236}">
                <a16:creationId xmlns:a16="http://schemas.microsoft.com/office/drawing/2014/main" id="{08903C41-ED43-4511-A889-AF02581082AC}"/>
              </a:ext>
            </a:extLst>
          </p:cNvPr>
          <p:cNvSpPr txBox="1">
            <a:spLocks/>
          </p:cNvSpPr>
          <p:nvPr/>
        </p:nvSpPr>
        <p:spPr>
          <a:xfrm>
            <a:off x="898680" y="3282527"/>
            <a:ext cx="10394640" cy="650553"/>
          </a:xfrm>
          <a:prstGeom prst="rect">
            <a:avLst/>
          </a:prstGeom>
          <a:solidFill>
            <a:schemeClr val="bg2"/>
          </a:solidFill>
          <a:ln w="9525">
            <a:noFill/>
          </a:ln>
        </p:spPr>
        <p:txBody>
          <a:bodyPr vert="horz" wrap="square" lIns="186595" tIns="46649" rIns="46649" bIns="46649" rtlCol="0" anchor="ctr" anchorCtr="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buClr>
                <a:srgbClr val="003C54"/>
              </a:buClr>
              <a:defRPr/>
            </a:pPr>
            <a:r>
              <a:rPr kumimoji="0" lang="nl-NL" b="1" i="1" u="sng" strike="noStrike" kern="1200" cap="none" spc="0" normalizeH="0" baseline="0" noProof="0">
                <a:ln>
                  <a:noFill/>
                </a:ln>
                <a:solidFill>
                  <a:schemeClr val="accent4"/>
                </a:solidFill>
                <a:effectLst/>
                <a:uLnTx/>
                <a:uFillTx/>
                <a:latin typeface="Arial"/>
                <a:ea typeface="ＭＳ Ｐゴシック"/>
              </a:rPr>
              <a:t>Opzet?</a:t>
            </a:r>
            <a:r>
              <a:rPr kumimoji="0" lang="nl-NL" b="1" i="0" u="none" strike="noStrike" kern="1200" cap="none" spc="0" normalizeH="0" baseline="0" noProof="0">
                <a:ln>
                  <a:noFill/>
                </a:ln>
                <a:solidFill>
                  <a:schemeClr val="accent4"/>
                </a:solidFill>
                <a:effectLst/>
                <a:uLnTx/>
                <a:uFillTx/>
                <a:latin typeface="Arial"/>
                <a:ea typeface="ＭＳ Ｐゴシック"/>
              </a:rPr>
              <a:t> </a:t>
            </a:r>
            <a:r>
              <a:rPr kumimoji="0" lang="nl-NL" sz="1800" i="0" u="none" strike="noStrike" kern="1200" cap="none" spc="0" normalizeH="0" baseline="0" noProof="0">
                <a:ln>
                  <a:noFill/>
                </a:ln>
                <a:solidFill>
                  <a:schemeClr val="accent4"/>
                </a:solidFill>
                <a:effectLst/>
                <a:uLnTx/>
                <a:uFillTx/>
                <a:latin typeface="Arial"/>
                <a:ea typeface="ＭＳ Ｐゴシック"/>
              </a:rPr>
              <a:t>Een gesprek duurt 45-60 minuten en is bij voorkeur in persoon. </a:t>
            </a:r>
            <a:endParaRPr kumimoji="0" lang="nl-NL" i="0" u="none" strike="noStrike" kern="1200" cap="none" spc="0" normalizeH="0" baseline="0" noProof="0">
              <a:ln>
                <a:noFill/>
              </a:ln>
              <a:solidFill>
                <a:schemeClr val="accent4"/>
              </a:solidFill>
              <a:effectLst/>
              <a:uLnTx/>
              <a:uFillTx/>
              <a:latin typeface="Arial"/>
              <a:ea typeface="ＭＳ Ｐゴシック"/>
            </a:endParaRPr>
          </a:p>
        </p:txBody>
      </p:sp>
      <p:sp>
        <p:nvSpPr>
          <p:cNvPr id="6" name="TextBox 25">
            <a:extLst>
              <a:ext uri="{FF2B5EF4-FFF2-40B4-BE49-F238E27FC236}">
                <a16:creationId xmlns:a16="http://schemas.microsoft.com/office/drawing/2014/main" id="{6286CF1B-0F5F-4A60-B009-549DDE18E117}"/>
              </a:ext>
            </a:extLst>
          </p:cNvPr>
          <p:cNvSpPr txBox="1">
            <a:spLocks/>
          </p:cNvSpPr>
          <p:nvPr/>
        </p:nvSpPr>
        <p:spPr>
          <a:xfrm>
            <a:off x="898680" y="1065780"/>
            <a:ext cx="10394640" cy="829779"/>
          </a:xfrm>
          <a:prstGeom prst="rect">
            <a:avLst/>
          </a:prstGeom>
          <a:solidFill>
            <a:schemeClr val="bg2"/>
          </a:solidFill>
          <a:ln w="9525">
            <a:noFill/>
          </a:ln>
        </p:spPr>
        <p:txBody>
          <a:bodyPr vert="horz" wrap="square" lIns="186595" tIns="46649" rIns="46649" bIns="46649" rtlCol="0" anchor="ctr" anchorCtr="0">
            <a:noAutofit/>
          </a:bodyPr>
          <a:lstStyle>
            <a:defPPr>
              <a:defRPr lang="en-US"/>
            </a:defPPr>
            <a:lvl1pPr lvl="0" indent="0" defTabSz="895350">
              <a:buClr>
                <a:srgbClr val="003C54"/>
              </a:buClr>
              <a:buSzPct val="100000"/>
              <a:defRPr sz="2400" b="1" baseline="0">
                <a:solidFill>
                  <a:schemeClr val="accent4"/>
                </a:solidFill>
                <a:cs typeface="Arial"/>
              </a:defRPr>
            </a:lvl1pPr>
            <a:lvl2pPr marL="194400" lvl="1" indent="-190800" defTabSz="895350">
              <a:buClr>
                <a:schemeClr val="tx2"/>
              </a:buClr>
              <a:buSzPct val="125000"/>
              <a:buFont typeface="Arial" charset="0"/>
              <a:buChar char="▪"/>
              <a:defRPr baseline="0"/>
            </a:lvl2pPr>
            <a:lvl3pPr marL="446400" lvl="2" indent="-248400" defTabSz="895350">
              <a:buClr>
                <a:schemeClr val="tx2"/>
              </a:buClr>
              <a:buSzPct val="120000"/>
              <a:buFont typeface="Arial" charset="0"/>
              <a:buChar char="–"/>
              <a:defRPr baseline="0"/>
            </a:lvl3pPr>
            <a:lvl4pPr marL="615600" lvl="3" indent="-154800" defTabSz="895350">
              <a:buClr>
                <a:schemeClr val="tx2"/>
              </a:buClr>
              <a:buSzPct val="120000"/>
              <a:buFont typeface="Arial" charset="0"/>
              <a:buChar char="▫"/>
              <a:defRPr baseline="0"/>
            </a:lvl4pPr>
            <a:lvl5pPr marL="748800" lvl="4" indent="-129600" defTabSz="895350">
              <a:buClr>
                <a:schemeClr val="tx2"/>
              </a:buClr>
              <a:buSzPct val="89000"/>
              <a:buFont typeface="Arial" charset="0"/>
              <a:buChar char="-"/>
              <a:defRPr baseline="0"/>
            </a:lvl5pPr>
            <a:lvl6pPr marL="999794" indent="-173575" defTabSz="1193860" fontAlgn="base">
              <a:spcBef>
                <a:spcPct val="0"/>
              </a:spcBef>
              <a:spcAft>
                <a:spcPct val="0"/>
              </a:spcAft>
              <a:buClr>
                <a:schemeClr val="tx2"/>
              </a:buClr>
              <a:buSzPct val="89000"/>
              <a:buFont typeface="Arial" charset="0"/>
              <a:buChar char="-"/>
              <a:defRPr sz="2133" baseline="0"/>
            </a:lvl6pPr>
            <a:lvl7pPr marL="999794" indent="-173575" defTabSz="1193860" fontAlgn="base">
              <a:spcBef>
                <a:spcPct val="0"/>
              </a:spcBef>
              <a:spcAft>
                <a:spcPct val="0"/>
              </a:spcAft>
              <a:buClr>
                <a:schemeClr val="tx2"/>
              </a:buClr>
              <a:buSzPct val="89000"/>
              <a:buFont typeface="Arial" charset="0"/>
              <a:buChar char="-"/>
              <a:defRPr sz="2133" baseline="0"/>
            </a:lvl7pPr>
            <a:lvl8pPr marL="999794" indent="-173575" defTabSz="1193860" fontAlgn="base">
              <a:spcBef>
                <a:spcPct val="0"/>
              </a:spcBef>
              <a:spcAft>
                <a:spcPct val="0"/>
              </a:spcAft>
              <a:buClr>
                <a:schemeClr val="tx2"/>
              </a:buClr>
              <a:buSzPct val="89000"/>
              <a:buFont typeface="Arial" charset="0"/>
              <a:buChar char="-"/>
              <a:defRPr sz="2133" baseline="0"/>
            </a:lvl8pPr>
            <a:lvl9pPr marL="999794" indent="-173575" defTabSz="1193860" fontAlgn="base">
              <a:spcBef>
                <a:spcPct val="0"/>
              </a:spcBef>
              <a:spcAft>
                <a:spcPct val="0"/>
              </a:spcAft>
              <a:buClr>
                <a:schemeClr val="tx2"/>
              </a:buClr>
              <a:buSzPct val="89000"/>
              <a:buFont typeface="Arial" charset="0"/>
              <a:buChar char="-"/>
              <a:defRPr sz="2133" baseline="0"/>
            </a:lvl9pPr>
          </a:lstStyle>
          <a:p>
            <a:r>
              <a:rPr lang="en-US" sz="1800" i="1" u="sng"/>
              <a:t>Voor </a:t>
            </a:r>
            <a:r>
              <a:rPr lang="en-US" sz="1800" i="1" u="sng" err="1"/>
              <a:t>wie</a:t>
            </a:r>
            <a:r>
              <a:rPr lang="en-US" sz="1800" i="1" u="sng"/>
              <a:t>?</a:t>
            </a:r>
            <a:r>
              <a:rPr lang="en-US" sz="1800"/>
              <a:t> </a:t>
            </a:r>
            <a:r>
              <a:rPr lang="en-US" sz="1800" b="0" err="1"/>
              <a:t>Medewerkers</a:t>
            </a:r>
            <a:r>
              <a:rPr lang="en-US" sz="1800" b="0"/>
              <a:t> die </a:t>
            </a:r>
            <a:r>
              <a:rPr lang="en-US" sz="1800" b="0" err="1"/>
              <a:t>geinteresseerd</a:t>
            </a:r>
            <a:r>
              <a:rPr lang="en-US" sz="1800" b="0"/>
              <a:t> </a:t>
            </a:r>
            <a:r>
              <a:rPr lang="en-US" sz="1800" b="0" err="1"/>
              <a:t>zijn</a:t>
            </a:r>
            <a:r>
              <a:rPr lang="en-US" sz="1800" b="0"/>
              <a:t> in </a:t>
            </a:r>
            <a:r>
              <a:rPr lang="en-US" sz="1800" b="0" err="1"/>
              <a:t>een</a:t>
            </a:r>
            <a:r>
              <a:rPr lang="en-US" sz="1800" b="0"/>
              <a:t> </a:t>
            </a:r>
            <a:r>
              <a:rPr lang="en-US" sz="1800" b="0" err="1"/>
              <a:t>contractuitbreiding</a:t>
            </a:r>
            <a:r>
              <a:rPr lang="en-US" sz="1800" b="0"/>
              <a:t> </a:t>
            </a:r>
            <a:r>
              <a:rPr lang="en-US" sz="1800" b="0" err="1"/>
              <a:t>en</a:t>
            </a:r>
            <a:r>
              <a:rPr lang="en-US" sz="1800" b="0"/>
              <a:t> </a:t>
            </a:r>
            <a:r>
              <a:rPr lang="en-US" sz="1800" b="0" err="1"/>
              <a:t>verdieping</a:t>
            </a:r>
            <a:r>
              <a:rPr lang="en-US" sz="1800" b="0"/>
              <a:t> </a:t>
            </a:r>
            <a:r>
              <a:rPr lang="en-US" sz="1800" b="0" err="1"/>
              <a:t>zoeken</a:t>
            </a:r>
            <a:r>
              <a:rPr lang="en-US" sz="1800" b="0"/>
              <a:t> op </a:t>
            </a:r>
            <a:r>
              <a:rPr lang="en-US" sz="1800" b="0" err="1"/>
              <a:t>hun</a:t>
            </a:r>
            <a:r>
              <a:rPr lang="en-US" sz="1800" b="0"/>
              <a:t> </a:t>
            </a:r>
            <a:r>
              <a:rPr lang="en-US" sz="1800" b="0" err="1"/>
              <a:t>persoonlijke</a:t>
            </a:r>
            <a:r>
              <a:rPr lang="en-US" sz="1800" b="0"/>
              <a:t> </a:t>
            </a:r>
            <a:r>
              <a:rPr lang="en-US" sz="1800" b="0" err="1"/>
              <a:t>voorkeuren</a:t>
            </a:r>
            <a:r>
              <a:rPr lang="en-US" sz="1800" b="0"/>
              <a:t> </a:t>
            </a:r>
            <a:r>
              <a:rPr lang="en-US" sz="1800" b="0" err="1"/>
              <a:t>en</a:t>
            </a:r>
            <a:r>
              <a:rPr lang="en-US" sz="1800" b="0"/>
              <a:t> </a:t>
            </a:r>
            <a:r>
              <a:rPr lang="en-US" sz="1800" b="0" err="1"/>
              <a:t>behoeften</a:t>
            </a:r>
            <a:r>
              <a:rPr lang="en-US" sz="1800" b="0"/>
              <a:t>. </a:t>
            </a:r>
            <a:r>
              <a:rPr lang="en-US" sz="1800" b="0">
                <a:ea typeface="+mn-lt"/>
                <a:cs typeface="+mn-lt"/>
              </a:rPr>
              <a:t>Het is de </a:t>
            </a:r>
            <a:r>
              <a:rPr lang="en-US" sz="1800" b="0" err="1">
                <a:ea typeface="+mn-lt"/>
                <a:cs typeface="+mn-lt"/>
              </a:rPr>
              <a:t>keuze</a:t>
            </a:r>
            <a:r>
              <a:rPr lang="en-US" sz="1800" b="0">
                <a:ea typeface="+mn-lt"/>
                <a:cs typeface="+mn-lt"/>
              </a:rPr>
              <a:t> aan de </a:t>
            </a:r>
            <a:r>
              <a:rPr lang="en-US" sz="1800" b="0" err="1">
                <a:ea typeface="+mn-lt"/>
                <a:cs typeface="+mn-lt"/>
              </a:rPr>
              <a:t>instelling</a:t>
            </a:r>
            <a:r>
              <a:rPr lang="en-US" sz="1800" b="0">
                <a:ea typeface="+mn-lt"/>
                <a:cs typeface="+mn-lt"/>
              </a:rPr>
              <a:t> of </a:t>
            </a:r>
            <a:r>
              <a:rPr lang="en-US" sz="1800" b="0" err="1">
                <a:ea typeface="+mn-lt"/>
                <a:cs typeface="+mn-lt"/>
              </a:rPr>
              <a:t>een</a:t>
            </a:r>
            <a:r>
              <a:rPr lang="en-US" sz="1800" b="0">
                <a:ea typeface="+mn-lt"/>
                <a:cs typeface="+mn-lt"/>
              </a:rPr>
              <a:t> </a:t>
            </a:r>
            <a:r>
              <a:rPr lang="en-US" sz="1800" b="0" err="1">
                <a:ea typeface="+mn-lt"/>
                <a:cs typeface="+mn-lt"/>
              </a:rPr>
              <a:t>Goed</a:t>
            </a:r>
            <a:r>
              <a:rPr lang="en-US" sz="1800" b="0">
                <a:ea typeface="+mn-lt"/>
                <a:cs typeface="+mn-lt"/>
              </a:rPr>
              <a:t> </a:t>
            </a:r>
            <a:r>
              <a:rPr lang="en-US" sz="1800" b="0" err="1">
                <a:ea typeface="+mn-lt"/>
                <a:cs typeface="+mn-lt"/>
              </a:rPr>
              <a:t>Gesprek</a:t>
            </a:r>
            <a:r>
              <a:rPr lang="en-US" sz="1800" b="0">
                <a:ea typeface="+mn-lt"/>
                <a:cs typeface="+mn-lt"/>
              </a:rPr>
              <a:t> </a:t>
            </a:r>
            <a:r>
              <a:rPr lang="en-US" sz="1800" b="0" err="1">
                <a:ea typeface="+mn-lt"/>
                <a:cs typeface="+mn-lt"/>
              </a:rPr>
              <a:t>verplicht</a:t>
            </a:r>
            <a:r>
              <a:rPr lang="en-US" sz="1800" b="0">
                <a:ea typeface="+mn-lt"/>
                <a:cs typeface="+mn-lt"/>
              </a:rPr>
              <a:t> is of </a:t>
            </a:r>
            <a:r>
              <a:rPr lang="en-US" sz="1800" b="0" err="1">
                <a:ea typeface="+mn-lt"/>
                <a:cs typeface="+mn-lt"/>
              </a:rPr>
              <a:t>niet</a:t>
            </a:r>
            <a:r>
              <a:rPr lang="en-US" sz="1800" b="0">
                <a:ea typeface="+mn-lt"/>
                <a:cs typeface="+mn-lt"/>
              </a:rPr>
              <a:t>. </a:t>
            </a:r>
          </a:p>
        </p:txBody>
      </p:sp>
      <p:sp>
        <p:nvSpPr>
          <p:cNvPr id="8" name="TextBox 26">
            <a:extLst>
              <a:ext uri="{FF2B5EF4-FFF2-40B4-BE49-F238E27FC236}">
                <a16:creationId xmlns:a16="http://schemas.microsoft.com/office/drawing/2014/main" id="{1E955CF4-B051-4CBD-BA66-E30D89DEDB60}"/>
              </a:ext>
            </a:extLst>
          </p:cNvPr>
          <p:cNvSpPr txBox="1">
            <a:spLocks/>
          </p:cNvSpPr>
          <p:nvPr/>
        </p:nvSpPr>
        <p:spPr>
          <a:xfrm>
            <a:off x="898680" y="4086368"/>
            <a:ext cx="10394640" cy="1157534"/>
          </a:xfrm>
          <a:prstGeom prst="rect">
            <a:avLst/>
          </a:prstGeom>
          <a:solidFill>
            <a:schemeClr val="bg2"/>
          </a:solidFill>
          <a:ln w="9525">
            <a:noFill/>
          </a:ln>
        </p:spPr>
        <p:txBody>
          <a:bodyPr vert="horz" wrap="square" lIns="186595" tIns="46649" rIns="46649" bIns="46649" rtlCol="0" anchor="ctr" anchorCtr="0">
            <a:noAutofit/>
          </a:bodyPr>
          <a:lstStyle>
            <a:defPPr>
              <a:defRPr lang="en-US"/>
            </a:defPPr>
            <a:lvl1pPr lvl="0" indent="0" defTabSz="895350">
              <a:buClr>
                <a:srgbClr val="003C54"/>
              </a:buClr>
              <a:buSzPct val="100000"/>
              <a:defRPr sz="2400" b="1" baseline="0">
                <a:solidFill>
                  <a:schemeClr val="accent4"/>
                </a:solidFill>
                <a:cs typeface="Arial"/>
              </a:defRPr>
            </a:lvl1pPr>
            <a:lvl2pPr marL="194400" lvl="1" indent="-190800" defTabSz="895350">
              <a:buClr>
                <a:schemeClr val="tx2"/>
              </a:buClr>
              <a:buSzPct val="125000"/>
              <a:buFont typeface="Arial" charset="0"/>
              <a:buChar char="▪"/>
              <a:defRPr baseline="0"/>
            </a:lvl2pPr>
            <a:lvl3pPr marL="446400" lvl="2" indent="-248400" defTabSz="895350">
              <a:buClr>
                <a:schemeClr val="tx2"/>
              </a:buClr>
              <a:buSzPct val="120000"/>
              <a:buFont typeface="Arial" charset="0"/>
              <a:buChar char="–"/>
              <a:defRPr baseline="0"/>
            </a:lvl3pPr>
            <a:lvl4pPr marL="615600" lvl="3" indent="-154800" defTabSz="895350">
              <a:buClr>
                <a:schemeClr val="tx2"/>
              </a:buClr>
              <a:buSzPct val="120000"/>
              <a:buFont typeface="Arial" charset="0"/>
              <a:buChar char="▫"/>
              <a:defRPr baseline="0"/>
            </a:lvl4pPr>
            <a:lvl5pPr marL="748800" lvl="4" indent="-129600" defTabSz="895350">
              <a:buClr>
                <a:schemeClr val="tx2"/>
              </a:buClr>
              <a:buSzPct val="89000"/>
              <a:buFont typeface="Arial" charset="0"/>
              <a:buChar char="-"/>
              <a:defRPr baseline="0"/>
            </a:lvl5pPr>
            <a:lvl6pPr marL="999794" indent="-173575" defTabSz="1193860" fontAlgn="base">
              <a:spcBef>
                <a:spcPct val="0"/>
              </a:spcBef>
              <a:spcAft>
                <a:spcPct val="0"/>
              </a:spcAft>
              <a:buClr>
                <a:schemeClr val="tx2"/>
              </a:buClr>
              <a:buSzPct val="89000"/>
              <a:buFont typeface="Arial" charset="0"/>
              <a:buChar char="-"/>
              <a:defRPr sz="2133" baseline="0"/>
            </a:lvl6pPr>
            <a:lvl7pPr marL="999794" indent="-173575" defTabSz="1193860" fontAlgn="base">
              <a:spcBef>
                <a:spcPct val="0"/>
              </a:spcBef>
              <a:spcAft>
                <a:spcPct val="0"/>
              </a:spcAft>
              <a:buClr>
                <a:schemeClr val="tx2"/>
              </a:buClr>
              <a:buSzPct val="89000"/>
              <a:buFont typeface="Arial" charset="0"/>
              <a:buChar char="-"/>
              <a:defRPr sz="2133" baseline="0"/>
            </a:lvl7pPr>
            <a:lvl8pPr marL="999794" indent="-173575" defTabSz="1193860" fontAlgn="base">
              <a:spcBef>
                <a:spcPct val="0"/>
              </a:spcBef>
              <a:spcAft>
                <a:spcPct val="0"/>
              </a:spcAft>
              <a:buClr>
                <a:schemeClr val="tx2"/>
              </a:buClr>
              <a:buSzPct val="89000"/>
              <a:buFont typeface="Arial" charset="0"/>
              <a:buChar char="-"/>
              <a:defRPr sz="2133" baseline="0"/>
            </a:lvl8pPr>
            <a:lvl9pPr marL="999794" indent="-173575" defTabSz="1193860" fontAlgn="base">
              <a:spcBef>
                <a:spcPct val="0"/>
              </a:spcBef>
              <a:spcAft>
                <a:spcPct val="0"/>
              </a:spcAft>
              <a:buClr>
                <a:schemeClr val="tx2"/>
              </a:buClr>
              <a:buSzPct val="89000"/>
              <a:buFont typeface="Arial" charset="0"/>
              <a:buChar char="-"/>
              <a:defRPr sz="2133" baseline="0"/>
            </a:lvl9pPr>
          </a:lstStyle>
          <a:p>
            <a:r>
              <a:rPr lang="en-US" sz="1800" i="1" u="sng"/>
              <a:t>Wie </a:t>
            </a:r>
            <a:r>
              <a:rPr lang="en-US" sz="1800" i="1" u="sng" err="1"/>
              <a:t>begeleidt</a:t>
            </a:r>
            <a:r>
              <a:rPr lang="en-US" sz="1800" i="1" u="sng"/>
              <a:t> </a:t>
            </a:r>
            <a:r>
              <a:rPr lang="en-US" sz="1800" i="1" u="sng" err="1"/>
              <a:t>dit</a:t>
            </a:r>
            <a:r>
              <a:rPr lang="en-US" sz="1800" i="1" u="sng"/>
              <a:t> </a:t>
            </a:r>
            <a:r>
              <a:rPr lang="en-US" sz="1800" i="1" u="sng" err="1"/>
              <a:t>gesprek</a:t>
            </a:r>
            <a:r>
              <a:rPr lang="en-US" sz="1800" i="1" u="sng"/>
              <a:t>?</a:t>
            </a:r>
            <a:r>
              <a:rPr lang="en-US" sz="1800"/>
              <a:t> </a:t>
            </a:r>
            <a:r>
              <a:rPr lang="en-US" sz="1800" b="0" err="1"/>
              <a:t>Dit</a:t>
            </a:r>
            <a:r>
              <a:rPr lang="en-US" sz="1800" b="0"/>
              <a:t> is </a:t>
            </a:r>
            <a:r>
              <a:rPr lang="en-US" sz="1800" b="0" err="1"/>
              <a:t>afhankelijk</a:t>
            </a:r>
            <a:r>
              <a:rPr lang="en-US" sz="1800" b="0"/>
              <a:t> van hoe de </a:t>
            </a:r>
            <a:r>
              <a:rPr lang="en-US" sz="1800" b="0" err="1"/>
              <a:t>instelling</a:t>
            </a:r>
            <a:r>
              <a:rPr lang="en-US" sz="1800" b="0"/>
              <a:t> is </a:t>
            </a:r>
            <a:r>
              <a:rPr lang="en-US" sz="1800" b="0" err="1"/>
              <a:t>opgebouwd</a:t>
            </a:r>
            <a:r>
              <a:rPr lang="en-US" sz="1800" b="0"/>
              <a:t> maar </a:t>
            </a:r>
            <a:r>
              <a:rPr lang="en-US" sz="1800" b="0" err="1"/>
              <a:t>dit</a:t>
            </a:r>
            <a:r>
              <a:rPr lang="en-US" sz="1800" b="0"/>
              <a:t> </a:t>
            </a:r>
            <a:r>
              <a:rPr lang="en-US" sz="1800" b="0" err="1"/>
              <a:t>zou</a:t>
            </a:r>
            <a:r>
              <a:rPr lang="en-US" sz="1800" b="0"/>
              <a:t> de </a:t>
            </a:r>
            <a:r>
              <a:rPr lang="nl-NL" sz="1800" b="0" err="1"/>
              <a:t>hierarchisch</a:t>
            </a:r>
            <a:r>
              <a:rPr lang="en-US" sz="1800" b="0"/>
              <a:t> </a:t>
            </a:r>
            <a:r>
              <a:rPr lang="en-US" sz="1800" b="0" err="1"/>
              <a:t>leidinggevende</a:t>
            </a:r>
            <a:r>
              <a:rPr lang="en-US" sz="1800" b="0"/>
              <a:t> </a:t>
            </a:r>
            <a:r>
              <a:rPr lang="en-US" sz="1800" b="0" err="1"/>
              <a:t>kunnen</a:t>
            </a:r>
            <a:r>
              <a:rPr lang="en-US" sz="1800" b="0"/>
              <a:t> </a:t>
            </a:r>
            <a:r>
              <a:rPr lang="en-US" sz="1800" b="0" err="1"/>
              <a:t>zijn</a:t>
            </a:r>
            <a:r>
              <a:rPr lang="en-US" sz="1800" b="0"/>
              <a:t>, of in het </a:t>
            </a:r>
            <a:r>
              <a:rPr lang="en-US" sz="1800" b="0" err="1"/>
              <a:t>geval</a:t>
            </a:r>
            <a:r>
              <a:rPr lang="en-US" sz="1800" b="0"/>
              <a:t> van </a:t>
            </a:r>
            <a:r>
              <a:rPr lang="en-US" sz="1800" b="0" err="1"/>
              <a:t>zelfsturende</a:t>
            </a:r>
            <a:r>
              <a:rPr lang="en-US" sz="1800" b="0"/>
              <a:t> teams </a:t>
            </a:r>
            <a:r>
              <a:rPr lang="en-US" sz="1800" b="0" err="1"/>
              <a:t>iemand</a:t>
            </a:r>
            <a:r>
              <a:rPr lang="en-US" sz="1800" b="0"/>
              <a:t> van </a:t>
            </a:r>
            <a:r>
              <a:rPr lang="nl-NL" sz="1800" b="0"/>
              <a:t>HR  (bijv. een HPP-specialist HR). Ook kan er een rol liggen voor een roosterexpert. </a:t>
            </a:r>
          </a:p>
        </p:txBody>
      </p:sp>
      <p:sp>
        <p:nvSpPr>
          <p:cNvPr id="10" name="TextBox 26">
            <a:extLst>
              <a:ext uri="{FF2B5EF4-FFF2-40B4-BE49-F238E27FC236}">
                <a16:creationId xmlns:a16="http://schemas.microsoft.com/office/drawing/2014/main" id="{B98A448F-C6C6-4F6C-92F2-EB1B4F0EE6DA}"/>
              </a:ext>
            </a:extLst>
          </p:cNvPr>
          <p:cNvSpPr txBox="1">
            <a:spLocks/>
          </p:cNvSpPr>
          <p:nvPr/>
        </p:nvSpPr>
        <p:spPr>
          <a:xfrm>
            <a:off x="898680" y="5386752"/>
            <a:ext cx="10394640" cy="1017299"/>
          </a:xfrm>
          <a:prstGeom prst="rect">
            <a:avLst/>
          </a:prstGeom>
          <a:solidFill>
            <a:schemeClr val="bg2"/>
          </a:solidFill>
          <a:ln w="9525">
            <a:noFill/>
          </a:ln>
        </p:spPr>
        <p:txBody>
          <a:bodyPr vert="horz" wrap="square" lIns="186595" tIns="46649" rIns="46649" bIns="46649" rtlCol="0" anchor="ctr" anchorCtr="0">
            <a:noAutofit/>
          </a:bodyPr>
          <a:lstStyle>
            <a:defPPr>
              <a:defRPr lang="en-US"/>
            </a:defPPr>
            <a:lvl1pPr lvl="0" indent="0" defTabSz="895350">
              <a:buClr>
                <a:srgbClr val="003C54"/>
              </a:buClr>
              <a:buSzPct val="100000"/>
              <a:defRPr sz="2400" b="1" baseline="0">
                <a:solidFill>
                  <a:schemeClr val="accent4"/>
                </a:solidFill>
                <a:cs typeface="Arial"/>
              </a:defRPr>
            </a:lvl1pPr>
            <a:lvl2pPr marL="194400" lvl="1" indent="-190800" defTabSz="895350">
              <a:buClr>
                <a:schemeClr val="tx2"/>
              </a:buClr>
              <a:buSzPct val="125000"/>
              <a:buFont typeface="Arial" charset="0"/>
              <a:buChar char="▪"/>
              <a:defRPr baseline="0"/>
            </a:lvl2pPr>
            <a:lvl3pPr marL="446400" lvl="2" indent="-248400" defTabSz="895350">
              <a:buClr>
                <a:schemeClr val="tx2"/>
              </a:buClr>
              <a:buSzPct val="120000"/>
              <a:buFont typeface="Arial" charset="0"/>
              <a:buChar char="–"/>
              <a:defRPr baseline="0"/>
            </a:lvl3pPr>
            <a:lvl4pPr marL="615600" lvl="3" indent="-154800" defTabSz="895350">
              <a:buClr>
                <a:schemeClr val="tx2"/>
              </a:buClr>
              <a:buSzPct val="120000"/>
              <a:buFont typeface="Arial" charset="0"/>
              <a:buChar char="▫"/>
              <a:defRPr baseline="0"/>
            </a:lvl4pPr>
            <a:lvl5pPr marL="748800" lvl="4" indent="-129600" defTabSz="895350">
              <a:buClr>
                <a:schemeClr val="tx2"/>
              </a:buClr>
              <a:buSzPct val="89000"/>
              <a:buFont typeface="Arial" charset="0"/>
              <a:buChar char="-"/>
              <a:defRPr baseline="0"/>
            </a:lvl5pPr>
            <a:lvl6pPr marL="999794" indent="-173575" defTabSz="1193860" fontAlgn="base">
              <a:spcBef>
                <a:spcPct val="0"/>
              </a:spcBef>
              <a:spcAft>
                <a:spcPct val="0"/>
              </a:spcAft>
              <a:buClr>
                <a:schemeClr val="tx2"/>
              </a:buClr>
              <a:buSzPct val="89000"/>
              <a:buFont typeface="Arial" charset="0"/>
              <a:buChar char="-"/>
              <a:defRPr sz="2133" baseline="0"/>
            </a:lvl6pPr>
            <a:lvl7pPr marL="999794" indent="-173575" defTabSz="1193860" fontAlgn="base">
              <a:spcBef>
                <a:spcPct val="0"/>
              </a:spcBef>
              <a:spcAft>
                <a:spcPct val="0"/>
              </a:spcAft>
              <a:buClr>
                <a:schemeClr val="tx2"/>
              </a:buClr>
              <a:buSzPct val="89000"/>
              <a:buFont typeface="Arial" charset="0"/>
              <a:buChar char="-"/>
              <a:defRPr sz="2133" baseline="0"/>
            </a:lvl7pPr>
            <a:lvl8pPr marL="999794" indent="-173575" defTabSz="1193860" fontAlgn="base">
              <a:spcBef>
                <a:spcPct val="0"/>
              </a:spcBef>
              <a:spcAft>
                <a:spcPct val="0"/>
              </a:spcAft>
              <a:buClr>
                <a:schemeClr val="tx2"/>
              </a:buClr>
              <a:buSzPct val="89000"/>
              <a:buFont typeface="Arial" charset="0"/>
              <a:buChar char="-"/>
              <a:defRPr sz="2133" baseline="0"/>
            </a:lvl8pPr>
            <a:lvl9pPr marL="999794" indent="-173575" defTabSz="1193860" fontAlgn="base">
              <a:spcBef>
                <a:spcPct val="0"/>
              </a:spcBef>
              <a:spcAft>
                <a:spcPct val="0"/>
              </a:spcAft>
              <a:buClr>
                <a:schemeClr val="tx2"/>
              </a:buClr>
              <a:buSzPct val="89000"/>
              <a:buFont typeface="Arial" charset="0"/>
              <a:buChar char="-"/>
              <a:defRPr sz="2133" baseline="0"/>
            </a:lvl9pPr>
          </a:lstStyle>
          <a:p>
            <a:r>
              <a:rPr lang="en-US" sz="1800" i="1" u="sng" err="1"/>
              <a:t>Hoeveel</a:t>
            </a:r>
            <a:r>
              <a:rPr lang="en-US" sz="1800" i="1" u="sng"/>
              <a:t> </a:t>
            </a:r>
            <a:r>
              <a:rPr lang="en-US" sz="1800" i="1" u="sng" err="1"/>
              <a:t>sessies</a:t>
            </a:r>
            <a:r>
              <a:rPr lang="en-US" sz="1800" u="sng"/>
              <a:t>?</a:t>
            </a:r>
            <a:r>
              <a:rPr lang="en-US" sz="1800"/>
              <a:t> </a:t>
            </a:r>
            <a:r>
              <a:rPr lang="en-US" sz="1800" b="0"/>
              <a:t>De </a:t>
            </a:r>
            <a:r>
              <a:rPr lang="en-US" sz="1800" b="0" err="1"/>
              <a:t>instelling</a:t>
            </a:r>
            <a:r>
              <a:rPr lang="en-US" sz="1800" b="0"/>
              <a:t> </a:t>
            </a:r>
            <a:r>
              <a:rPr lang="en-US" sz="1800" b="0" err="1"/>
              <a:t>bepaalt</a:t>
            </a:r>
            <a:r>
              <a:rPr lang="en-US" sz="1800" b="0"/>
              <a:t> de </a:t>
            </a:r>
            <a:r>
              <a:rPr lang="en-US" sz="1800" b="0" err="1"/>
              <a:t>ambitie</a:t>
            </a:r>
            <a:r>
              <a:rPr lang="en-US" sz="1800" b="0"/>
              <a:t>. De </a:t>
            </a:r>
            <a:r>
              <a:rPr lang="en-US" sz="1800" b="0" err="1"/>
              <a:t>bedoeling</a:t>
            </a:r>
            <a:r>
              <a:rPr lang="en-US" sz="1800" b="0"/>
              <a:t> is om in de loop van </a:t>
            </a:r>
            <a:r>
              <a:rPr lang="en-US" sz="1800" b="0" err="1"/>
              <a:t>een</a:t>
            </a:r>
            <a:r>
              <a:rPr lang="en-US" sz="1800" b="0"/>
              <a:t> </a:t>
            </a:r>
            <a:r>
              <a:rPr lang="en-US" sz="1800" b="0" err="1"/>
              <a:t>traject</a:t>
            </a:r>
            <a:r>
              <a:rPr lang="en-US" sz="1800" b="0"/>
              <a:t> </a:t>
            </a:r>
            <a:r>
              <a:rPr lang="en-US" sz="1800" b="0" err="1"/>
              <a:t>voldoende</a:t>
            </a:r>
            <a:r>
              <a:rPr lang="en-US" sz="1800" b="0"/>
              <a:t> </a:t>
            </a:r>
            <a:r>
              <a:rPr lang="en-US" sz="1800" b="0" err="1"/>
              <a:t>medewerkers</a:t>
            </a:r>
            <a:r>
              <a:rPr lang="en-US" sz="1800" b="0"/>
              <a:t> de </a:t>
            </a:r>
            <a:r>
              <a:rPr lang="en-US" sz="1800" b="0" err="1"/>
              <a:t>kans</a:t>
            </a:r>
            <a:r>
              <a:rPr lang="en-US" sz="1800" b="0"/>
              <a:t> </a:t>
            </a:r>
            <a:r>
              <a:rPr lang="en-US" sz="1800" b="0" err="1"/>
              <a:t>geven</a:t>
            </a:r>
            <a:r>
              <a:rPr lang="en-US" sz="1800" b="0"/>
              <a:t> om in </a:t>
            </a:r>
            <a:r>
              <a:rPr lang="en-US" sz="1800" b="0" err="1"/>
              <a:t>gesprek</a:t>
            </a:r>
            <a:r>
              <a:rPr lang="en-US" sz="1800" b="0"/>
              <a:t> </a:t>
            </a:r>
            <a:r>
              <a:rPr lang="en-US" sz="1800" b="0" err="1"/>
              <a:t>te</a:t>
            </a:r>
            <a:r>
              <a:rPr lang="en-US" sz="1800" b="0"/>
              <a:t> </a:t>
            </a:r>
            <a:r>
              <a:rPr lang="en-US" sz="1800" b="0" err="1"/>
              <a:t>gaan</a:t>
            </a:r>
            <a:r>
              <a:rPr lang="en-US" sz="1800" b="0"/>
              <a:t> over </a:t>
            </a:r>
            <a:r>
              <a:rPr lang="en-US" sz="1800" b="0" err="1"/>
              <a:t>hun</a:t>
            </a:r>
            <a:r>
              <a:rPr lang="en-US" sz="1800" b="0"/>
              <a:t> </a:t>
            </a:r>
            <a:r>
              <a:rPr lang="en-US" sz="1800" b="0" err="1"/>
              <a:t>persoonlijke</a:t>
            </a:r>
            <a:r>
              <a:rPr lang="en-US" sz="1800" b="0"/>
              <a:t> </a:t>
            </a:r>
            <a:r>
              <a:rPr lang="en-US" sz="1800" b="0" err="1"/>
              <a:t>situatie</a:t>
            </a:r>
            <a:r>
              <a:rPr lang="en-US" sz="1800" b="0"/>
              <a:t> en </a:t>
            </a:r>
            <a:r>
              <a:rPr lang="en-US" sz="1800" b="0" err="1"/>
              <a:t>voorkeuren</a:t>
            </a:r>
            <a:r>
              <a:rPr lang="en-US" sz="1800" b="0"/>
              <a:t>. </a:t>
            </a:r>
          </a:p>
        </p:txBody>
      </p:sp>
      <p:sp>
        <p:nvSpPr>
          <p:cNvPr id="13" name="TextBox 26">
            <a:extLst>
              <a:ext uri="{FF2B5EF4-FFF2-40B4-BE49-F238E27FC236}">
                <a16:creationId xmlns:a16="http://schemas.microsoft.com/office/drawing/2014/main" id="{3867CD67-2E6D-8245-A0E0-43A8FB5973F4}"/>
              </a:ext>
            </a:extLst>
          </p:cNvPr>
          <p:cNvSpPr txBox="1">
            <a:spLocks/>
          </p:cNvSpPr>
          <p:nvPr/>
        </p:nvSpPr>
        <p:spPr>
          <a:xfrm>
            <a:off x="898680" y="2048847"/>
            <a:ext cx="10394640" cy="1080392"/>
          </a:xfrm>
          <a:prstGeom prst="rect">
            <a:avLst/>
          </a:prstGeom>
          <a:solidFill>
            <a:schemeClr val="bg2"/>
          </a:solidFill>
          <a:ln w="9525">
            <a:noFill/>
          </a:ln>
        </p:spPr>
        <p:txBody>
          <a:bodyPr vert="horz" wrap="square" lIns="186595" tIns="46649" rIns="46649" bIns="46649" rtlCol="0" anchor="ctr" anchorCtr="0">
            <a:noAutofit/>
          </a:bodyPr>
          <a:lstStyle>
            <a:defPPr>
              <a:defRPr lang="en-US"/>
            </a:defPPr>
            <a:lvl1pPr lvl="0" indent="0" defTabSz="895350">
              <a:buClr>
                <a:srgbClr val="003C54"/>
              </a:buClr>
              <a:buSzPct val="100000"/>
              <a:defRPr sz="2400" b="1" baseline="0">
                <a:solidFill>
                  <a:schemeClr val="accent4"/>
                </a:solidFill>
                <a:cs typeface="Arial"/>
              </a:defRPr>
            </a:lvl1pPr>
            <a:lvl2pPr marL="194400" lvl="1" indent="-190800" defTabSz="895350">
              <a:buClr>
                <a:schemeClr val="tx2"/>
              </a:buClr>
              <a:buSzPct val="125000"/>
              <a:buFont typeface="Arial" charset="0"/>
              <a:buChar char="▪"/>
              <a:defRPr baseline="0"/>
            </a:lvl2pPr>
            <a:lvl3pPr marL="446400" lvl="2" indent="-248400" defTabSz="895350">
              <a:buClr>
                <a:schemeClr val="tx2"/>
              </a:buClr>
              <a:buSzPct val="120000"/>
              <a:buFont typeface="Arial" charset="0"/>
              <a:buChar char="–"/>
              <a:defRPr baseline="0"/>
            </a:lvl3pPr>
            <a:lvl4pPr marL="615600" lvl="3" indent="-154800" defTabSz="895350">
              <a:buClr>
                <a:schemeClr val="tx2"/>
              </a:buClr>
              <a:buSzPct val="120000"/>
              <a:buFont typeface="Arial" charset="0"/>
              <a:buChar char="▫"/>
              <a:defRPr baseline="0"/>
            </a:lvl4pPr>
            <a:lvl5pPr marL="748800" lvl="4" indent="-129600" defTabSz="895350">
              <a:buClr>
                <a:schemeClr val="tx2"/>
              </a:buClr>
              <a:buSzPct val="89000"/>
              <a:buFont typeface="Arial" charset="0"/>
              <a:buChar char="-"/>
              <a:defRPr baseline="0"/>
            </a:lvl5pPr>
            <a:lvl6pPr marL="999794" indent="-173575" defTabSz="1193860" fontAlgn="base">
              <a:spcBef>
                <a:spcPct val="0"/>
              </a:spcBef>
              <a:spcAft>
                <a:spcPct val="0"/>
              </a:spcAft>
              <a:buClr>
                <a:schemeClr val="tx2"/>
              </a:buClr>
              <a:buSzPct val="89000"/>
              <a:buFont typeface="Arial" charset="0"/>
              <a:buChar char="-"/>
              <a:defRPr sz="2133" baseline="0"/>
            </a:lvl6pPr>
            <a:lvl7pPr marL="999794" indent="-173575" defTabSz="1193860" fontAlgn="base">
              <a:spcBef>
                <a:spcPct val="0"/>
              </a:spcBef>
              <a:spcAft>
                <a:spcPct val="0"/>
              </a:spcAft>
              <a:buClr>
                <a:schemeClr val="tx2"/>
              </a:buClr>
              <a:buSzPct val="89000"/>
              <a:buFont typeface="Arial" charset="0"/>
              <a:buChar char="-"/>
              <a:defRPr sz="2133" baseline="0"/>
            </a:lvl7pPr>
            <a:lvl8pPr marL="999794" indent="-173575" defTabSz="1193860" fontAlgn="base">
              <a:spcBef>
                <a:spcPct val="0"/>
              </a:spcBef>
              <a:spcAft>
                <a:spcPct val="0"/>
              </a:spcAft>
              <a:buClr>
                <a:schemeClr val="tx2"/>
              </a:buClr>
              <a:buSzPct val="89000"/>
              <a:buFont typeface="Arial" charset="0"/>
              <a:buChar char="-"/>
              <a:defRPr sz="2133" baseline="0"/>
            </a:lvl8pPr>
            <a:lvl9pPr marL="999794" indent="-173575" defTabSz="1193860" fontAlgn="base">
              <a:spcBef>
                <a:spcPct val="0"/>
              </a:spcBef>
              <a:spcAft>
                <a:spcPct val="0"/>
              </a:spcAft>
              <a:buClr>
                <a:schemeClr val="tx2"/>
              </a:buClr>
              <a:buSzPct val="89000"/>
              <a:buFont typeface="Arial" charset="0"/>
              <a:buChar char="-"/>
              <a:defRPr sz="2133" baseline="0"/>
            </a:lvl9pPr>
          </a:lstStyle>
          <a:p>
            <a:r>
              <a:rPr lang="en-US" sz="1800" i="1" u="sng" err="1"/>
              <a:t>Wanneer</a:t>
            </a:r>
            <a:r>
              <a:rPr lang="en-US" sz="1800" i="1" u="sng"/>
              <a:t>? </a:t>
            </a:r>
            <a:r>
              <a:rPr lang="en-US" sz="1800" b="0"/>
              <a:t>Het Goede </a:t>
            </a:r>
            <a:r>
              <a:rPr lang="en-US" sz="1800" b="0" err="1"/>
              <a:t>Gesprek</a:t>
            </a:r>
            <a:r>
              <a:rPr lang="en-US" sz="1800" b="0"/>
              <a:t> </a:t>
            </a:r>
            <a:r>
              <a:rPr lang="en-US" sz="1800" b="0" err="1"/>
              <a:t>kan</a:t>
            </a:r>
            <a:r>
              <a:rPr lang="en-US" sz="1800" b="0"/>
              <a:t> </a:t>
            </a:r>
            <a:r>
              <a:rPr lang="en-US" sz="1800" b="0" err="1"/>
              <a:t>afhankelijk</a:t>
            </a:r>
            <a:r>
              <a:rPr lang="en-US" sz="1800" b="0"/>
              <a:t> van de </a:t>
            </a:r>
            <a:r>
              <a:rPr lang="en-US" sz="1800" b="0" err="1"/>
              <a:t>voorkeur</a:t>
            </a:r>
            <a:r>
              <a:rPr lang="en-US" sz="1800" b="0"/>
              <a:t> van de </a:t>
            </a:r>
            <a:r>
              <a:rPr lang="en-US" sz="1800" b="0" err="1"/>
              <a:t>instelling</a:t>
            </a:r>
            <a:r>
              <a:rPr lang="en-US" sz="1800" b="0"/>
              <a:t> </a:t>
            </a:r>
            <a:r>
              <a:rPr lang="en-US" sz="1800" b="0" err="1"/>
              <a:t>plaatsvinden</a:t>
            </a:r>
            <a:r>
              <a:rPr lang="en-US" sz="1800" b="0"/>
              <a:t> op </a:t>
            </a:r>
            <a:r>
              <a:rPr lang="en-US" sz="1800" b="0" err="1"/>
              <a:t>verschillende</a:t>
            </a:r>
            <a:r>
              <a:rPr lang="en-US" sz="1800" b="0"/>
              <a:t> </a:t>
            </a:r>
            <a:r>
              <a:rPr lang="en-US" sz="1800" b="0" err="1"/>
              <a:t>momenten</a:t>
            </a:r>
            <a:r>
              <a:rPr lang="en-US" sz="1800" b="0"/>
              <a:t>. </a:t>
            </a:r>
            <a:r>
              <a:rPr lang="en-US" sz="1800" b="0" err="1"/>
              <a:t>Bijv</a:t>
            </a:r>
            <a:r>
              <a:rPr lang="en-US" sz="1800" b="0"/>
              <a:t>. Op </a:t>
            </a:r>
            <a:r>
              <a:rPr lang="en-US" sz="1800" b="0" err="1"/>
              <a:t>verzoek</a:t>
            </a:r>
            <a:r>
              <a:rPr lang="en-US" sz="1800" b="0"/>
              <a:t> van de </a:t>
            </a:r>
            <a:r>
              <a:rPr lang="en-US" sz="1800" b="0" err="1"/>
              <a:t>medewerkers</a:t>
            </a:r>
            <a:r>
              <a:rPr lang="en-US" sz="1800" b="0"/>
              <a:t> die </a:t>
            </a:r>
            <a:r>
              <a:rPr lang="en-US" sz="1800" b="0" err="1"/>
              <a:t>een</a:t>
            </a:r>
            <a:r>
              <a:rPr lang="en-US" sz="1800" b="0"/>
              <a:t> </a:t>
            </a:r>
            <a:r>
              <a:rPr lang="en-US" sz="1800" b="0" err="1"/>
              <a:t>dialoogessie</a:t>
            </a:r>
            <a:r>
              <a:rPr lang="en-US" sz="1800" b="0"/>
              <a:t> </a:t>
            </a:r>
            <a:r>
              <a:rPr lang="en-US" sz="1800" b="0" err="1"/>
              <a:t>hebben</a:t>
            </a:r>
            <a:r>
              <a:rPr lang="en-US" sz="1800" b="0"/>
              <a:t> </a:t>
            </a:r>
            <a:r>
              <a:rPr lang="en-US" sz="1800" b="0" err="1"/>
              <a:t>gehad</a:t>
            </a:r>
            <a:r>
              <a:rPr lang="en-US" sz="1800" b="0"/>
              <a:t> of tot de </a:t>
            </a:r>
            <a:r>
              <a:rPr lang="en-US" sz="1800" b="0" err="1"/>
              <a:t>potentiegroep</a:t>
            </a:r>
            <a:r>
              <a:rPr lang="en-US" sz="1800" b="0"/>
              <a:t> </a:t>
            </a:r>
            <a:r>
              <a:rPr lang="en-US" sz="1800" b="0" err="1"/>
              <a:t>behoren</a:t>
            </a:r>
            <a:r>
              <a:rPr lang="en-US" sz="1800" b="0"/>
              <a:t> </a:t>
            </a:r>
            <a:r>
              <a:rPr lang="en-US" sz="1800" b="0" err="1"/>
              <a:t>en</a:t>
            </a:r>
            <a:r>
              <a:rPr lang="en-US" sz="1800" b="0"/>
              <a:t> </a:t>
            </a:r>
            <a:r>
              <a:rPr lang="en-US" sz="1800" b="0" err="1"/>
              <a:t>bijv</a:t>
            </a:r>
            <a:r>
              <a:rPr lang="en-US" sz="1800" b="0"/>
              <a:t>. </a:t>
            </a:r>
            <a:r>
              <a:rPr lang="en-US" sz="1800" b="0" err="1"/>
              <a:t>als</a:t>
            </a:r>
            <a:r>
              <a:rPr lang="en-US" sz="1800" b="0"/>
              <a:t> vast </a:t>
            </a:r>
            <a:r>
              <a:rPr lang="en-US" sz="1800" b="0" err="1"/>
              <a:t>onderdeel</a:t>
            </a:r>
            <a:r>
              <a:rPr lang="en-US" sz="1800" b="0"/>
              <a:t> van het </a:t>
            </a:r>
            <a:r>
              <a:rPr lang="en-US" sz="1800" b="0" err="1"/>
              <a:t>inwerkproces</a:t>
            </a:r>
            <a:r>
              <a:rPr lang="en-US" sz="1800" b="0"/>
              <a:t> van </a:t>
            </a:r>
            <a:r>
              <a:rPr lang="en-US" sz="1800" b="0" err="1"/>
              <a:t>nieuwe</a:t>
            </a:r>
            <a:r>
              <a:rPr lang="en-US" sz="1800" b="0"/>
              <a:t> </a:t>
            </a:r>
            <a:r>
              <a:rPr lang="en-US" sz="1800" b="0" err="1"/>
              <a:t>medewerkers</a:t>
            </a:r>
            <a:r>
              <a:rPr lang="en-US" sz="1800"/>
              <a:t>. </a:t>
            </a:r>
          </a:p>
        </p:txBody>
      </p:sp>
      <p:sp>
        <p:nvSpPr>
          <p:cNvPr id="9" name="Rechthoek 8">
            <a:extLst>
              <a:ext uri="{FF2B5EF4-FFF2-40B4-BE49-F238E27FC236}">
                <a16:creationId xmlns:a16="http://schemas.microsoft.com/office/drawing/2014/main" id="{9C7C8A93-0FAC-A44B-AC10-441CFA9DDBC7}"/>
              </a:ext>
            </a:extLst>
          </p:cNvPr>
          <p:cNvSpPr/>
          <p:nvPr/>
        </p:nvSpPr>
        <p:spPr>
          <a:xfrm>
            <a:off x="-1648854" y="119497"/>
            <a:ext cx="1903751" cy="2743623"/>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b="1" err="1">
                <a:solidFill>
                  <a:schemeClr val="tx1"/>
                </a:solidFill>
              </a:rPr>
              <a:t>To</a:t>
            </a:r>
            <a:r>
              <a:rPr lang="nl-NL" sz="1600" b="1">
                <a:solidFill>
                  <a:schemeClr val="tx1"/>
                </a:solidFill>
              </a:rPr>
              <a:t> do om deze slide instelling specifiek te maken:</a:t>
            </a:r>
          </a:p>
          <a:p>
            <a:pPr algn="ctr"/>
            <a:endParaRPr lang="nl-NL" sz="1600">
              <a:solidFill>
                <a:schemeClr val="tx1"/>
              </a:solidFill>
            </a:endParaRPr>
          </a:p>
          <a:p>
            <a:pPr algn="ctr"/>
            <a:r>
              <a:rPr lang="nl-NL" sz="1600">
                <a:solidFill>
                  <a:schemeClr val="tx1"/>
                </a:solidFill>
              </a:rPr>
              <a:t>- Keuzes hierin maken samen met de instelling beslissen en aanpassen</a:t>
            </a:r>
          </a:p>
        </p:txBody>
      </p:sp>
    </p:spTree>
    <p:extLst>
      <p:ext uri="{BB962C8B-B14F-4D97-AF65-F5344CB8AC3E}">
        <p14:creationId xmlns:p14="http://schemas.microsoft.com/office/powerpoint/2010/main" val="1967362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Tekstvak 68">
            <a:extLst>
              <a:ext uri="{FF2B5EF4-FFF2-40B4-BE49-F238E27FC236}">
                <a16:creationId xmlns:a16="http://schemas.microsoft.com/office/drawing/2014/main" id="{AFD45CA4-701A-475D-B277-1AA6C10B9EB5}"/>
              </a:ext>
            </a:extLst>
          </p:cNvPr>
          <p:cNvSpPr txBox="1"/>
          <p:nvPr/>
        </p:nvSpPr>
        <p:spPr>
          <a:xfrm>
            <a:off x="7858278" y="3117106"/>
            <a:ext cx="1903728" cy="10772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1" u="none" strike="noStrike" kern="1200" cap="none" spc="0" normalizeH="0" baseline="0" noProof="0">
                <a:ln>
                  <a:noFill/>
                </a:ln>
                <a:solidFill>
                  <a:srgbClr val="005777"/>
                </a:solidFill>
                <a:effectLst/>
                <a:uLnTx/>
                <a:uFillTx/>
                <a:latin typeface="Arial"/>
                <a:ea typeface="ＭＳ Ｐゴシック"/>
                <a:cs typeface="+mn-cs"/>
              </a:rPr>
              <a:t>“Ik word uitgenodigd om, als ik dat wil, eens te komen praten over meer uren en wat er mogelijk is”</a:t>
            </a:r>
          </a:p>
        </p:txBody>
      </p:sp>
      <p:sp>
        <p:nvSpPr>
          <p:cNvPr id="95" name="Rounded Rectangle 10">
            <a:extLst>
              <a:ext uri="{FF2B5EF4-FFF2-40B4-BE49-F238E27FC236}">
                <a16:creationId xmlns:a16="http://schemas.microsoft.com/office/drawing/2014/main" id="{1622689A-FDC2-404C-AC07-248196B9A692}"/>
              </a:ext>
            </a:extLst>
          </p:cNvPr>
          <p:cNvSpPr/>
          <p:nvPr/>
        </p:nvSpPr>
        <p:spPr>
          <a:xfrm>
            <a:off x="9411404" y="3104504"/>
            <a:ext cx="2656716" cy="2097464"/>
          </a:xfrm>
          <a:prstGeom prst="roundRect">
            <a:avLst/>
          </a:prstGeom>
          <a:solidFill>
            <a:srgbClr val="FFFFFF">
              <a:alpha val="60000"/>
            </a:srgb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solidFill>
                <a:schemeClr val="tx1"/>
              </a:solidFill>
            </a:endParaRPr>
          </a:p>
        </p:txBody>
      </p:sp>
      <p:sp>
        <p:nvSpPr>
          <p:cNvPr id="2" name="Titel 1">
            <a:extLst>
              <a:ext uri="{FF2B5EF4-FFF2-40B4-BE49-F238E27FC236}">
                <a16:creationId xmlns:a16="http://schemas.microsoft.com/office/drawing/2014/main" id="{D8F2AB55-6124-454B-8C8D-18F015559ADC}"/>
              </a:ext>
            </a:extLst>
          </p:cNvPr>
          <p:cNvSpPr>
            <a:spLocks noGrp="1"/>
          </p:cNvSpPr>
          <p:nvPr>
            <p:ph type="title"/>
          </p:nvPr>
        </p:nvSpPr>
        <p:spPr/>
        <p:txBody>
          <a:bodyPr/>
          <a:lstStyle/>
          <a:p>
            <a:r>
              <a:rPr lang="nl-NL"/>
              <a:t>Het Goede gesprek </a:t>
            </a:r>
            <a:r>
              <a:rPr lang="nl-NL" sz="2800"/>
              <a:t>vormt een belangrijk onderdeel van het HPP traject waar medewerkers doorheen gaan</a:t>
            </a:r>
          </a:p>
        </p:txBody>
      </p:sp>
      <p:sp>
        <p:nvSpPr>
          <p:cNvPr id="3" name="Freeform: Shape 522">
            <a:extLst>
              <a:ext uri="{FF2B5EF4-FFF2-40B4-BE49-F238E27FC236}">
                <a16:creationId xmlns:a16="http://schemas.microsoft.com/office/drawing/2014/main" id="{638598F6-3A3E-4365-847C-710E2D5DE270}"/>
              </a:ext>
            </a:extLst>
          </p:cNvPr>
          <p:cNvSpPr/>
          <p:nvPr>
            <p:custDataLst>
              <p:tags r:id="rId1"/>
            </p:custDataLst>
          </p:nvPr>
        </p:nvSpPr>
        <p:spPr>
          <a:xfrm>
            <a:off x="556670" y="1245646"/>
            <a:ext cx="3771051" cy="49653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2235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2235 w 1828800"/>
              <a:gd name="connsiteY1" fmla="*/ 0 h 914400"/>
              <a:gd name="connsiteX2" fmla="*/ 1828800 w 1828800"/>
              <a:gd name="connsiteY2" fmla="*/ 457200 h 914400"/>
              <a:gd name="connsiteX3" fmla="*/ 1732235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2235 w 1828800"/>
              <a:gd name="connsiteY1" fmla="*/ 0 h 914400"/>
              <a:gd name="connsiteX2" fmla="*/ 1828800 w 1828800"/>
              <a:gd name="connsiteY2" fmla="*/ 457200 h 914400"/>
              <a:gd name="connsiteX3" fmla="*/ 1732235 w 1828800"/>
              <a:gd name="connsiteY3" fmla="*/ 914400 h 914400"/>
              <a:gd name="connsiteX4" fmla="*/ 0 w 1828800"/>
              <a:gd name="connsiteY4" fmla="*/ 914400 h 914400"/>
              <a:gd name="connsiteX5" fmla="*/ 96565 w 1828800"/>
              <a:gd name="connsiteY5" fmla="*/ 457200 h 914400"/>
              <a:gd name="connsiteX0" fmla="*/ 0 w 1828800"/>
              <a:gd name="connsiteY0" fmla="*/ 0 h 914400"/>
              <a:gd name="connsiteX1" fmla="*/ 1732235 w 1828800"/>
              <a:gd name="connsiteY1" fmla="*/ 0 h 914400"/>
              <a:gd name="connsiteX2" fmla="*/ 1828800 w 1828800"/>
              <a:gd name="connsiteY2" fmla="*/ 457200 h 914400"/>
              <a:gd name="connsiteX3" fmla="*/ 1732235 w 1828800"/>
              <a:gd name="connsiteY3" fmla="*/ 914400 h 914400"/>
              <a:gd name="connsiteX4" fmla="*/ 0 w 1828800"/>
              <a:gd name="connsiteY4" fmla="*/ 914400 h 914400"/>
              <a:gd name="connsiteX5" fmla="*/ 96565 w 1828800"/>
              <a:gd name="connsiteY5" fmla="*/ 457200 h 914400"/>
              <a:gd name="connsiteX0" fmla="*/ 0 w 1828800"/>
              <a:gd name="connsiteY0" fmla="*/ 0 h 914400"/>
              <a:gd name="connsiteX1" fmla="*/ 1732235 w 1828800"/>
              <a:gd name="connsiteY1" fmla="*/ 0 h 914400"/>
              <a:gd name="connsiteX2" fmla="*/ 1828800 w 1828800"/>
              <a:gd name="connsiteY2" fmla="*/ 457200 h 914400"/>
              <a:gd name="connsiteX3" fmla="*/ 1732235 w 1828800"/>
              <a:gd name="connsiteY3" fmla="*/ 914400 h 914400"/>
              <a:gd name="connsiteX4" fmla="*/ 0 w 1828800"/>
              <a:gd name="connsiteY4" fmla="*/ 914400 h 914400"/>
              <a:gd name="connsiteX5" fmla="*/ 96565 w 1828800"/>
              <a:gd name="connsiteY5" fmla="*/ 457200 h 914400"/>
              <a:gd name="connsiteX0" fmla="*/ 0 w 1828800"/>
              <a:gd name="connsiteY0" fmla="*/ 0 h 914400"/>
              <a:gd name="connsiteX1" fmla="*/ 1732235 w 1828800"/>
              <a:gd name="connsiteY1" fmla="*/ 0 h 914400"/>
              <a:gd name="connsiteX2" fmla="*/ 1828800 w 1828800"/>
              <a:gd name="connsiteY2" fmla="*/ 457200 h 914400"/>
              <a:gd name="connsiteX3" fmla="*/ 1732235 w 1828800"/>
              <a:gd name="connsiteY3" fmla="*/ 914400 h 914400"/>
              <a:gd name="connsiteX4" fmla="*/ 0 w 1828800"/>
              <a:gd name="connsiteY4" fmla="*/ 914400 h 914400"/>
              <a:gd name="connsiteX5" fmla="*/ 80918 w 1828800"/>
              <a:gd name="connsiteY5" fmla="*/ 457201 h 914400"/>
              <a:gd name="connsiteX0" fmla="*/ 0 w 1828800"/>
              <a:gd name="connsiteY0" fmla="*/ 0 h 914400"/>
              <a:gd name="connsiteX1" fmla="*/ 1747882 w 1828800"/>
              <a:gd name="connsiteY1" fmla="*/ 0 h 914400"/>
              <a:gd name="connsiteX2" fmla="*/ 1828800 w 1828800"/>
              <a:gd name="connsiteY2" fmla="*/ 457200 h 914400"/>
              <a:gd name="connsiteX3" fmla="*/ 1732235 w 1828800"/>
              <a:gd name="connsiteY3" fmla="*/ 914400 h 914400"/>
              <a:gd name="connsiteX4" fmla="*/ 0 w 1828800"/>
              <a:gd name="connsiteY4" fmla="*/ 914400 h 914400"/>
              <a:gd name="connsiteX5" fmla="*/ 80918 w 1828800"/>
              <a:gd name="connsiteY5" fmla="*/ 457201 h 914400"/>
              <a:gd name="connsiteX0" fmla="*/ 0 w 1828800"/>
              <a:gd name="connsiteY0" fmla="*/ 0 h 914400"/>
              <a:gd name="connsiteX1" fmla="*/ 1747882 w 1828800"/>
              <a:gd name="connsiteY1" fmla="*/ 0 h 914400"/>
              <a:gd name="connsiteX2" fmla="*/ 1828800 w 1828800"/>
              <a:gd name="connsiteY2" fmla="*/ 457200 h 914400"/>
              <a:gd name="connsiteX3" fmla="*/ 1747882 w 1828800"/>
              <a:gd name="connsiteY3" fmla="*/ 914400 h 914400"/>
              <a:gd name="connsiteX4" fmla="*/ 0 w 1828800"/>
              <a:gd name="connsiteY4" fmla="*/ 914400 h 914400"/>
              <a:gd name="connsiteX5" fmla="*/ 80918 w 1828800"/>
              <a:gd name="connsiteY5" fmla="*/ 457201 h 914400"/>
              <a:gd name="connsiteX0" fmla="*/ 0 w 1828800"/>
              <a:gd name="connsiteY0" fmla="*/ 0 h 914400"/>
              <a:gd name="connsiteX1" fmla="*/ 1747882 w 1828800"/>
              <a:gd name="connsiteY1" fmla="*/ 0 h 914400"/>
              <a:gd name="connsiteX2" fmla="*/ 1828800 w 1828800"/>
              <a:gd name="connsiteY2" fmla="*/ 457200 h 914400"/>
              <a:gd name="connsiteX3" fmla="*/ 174788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7882 w 1828800"/>
              <a:gd name="connsiteY1" fmla="*/ 0 h 914400"/>
              <a:gd name="connsiteX2" fmla="*/ 1828800 w 1828800"/>
              <a:gd name="connsiteY2" fmla="*/ 457200 h 914400"/>
              <a:gd name="connsiteX3" fmla="*/ 174788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7882 w 1828800"/>
              <a:gd name="connsiteY1" fmla="*/ 0 h 914400"/>
              <a:gd name="connsiteX2" fmla="*/ 1828800 w 1828800"/>
              <a:gd name="connsiteY2" fmla="*/ 457200 h 914400"/>
              <a:gd name="connsiteX3" fmla="*/ 174788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7882 w 1828800"/>
              <a:gd name="connsiteY1" fmla="*/ 0 h 914400"/>
              <a:gd name="connsiteX2" fmla="*/ 1828800 w 1828800"/>
              <a:gd name="connsiteY2" fmla="*/ 457200 h 914400"/>
              <a:gd name="connsiteX3" fmla="*/ 1747882 w 1828800"/>
              <a:gd name="connsiteY3" fmla="*/ 914400 h 914400"/>
              <a:gd name="connsiteX4" fmla="*/ 0 w 1828800"/>
              <a:gd name="connsiteY4" fmla="*/ 914400 h 914400"/>
              <a:gd name="connsiteX5" fmla="*/ 80918 w 1828800"/>
              <a:gd name="connsiteY5" fmla="*/ 457201 h 914400"/>
              <a:gd name="connsiteX0" fmla="*/ 0 w 1828800"/>
              <a:gd name="connsiteY0" fmla="*/ 0 h 914400"/>
              <a:gd name="connsiteX1" fmla="*/ 1747882 w 1828800"/>
              <a:gd name="connsiteY1" fmla="*/ 0 h 914400"/>
              <a:gd name="connsiteX2" fmla="*/ 1828800 w 1828800"/>
              <a:gd name="connsiteY2" fmla="*/ 457200 h 914400"/>
              <a:gd name="connsiteX3" fmla="*/ 1747882 w 1828800"/>
              <a:gd name="connsiteY3" fmla="*/ 914400 h 914400"/>
              <a:gd name="connsiteX4" fmla="*/ 0 w 1828800"/>
              <a:gd name="connsiteY4" fmla="*/ 914400 h 914400"/>
              <a:gd name="connsiteX5" fmla="*/ 80918 w 1828800"/>
              <a:gd name="connsiteY5" fmla="*/ 457201 h 914400"/>
              <a:gd name="connsiteX0" fmla="*/ 0 w 1828800"/>
              <a:gd name="connsiteY0" fmla="*/ 0 h 914400"/>
              <a:gd name="connsiteX1" fmla="*/ 1747882 w 1828800"/>
              <a:gd name="connsiteY1" fmla="*/ 0 h 914400"/>
              <a:gd name="connsiteX2" fmla="*/ 1828800 w 1828800"/>
              <a:gd name="connsiteY2" fmla="*/ 457200 h 914400"/>
              <a:gd name="connsiteX3" fmla="*/ 1747882 w 1828800"/>
              <a:gd name="connsiteY3" fmla="*/ 914400 h 914400"/>
              <a:gd name="connsiteX4" fmla="*/ 0 w 1828800"/>
              <a:gd name="connsiteY4" fmla="*/ 914400 h 914400"/>
              <a:gd name="connsiteX5" fmla="*/ 80918 w 1828800"/>
              <a:gd name="connsiteY5" fmla="*/ 457201 h 914400"/>
              <a:gd name="connsiteX0" fmla="*/ 0 w 1828800"/>
              <a:gd name="connsiteY0" fmla="*/ 0 h 914400"/>
              <a:gd name="connsiteX1" fmla="*/ 1747882 w 1828800"/>
              <a:gd name="connsiteY1" fmla="*/ 0 h 914400"/>
              <a:gd name="connsiteX2" fmla="*/ 1828800 w 1828800"/>
              <a:gd name="connsiteY2" fmla="*/ 457200 h 914400"/>
              <a:gd name="connsiteX3" fmla="*/ 1747882 w 1828800"/>
              <a:gd name="connsiteY3" fmla="*/ 914400 h 914400"/>
              <a:gd name="connsiteX4" fmla="*/ 0 w 1828800"/>
              <a:gd name="connsiteY4" fmla="*/ 914400 h 914400"/>
              <a:gd name="connsiteX5" fmla="*/ 90282 w 1828800"/>
              <a:gd name="connsiteY5" fmla="*/ 457201 h 914400"/>
              <a:gd name="connsiteX0" fmla="*/ 0 w 1828800"/>
              <a:gd name="connsiteY0" fmla="*/ 0 h 914400"/>
              <a:gd name="connsiteX1" fmla="*/ 1738518 w 1828800"/>
              <a:gd name="connsiteY1" fmla="*/ 0 h 914400"/>
              <a:gd name="connsiteX2" fmla="*/ 1828800 w 1828800"/>
              <a:gd name="connsiteY2" fmla="*/ 457200 h 914400"/>
              <a:gd name="connsiteX3" fmla="*/ 1747882 w 1828800"/>
              <a:gd name="connsiteY3" fmla="*/ 914400 h 914400"/>
              <a:gd name="connsiteX4" fmla="*/ 0 w 1828800"/>
              <a:gd name="connsiteY4" fmla="*/ 914400 h 914400"/>
              <a:gd name="connsiteX5" fmla="*/ 90282 w 1828800"/>
              <a:gd name="connsiteY5" fmla="*/ 457201 h 914400"/>
              <a:gd name="connsiteX0" fmla="*/ 0 w 1828800"/>
              <a:gd name="connsiteY0" fmla="*/ 0 h 914400"/>
              <a:gd name="connsiteX1" fmla="*/ 1738518 w 1828800"/>
              <a:gd name="connsiteY1" fmla="*/ 0 h 914400"/>
              <a:gd name="connsiteX2" fmla="*/ 1828800 w 1828800"/>
              <a:gd name="connsiteY2" fmla="*/ 457200 h 914400"/>
              <a:gd name="connsiteX3" fmla="*/ 1738518 w 1828800"/>
              <a:gd name="connsiteY3" fmla="*/ 914400 h 914400"/>
              <a:gd name="connsiteX4" fmla="*/ 0 w 1828800"/>
              <a:gd name="connsiteY4" fmla="*/ 914400 h 914400"/>
              <a:gd name="connsiteX5" fmla="*/ 90282 w 1828800"/>
              <a:gd name="connsiteY5" fmla="*/ 457201 h 914400"/>
              <a:gd name="connsiteX0" fmla="*/ 0 w 1828800"/>
              <a:gd name="connsiteY0" fmla="*/ 0 h 914400"/>
              <a:gd name="connsiteX1" fmla="*/ 1738518 w 1828800"/>
              <a:gd name="connsiteY1" fmla="*/ 0 h 914400"/>
              <a:gd name="connsiteX2" fmla="*/ 1828800 w 1828800"/>
              <a:gd name="connsiteY2" fmla="*/ 457200 h 914400"/>
              <a:gd name="connsiteX3" fmla="*/ 173851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8518 w 1828800"/>
              <a:gd name="connsiteY1" fmla="*/ 0 h 914400"/>
              <a:gd name="connsiteX2" fmla="*/ 1828800 w 1828800"/>
              <a:gd name="connsiteY2" fmla="*/ 457200 h 914400"/>
              <a:gd name="connsiteX3" fmla="*/ 173851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8518 w 1828800"/>
              <a:gd name="connsiteY1" fmla="*/ 0 h 914400"/>
              <a:gd name="connsiteX2" fmla="*/ 1828800 w 1828800"/>
              <a:gd name="connsiteY2" fmla="*/ 457200 h 914400"/>
              <a:gd name="connsiteX3" fmla="*/ 173851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38518 w 1828800"/>
              <a:gd name="connsiteY1" fmla="*/ 0 h 914400"/>
              <a:gd name="connsiteX2" fmla="*/ 1828800 w 1828800"/>
              <a:gd name="connsiteY2" fmla="*/ 457200 h 914400"/>
              <a:gd name="connsiteX3" fmla="*/ 1738518 w 1828800"/>
              <a:gd name="connsiteY3" fmla="*/ 914400 h 914400"/>
              <a:gd name="connsiteX4" fmla="*/ 0 w 1828800"/>
              <a:gd name="connsiteY4" fmla="*/ 914400 h 914400"/>
              <a:gd name="connsiteX5" fmla="*/ 90282 w 1828800"/>
              <a:gd name="connsiteY5" fmla="*/ 457201 h 914400"/>
              <a:gd name="connsiteX0" fmla="*/ 0 w 1828800"/>
              <a:gd name="connsiteY0" fmla="*/ 0 h 914400"/>
              <a:gd name="connsiteX1" fmla="*/ 1738518 w 1828800"/>
              <a:gd name="connsiteY1" fmla="*/ 0 h 914400"/>
              <a:gd name="connsiteX2" fmla="*/ 1828800 w 1828800"/>
              <a:gd name="connsiteY2" fmla="*/ 457200 h 914400"/>
              <a:gd name="connsiteX3" fmla="*/ 1738518 w 1828800"/>
              <a:gd name="connsiteY3" fmla="*/ 914400 h 914400"/>
              <a:gd name="connsiteX4" fmla="*/ 0 w 1828800"/>
              <a:gd name="connsiteY4" fmla="*/ 914400 h 914400"/>
              <a:gd name="connsiteX5" fmla="*/ 90282 w 1828800"/>
              <a:gd name="connsiteY5" fmla="*/ 457201 h 914400"/>
              <a:gd name="connsiteX0" fmla="*/ 0 w 1828800"/>
              <a:gd name="connsiteY0" fmla="*/ 0 h 914400"/>
              <a:gd name="connsiteX1" fmla="*/ 1738518 w 1828800"/>
              <a:gd name="connsiteY1" fmla="*/ 0 h 914400"/>
              <a:gd name="connsiteX2" fmla="*/ 1828800 w 1828800"/>
              <a:gd name="connsiteY2" fmla="*/ 457200 h 914400"/>
              <a:gd name="connsiteX3" fmla="*/ 1738518 w 1828800"/>
              <a:gd name="connsiteY3" fmla="*/ 914400 h 914400"/>
              <a:gd name="connsiteX4" fmla="*/ 0 w 1828800"/>
              <a:gd name="connsiteY4" fmla="*/ 914400 h 914400"/>
              <a:gd name="connsiteX5" fmla="*/ 90282 w 1828800"/>
              <a:gd name="connsiteY5" fmla="*/ 457201 h 914400"/>
              <a:gd name="connsiteX0" fmla="*/ 0 w 1828800"/>
              <a:gd name="connsiteY0" fmla="*/ 0 h 914400"/>
              <a:gd name="connsiteX1" fmla="*/ 1738518 w 1828800"/>
              <a:gd name="connsiteY1" fmla="*/ 0 h 914400"/>
              <a:gd name="connsiteX2" fmla="*/ 1828800 w 1828800"/>
              <a:gd name="connsiteY2" fmla="*/ 457200 h 914400"/>
              <a:gd name="connsiteX3" fmla="*/ 1738518 w 1828800"/>
              <a:gd name="connsiteY3" fmla="*/ 914400 h 914400"/>
              <a:gd name="connsiteX4" fmla="*/ 0 w 1828800"/>
              <a:gd name="connsiteY4" fmla="*/ 914400 h 914400"/>
              <a:gd name="connsiteX5" fmla="*/ 77197 w 1828800"/>
              <a:gd name="connsiteY5" fmla="*/ 457201 h 914400"/>
              <a:gd name="connsiteX0" fmla="*/ 0 w 1828800"/>
              <a:gd name="connsiteY0" fmla="*/ 0 h 914400"/>
              <a:gd name="connsiteX1" fmla="*/ 1751604 w 1828800"/>
              <a:gd name="connsiteY1" fmla="*/ 0 h 914400"/>
              <a:gd name="connsiteX2" fmla="*/ 1828800 w 1828800"/>
              <a:gd name="connsiteY2" fmla="*/ 457200 h 914400"/>
              <a:gd name="connsiteX3" fmla="*/ 1738518 w 1828800"/>
              <a:gd name="connsiteY3" fmla="*/ 914400 h 914400"/>
              <a:gd name="connsiteX4" fmla="*/ 0 w 1828800"/>
              <a:gd name="connsiteY4" fmla="*/ 914400 h 914400"/>
              <a:gd name="connsiteX5" fmla="*/ 77197 w 1828800"/>
              <a:gd name="connsiteY5" fmla="*/ 457201 h 914400"/>
              <a:gd name="connsiteX0" fmla="*/ 0 w 1828800"/>
              <a:gd name="connsiteY0" fmla="*/ 0 h 914400"/>
              <a:gd name="connsiteX1" fmla="*/ 1751604 w 1828800"/>
              <a:gd name="connsiteY1" fmla="*/ 0 h 914400"/>
              <a:gd name="connsiteX2" fmla="*/ 1828800 w 1828800"/>
              <a:gd name="connsiteY2" fmla="*/ 457200 h 914400"/>
              <a:gd name="connsiteX3" fmla="*/ 1751604 w 1828800"/>
              <a:gd name="connsiteY3" fmla="*/ 914400 h 914400"/>
              <a:gd name="connsiteX4" fmla="*/ 0 w 1828800"/>
              <a:gd name="connsiteY4" fmla="*/ 914400 h 914400"/>
              <a:gd name="connsiteX5" fmla="*/ 77197 w 1828800"/>
              <a:gd name="connsiteY5" fmla="*/ 457201 h 914400"/>
              <a:gd name="connsiteX0" fmla="*/ 0 w 1828800"/>
              <a:gd name="connsiteY0" fmla="*/ 0 h 914400"/>
              <a:gd name="connsiteX1" fmla="*/ 1751604 w 1828800"/>
              <a:gd name="connsiteY1" fmla="*/ 0 h 914400"/>
              <a:gd name="connsiteX2" fmla="*/ 1828800 w 1828800"/>
              <a:gd name="connsiteY2" fmla="*/ 457200 h 914400"/>
              <a:gd name="connsiteX3" fmla="*/ 1751604 w 1828800"/>
              <a:gd name="connsiteY3" fmla="*/ 914400 h 914400"/>
              <a:gd name="connsiteX4" fmla="*/ 0 w 1828800"/>
              <a:gd name="connsiteY4" fmla="*/ 914400 h 914400"/>
              <a:gd name="connsiteX5" fmla="*/ 69776 w 1828800"/>
              <a:gd name="connsiteY5" fmla="*/ 457201 h 914400"/>
              <a:gd name="connsiteX0" fmla="*/ 0 w 1828800"/>
              <a:gd name="connsiteY0" fmla="*/ 0 h 914400"/>
              <a:gd name="connsiteX1" fmla="*/ 1759024 w 1828800"/>
              <a:gd name="connsiteY1" fmla="*/ 0 h 914400"/>
              <a:gd name="connsiteX2" fmla="*/ 1828800 w 1828800"/>
              <a:gd name="connsiteY2" fmla="*/ 457200 h 914400"/>
              <a:gd name="connsiteX3" fmla="*/ 1751604 w 1828800"/>
              <a:gd name="connsiteY3" fmla="*/ 914400 h 914400"/>
              <a:gd name="connsiteX4" fmla="*/ 0 w 1828800"/>
              <a:gd name="connsiteY4" fmla="*/ 914400 h 914400"/>
              <a:gd name="connsiteX5" fmla="*/ 69776 w 1828800"/>
              <a:gd name="connsiteY5" fmla="*/ 457201 h 914400"/>
              <a:gd name="connsiteX0" fmla="*/ 0 w 1828800"/>
              <a:gd name="connsiteY0" fmla="*/ 0 h 914400"/>
              <a:gd name="connsiteX1" fmla="*/ 1759024 w 1828800"/>
              <a:gd name="connsiteY1" fmla="*/ 0 h 914400"/>
              <a:gd name="connsiteX2" fmla="*/ 1828800 w 1828800"/>
              <a:gd name="connsiteY2" fmla="*/ 457200 h 914400"/>
              <a:gd name="connsiteX3" fmla="*/ 1759024 w 1828800"/>
              <a:gd name="connsiteY3" fmla="*/ 914400 h 914400"/>
              <a:gd name="connsiteX4" fmla="*/ 0 w 1828800"/>
              <a:gd name="connsiteY4" fmla="*/ 914400 h 914400"/>
              <a:gd name="connsiteX5" fmla="*/ 69776 w 1828800"/>
              <a:gd name="connsiteY5" fmla="*/ 457201 h 914400"/>
              <a:gd name="connsiteX0" fmla="*/ 0 w 1828800"/>
              <a:gd name="connsiteY0" fmla="*/ 0 h 914400"/>
              <a:gd name="connsiteX1" fmla="*/ 1759024 w 1828800"/>
              <a:gd name="connsiteY1" fmla="*/ 0 h 914400"/>
              <a:gd name="connsiteX2" fmla="*/ 1828800 w 1828800"/>
              <a:gd name="connsiteY2" fmla="*/ 457200 h 914400"/>
              <a:gd name="connsiteX3" fmla="*/ 1759024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64278 w 1828800"/>
              <a:gd name="connsiteY1" fmla="*/ 0 h 914400"/>
              <a:gd name="connsiteX2" fmla="*/ 1828800 w 1828800"/>
              <a:gd name="connsiteY2" fmla="*/ 457200 h 914400"/>
              <a:gd name="connsiteX3" fmla="*/ 1759024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64278 w 1828800"/>
              <a:gd name="connsiteY1" fmla="*/ 0 h 914400"/>
              <a:gd name="connsiteX2" fmla="*/ 1828800 w 1828800"/>
              <a:gd name="connsiteY2" fmla="*/ 457200 h 914400"/>
              <a:gd name="connsiteX3" fmla="*/ 176427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64278 w 1828800"/>
              <a:gd name="connsiteY1" fmla="*/ 0 h 914400"/>
              <a:gd name="connsiteX2" fmla="*/ 1828800 w 1828800"/>
              <a:gd name="connsiteY2" fmla="*/ 457200 h 914400"/>
              <a:gd name="connsiteX3" fmla="*/ 1764278 w 1828800"/>
              <a:gd name="connsiteY3" fmla="*/ 914400 h 914400"/>
              <a:gd name="connsiteX4" fmla="*/ 0 w 1828800"/>
              <a:gd name="connsiteY4" fmla="*/ 914400 h 914400"/>
              <a:gd name="connsiteX5" fmla="*/ 64522 w 1828800"/>
              <a:gd name="connsiteY5" fmla="*/ 457202 h 914400"/>
              <a:gd name="connsiteX0" fmla="*/ 0 w 1828800"/>
              <a:gd name="connsiteY0" fmla="*/ 0 h 914400"/>
              <a:gd name="connsiteX1" fmla="*/ 1764278 w 1828800"/>
              <a:gd name="connsiteY1" fmla="*/ 0 h 914400"/>
              <a:gd name="connsiteX2" fmla="*/ 1828800 w 1828800"/>
              <a:gd name="connsiteY2" fmla="*/ 457200 h 914400"/>
              <a:gd name="connsiteX3" fmla="*/ 1764278 w 1828800"/>
              <a:gd name="connsiteY3" fmla="*/ 914400 h 914400"/>
              <a:gd name="connsiteX4" fmla="*/ 0 w 1828800"/>
              <a:gd name="connsiteY4" fmla="*/ 914400 h 914400"/>
              <a:gd name="connsiteX5" fmla="*/ 64522 w 1828800"/>
              <a:gd name="connsiteY5" fmla="*/ 457202 h 914400"/>
              <a:gd name="connsiteX0" fmla="*/ 0 w 1828800"/>
              <a:gd name="connsiteY0" fmla="*/ 0 h 914400"/>
              <a:gd name="connsiteX1" fmla="*/ 1764278 w 1828800"/>
              <a:gd name="connsiteY1" fmla="*/ 0 h 914400"/>
              <a:gd name="connsiteX2" fmla="*/ 1828800 w 1828800"/>
              <a:gd name="connsiteY2" fmla="*/ 457200 h 914400"/>
              <a:gd name="connsiteX3" fmla="*/ 1764278 w 1828800"/>
              <a:gd name="connsiteY3" fmla="*/ 914400 h 914400"/>
              <a:gd name="connsiteX4" fmla="*/ 0 w 1828800"/>
              <a:gd name="connsiteY4" fmla="*/ 914400 h 914400"/>
              <a:gd name="connsiteX5" fmla="*/ 64522 w 1828800"/>
              <a:gd name="connsiteY5" fmla="*/ 457202 h 914400"/>
              <a:gd name="connsiteX0" fmla="*/ 0 w 1828800"/>
              <a:gd name="connsiteY0" fmla="*/ 0 h 914400"/>
              <a:gd name="connsiteX1" fmla="*/ 1764278 w 1828800"/>
              <a:gd name="connsiteY1" fmla="*/ 0 h 914400"/>
              <a:gd name="connsiteX2" fmla="*/ 1828800 w 1828800"/>
              <a:gd name="connsiteY2" fmla="*/ 457200 h 914400"/>
              <a:gd name="connsiteX3" fmla="*/ 176427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60273 w 1828800"/>
              <a:gd name="connsiteY1" fmla="*/ 0 h 914400"/>
              <a:gd name="connsiteX2" fmla="*/ 1828800 w 1828800"/>
              <a:gd name="connsiteY2" fmla="*/ 457200 h 914400"/>
              <a:gd name="connsiteX3" fmla="*/ 176427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60273 w 1828800"/>
              <a:gd name="connsiteY1" fmla="*/ 0 h 914400"/>
              <a:gd name="connsiteX2" fmla="*/ 1828800 w 1828800"/>
              <a:gd name="connsiteY2" fmla="*/ 457200 h 914400"/>
              <a:gd name="connsiteX3" fmla="*/ 1760273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60273 w 1828800"/>
              <a:gd name="connsiteY1" fmla="*/ 0 h 914400"/>
              <a:gd name="connsiteX2" fmla="*/ 1828800 w 1828800"/>
              <a:gd name="connsiteY2" fmla="*/ 457200 h 914400"/>
              <a:gd name="connsiteX3" fmla="*/ 1760273 w 1828800"/>
              <a:gd name="connsiteY3" fmla="*/ 914400 h 914400"/>
              <a:gd name="connsiteX4" fmla="*/ 0 w 1828800"/>
              <a:gd name="connsiteY4" fmla="*/ 914400 h 914400"/>
              <a:gd name="connsiteX5" fmla="*/ 68527 w 1828800"/>
              <a:gd name="connsiteY5" fmla="*/ 457202 h 914400"/>
              <a:gd name="connsiteX0" fmla="*/ 0 w 1828800"/>
              <a:gd name="connsiteY0" fmla="*/ 0 h 914400"/>
              <a:gd name="connsiteX1" fmla="*/ 1760273 w 1828800"/>
              <a:gd name="connsiteY1" fmla="*/ 0 h 914400"/>
              <a:gd name="connsiteX2" fmla="*/ 1828800 w 1828800"/>
              <a:gd name="connsiteY2" fmla="*/ 457200 h 914400"/>
              <a:gd name="connsiteX3" fmla="*/ 1760273 w 1828800"/>
              <a:gd name="connsiteY3" fmla="*/ 914400 h 914400"/>
              <a:gd name="connsiteX4" fmla="*/ 0 w 1828800"/>
              <a:gd name="connsiteY4" fmla="*/ 914400 h 914400"/>
              <a:gd name="connsiteX5" fmla="*/ 68527 w 1828800"/>
              <a:gd name="connsiteY5" fmla="*/ 457202 h 914400"/>
              <a:gd name="connsiteX0" fmla="*/ 0 w 1828800"/>
              <a:gd name="connsiteY0" fmla="*/ 0 h 914400"/>
              <a:gd name="connsiteX1" fmla="*/ 1760273 w 1828800"/>
              <a:gd name="connsiteY1" fmla="*/ 0 h 914400"/>
              <a:gd name="connsiteX2" fmla="*/ 1828800 w 1828800"/>
              <a:gd name="connsiteY2" fmla="*/ 457200 h 914400"/>
              <a:gd name="connsiteX3" fmla="*/ 1760273 w 1828800"/>
              <a:gd name="connsiteY3" fmla="*/ 914400 h 914400"/>
              <a:gd name="connsiteX4" fmla="*/ 0 w 1828800"/>
              <a:gd name="connsiteY4" fmla="*/ 914400 h 914400"/>
              <a:gd name="connsiteX5" fmla="*/ 68527 w 1828800"/>
              <a:gd name="connsiteY5" fmla="*/ 457202 h 914400"/>
              <a:gd name="connsiteX0" fmla="*/ 0 w 1828800"/>
              <a:gd name="connsiteY0" fmla="*/ 0 h 914400"/>
              <a:gd name="connsiteX1" fmla="*/ 1760273 w 1828800"/>
              <a:gd name="connsiteY1" fmla="*/ 0 h 914400"/>
              <a:gd name="connsiteX2" fmla="*/ 1828800 w 1828800"/>
              <a:gd name="connsiteY2" fmla="*/ 457200 h 914400"/>
              <a:gd name="connsiteX3" fmla="*/ 1760273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61567 w 1828800"/>
              <a:gd name="connsiteY1" fmla="*/ 0 h 914400"/>
              <a:gd name="connsiteX2" fmla="*/ 1828800 w 1828800"/>
              <a:gd name="connsiteY2" fmla="*/ 457200 h 914400"/>
              <a:gd name="connsiteX3" fmla="*/ 1760273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61567 w 1828800"/>
              <a:gd name="connsiteY1" fmla="*/ 0 h 914400"/>
              <a:gd name="connsiteX2" fmla="*/ 1828800 w 1828800"/>
              <a:gd name="connsiteY2" fmla="*/ 457200 h 914400"/>
              <a:gd name="connsiteX3" fmla="*/ 1761567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761567 w 1828800"/>
              <a:gd name="connsiteY1" fmla="*/ 0 h 914400"/>
              <a:gd name="connsiteX2" fmla="*/ 1828800 w 1828800"/>
              <a:gd name="connsiteY2" fmla="*/ 457200 h 914400"/>
              <a:gd name="connsiteX3" fmla="*/ 1761567 w 1828800"/>
              <a:gd name="connsiteY3" fmla="*/ 914400 h 914400"/>
              <a:gd name="connsiteX4" fmla="*/ 0 w 1828800"/>
              <a:gd name="connsiteY4" fmla="*/ 914400 h 914400"/>
              <a:gd name="connsiteX5" fmla="*/ 67233 w 1828800"/>
              <a:gd name="connsiteY5" fmla="*/ 457202 h 914400"/>
              <a:gd name="connsiteX0" fmla="*/ 0 w 1828800"/>
              <a:gd name="connsiteY0" fmla="*/ 0 h 914400"/>
              <a:gd name="connsiteX1" fmla="*/ 1761567 w 1828800"/>
              <a:gd name="connsiteY1" fmla="*/ 0 h 914400"/>
              <a:gd name="connsiteX2" fmla="*/ 1828800 w 1828800"/>
              <a:gd name="connsiteY2" fmla="*/ 457200 h 914400"/>
              <a:gd name="connsiteX3" fmla="*/ 1761567 w 1828800"/>
              <a:gd name="connsiteY3" fmla="*/ 914400 h 914400"/>
              <a:gd name="connsiteX4" fmla="*/ 0 w 1828800"/>
              <a:gd name="connsiteY4" fmla="*/ 914400 h 914400"/>
              <a:gd name="connsiteX5" fmla="*/ 67233 w 1828800"/>
              <a:gd name="connsiteY5" fmla="*/ 457202 h 914400"/>
              <a:gd name="connsiteX0" fmla="*/ 0 w 1828800"/>
              <a:gd name="connsiteY0" fmla="*/ 0 h 914400"/>
              <a:gd name="connsiteX1" fmla="*/ 1761567 w 1828800"/>
              <a:gd name="connsiteY1" fmla="*/ 0 h 914400"/>
              <a:gd name="connsiteX2" fmla="*/ 1828800 w 1828800"/>
              <a:gd name="connsiteY2" fmla="*/ 457200 h 914400"/>
              <a:gd name="connsiteX3" fmla="*/ 1761567 w 1828800"/>
              <a:gd name="connsiteY3" fmla="*/ 914400 h 914400"/>
              <a:gd name="connsiteX4" fmla="*/ 0 w 1828800"/>
              <a:gd name="connsiteY4" fmla="*/ 914400 h 914400"/>
              <a:gd name="connsiteX5" fmla="*/ 67233 w 1828800"/>
              <a:gd name="connsiteY5" fmla="*/ 457202 h 914400"/>
              <a:gd name="connsiteX0" fmla="*/ 0 w 1828800"/>
              <a:gd name="connsiteY0" fmla="*/ 0 h 914400"/>
              <a:gd name="connsiteX1" fmla="*/ 1761567 w 1828800"/>
              <a:gd name="connsiteY1" fmla="*/ 0 h 914400"/>
              <a:gd name="connsiteX2" fmla="*/ 1828800 w 1828800"/>
              <a:gd name="connsiteY2" fmla="*/ 457200 h 914400"/>
              <a:gd name="connsiteX3" fmla="*/ 1761567 w 1828800"/>
              <a:gd name="connsiteY3" fmla="*/ 914400 h 914400"/>
              <a:gd name="connsiteX4" fmla="*/ 0 w 1828800"/>
              <a:gd name="connsiteY4" fmla="*/ 914400 h 914400"/>
              <a:gd name="connsiteX5" fmla="*/ 79600 w 1828800"/>
              <a:gd name="connsiteY5" fmla="*/ 457202 h 914400"/>
              <a:gd name="connsiteX0" fmla="*/ 0 w 1828800"/>
              <a:gd name="connsiteY0" fmla="*/ 0 h 914400"/>
              <a:gd name="connsiteX1" fmla="*/ 1749199 w 1828800"/>
              <a:gd name="connsiteY1" fmla="*/ 0 h 914400"/>
              <a:gd name="connsiteX2" fmla="*/ 1828800 w 1828800"/>
              <a:gd name="connsiteY2" fmla="*/ 457200 h 914400"/>
              <a:gd name="connsiteX3" fmla="*/ 1761567 w 1828800"/>
              <a:gd name="connsiteY3" fmla="*/ 914400 h 914400"/>
              <a:gd name="connsiteX4" fmla="*/ 0 w 1828800"/>
              <a:gd name="connsiteY4" fmla="*/ 914400 h 914400"/>
              <a:gd name="connsiteX5" fmla="*/ 79600 w 1828800"/>
              <a:gd name="connsiteY5" fmla="*/ 457202 h 914400"/>
              <a:gd name="connsiteX0" fmla="*/ 0 w 1828800"/>
              <a:gd name="connsiteY0" fmla="*/ 0 h 914400"/>
              <a:gd name="connsiteX1" fmla="*/ 1749199 w 1828800"/>
              <a:gd name="connsiteY1" fmla="*/ 0 h 914400"/>
              <a:gd name="connsiteX2" fmla="*/ 1828800 w 1828800"/>
              <a:gd name="connsiteY2" fmla="*/ 457200 h 914400"/>
              <a:gd name="connsiteX3" fmla="*/ 1749199 w 1828800"/>
              <a:gd name="connsiteY3" fmla="*/ 914400 h 914400"/>
              <a:gd name="connsiteX4" fmla="*/ 0 w 1828800"/>
              <a:gd name="connsiteY4" fmla="*/ 914400 h 914400"/>
              <a:gd name="connsiteX5" fmla="*/ 79600 w 1828800"/>
              <a:gd name="connsiteY5" fmla="*/ 457202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49199" y="0"/>
                </a:lnTo>
                <a:lnTo>
                  <a:pt x="1828800" y="457200"/>
                </a:lnTo>
                <a:lnTo>
                  <a:pt x="1749199" y="914400"/>
                </a:lnTo>
                <a:lnTo>
                  <a:pt x="0" y="914400"/>
                </a:lnTo>
                <a:lnTo>
                  <a:pt x="79600" y="457202"/>
                </a:lnTo>
                <a:close/>
              </a:path>
            </a:pathLst>
          </a:custGeom>
          <a:solidFill>
            <a:schemeClr val="accent3"/>
          </a:solidFill>
          <a:ln w="9525">
            <a:noFill/>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4" name="Pijl: punthaak 3">
            <a:extLst>
              <a:ext uri="{FF2B5EF4-FFF2-40B4-BE49-F238E27FC236}">
                <a16:creationId xmlns:a16="http://schemas.microsoft.com/office/drawing/2014/main" id="{3510ACCE-FAA6-411F-BA6E-54B111A4347F}"/>
              </a:ext>
            </a:extLst>
          </p:cNvPr>
          <p:cNvSpPr/>
          <p:nvPr/>
        </p:nvSpPr>
        <p:spPr>
          <a:xfrm>
            <a:off x="4325870" y="1265621"/>
            <a:ext cx="7309462" cy="500110"/>
          </a:xfrm>
          <a:prstGeom prst="chevron">
            <a:avLst>
              <a:gd name="adj" fmla="val 24133"/>
            </a:avLst>
          </a:prstGeom>
          <a:solidFill>
            <a:schemeClr val="accent3"/>
          </a:solidFill>
          <a:ln w="9525">
            <a:noFill/>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err="1">
              <a:ln>
                <a:noFill/>
              </a:ln>
              <a:solidFill>
                <a:srgbClr val="000000"/>
              </a:solidFill>
              <a:effectLst/>
              <a:uLnTx/>
              <a:uFillTx/>
              <a:latin typeface="Arial"/>
              <a:ea typeface="ＭＳ Ｐゴシック"/>
              <a:cs typeface="+mn-cs"/>
            </a:endParaRPr>
          </a:p>
        </p:txBody>
      </p:sp>
      <p:sp>
        <p:nvSpPr>
          <p:cNvPr id="5" name="TextBox 521">
            <a:extLst>
              <a:ext uri="{FF2B5EF4-FFF2-40B4-BE49-F238E27FC236}">
                <a16:creationId xmlns:a16="http://schemas.microsoft.com/office/drawing/2014/main" id="{38776D57-1384-472B-BF4A-B3B9AECF183A}"/>
              </a:ext>
            </a:extLst>
          </p:cNvPr>
          <p:cNvSpPr txBox="1"/>
          <p:nvPr>
            <p:custDataLst>
              <p:tags r:id="rId2"/>
            </p:custDataLst>
          </p:nvPr>
        </p:nvSpPr>
        <p:spPr>
          <a:xfrm>
            <a:off x="4703840" y="1400029"/>
            <a:ext cx="3455032" cy="2607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57040" eaLnBrk="1" hangingPunct="1">
              <a:buClr>
                <a:schemeClr val="tx2"/>
              </a:buClr>
              <a:defRPr sz="1600" baseline="0">
                <a:latin typeface="+mn-lt"/>
                <a:ea typeface="Arial Unicode MS" pitchFamily="34" charset="-128"/>
                <a:cs typeface="Arial Unicode MS" pitchFamily="34" charset="-128"/>
              </a:defRPr>
            </a:lvl1pPr>
            <a:lvl2pPr marL="207019" lvl="1" indent="-205323" defTabSz="957040" eaLnBrk="1" hangingPunct="1">
              <a:buClr>
                <a:schemeClr val="tx2"/>
              </a:buClr>
              <a:buSzPct val="125000"/>
              <a:buFont typeface="Arial" pitchFamily="34" charset="0"/>
              <a:buChar char="•"/>
              <a:defRPr sz="1600" baseline="0">
                <a:latin typeface="+mn-lt"/>
                <a:ea typeface="Arial Unicode MS" pitchFamily="34" charset="-128"/>
                <a:cs typeface="Arial Unicode MS" pitchFamily="34" charset="-128"/>
              </a:defRPr>
            </a:lvl2pPr>
            <a:lvl3pPr marL="488701" lvl="2" indent="-279986" defTabSz="957040"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693" lvl="3" indent="-166294" defTabSz="957040"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470" lvl="4" indent="-139144" defTabSz="957040"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470" indent="-139144" defTabSz="957040" fontAlgn="base">
              <a:spcBef>
                <a:spcPct val="0"/>
              </a:spcBef>
              <a:spcAft>
                <a:spcPct val="0"/>
              </a:spcAft>
              <a:buClr>
                <a:schemeClr val="tx2"/>
              </a:buClr>
              <a:buSzPct val="89000"/>
              <a:buFont typeface="Arial" charset="0"/>
              <a:buChar char="-"/>
              <a:defRPr baseline="0">
                <a:latin typeface="+mn-lt"/>
              </a:defRPr>
            </a:lvl6pPr>
            <a:lvl7pPr marL="801470" indent="-139144" defTabSz="957040" fontAlgn="base">
              <a:spcBef>
                <a:spcPct val="0"/>
              </a:spcBef>
              <a:spcAft>
                <a:spcPct val="0"/>
              </a:spcAft>
              <a:buClr>
                <a:schemeClr val="tx2"/>
              </a:buClr>
              <a:buSzPct val="89000"/>
              <a:buFont typeface="Arial" charset="0"/>
              <a:buChar char="-"/>
              <a:defRPr baseline="0">
                <a:latin typeface="+mn-lt"/>
              </a:defRPr>
            </a:lvl7pPr>
            <a:lvl8pPr marL="801470" indent="-139144" defTabSz="957040" fontAlgn="base">
              <a:spcBef>
                <a:spcPct val="0"/>
              </a:spcBef>
              <a:spcAft>
                <a:spcPct val="0"/>
              </a:spcAft>
              <a:buClr>
                <a:schemeClr val="tx2"/>
              </a:buClr>
              <a:buSzPct val="89000"/>
              <a:buFont typeface="Arial" charset="0"/>
              <a:buChar char="-"/>
              <a:defRPr baseline="0">
                <a:latin typeface="+mn-lt"/>
              </a:defRPr>
            </a:lvl8pPr>
            <a:lvl9pPr marL="801470" indent="-139144" defTabSz="95704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57040" rtl="0" eaLnBrk="1" fontAlgn="auto" latinLnBrk="0" hangingPunct="1">
              <a:lnSpc>
                <a:spcPct val="100000"/>
              </a:lnSpc>
              <a:spcBef>
                <a:spcPts val="0"/>
              </a:spcBef>
              <a:spcAft>
                <a:spcPts val="0"/>
              </a:spcAft>
              <a:buClr>
                <a:srgbClr val="FE6600"/>
              </a:buClr>
              <a:buSzTx/>
              <a:buFontTx/>
              <a:buNone/>
              <a:tabLst/>
              <a:defRPr/>
            </a:pPr>
            <a:r>
              <a:rPr kumimoji="0" lang="nl-NL" sz="1600" b="1" i="0" u="none" strike="noStrike" kern="1200" cap="none" spc="0" normalizeH="0" baseline="0" noProof="0">
                <a:ln>
                  <a:noFill/>
                </a:ln>
                <a:solidFill>
                  <a:srgbClr val="FFFFFF"/>
                </a:solidFill>
                <a:effectLst/>
                <a:uLnTx/>
                <a:uFillTx/>
                <a:latin typeface="Arial"/>
                <a:ea typeface="Arial Unicode MS" pitchFamily="34" charset="-128"/>
              </a:rPr>
              <a:t>Doen</a:t>
            </a:r>
          </a:p>
        </p:txBody>
      </p:sp>
      <p:sp>
        <p:nvSpPr>
          <p:cNvPr id="6" name="TextBox 521">
            <a:extLst>
              <a:ext uri="{FF2B5EF4-FFF2-40B4-BE49-F238E27FC236}">
                <a16:creationId xmlns:a16="http://schemas.microsoft.com/office/drawing/2014/main" id="{780E5D99-E0C6-4FEC-853A-68294B16B5E2}"/>
              </a:ext>
            </a:extLst>
          </p:cNvPr>
          <p:cNvSpPr txBox="1"/>
          <p:nvPr>
            <p:custDataLst>
              <p:tags r:id="rId3"/>
            </p:custDataLst>
          </p:nvPr>
        </p:nvSpPr>
        <p:spPr>
          <a:xfrm>
            <a:off x="1022204" y="1361555"/>
            <a:ext cx="1412053" cy="2607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57040" eaLnBrk="1" hangingPunct="1">
              <a:buClr>
                <a:schemeClr val="tx2"/>
              </a:buClr>
              <a:defRPr sz="1600" baseline="0">
                <a:latin typeface="+mn-lt"/>
                <a:ea typeface="Arial Unicode MS" pitchFamily="34" charset="-128"/>
                <a:cs typeface="Arial Unicode MS" pitchFamily="34" charset="-128"/>
              </a:defRPr>
            </a:lvl1pPr>
            <a:lvl2pPr marL="207019" lvl="1" indent="-205323" defTabSz="957040" eaLnBrk="1" hangingPunct="1">
              <a:buClr>
                <a:schemeClr val="tx2"/>
              </a:buClr>
              <a:buSzPct val="125000"/>
              <a:buFont typeface="Arial" pitchFamily="34" charset="0"/>
              <a:buChar char="•"/>
              <a:defRPr sz="1600" baseline="0">
                <a:latin typeface="+mn-lt"/>
                <a:ea typeface="Arial Unicode MS" pitchFamily="34" charset="-128"/>
                <a:cs typeface="Arial Unicode MS" pitchFamily="34" charset="-128"/>
              </a:defRPr>
            </a:lvl2pPr>
            <a:lvl3pPr marL="488701" lvl="2" indent="-279986" defTabSz="957040"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656693" lvl="3" indent="-166294" defTabSz="957040"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801470" lvl="4" indent="-139144" defTabSz="957040"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801470" indent="-139144" defTabSz="957040" fontAlgn="base">
              <a:spcBef>
                <a:spcPct val="0"/>
              </a:spcBef>
              <a:spcAft>
                <a:spcPct val="0"/>
              </a:spcAft>
              <a:buClr>
                <a:schemeClr val="tx2"/>
              </a:buClr>
              <a:buSzPct val="89000"/>
              <a:buFont typeface="Arial" charset="0"/>
              <a:buChar char="-"/>
              <a:defRPr baseline="0">
                <a:latin typeface="+mn-lt"/>
              </a:defRPr>
            </a:lvl6pPr>
            <a:lvl7pPr marL="801470" indent="-139144" defTabSz="957040" fontAlgn="base">
              <a:spcBef>
                <a:spcPct val="0"/>
              </a:spcBef>
              <a:spcAft>
                <a:spcPct val="0"/>
              </a:spcAft>
              <a:buClr>
                <a:schemeClr val="tx2"/>
              </a:buClr>
              <a:buSzPct val="89000"/>
              <a:buFont typeface="Arial" charset="0"/>
              <a:buChar char="-"/>
              <a:defRPr baseline="0">
                <a:latin typeface="+mn-lt"/>
              </a:defRPr>
            </a:lvl7pPr>
            <a:lvl8pPr marL="801470" indent="-139144" defTabSz="957040" fontAlgn="base">
              <a:spcBef>
                <a:spcPct val="0"/>
              </a:spcBef>
              <a:spcAft>
                <a:spcPct val="0"/>
              </a:spcAft>
              <a:buClr>
                <a:schemeClr val="tx2"/>
              </a:buClr>
              <a:buSzPct val="89000"/>
              <a:buFont typeface="Arial" charset="0"/>
              <a:buChar char="-"/>
              <a:defRPr baseline="0">
                <a:latin typeface="+mn-lt"/>
              </a:defRPr>
            </a:lvl8pPr>
            <a:lvl9pPr marL="801470" indent="-139144" defTabSz="957040" fontAlgn="base">
              <a:spcBef>
                <a:spcPct val="0"/>
              </a:spcBef>
              <a:spcAft>
                <a:spcPct val="0"/>
              </a:spcAft>
              <a:buClr>
                <a:schemeClr val="tx2"/>
              </a:buClr>
              <a:buSzPct val="89000"/>
              <a:buFont typeface="Arial" charset="0"/>
              <a:buChar char="-"/>
              <a:defRPr baseline="0">
                <a:latin typeface="+mn-lt"/>
              </a:defRPr>
            </a:lvl9pPr>
          </a:lstStyle>
          <a:p>
            <a:pPr marL="0" marR="0" lvl="0" indent="0" algn="l" defTabSz="957040" rtl="0" eaLnBrk="1" fontAlgn="auto" latinLnBrk="0" hangingPunct="1">
              <a:lnSpc>
                <a:spcPct val="100000"/>
              </a:lnSpc>
              <a:spcBef>
                <a:spcPts val="0"/>
              </a:spcBef>
              <a:spcAft>
                <a:spcPts val="0"/>
              </a:spcAft>
              <a:buClr>
                <a:srgbClr val="FE6600"/>
              </a:buClr>
              <a:buSzTx/>
              <a:buFontTx/>
              <a:buNone/>
              <a:tabLst/>
              <a:defRPr/>
            </a:pPr>
            <a:r>
              <a:rPr kumimoji="0" lang="nl-NL" sz="1600" b="1" i="0" u="none" strike="noStrike" kern="1200" cap="none" spc="0" normalizeH="0" baseline="0" noProof="0">
                <a:ln>
                  <a:noFill/>
                </a:ln>
                <a:solidFill>
                  <a:srgbClr val="FFFFFF"/>
                </a:solidFill>
                <a:effectLst/>
                <a:uLnTx/>
                <a:uFillTx/>
                <a:latin typeface="Arial"/>
                <a:ea typeface="Arial Unicode MS" pitchFamily="34" charset="-128"/>
              </a:rPr>
              <a:t>Begrijpen</a:t>
            </a:r>
          </a:p>
        </p:txBody>
      </p:sp>
      <p:grpSp>
        <p:nvGrpSpPr>
          <p:cNvPr id="17" name="Group 18">
            <a:extLst>
              <a:ext uri="{FF2B5EF4-FFF2-40B4-BE49-F238E27FC236}">
                <a16:creationId xmlns:a16="http://schemas.microsoft.com/office/drawing/2014/main" id="{E35FF8E5-DC5E-4610-AD25-9725C8046ABC}"/>
              </a:ext>
            </a:extLst>
          </p:cNvPr>
          <p:cNvGrpSpPr/>
          <p:nvPr/>
        </p:nvGrpSpPr>
        <p:grpSpPr>
          <a:xfrm>
            <a:off x="883137" y="2108964"/>
            <a:ext cx="792000" cy="720000"/>
            <a:chOff x="543685" y="1831895"/>
            <a:chExt cx="1066094" cy="1067342"/>
          </a:xfrm>
        </p:grpSpPr>
        <p:sp>
          <p:nvSpPr>
            <p:cNvPr id="18" name="Oval 39">
              <a:extLst>
                <a:ext uri="{FF2B5EF4-FFF2-40B4-BE49-F238E27FC236}">
                  <a16:creationId xmlns:a16="http://schemas.microsoft.com/office/drawing/2014/main" id="{EFD3AC6F-E9D2-4FF3-9028-455600B5862B}"/>
                </a:ext>
              </a:extLst>
            </p:cNvPr>
            <p:cNvSpPr>
              <a:spLocks/>
            </p:cNvSpPr>
            <p:nvPr/>
          </p:nvSpPr>
          <p:spPr>
            <a:xfrm>
              <a:off x="543685" y="1831895"/>
              <a:ext cx="1066094" cy="1067342"/>
            </a:xfrm>
            <a:prstGeom prst="ellipse">
              <a:avLst/>
            </a:prstGeom>
            <a:solidFill>
              <a:schemeClr val="bg1"/>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93" rtl="0" eaLnBrk="1" fontAlgn="auto" latinLnBrk="0" hangingPunct="1">
                <a:lnSpc>
                  <a:spcPct val="100000"/>
                </a:lnSpc>
                <a:spcBef>
                  <a:spcPts val="0"/>
                </a:spcBef>
                <a:spcAft>
                  <a:spcPts val="0"/>
                </a:spcAft>
                <a:buClrTx/>
                <a:buSzTx/>
                <a:buFontTx/>
                <a:buNone/>
                <a:tabLst/>
                <a:defRPr/>
              </a:pPr>
              <a:endParaRPr kumimoji="0" lang="fr-FR" sz="1837" b="0" i="0" u="none" strike="noStrike" kern="1200" cap="none" spc="0" normalizeH="0" baseline="0" noProof="0" err="1">
                <a:ln>
                  <a:noFill/>
                </a:ln>
                <a:solidFill>
                  <a:srgbClr val="000000"/>
                </a:solidFill>
                <a:effectLst/>
                <a:uLnTx/>
                <a:uFillTx/>
                <a:latin typeface="Arial"/>
                <a:ea typeface="ＭＳ Ｐゴシック"/>
                <a:cs typeface="+mn-cs"/>
              </a:endParaRPr>
            </a:p>
          </p:txBody>
        </p:sp>
        <p:grpSp>
          <p:nvGrpSpPr>
            <p:cNvPr id="19" name="Group 52">
              <a:extLst>
                <a:ext uri="{FF2B5EF4-FFF2-40B4-BE49-F238E27FC236}">
                  <a16:creationId xmlns:a16="http://schemas.microsoft.com/office/drawing/2014/main" id="{315E2DE0-12C5-44E8-A83B-76283DD69887}"/>
                </a:ext>
              </a:extLst>
            </p:cNvPr>
            <p:cNvGrpSpPr/>
            <p:nvPr/>
          </p:nvGrpSpPr>
          <p:grpSpPr>
            <a:xfrm>
              <a:off x="693152" y="2048613"/>
              <a:ext cx="767186" cy="633911"/>
              <a:chOff x="8275637" y="897732"/>
              <a:chExt cx="712788" cy="588962"/>
            </a:xfrm>
            <a:solidFill>
              <a:schemeClr val="accent4"/>
            </a:solidFill>
          </p:grpSpPr>
          <p:sp>
            <p:nvSpPr>
              <p:cNvPr id="20" name="Freeform 233">
                <a:extLst>
                  <a:ext uri="{FF2B5EF4-FFF2-40B4-BE49-F238E27FC236}">
                    <a16:creationId xmlns:a16="http://schemas.microsoft.com/office/drawing/2014/main" id="{294B6503-6D28-41A9-9611-05A7C8C6C5E5}"/>
                  </a:ext>
                </a:extLst>
              </p:cNvPr>
              <p:cNvSpPr>
                <a:spLocks/>
              </p:cNvSpPr>
              <p:nvPr/>
            </p:nvSpPr>
            <p:spPr bwMode="auto">
              <a:xfrm>
                <a:off x="8372476" y="1113631"/>
                <a:ext cx="519113" cy="300038"/>
              </a:xfrm>
              <a:custGeom>
                <a:avLst/>
                <a:gdLst>
                  <a:gd name="T0" fmla="*/ 166 w 2045"/>
                  <a:gd name="T1" fmla="*/ 1179 h 1180"/>
                  <a:gd name="T2" fmla="*/ 373 w 2045"/>
                  <a:gd name="T3" fmla="*/ 1179 h 1180"/>
                  <a:gd name="T4" fmla="*/ 373 w 2045"/>
                  <a:gd name="T5" fmla="*/ 1179 h 1180"/>
                  <a:gd name="T6" fmla="*/ 564 w 2045"/>
                  <a:gd name="T7" fmla="*/ 988 h 1180"/>
                  <a:gd name="T8" fmla="*/ 373 w 2045"/>
                  <a:gd name="T9" fmla="*/ 796 h 1180"/>
                  <a:gd name="T10" fmla="*/ 373 w 2045"/>
                  <a:gd name="T11" fmla="*/ 796 h 1180"/>
                  <a:gd name="T12" fmla="*/ 373 w 2045"/>
                  <a:gd name="T13" fmla="*/ 734 h 1180"/>
                  <a:gd name="T14" fmla="*/ 373 w 2045"/>
                  <a:gd name="T15" fmla="*/ 536 h 1180"/>
                  <a:gd name="T16" fmla="*/ 373 w 2045"/>
                  <a:gd name="T17" fmla="*/ 356 h 1180"/>
                  <a:gd name="T18" fmla="*/ 1022 w 2045"/>
                  <a:gd name="T19" fmla="*/ 413 h 1180"/>
                  <a:gd name="T20" fmla="*/ 1672 w 2045"/>
                  <a:gd name="T21" fmla="*/ 356 h 1180"/>
                  <a:gd name="T22" fmla="*/ 1672 w 2045"/>
                  <a:gd name="T23" fmla="*/ 536 h 1180"/>
                  <a:gd name="T24" fmla="*/ 1672 w 2045"/>
                  <a:gd name="T25" fmla="*/ 734 h 1180"/>
                  <a:gd name="T26" fmla="*/ 1672 w 2045"/>
                  <a:gd name="T27" fmla="*/ 734 h 1180"/>
                  <a:gd name="T28" fmla="*/ 1672 w 2045"/>
                  <a:gd name="T29" fmla="*/ 796 h 1180"/>
                  <a:gd name="T30" fmla="*/ 1672 w 2045"/>
                  <a:gd name="T31" fmla="*/ 796 h 1180"/>
                  <a:gd name="T32" fmla="*/ 1480 w 2045"/>
                  <a:gd name="T33" fmla="*/ 988 h 1180"/>
                  <a:gd name="T34" fmla="*/ 1672 w 2045"/>
                  <a:gd name="T35" fmla="*/ 1180 h 1180"/>
                  <a:gd name="T36" fmla="*/ 1672 w 2045"/>
                  <a:gd name="T37" fmla="*/ 1180 h 1180"/>
                  <a:gd name="T38" fmla="*/ 1678 w 2045"/>
                  <a:gd name="T39" fmla="*/ 1179 h 1180"/>
                  <a:gd name="T40" fmla="*/ 1879 w 2045"/>
                  <a:gd name="T41" fmla="*/ 1179 h 1180"/>
                  <a:gd name="T42" fmla="*/ 2009 w 2045"/>
                  <a:gd name="T43" fmla="*/ 874 h 1180"/>
                  <a:gd name="T44" fmla="*/ 1945 w 2045"/>
                  <a:gd name="T45" fmla="*/ 653 h 1180"/>
                  <a:gd name="T46" fmla="*/ 1872 w 2045"/>
                  <a:gd name="T47" fmla="*/ 401 h 1180"/>
                  <a:gd name="T48" fmla="*/ 1807 w 2045"/>
                  <a:gd name="T49" fmla="*/ 180 h 1180"/>
                  <a:gd name="T50" fmla="*/ 1578 w 2045"/>
                  <a:gd name="T51" fmla="*/ 5 h 1180"/>
                  <a:gd name="T52" fmla="*/ 1331 w 2045"/>
                  <a:gd name="T53" fmla="*/ 5 h 1180"/>
                  <a:gd name="T54" fmla="*/ 1176 w 2045"/>
                  <a:gd name="T55" fmla="*/ 268 h 1180"/>
                  <a:gd name="T56" fmla="*/ 1020 w 2045"/>
                  <a:gd name="T57" fmla="*/ 5 h 1180"/>
                  <a:gd name="T58" fmla="*/ 1020 w 2045"/>
                  <a:gd name="T59" fmla="*/ 5 h 1180"/>
                  <a:gd name="T60" fmla="*/ 864 w 2045"/>
                  <a:gd name="T61" fmla="*/ 268 h 1180"/>
                  <a:gd name="T62" fmla="*/ 709 w 2045"/>
                  <a:gd name="T63" fmla="*/ 5 h 1180"/>
                  <a:gd name="T64" fmla="*/ 467 w 2045"/>
                  <a:gd name="T65" fmla="*/ 5 h 1180"/>
                  <a:gd name="T66" fmla="*/ 237 w 2045"/>
                  <a:gd name="T67" fmla="*/ 180 h 1180"/>
                  <a:gd name="T68" fmla="*/ 173 w 2045"/>
                  <a:gd name="T69" fmla="*/ 401 h 1180"/>
                  <a:gd name="T70" fmla="*/ 100 w 2045"/>
                  <a:gd name="T71" fmla="*/ 653 h 1180"/>
                  <a:gd name="T72" fmla="*/ 36 w 2045"/>
                  <a:gd name="T73" fmla="*/ 874 h 1180"/>
                  <a:gd name="T74" fmla="*/ 166 w 2045"/>
                  <a:gd name="T75" fmla="*/ 1179 h 1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45" h="1180">
                    <a:moveTo>
                      <a:pt x="166" y="1179"/>
                    </a:moveTo>
                    <a:cubicBezTo>
                      <a:pt x="373" y="1179"/>
                      <a:pt x="373" y="1179"/>
                      <a:pt x="373" y="1179"/>
                    </a:cubicBezTo>
                    <a:cubicBezTo>
                      <a:pt x="373" y="1179"/>
                      <a:pt x="373" y="1179"/>
                      <a:pt x="373" y="1179"/>
                    </a:cubicBezTo>
                    <a:cubicBezTo>
                      <a:pt x="478" y="1179"/>
                      <a:pt x="564" y="1094"/>
                      <a:pt x="564" y="988"/>
                    </a:cubicBezTo>
                    <a:cubicBezTo>
                      <a:pt x="564" y="882"/>
                      <a:pt x="478" y="796"/>
                      <a:pt x="373" y="796"/>
                    </a:cubicBezTo>
                    <a:cubicBezTo>
                      <a:pt x="373" y="796"/>
                      <a:pt x="373" y="796"/>
                      <a:pt x="373" y="796"/>
                    </a:cubicBezTo>
                    <a:cubicBezTo>
                      <a:pt x="373" y="734"/>
                      <a:pt x="373" y="734"/>
                      <a:pt x="373" y="734"/>
                    </a:cubicBezTo>
                    <a:cubicBezTo>
                      <a:pt x="373" y="536"/>
                      <a:pt x="373" y="536"/>
                      <a:pt x="373" y="536"/>
                    </a:cubicBezTo>
                    <a:cubicBezTo>
                      <a:pt x="373" y="356"/>
                      <a:pt x="373" y="356"/>
                      <a:pt x="373" y="356"/>
                    </a:cubicBezTo>
                    <a:cubicBezTo>
                      <a:pt x="1022" y="413"/>
                      <a:pt x="1022" y="413"/>
                      <a:pt x="1022" y="413"/>
                    </a:cubicBezTo>
                    <a:cubicBezTo>
                      <a:pt x="1672" y="356"/>
                      <a:pt x="1672" y="356"/>
                      <a:pt x="1672" y="356"/>
                    </a:cubicBezTo>
                    <a:cubicBezTo>
                      <a:pt x="1672" y="536"/>
                      <a:pt x="1672" y="536"/>
                      <a:pt x="1672" y="536"/>
                    </a:cubicBezTo>
                    <a:cubicBezTo>
                      <a:pt x="1672" y="734"/>
                      <a:pt x="1672" y="734"/>
                      <a:pt x="1672" y="734"/>
                    </a:cubicBezTo>
                    <a:cubicBezTo>
                      <a:pt x="1672" y="734"/>
                      <a:pt x="1672" y="734"/>
                      <a:pt x="1672" y="734"/>
                    </a:cubicBezTo>
                    <a:cubicBezTo>
                      <a:pt x="1672" y="796"/>
                      <a:pt x="1672" y="796"/>
                      <a:pt x="1672" y="796"/>
                    </a:cubicBezTo>
                    <a:cubicBezTo>
                      <a:pt x="1672" y="796"/>
                      <a:pt x="1672" y="796"/>
                      <a:pt x="1672" y="796"/>
                    </a:cubicBezTo>
                    <a:cubicBezTo>
                      <a:pt x="1566" y="796"/>
                      <a:pt x="1480" y="882"/>
                      <a:pt x="1480" y="988"/>
                    </a:cubicBezTo>
                    <a:cubicBezTo>
                      <a:pt x="1480" y="1094"/>
                      <a:pt x="1566" y="1180"/>
                      <a:pt x="1672" y="1180"/>
                    </a:cubicBezTo>
                    <a:cubicBezTo>
                      <a:pt x="1672" y="1180"/>
                      <a:pt x="1672" y="1180"/>
                      <a:pt x="1672" y="1180"/>
                    </a:cubicBezTo>
                    <a:cubicBezTo>
                      <a:pt x="1674" y="1180"/>
                      <a:pt x="1676" y="1180"/>
                      <a:pt x="1678" y="1179"/>
                    </a:cubicBezTo>
                    <a:cubicBezTo>
                      <a:pt x="1879" y="1179"/>
                      <a:pt x="1879" y="1179"/>
                      <a:pt x="1879" y="1179"/>
                    </a:cubicBezTo>
                    <a:cubicBezTo>
                      <a:pt x="1987" y="1130"/>
                      <a:pt x="2045" y="998"/>
                      <a:pt x="2009" y="874"/>
                    </a:cubicBezTo>
                    <a:cubicBezTo>
                      <a:pt x="1945" y="653"/>
                      <a:pt x="1945" y="653"/>
                      <a:pt x="1945" y="653"/>
                    </a:cubicBezTo>
                    <a:cubicBezTo>
                      <a:pt x="1872" y="401"/>
                      <a:pt x="1872" y="401"/>
                      <a:pt x="1872" y="401"/>
                    </a:cubicBezTo>
                    <a:cubicBezTo>
                      <a:pt x="1807" y="180"/>
                      <a:pt x="1807" y="180"/>
                      <a:pt x="1807" y="180"/>
                    </a:cubicBezTo>
                    <a:cubicBezTo>
                      <a:pt x="1776" y="69"/>
                      <a:pt x="1680" y="0"/>
                      <a:pt x="1578" y="5"/>
                    </a:cubicBezTo>
                    <a:cubicBezTo>
                      <a:pt x="1331" y="5"/>
                      <a:pt x="1331" y="5"/>
                      <a:pt x="1331" y="5"/>
                    </a:cubicBezTo>
                    <a:cubicBezTo>
                      <a:pt x="1176" y="268"/>
                      <a:pt x="1176" y="268"/>
                      <a:pt x="1176" y="268"/>
                    </a:cubicBezTo>
                    <a:cubicBezTo>
                      <a:pt x="1020" y="5"/>
                      <a:pt x="1020" y="5"/>
                      <a:pt x="1020" y="5"/>
                    </a:cubicBezTo>
                    <a:cubicBezTo>
                      <a:pt x="1020" y="5"/>
                      <a:pt x="1020" y="5"/>
                      <a:pt x="1020" y="5"/>
                    </a:cubicBezTo>
                    <a:cubicBezTo>
                      <a:pt x="864" y="268"/>
                      <a:pt x="864" y="268"/>
                      <a:pt x="864" y="268"/>
                    </a:cubicBezTo>
                    <a:cubicBezTo>
                      <a:pt x="709" y="5"/>
                      <a:pt x="709" y="5"/>
                      <a:pt x="709" y="5"/>
                    </a:cubicBezTo>
                    <a:cubicBezTo>
                      <a:pt x="467" y="5"/>
                      <a:pt x="467" y="5"/>
                      <a:pt x="467" y="5"/>
                    </a:cubicBezTo>
                    <a:cubicBezTo>
                      <a:pt x="365" y="0"/>
                      <a:pt x="269" y="69"/>
                      <a:pt x="237" y="180"/>
                    </a:cubicBezTo>
                    <a:cubicBezTo>
                      <a:pt x="173" y="401"/>
                      <a:pt x="173" y="401"/>
                      <a:pt x="173" y="401"/>
                    </a:cubicBezTo>
                    <a:cubicBezTo>
                      <a:pt x="100" y="653"/>
                      <a:pt x="100" y="653"/>
                      <a:pt x="100" y="653"/>
                    </a:cubicBezTo>
                    <a:cubicBezTo>
                      <a:pt x="36" y="874"/>
                      <a:pt x="36" y="874"/>
                      <a:pt x="36" y="874"/>
                    </a:cubicBezTo>
                    <a:cubicBezTo>
                      <a:pt x="0" y="998"/>
                      <a:pt x="57" y="1130"/>
                      <a:pt x="166" y="1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1" name="Oval 234">
                <a:extLst>
                  <a:ext uri="{FF2B5EF4-FFF2-40B4-BE49-F238E27FC236}">
                    <a16:creationId xmlns:a16="http://schemas.microsoft.com/office/drawing/2014/main" id="{B6C63935-77A4-40EE-ABEC-22A535EA6253}"/>
                  </a:ext>
                </a:extLst>
              </p:cNvPr>
              <p:cNvSpPr>
                <a:spLocks noChangeArrowheads="1"/>
              </p:cNvSpPr>
              <p:nvPr/>
            </p:nvSpPr>
            <p:spPr bwMode="auto">
              <a:xfrm>
                <a:off x="8528051" y="897732"/>
                <a:ext cx="207963" cy="2079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2" name="Rectangle 235">
                <a:extLst>
                  <a:ext uri="{FF2B5EF4-FFF2-40B4-BE49-F238E27FC236}">
                    <a16:creationId xmlns:a16="http://schemas.microsoft.com/office/drawing/2014/main" id="{E859E3FA-3681-403D-B38C-E42A328676A7}"/>
                  </a:ext>
                </a:extLst>
              </p:cNvPr>
              <p:cNvSpPr>
                <a:spLocks noChangeArrowheads="1"/>
              </p:cNvSpPr>
              <p:nvPr/>
            </p:nvSpPr>
            <p:spPr bwMode="auto">
              <a:xfrm>
                <a:off x="8275637" y="1435894"/>
                <a:ext cx="712788"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3" name="Freeform 236">
                <a:extLst>
                  <a:ext uri="{FF2B5EF4-FFF2-40B4-BE49-F238E27FC236}">
                    <a16:creationId xmlns:a16="http://schemas.microsoft.com/office/drawing/2014/main" id="{BA10038B-5CD8-482E-AEFB-B6AB66904680}"/>
                  </a:ext>
                </a:extLst>
              </p:cNvPr>
              <p:cNvSpPr>
                <a:spLocks/>
              </p:cNvSpPr>
              <p:nvPr/>
            </p:nvSpPr>
            <p:spPr bwMode="auto">
              <a:xfrm>
                <a:off x="8724901" y="1283494"/>
                <a:ext cx="55563" cy="50800"/>
              </a:xfrm>
              <a:custGeom>
                <a:avLst/>
                <a:gdLst>
                  <a:gd name="T0" fmla="*/ 220 w 220"/>
                  <a:gd name="T1" fmla="*/ 74 h 200"/>
                  <a:gd name="T2" fmla="*/ 220 w 220"/>
                  <a:gd name="T3" fmla="*/ 0 h 200"/>
                  <a:gd name="T4" fmla="*/ 0 w 220"/>
                  <a:gd name="T5" fmla="*/ 19 h 200"/>
                  <a:gd name="T6" fmla="*/ 0 w 220"/>
                  <a:gd name="T7" fmla="*/ 200 h 200"/>
                  <a:gd name="T8" fmla="*/ 61 w 220"/>
                  <a:gd name="T9" fmla="*/ 195 h 200"/>
                  <a:gd name="T10" fmla="*/ 220 w 220"/>
                  <a:gd name="T11" fmla="*/ 74 h 200"/>
                </a:gdLst>
                <a:ahLst/>
                <a:cxnLst>
                  <a:cxn ang="0">
                    <a:pos x="T0" y="T1"/>
                  </a:cxn>
                  <a:cxn ang="0">
                    <a:pos x="T2" y="T3"/>
                  </a:cxn>
                  <a:cxn ang="0">
                    <a:pos x="T4" y="T5"/>
                  </a:cxn>
                  <a:cxn ang="0">
                    <a:pos x="T6" y="T7"/>
                  </a:cxn>
                  <a:cxn ang="0">
                    <a:pos x="T8" y="T9"/>
                  </a:cxn>
                  <a:cxn ang="0">
                    <a:pos x="T10" y="T11"/>
                  </a:cxn>
                </a:cxnLst>
                <a:rect l="0" t="0" r="r" b="b"/>
                <a:pathLst>
                  <a:path w="220" h="200">
                    <a:moveTo>
                      <a:pt x="220" y="74"/>
                    </a:moveTo>
                    <a:cubicBezTo>
                      <a:pt x="220" y="0"/>
                      <a:pt x="220" y="0"/>
                      <a:pt x="220" y="0"/>
                    </a:cubicBezTo>
                    <a:cubicBezTo>
                      <a:pt x="0" y="19"/>
                      <a:pt x="0" y="19"/>
                      <a:pt x="0" y="19"/>
                    </a:cubicBezTo>
                    <a:cubicBezTo>
                      <a:pt x="0" y="200"/>
                      <a:pt x="0" y="200"/>
                      <a:pt x="0" y="200"/>
                    </a:cubicBezTo>
                    <a:cubicBezTo>
                      <a:pt x="61" y="195"/>
                      <a:pt x="61" y="195"/>
                      <a:pt x="61" y="195"/>
                    </a:cubicBezTo>
                    <a:cubicBezTo>
                      <a:pt x="95" y="135"/>
                      <a:pt x="152" y="91"/>
                      <a:pt x="220"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4" name="Freeform 237">
                <a:extLst>
                  <a:ext uri="{FF2B5EF4-FFF2-40B4-BE49-F238E27FC236}">
                    <a16:creationId xmlns:a16="http://schemas.microsoft.com/office/drawing/2014/main" id="{5181A697-0368-418E-BC69-3F0C6D2FFEB5}"/>
                  </a:ext>
                </a:extLst>
              </p:cNvPr>
              <p:cNvSpPr>
                <a:spLocks/>
              </p:cNvSpPr>
              <p:nvPr/>
            </p:nvSpPr>
            <p:spPr bwMode="auto">
              <a:xfrm>
                <a:off x="8648701" y="1219995"/>
                <a:ext cx="131763" cy="68263"/>
              </a:xfrm>
              <a:custGeom>
                <a:avLst/>
                <a:gdLst>
                  <a:gd name="T0" fmla="*/ 83 w 83"/>
                  <a:gd name="T1" fmla="*/ 0 h 43"/>
                  <a:gd name="T2" fmla="*/ 0 w 83"/>
                  <a:gd name="T3" fmla="*/ 7 h 43"/>
                  <a:gd name="T4" fmla="*/ 0 w 83"/>
                  <a:gd name="T5" fmla="*/ 43 h 43"/>
                  <a:gd name="T6" fmla="*/ 83 w 83"/>
                  <a:gd name="T7" fmla="*/ 36 h 43"/>
                  <a:gd name="T8" fmla="*/ 83 w 83"/>
                  <a:gd name="T9" fmla="*/ 0 h 43"/>
                </a:gdLst>
                <a:ahLst/>
                <a:cxnLst>
                  <a:cxn ang="0">
                    <a:pos x="T0" y="T1"/>
                  </a:cxn>
                  <a:cxn ang="0">
                    <a:pos x="T2" y="T3"/>
                  </a:cxn>
                  <a:cxn ang="0">
                    <a:pos x="T4" y="T5"/>
                  </a:cxn>
                  <a:cxn ang="0">
                    <a:pos x="T6" y="T7"/>
                  </a:cxn>
                  <a:cxn ang="0">
                    <a:pos x="T8" y="T9"/>
                  </a:cxn>
                </a:cxnLst>
                <a:rect l="0" t="0" r="r" b="b"/>
                <a:pathLst>
                  <a:path w="83" h="43">
                    <a:moveTo>
                      <a:pt x="83" y="0"/>
                    </a:moveTo>
                    <a:lnTo>
                      <a:pt x="0" y="7"/>
                    </a:lnTo>
                    <a:lnTo>
                      <a:pt x="0" y="43"/>
                    </a:lnTo>
                    <a:lnTo>
                      <a:pt x="83" y="36"/>
                    </a:lnTo>
                    <a:lnTo>
                      <a:pt x="8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5" name="Freeform 238">
                <a:extLst>
                  <a:ext uri="{FF2B5EF4-FFF2-40B4-BE49-F238E27FC236}">
                    <a16:creationId xmlns:a16="http://schemas.microsoft.com/office/drawing/2014/main" id="{A0B731B3-881B-47A2-BCC6-D8C694F172D0}"/>
                  </a:ext>
                </a:extLst>
              </p:cNvPr>
              <p:cNvSpPr>
                <a:spLocks/>
              </p:cNvSpPr>
              <p:nvPr/>
            </p:nvSpPr>
            <p:spPr bwMode="auto">
              <a:xfrm>
                <a:off x="8724900" y="1339056"/>
                <a:ext cx="12700" cy="14288"/>
              </a:xfrm>
              <a:custGeom>
                <a:avLst/>
                <a:gdLst>
                  <a:gd name="T0" fmla="*/ 0 w 49"/>
                  <a:gd name="T1" fmla="*/ 4 h 56"/>
                  <a:gd name="T2" fmla="*/ 0 w 49"/>
                  <a:gd name="T3" fmla="*/ 39 h 56"/>
                  <a:gd name="T4" fmla="*/ 0 w 49"/>
                  <a:gd name="T5" fmla="*/ 55 h 56"/>
                  <a:gd name="T6" fmla="*/ 0 w 49"/>
                  <a:gd name="T7" fmla="*/ 56 h 56"/>
                  <a:gd name="T8" fmla="*/ 33 w 49"/>
                  <a:gd name="T9" fmla="*/ 53 h 56"/>
                  <a:gd name="T10" fmla="*/ 49 w 49"/>
                  <a:gd name="T11" fmla="*/ 0 h 56"/>
                  <a:gd name="T12" fmla="*/ 0 w 49"/>
                  <a:gd name="T13" fmla="*/ 4 h 56"/>
                </a:gdLst>
                <a:ahLst/>
                <a:cxnLst>
                  <a:cxn ang="0">
                    <a:pos x="T0" y="T1"/>
                  </a:cxn>
                  <a:cxn ang="0">
                    <a:pos x="T2" y="T3"/>
                  </a:cxn>
                  <a:cxn ang="0">
                    <a:pos x="T4" y="T5"/>
                  </a:cxn>
                  <a:cxn ang="0">
                    <a:pos x="T6" y="T7"/>
                  </a:cxn>
                  <a:cxn ang="0">
                    <a:pos x="T8" y="T9"/>
                  </a:cxn>
                  <a:cxn ang="0">
                    <a:pos x="T10" y="T11"/>
                  </a:cxn>
                  <a:cxn ang="0">
                    <a:pos x="T12" y="T13"/>
                  </a:cxn>
                </a:cxnLst>
                <a:rect l="0" t="0" r="r" b="b"/>
                <a:pathLst>
                  <a:path w="49" h="56">
                    <a:moveTo>
                      <a:pt x="0" y="4"/>
                    </a:moveTo>
                    <a:cubicBezTo>
                      <a:pt x="0" y="39"/>
                      <a:pt x="0" y="39"/>
                      <a:pt x="0" y="39"/>
                    </a:cubicBezTo>
                    <a:cubicBezTo>
                      <a:pt x="0" y="55"/>
                      <a:pt x="0" y="55"/>
                      <a:pt x="0" y="55"/>
                    </a:cubicBezTo>
                    <a:cubicBezTo>
                      <a:pt x="0" y="56"/>
                      <a:pt x="0" y="56"/>
                      <a:pt x="0" y="56"/>
                    </a:cubicBezTo>
                    <a:cubicBezTo>
                      <a:pt x="33" y="53"/>
                      <a:pt x="33" y="53"/>
                      <a:pt x="33" y="53"/>
                    </a:cubicBezTo>
                    <a:cubicBezTo>
                      <a:pt x="36" y="34"/>
                      <a:pt x="42" y="17"/>
                      <a:pt x="49" y="0"/>
                    </a:cubicBez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6" name="Freeform 239">
                <a:extLst>
                  <a:ext uri="{FF2B5EF4-FFF2-40B4-BE49-F238E27FC236}">
                    <a16:creationId xmlns:a16="http://schemas.microsoft.com/office/drawing/2014/main" id="{E80ADD7F-8CE8-4FF8-9D16-8350707D2AF6}"/>
                  </a:ext>
                </a:extLst>
              </p:cNvPr>
              <p:cNvSpPr>
                <a:spLocks/>
              </p:cNvSpPr>
              <p:nvPr/>
            </p:nvSpPr>
            <p:spPr bwMode="auto">
              <a:xfrm>
                <a:off x="8724900" y="1358106"/>
                <a:ext cx="7938" cy="12700"/>
              </a:xfrm>
              <a:custGeom>
                <a:avLst/>
                <a:gdLst>
                  <a:gd name="T0" fmla="*/ 0 w 30"/>
                  <a:gd name="T1" fmla="*/ 2 h 53"/>
                  <a:gd name="T2" fmla="*/ 0 w 30"/>
                  <a:gd name="T3" fmla="*/ 37 h 53"/>
                  <a:gd name="T4" fmla="*/ 0 w 30"/>
                  <a:gd name="T5" fmla="*/ 51 h 53"/>
                  <a:gd name="T6" fmla="*/ 0 w 30"/>
                  <a:gd name="T7" fmla="*/ 53 h 53"/>
                  <a:gd name="T8" fmla="*/ 29 w 30"/>
                  <a:gd name="T9" fmla="*/ 51 h 53"/>
                  <a:gd name="T10" fmla="*/ 28 w 30"/>
                  <a:gd name="T11" fmla="*/ 29 h 53"/>
                  <a:gd name="T12" fmla="*/ 30 w 30"/>
                  <a:gd name="T13" fmla="*/ 0 h 53"/>
                  <a:gd name="T14" fmla="*/ 0 w 30"/>
                  <a:gd name="T15" fmla="*/ 2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53">
                    <a:moveTo>
                      <a:pt x="0" y="2"/>
                    </a:moveTo>
                    <a:cubicBezTo>
                      <a:pt x="0" y="37"/>
                      <a:pt x="0" y="37"/>
                      <a:pt x="0" y="37"/>
                    </a:cubicBezTo>
                    <a:cubicBezTo>
                      <a:pt x="0" y="51"/>
                      <a:pt x="0" y="51"/>
                      <a:pt x="0" y="51"/>
                    </a:cubicBezTo>
                    <a:cubicBezTo>
                      <a:pt x="0" y="53"/>
                      <a:pt x="0" y="53"/>
                      <a:pt x="0" y="53"/>
                    </a:cubicBezTo>
                    <a:cubicBezTo>
                      <a:pt x="29" y="51"/>
                      <a:pt x="29" y="51"/>
                      <a:pt x="29" y="51"/>
                    </a:cubicBezTo>
                    <a:cubicBezTo>
                      <a:pt x="28" y="44"/>
                      <a:pt x="28" y="36"/>
                      <a:pt x="28" y="29"/>
                    </a:cubicBezTo>
                    <a:cubicBezTo>
                      <a:pt x="28" y="19"/>
                      <a:pt x="29" y="9"/>
                      <a:pt x="30" y="0"/>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7" name="Freeform 240">
                <a:extLst>
                  <a:ext uri="{FF2B5EF4-FFF2-40B4-BE49-F238E27FC236}">
                    <a16:creationId xmlns:a16="http://schemas.microsoft.com/office/drawing/2014/main" id="{2F9E8E3A-39F4-4566-94A7-298E9DAB8471}"/>
                  </a:ext>
                </a:extLst>
              </p:cNvPr>
              <p:cNvSpPr>
                <a:spLocks/>
              </p:cNvSpPr>
              <p:nvPr/>
            </p:nvSpPr>
            <p:spPr bwMode="auto">
              <a:xfrm>
                <a:off x="8724901" y="1375569"/>
                <a:ext cx="11113" cy="12700"/>
              </a:xfrm>
              <a:custGeom>
                <a:avLst/>
                <a:gdLst>
                  <a:gd name="T0" fmla="*/ 31 w 45"/>
                  <a:gd name="T1" fmla="*/ 0 h 53"/>
                  <a:gd name="T2" fmla="*/ 0 w 45"/>
                  <a:gd name="T3" fmla="*/ 2 h 53"/>
                  <a:gd name="T4" fmla="*/ 0 w 45"/>
                  <a:gd name="T5" fmla="*/ 37 h 53"/>
                  <a:gd name="T6" fmla="*/ 0 w 45"/>
                  <a:gd name="T7" fmla="*/ 53 h 53"/>
                  <a:gd name="T8" fmla="*/ 0 w 45"/>
                  <a:gd name="T9" fmla="*/ 53 h 53"/>
                  <a:gd name="T10" fmla="*/ 45 w 45"/>
                  <a:gd name="T11" fmla="*/ 49 h 53"/>
                  <a:gd name="T12" fmla="*/ 31 w 45"/>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45" h="53">
                    <a:moveTo>
                      <a:pt x="31" y="0"/>
                    </a:moveTo>
                    <a:cubicBezTo>
                      <a:pt x="0" y="2"/>
                      <a:pt x="0" y="2"/>
                      <a:pt x="0" y="2"/>
                    </a:cubicBezTo>
                    <a:cubicBezTo>
                      <a:pt x="0" y="37"/>
                      <a:pt x="0" y="37"/>
                      <a:pt x="0" y="37"/>
                    </a:cubicBezTo>
                    <a:cubicBezTo>
                      <a:pt x="0" y="53"/>
                      <a:pt x="0" y="53"/>
                      <a:pt x="0" y="53"/>
                    </a:cubicBezTo>
                    <a:cubicBezTo>
                      <a:pt x="0" y="53"/>
                      <a:pt x="0" y="53"/>
                      <a:pt x="0" y="53"/>
                    </a:cubicBezTo>
                    <a:cubicBezTo>
                      <a:pt x="45" y="49"/>
                      <a:pt x="45" y="49"/>
                      <a:pt x="45" y="49"/>
                    </a:cubicBezTo>
                    <a:cubicBezTo>
                      <a:pt x="39" y="33"/>
                      <a:pt x="34" y="17"/>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8" name="Freeform 241">
                <a:extLst>
                  <a:ext uri="{FF2B5EF4-FFF2-40B4-BE49-F238E27FC236}">
                    <a16:creationId xmlns:a16="http://schemas.microsoft.com/office/drawing/2014/main" id="{EAD6CA1D-1D81-4019-BF3B-B5B63BB3DE34}"/>
                  </a:ext>
                </a:extLst>
              </p:cNvPr>
              <p:cNvSpPr>
                <a:spLocks/>
              </p:cNvSpPr>
              <p:nvPr/>
            </p:nvSpPr>
            <p:spPr bwMode="auto">
              <a:xfrm>
                <a:off x="8648700" y="1289844"/>
                <a:ext cx="69850" cy="20638"/>
              </a:xfrm>
              <a:custGeom>
                <a:avLst/>
                <a:gdLst>
                  <a:gd name="T0" fmla="*/ 44 w 44"/>
                  <a:gd name="T1" fmla="*/ 9 h 13"/>
                  <a:gd name="T2" fmla="*/ 44 w 44"/>
                  <a:gd name="T3" fmla="*/ 6 h 13"/>
                  <a:gd name="T4" fmla="*/ 44 w 44"/>
                  <a:gd name="T5" fmla="*/ 0 h 13"/>
                  <a:gd name="T6" fmla="*/ 0 w 44"/>
                  <a:gd name="T7" fmla="*/ 3 h 13"/>
                  <a:gd name="T8" fmla="*/ 0 w 44"/>
                  <a:gd name="T9" fmla="*/ 10 h 13"/>
                  <a:gd name="T10" fmla="*/ 0 w 44"/>
                  <a:gd name="T11" fmla="*/ 12 h 13"/>
                  <a:gd name="T12" fmla="*/ 0 w 44"/>
                  <a:gd name="T13" fmla="*/ 13 h 13"/>
                  <a:gd name="T14" fmla="*/ 44 w 44"/>
                  <a:gd name="T15" fmla="*/ 9 h 13"/>
                  <a:gd name="T16" fmla="*/ 44 w 44"/>
                  <a:gd name="T17"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3">
                    <a:moveTo>
                      <a:pt x="44" y="9"/>
                    </a:moveTo>
                    <a:lnTo>
                      <a:pt x="44" y="6"/>
                    </a:lnTo>
                    <a:lnTo>
                      <a:pt x="44" y="0"/>
                    </a:lnTo>
                    <a:lnTo>
                      <a:pt x="0" y="3"/>
                    </a:lnTo>
                    <a:lnTo>
                      <a:pt x="0" y="10"/>
                    </a:lnTo>
                    <a:lnTo>
                      <a:pt x="0" y="12"/>
                    </a:lnTo>
                    <a:lnTo>
                      <a:pt x="0" y="13"/>
                    </a:lnTo>
                    <a:lnTo>
                      <a:pt x="44" y="9"/>
                    </a:lnTo>
                    <a:lnTo>
                      <a:pt x="44"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9" name="Freeform 242">
                <a:extLst>
                  <a:ext uri="{FF2B5EF4-FFF2-40B4-BE49-F238E27FC236}">
                    <a16:creationId xmlns:a16="http://schemas.microsoft.com/office/drawing/2014/main" id="{C3CDD65A-B065-48A9-B0CC-D5246C30E725}"/>
                  </a:ext>
                </a:extLst>
              </p:cNvPr>
              <p:cNvSpPr>
                <a:spLocks/>
              </p:cNvSpPr>
              <p:nvPr/>
            </p:nvSpPr>
            <p:spPr bwMode="auto">
              <a:xfrm>
                <a:off x="8648700" y="1308895"/>
                <a:ext cx="69850" cy="22225"/>
              </a:xfrm>
              <a:custGeom>
                <a:avLst/>
                <a:gdLst>
                  <a:gd name="T0" fmla="*/ 0 w 44"/>
                  <a:gd name="T1" fmla="*/ 11 h 14"/>
                  <a:gd name="T2" fmla="*/ 0 w 44"/>
                  <a:gd name="T3" fmla="*/ 14 h 14"/>
                  <a:gd name="T4" fmla="*/ 0 w 44"/>
                  <a:gd name="T5" fmla="*/ 14 h 14"/>
                  <a:gd name="T6" fmla="*/ 44 w 44"/>
                  <a:gd name="T7" fmla="*/ 10 h 14"/>
                  <a:gd name="T8" fmla="*/ 44 w 44"/>
                  <a:gd name="T9" fmla="*/ 10 h 14"/>
                  <a:gd name="T10" fmla="*/ 44 w 44"/>
                  <a:gd name="T11" fmla="*/ 7 h 14"/>
                  <a:gd name="T12" fmla="*/ 44 w 44"/>
                  <a:gd name="T13" fmla="*/ 0 h 14"/>
                  <a:gd name="T14" fmla="*/ 0 w 44"/>
                  <a:gd name="T15" fmla="*/ 4 h 14"/>
                  <a:gd name="T16" fmla="*/ 0 w 44"/>
                  <a:gd name="T17"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4">
                    <a:moveTo>
                      <a:pt x="0" y="11"/>
                    </a:moveTo>
                    <a:lnTo>
                      <a:pt x="0" y="14"/>
                    </a:lnTo>
                    <a:lnTo>
                      <a:pt x="0" y="14"/>
                    </a:lnTo>
                    <a:lnTo>
                      <a:pt x="44" y="10"/>
                    </a:lnTo>
                    <a:lnTo>
                      <a:pt x="44" y="10"/>
                    </a:lnTo>
                    <a:lnTo>
                      <a:pt x="44" y="7"/>
                    </a:lnTo>
                    <a:lnTo>
                      <a:pt x="44" y="0"/>
                    </a:lnTo>
                    <a:lnTo>
                      <a:pt x="0" y="4"/>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0" name="Freeform 243">
                <a:extLst>
                  <a:ext uri="{FF2B5EF4-FFF2-40B4-BE49-F238E27FC236}">
                    <a16:creationId xmlns:a16="http://schemas.microsoft.com/office/drawing/2014/main" id="{767EC1FF-3C10-4F54-BBC0-DEC6D377C1D5}"/>
                  </a:ext>
                </a:extLst>
              </p:cNvPr>
              <p:cNvSpPr>
                <a:spLocks/>
              </p:cNvSpPr>
              <p:nvPr/>
            </p:nvSpPr>
            <p:spPr bwMode="auto">
              <a:xfrm>
                <a:off x="8648700" y="1329532"/>
                <a:ext cx="69850" cy="22225"/>
              </a:xfrm>
              <a:custGeom>
                <a:avLst/>
                <a:gdLst>
                  <a:gd name="T0" fmla="*/ 0 w 44"/>
                  <a:gd name="T1" fmla="*/ 11 h 14"/>
                  <a:gd name="T2" fmla="*/ 0 w 44"/>
                  <a:gd name="T3" fmla="*/ 14 h 14"/>
                  <a:gd name="T4" fmla="*/ 0 w 44"/>
                  <a:gd name="T5" fmla="*/ 14 h 14"/>
                  <a:gd name="T6" fmla="*/ 44 w 44"/>
                  <a:gd name="T7" fmla="*/ 10 h 14"/>
                  <a:gd name="T8" fmla="*/ 44 w 44"/>
                  <a:gd name="T9" fmla="*/ 10 h 14"/>
                  <a:gd name="T10" fmla="*/ 44 w 44"/>
                  <a:gd name="T11" fmla="*/ 7 h 14"/>
                  <a:gd name="T12" fmla="*/ 44 w 44"/>
                  <a:gd name="T13" fmla="*/ 0 h 14"/>
                  <a:gd name="T14" fmla="*/ 0 w 44"/>
                  <a:gd name="T15" fmla="*/ 4 h 14"/>
                  <a:gd name="T16" fmla="*/ 0 w 44"/>
                  <a:gd name="T17"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4">
                    <a:moveTo>
                      <a:pt x="0" y="11"/>
                    </a:moveTo>
                    <a:lnTo>
                      <a:pt x="0" y="14"/>
                    </a:lnTo>
                    <a:lnTo>
                      <a:pt x="0" y="14"/>
                    </a:lnTo>
                    <a:lnTo>
                      <a:pt x="44" y="10"/>
                    </a:lnTo>
                    <a:lnTo>
                      <a:pt x="44" y="10"/>
                    </a:lnTo>
                    <a:lnTo>
                      <a:pt x="44" y="7"/>
                    </a:lnTo>
                    <a:lnTo>
                      <a:pt x="44" y="0"/>
                    </a:lnTo>
                    <a:lnTo>
                      <a:pt x="0" y="4"/>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1" name="Freeform 244">
                <a:extLst>
                  <a:ext uri="{FF2B5EF4-FFF2-40B4-BE49-F238E27FC236}">
                    <a16:creationId xmlns:a16="http://schemas.microsoft.com/office/drawing/2014/main" id="{A9AE6CBE-6930-4B76-834E-278AC2F141F8}"/>
                  </a:ext>
                </a:extLst>
              </p:cNvPr>
              <p:cNvSpPr>
                <a:spLocks/>
              </p:cNvSpPr>
              <p:nvPr/>
            </p:nvSpPr>
            <p:spPr bwMode="auto">
              <a:xfrm>
                <a:off x="8647112" y="1354932"/>
                <a:ext cx="71438" cy="17463"/>
              </a:xfrm>
              <a:custGeom>
                <a:avLst/>
                <a:gdLst>
                  <a:gd name="T0" fmla="*/ 45 w 45"/>
                  <a:gd name="T1" fmla="*/ 0 h 11"/>
                  <a:gd name="T2" fmla="*/ 0 w 45"/>
                  <a:gd name="T3" fmla="*/ 3 h 11"/>
                  <a:gd name="T4" fmla="*/ 0 w 45"/>
                  <a:gd name="T5" fmla="*/ 11 h 11"/>
                  <a:gd name="T6" fmla="*/ 45 w 45"/>
                  <a:gd name="T7" fmla="*/ 8 h 11"/>
                  <a:gd name="T8" fmla="*/ 45 w 45"/>
                  <a:gd name="T9" fmla="*/ 0 h 11"/>
                </a:gdLst>
                <a:ahLst/>
                <a:cxnLst>
                  <a:cxn ang="0">
                    <a:pos x="T0" y="T1"/>
                  </a:cxn>
                  <a:cxn ang="0">
                    <a:pos x="T2" y="T3"/>
                  </a:cxn>
                  <a:cxn ang="0">
                    <a:pos x="T4" y="T5"/>
                  </a:cxn>
                  <a:cxn ang="0">
                    <a:pos x="T6" y="T7"/>
                  </a:cxn>
                  <a:cxn ang="0">
                    <a:pos x="T8" y="T9"/>
                  </a:cxn>
                </a:cxnLst>
                <a:rect l="0" t="0" r="r" b="b"/>
                <a:pathLst>
                  <a:path w="45" h="11">
                    <a:moveTo>
                      <a:pt x="45" y="0"/>
                    </a:moveTo>
                    <a:lnTo>
                      <a:pt x="0" y="3"/>
                    </a:lnTo>
                    <a:lnTo>
                      <a:pt x="0" y="11"/>
                    </a:lnTo>
                    <a:lnTo>
                      <a:pt x="45" y="8"/>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2" name="Freeform 245">
                <a:extLst>
                  <a:ext uri="{FF2B5EF4-FFF2-40B4-BE49-F238E27FC236}">
                    <a16:creationId xmlns:a16="http://schemas.microsoft.com/office/drawing/2014/main" id="{20B302EA-F32E-4C21-8F59-C68F84B1A588}"/>
                  </a:ext>
                </a:extLst>
              </p:cNvPr>
              <p:cNvSpPr>
                <a:spLocks/>
              </p:cNvSpPr>
              <p:nvPr/>
            </p:nvSpPr>
            <p:spPr bwMode="auto">
              <a:xfrm>
                <a:off x="8647112" y="1377157"/>
                <a:ext cx="71438" cy="17463"/>
              </a:xfrm>
              <a:custGeom>
                <a:avLst/>
                <a:gdLst>
                  <a:gd name="T0" fmla="*/ 0 w 45"/>
                  <a:gd name="T1" fmla="*/ 11 h 11"/>
                  <a:gd name="T2" fmla="*/ 45 w 45"/>
                  <a:gd name="T3" fmla="*/ 8 h 11"/>
                  <a:gd name="T4" fmla="*/ 45 w 45"/>
                  <a:gd name="T5" fmla="*/ 0 h 11"/>
                  <a:gd name="T6" fmla="*/ 0 w 45"/>
                  <a:gd name="T7" fmla="*/ 3 h 11"/>
                  <a:gd name="T8" fmla="*/ 0 w 45"/>
                  <a:gd name="T9" fmla="*/ 11 h 11"/>
                </a:gdLst>
                <a:ahLst/>
                <a:cxnLst>
                  <a:cxn ang="0">
                    <a:pos x="T0" y="T1"/>
                  </a:cxn>
                  <a:cxn ang="0">
                    <a:pos x="T2" y="T3"/>
                  </a:cxn>
                  <a:cxn ang="0">
                    <a:pos x="T4" y="T5"/>
                  </a:cxn>
                  <a:cxn ang="0">
                    <a:pos x="T6" y="T7"/>
                  </a:cxn>
                  <a:cxn ang="0">
                    <a:pos x="T8" y="T9"/>
                  </a:cxn>
                </a:cxnLst>
                <a:rect l="0" t="0" r="r" b="b"/>
                <a:pathLst>
                  <a:path w="45" h="11">
                    <a:moveTo>
                      <a:pt x="0" y="11"/>
                    </a:moveTo>
                    <a:lnTo>
                      <a:pt x="45" y="8"/>
                    </a:lnTo>
                    <a:lnTo>
                      <a:pt x="45" y="0"/>
                    </a:lnTo>
                    <a:lnTo>
                      <a:pt x="0" y="3"/>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3" name="Freeform 246">
                <a:extLst>
                  <a:ext uri="{FF2B5EF4-FFF2-40B4-BE49-F238E27FC236}">
                    <a16:creationId xmlns:a16="http://schemas.microsoft.com/office/drawing/2014/main" id="{270A168D-DCEF-4F6A-91E8-60C9612D6371}"/>
                  </a:ext>
                </a:extLst>
              </p:cNvPr>
              <p:cNvSpPr>
                <a:spLocks/>
              </p:cNvSpPr>
              <p:nvPr/>
            </p:nvSpPr>
            <p:spPr bwMode="auto">
              <a:xfrm>
                <a:off x="8480426" y="1223170"/>
                <a:ext cx="87313" cy="60325"/>
              </a:xfrm>
              <a:custGeom>
                <a:avLst/>
                <a:gdLst>
                  <a:gd name="T0" fmla="*/ 55 w 55"/>
                  <a:gd name="T1" fmla="*/ 4 h 38"/>
                  <a:gd name="T2" fmla="*/ 0 w 55"/>
                  <a:gd name="T3" fmla="*/ 0 h 38"/>
                  <a:gd name="T4" fmla="*/ 0 w 55"/>
                  <a:gd name="T5" fmla="*/ 33 h 38"/>
                  <a:gd name="T6" fmla="*/ 55 w 55"/>
                  <a:gd name="T7" fmla="*/ 38 h 38"/>
                  <a:gd name="T8" fmla="*/ 55 w 55"/>
                  <a:gd name="T9" fmla="*/ 4 h 38"/>
                </a:gdLst>
                <a:ahLst/>
                <a:cxnLst>
                  <a:cxn ang="0">
                    <a:pos x="T0" y="T1"/>
                  </a:cxn>
                  <a:cxn ang="0">
                    <a:pos x="T2" y="T3"/>
                  </a:cxn>
                  <a:cxn ang="0">
                    <a:pos x="T4" y="T5"/>
                  </a:cxn>
                  <a:cxn ang="0">
                    <a:pos x="T6" y="T7"/>
                  </a:cxn>
                  <a:cxn ang="0">
                    <a:pos x="T8" y="T9"/>
                  </a:cxn>
                </a:cxnLst>
                <a:rect l="0" t="0" r="r" b="b"/>
                <a:pathLst>
                  <a:path w="55" h="38">
                    <a:moveTo>
                      <a:pt x="55" y="4"/>
                    </a:moveTo>
                    <a:lnTo>
                      <a:pt x="0" y="0"/>
                    </a:lnTo>
                    <a:lnTo>
                      <a:pt x="0" y="33"/>
                    </a:lnTo>
                    <a:lnTo>
                      <a:pt x="55" y="38"/>
                    </a:lnTo>
                    <a:lnTo>
                      <a:pt x="5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4" name="Freeform 247">
                <a:extLst>
                  <a:ext uri="{FF2B5EF4-FFF2-40B4-BE49-F238E27FC236}">
                    <a16:creationId xmlns:a16="http://schemas.microsoft.com/office/drawing/2014/main" id="{917146CE-46AF-4B41-BD57-924AFFF7ADB7}"/>
                  </a:ext>
                </a:extLst>
              </p:cNvPr>
              <p:cNvSpPr>
                <a:spLocks/>
              </p:cNvSpPr>
              <p:nvPr/>
            </p:nvSpPr>
            <p:spPr bwMode="auto">
              <a:xfrm>
                <a:off x="8572500" y="1231107"/>
                <a:ext cx="44450" cy="17463"/>
              </a:xfrm>
              <a:custGeom>
                <a:avLst/>
                <a:gdLst>
                  <a:gd name="T0" fmla="*/ 28 w 28"/>
                  <a:gd name="T1" fmla="*/ 9 h 11"/>
                  <a:gd name="T2" fmla="*/ 28 w 28"/>
                  <a:gd name="T3" fmla="*/ 8 h 11"/>
                  <a:gd name="T4" fmla="*/ 28 w 28"/>
                  <a:gd name="T5" fmla="*/ 2 h 11"/>
                  <a:gd name="T6" fmla="*/ 0 w 28"/>
                  <a:gd name="T7" fmla="*/ 0 h 11"/>
                  <a:gd name="T8" fmla="*/ 0 w 28"/>
                  <a:gd name="T9" fmla="*/ 6 h 11"/>
                  <a:gd name="T10" fmla="*/ 0 w 28"/>
                  <a:gd name="T11" fmla="*/ 7 h 11"/>
                  <a:gd name="T12" fmla="*/ 0 w 28"/>
                  <a:gd name="T13" fmla="*/ 8 h 11"/>
                  <a:gd name="T14" fmla="*/ 28 w 28"/>
                  <a:gd name="T15" fmla="*/ 11 h 11"/>
                  <a:gd name="T16" fmla="*/ 28 w 28"/>
                  <a:gd name="T17"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1">
                    <a:moveTo>
                      <a:pt x="28" y="9"/>
                    </a:moveTo>
                    <a:lnTo>
                      <a:pt x="28" y="8"/>
                    </a:lnTo>
                    <a:lnTo>
                      <a:pt x="28" y="2"/>
                    </a:lnTo>
                    <a:lnTo>
                      <a:pt x="0" y="0"/>
                    </a:lnTo>
                    <a:lnTo>
                      <a:pt x="0" y="6"/>
                    </a:lnTo>
                    <a:lnTo>
                      <a:pt x="0" y="7"/>
                    </a:lnTo>
                    <a:lnTo>
                      <a:pt x="0" y="8"/>
                    </a:lnTo>
                    <a:lnTo>
                      <a:pt x="28" y="11"/>
                    </a:lnTo>
                    <a:lnTo>
                      <a:pt x="28"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5" name="Freeform 248">
                <a:extLst>
                  <a:ext uri="{FF2B5EF4-FFF2-40B4-BE49-F238E27FC236}">
                    <a16:creationId xmlns:a16="http://schemas.microsoft.com/office/drawing/2014/main" id="{0F97DD5C-5D59-4FC8-94F1-0A760FD61B91}"/>
                  </a:ext>
                </a:extLst>
              </p:cNvPr>
              <p:cNvSpPr>
                <a:spLocks/>
              </p:cNvSpPr>
              <p:nvPr/>
            </p:nvSpPr>
            <p:spPr bwMode="auto">
              <a:xfrm>
                <a:off x="8572500" y="1250157"/>
                <a:ext cx="44450" cy="17463"/>
              </a:xfrm>
              <a:custGeom>
                <a:avLst/>
                <a:gdLst>
                  <a:gd name="T0" fmla="*/ 28 w 28"/>
                  <a:gd name="T1" fmla="*/ 10 h 11"/>
                  <a:gd name="T2" fmla="*/ 28 w 28"/>
                  <a:gd name="T3" fmla="*/ 8 h 11"/>
                  <a:gd name="T4" fmla="*/ 28 w 28"/>
                  <a:gd name="T5" fmla="*/ 2 h 11"/>
                  <a:gd name="T6" fmla="*/ 0 w 28"/>
                  <a:gd name="T7" fmla="*/ 0 h 11"/>
                  <a:gd name="T8" fmla="*/ 0 w 28"/>
                  <a:gd name="T9" fmla="*/ 6 h 11"/>
                  <a:gd name="T10" fmla="*/ 0 w 28"/>
                  <a:gd name="T11" fmla="*/ 7 h 11"/>
                  <a:gd name="T12" fmla="*/ 0 w 28"/>
                  <a:gd name="T13" fmla="*/ 9 h 11"/>
                  <a:gd name="T14" fmla="*/ 28 w 28"/>
                  <a:gd name="T15" fmla="*/ 11 h 11"/>
                  <a:gd name="T16" fmla="*/ 28 w 28"/>
                  <a:gd name="T17"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1">
                    <a:moveTo>
                      <a:pt x="28" y="10"/>
                    </a:moveTo>
                    <a:lnTo>
                      <a:pt x="28" y="8"/>
                    </a:lnTo>
                    <a:lnTo>
                      <a:pt x="28" y="2"/>
                    </a:lnTo>
                    <a:lnTo>
                      <a:pt x="0" y="0"/>
                    </a:lnTo>
                    <a:lnTo>
                      <a:pt x="0" y="6"/>
                    </a:lnTo>
                    <a:lnTo>
                      <a:pt x="0" y="7"/>
                    </a:lnTo>
                    <a:lnTo>
                      <a:pt x="0" y="9"/>
                    </a:lnTo>
                    <a:lnTo>
                      <a:pt x="28" y="11"/>
                    </a:lnTo>
                    <a:lnTo>
                      <a:pt x="28"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6" name="Freeform 249">
                <a:extLst>
                  <a:ext uri="{FF2B5EF4-FFF2-40B4-BE49-F238E27FC236}">
                    <a16:creationId xmlns:a16="http://schemas.microsoft.com/office/drawing/2014/main" id="{5191145F-B668-4D31-BCB4-5DE423ECE3BA}"/>
                  </a:ext>
                </a:extLst>
              </p:cNvPr>
              <p:cNvSpPr>
                <a:spLocks/>
              </p:cNvSpPr>
              <p:nvPr/>
            </p:nvSpPr>
            <p:spPr bwMode="auto">
              <a:xfrm>
                <a:off x="8572500" y="1269206"/>
                <a:ext cx="44450" cy="19050"/>
              </a:xfrm>
              <a:custGeom>
                <a:avLst/>
                <a:gdLst>
                  <a:gd name="T0" fmla="*/ 28 w 28"/>
                  <a:gd name="T1" fmla="*/ 10 h 12"/>
                  <a:gd name="T2" fmla="*/ 28 w 28"/>
                  <a:gd name="T3" fmla="*/ 9 h 12"/>
                  <a:gd name="T4" fmla="*/ 28 w 28"/>
                  <a:gd name="T5" fmla="*/ 3 h 12"/>
                  <a:gd name="T6" fmla="*/ 0 w 28"/>
                  <a:gd name="T7" fmla="*/ 0 h 12"/>
                  <a:gd name="T8" fmla="*/ 0 w 28"/>
                  <a:gd name="T9" fmla="*/ 6 h 12"/>
                  <a:gd name="T10" fmla="*/ 0 w 28"/>
                  <a:gd name="T11" fmla="*/ 8 h 12"/>
                  <a:gd name="T12" fmla="*/ 0 w 28"/>
                  <a:gd name="T13" fmla="*/ 9 h 12"/>
                  <a:gd name="T14" fmla="*/ 28 w 28"/>
                  <a:gd name="T15" fmla="*/ 12 h 12"/>
                  <a:gd name="T16" fmla="*/ 28 w 28"/>
                  <a:gd name="T17"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2">
                    <a:moveTo>
                      <a:pt x="28" y="10"/>
                    </a:moveTo>
                    <a:lnTo>
                      <a:pt x="28" y="9"/>
                    </a:lnTo>
                    <a:lnTo>
                      <a:pt x="28" y="3"/>
                    </a:lnTo>
                    <a:lnTo>
                      <a:pt x="0" y="0"/>
                    </a:lnTo>
                    <a:lnTo>
                      <a:pt x="0" y="6"/>
                    </a:lnTo>
                    <a:lnTo>
                      <a:pt x="0" y="8"/>
                    </a:lnTo>
                    <a:lnTo>
                      <a:pt x="0" y="9"/>
                    </a:lnTo>
                    <a:lnTo>
                      <a:pt x="28" y="12"/>
                    </a:lnTo>
                    <a:lnTo>
                      <a:pt x="28"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7" name="Freeform 250">
                <a:extLst>
                  <a:ext uri="{FF2B5EF4-FFF2-40B4-BE49-F238E27FC236}">
                    <a16:creationId xmlns:a16="http://schemas.microsoft.com/office/drawing/2014/main" id="{567B0F9F-534E-4437-B717-E4D2A9F94DB2}"/>
                  </a:ext>
                </a:extLst>
              </p:cNvPr>
              <p:cNvSpPr>
                <a:spLocks/>
              </p:cNvSpPr>
              <p:nvPr/>
            </p:nvSpPr>
            <p:spPr bwMode="auto">
              <a:xfrm>
                <a:off x="8480426" y="1285082"/>
                <a:ext cx="60325" cy="9525"/>
              </a:xfrm>
              <a:custGeom>
                <a:avLst/>
                <a:gdLst>
                  <a:gd name="T0" fmla="*/ 38 w 38"/>
                  <a:gd name="T1" fmla="*/ 3 h 6"/>
                  <a:gd name="T2" fmla="*/ 0 w 38"/>
                  <a:gd name="T3" fmla="*/ 0 h 6"/>
                  <a:gd name="T4" fmla="*/ 0 w 38"/>
                  <a:gd name="T5" fmla="*/ 3 h 6"/>
                  <a:gd name="T6" fmla="*/ 38 w 38"/>
                  <a:gd name="T7" fmla="*/ 6 h 6"/>
                  <a:gd name="T8" fmla="*/ 38 w 38"/>
                  <a:gd name="T9" fmla="*/ 3 h 6"/>
                </a:gdLst>
                <a:ahLst/>
                <a:cxnLst>
                  <a:cxn ang="0">
                    <a:pos x="T0" y="T1"/>
                  </a:cxn>
                  <a:cxn ang="0">
                    <a:pos x="T2" y="T3"/>
                  </a:cxn>
                  <a:cxn ang="0">
                    <a:pos x="T4" y="T5"/>
                  </a:cxn>
                  <a:cxn ang="0">
                    <a:pos x="T6" y="T7"/>
                  </a:cxn>
                  <a:cxn ang="0">
                    <a:pos x="T8" y="T9"/>
                  </a:cxn>
                </a:cxnLst>
                <a:rect l="0" t="0" r="r" b="b"/>
                <a:pathLst>
                  <a:path w="38" h="6">
                    <a:moveTo>
                      <a:pt x="38" y="3"/>
                    </a:moveTo>
                    <a:lnTo>
                      <a:pt x="0" y="0"/>
                    </a:lnTo>
                    <a:lnTo>
                      <a:pt x="0" y="3"/>
                    </a:lnTo>
                    <a:lnTo>
                      <a:pt x="38" y="6"/>
                    </a:lnTo>
                    <a:lnTo>
                      <a:pt x="38"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8" name="Freeform 251">
                <a:extLst>
                  <a:ext uri="{FF2B5EF4-FFF2-40B4-BE49-F238E27FC236}">
                    <a16:creationId xmlns:a16="http://schemas.microsoft.com/office/drawing/2014/main" id="{114241FC-33E7-4333-8F4E-984405A12E14}"/>
                  </a:ext>
                </a:extLst>
              </p:cNvPr>
              <p:cNvSpPr>
                <a:spLocks/>
              </p:cNvSpPr>
              <p:nvPr/>
            </p:nvSpPr>
            <p:spPr bwMode="auto">
              <a:xfrm>
                <a:off x="8480426" y="1289844"/>
                <a:ext cx="60325" cy="14288"/>
              </a:xfrm>
              <a:custGeom>
                <a:avLst/>
                <a:gdLst>
                  <a:gd name="T0" fmla="*/ 38 w 38"/>
                  <a:gd name="T1" fmla="*/ 3 h 9"/>
                  <a:gd name="T2" fmla="*/ 0 w 38"/>
                  <a:gd name="T3" fmla="*/ 0 h 9"/>
                  <a:gd name="T4" fmla="*/ 0 w 38"/>
                  <a:gd name="T5" fmla="*/ 6 h 9"/>
                  <a:gd name="T6" fmla="*/ 38 w 38"/>
                  <a:gd name="T7" fmla="*/ 9 h 9"/>
                  <a:gd name="T8" fmla="*/ 38 w 38"/>
                  <a:gd name="T9" fmla="*/ 3 h 9"/>
                </a:gdLst>
                <a:ahLst/>
                <a:cxnLst>
                  <a:cxn ang="0">
                    <a:pos x="T0" y="T1"/>
                  </a:cxn>
                  <a:cxn ang="0">
                    <a:pos x="T2" y="T3"/>
                  </a:cxn>
                  <a:cxn ang="0">
                    <a:pos x="T4" y="T5"/>
                  </a:cxn>
                  <a:cxn ang="0">
                    <a:pos x="T6" y="T7"/>
                  </a:cxn>
                  <a:cxn ang="0">
                    <a:pos x="T8" y="T9"/>
                  </a:cxn>
                </a:cxnLst>
                <a:rect l="0" t="0" r="r" b="b"/>
                <a:pathLst>
                  <a:path w="38" h="9">
                    <a:moveTo>
                      <a:pt x="38" y="3"/>
                    </a:moveTo>
                    <a:lnTo>
                      <a:pt x="0" y="0"/>
                    </a:lnTo>
                    <a:lnTo>
                      <a:pt x="0" y="6"/>
                    </a:lnTo>
                    <a:lnTo>
                      <a:pt x="38" y="9"/>
                    </a:lnTo>
                    <a:lnTo>
                      <a:pt x="38"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9" name="Freeform 252">
                <a:extLst>
                  <a:ext uri="{FF2B5EF4-FFF2-40B4-BE49-F238E27FC236}">
                    <a16:creationId xmlns:a16="http://schemas.microsoft.com/office/drawing/2014/main" id="{6D6C5940-5B0E-4EFE-A0D5-66226856D2CA}"/>
                  </a:ext>
                </a:extLst>
              </p:cNvPr>
              <p:cNvSpPr>
                <a:spLocks/>
              </p:cNvSpPr>
              <p:nvPr/>
            </p:nvSpPr>
            <p:spPr bwMode="auto">
              <a:xfrm>
                <a:off x="8493126" y="1305719"/>
                <a:ext cx="47625" cy="7938"/>
              </a:xfrm>
              <a:custGeom>
                <a:avLst/>
                <a:gdLst>
                  <a:gd name="T0" fmla="*/ 187 w 187"/>
                  <a:gd name="T1" fmla="*/ 16 h 34"/>
                  <a:gd name="T2" fmla="*/ 0 w 187"/>
                  <a:gd name="T3" fmla="*/ 0 h 34"/>
                  <a:gd name="T4" fmla="*/ 38 w 187"/>
                  <a:gd name="T5" fmla="*/ 21 h 34"/>
                  <a:gd name="T6" fmla="*/ 187 w 187"/>
                  <a:gd name="T7" fmla="*/ 34 h 34"/>
                  <a:gd name="T8" fmla="*/ 187 w 187"/>
                  <a:gd name="T9" fmla="*/ 16 h 34"/>
                </a:gdLst>
                <a:ahLst/>
                <a:cxnLst>
                  <a:cxn ang="0">
                    <a:pos x="T0" y="T1"/>
                  </a:cxn>
                  <a:cxn ang="0">
                    <a:pos x="T2" y="T3"/>
                  </a:cxn>
                  <a:cxn ang="0">
                    <a:pos x="T4" y="T5"/>
                  </a:cxn>
                  <a:cxn ang="0">
                    <a:pos x="T6" y="T7"/>
                  </a:cxn>
                  <a:cxn ang="0">
                    <a:pos x="T8" y="T9"/>
                  </a:cxn>
                </a:cxnLst>
                <a:rect l="0" t="0" r="r" b="b"/>
                <a:pathLst>
                  <a:path w="187" h="34">
                    <a:moveTo>
                      <a:pt x="187" y="16"/>
                    </a:moveTo>
                    <a:cubicBezTo>
                      <a:pt x="0" y="0"/>
                      <a:pt x="0" y="0"/>
                      <a:pt x="0" y="0"/>
                    </a:cubicBezTo>
                    <a:cubicBezTo>
                      <a:pt x="13" y="6"/>
                      <a:pt x="26" y="13"/>
                      <a:pt x="38" y="21"/>
                    </a:cubicBezTo>
                    <a:cubicBezTo>
                      <a:pt x="187" y="34"/>
                      <a:pt x="187" y="34"/>
                      <a:pt x="187" y="34"/>
                    </a:cubicBezTo>
                    <a:lnTo>
                      <a:pt x="187"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40" name="Freeform 253">
                <a:extLst>
                  <a:ext uri="{FF2B5EF4-FFF2-40B4-BE49-F238E27FC236}">
                    <a16:creationId xmlns:a16="http://schemas.microsoft.com/office/drawing/2014/main" id="{785B3373-59DE-4973-9712-E8EA38F55A86}"/>
                  </a:ext>
                </a:extLst>
              </p:cNvPr>
              <p:cNvSpPr>
                <a:spLocks/>
              </p:cNvSpPr>
              <p:nvPr/>
            </p:nvSpPr>
            <p:spPr bwMode="auto">
              <a:xfrm>
                <a:off x="8502650" y="1310481"/>
                <a:ext cx="38100" cy="12700"/>
              </a:xfrm>
              <a:custGeom>
                <a:avLst/>
                <a:gdLst>
                  <a:gd name="T0" fmla="*/ 149 w 149"/>
                  <a:gd name="T1" fmla="*/ 13 h 51"/>
                  <a:gd name="T2" fmla="*/ 0 w 149"/>
                  <a:gd name="T3" fmla="*/ 0 h 51"/>
                  <a:gd name="T4" fmla="*/ 49 w 149"/>
                  <a:gd name="T5" fmla="*/ 42 h 51"/>
                  <a:gd name="T6" fmla="*/ 149 w 149"/>
                  <a:gd name="T7" fmla="*/ 51 h 51"/>
                  <a:gd name="T8" fmla="*/ 149 w 149"/>
                  <a:gd name="T9" fmla="*/ 13 h 51"/>
                </a:gdLst>
                <a:ahLst/>
                <a:cxnLst>
                  <a:cxn ang="0">
                    <a:pos x="T0" y="T1"/>
                  </a:cxn>
                  <a:cxn ang="0">
                    <a:pos x="T2" y="T3"/>
                  </a:cxn>
                  <a:cxn ang="0">
                    <a:pos x="T4" y="T5"/>
                  </a:cxn>
                  <a:cxn ang="0">
                    <a:pos x="T6" y="T7"/>
                  </a:cxn>
                  <a:cxn ang="0">
                    <a:pos x="T8" y="T9"/>
                  </a:cxn>
                </a:cxnLst>
                <a:rect l="0" t="0" r="r" b="b"/>
                <a:pathLst>
                  <a:path w="149" h="51">
                    <a:moveTo>
                      <a:pt x="149" y="13"/>
                    </a:moveTo>
                    <a:cubicBezTo>
                      <a:pt x="0" y="0"/>
                      <a:pt x="0" y="0"/>
                      <a:pt x="0" y="0"/>
                    </a:cubicBezTo>
                    <a:cubicBezTo>
                      <a:pt x="18" y="12"/>
                      <a:pt x="34" y="27"/>
                      <a:pt x="49" y="42"/>
                    </a:cubicBezTo>
                    <a:cubicBezTo>
                      <a:pt x="149" y="51"/>
                      <a:pt x="149" y="51"/>
                      <a:pt x="149" y="51"/>
                    </a:cubicBezTo>
                    <a:lnTo>
                      <a:pt x="149"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41" name="Freeform 254">
                <a:extLst>
                  <a:ext uri="{FF2B5EF4-FFF2-40B4-BE49-F238E27FC236}">
                    <a16:creationId xmlns:a16="http://schemas.microsoft.com/office/drawing/2014/main" id="{221C23D3-5960-4BFF-9A41-6A3814F64785}"/>
                  </a:ext>
                </a:extLst>
              </p:cNvPr>
              <p:cNvSpPr>
                <a:spLocks/>
              </p:cNvSpPr>
              <p:nvPr/>
            </p:nvSpPr>
            <p:spPr bwMode="auto">
              <a:xfrm>
                <a:off x="8520112" y="1327945"/>
                <a:ext cx="20638" cy="15875"/>
              </a:xfrm>
              <a:custGeom>
                <a:avLst/>
                <a:gdLst>
                  <a:gd name="T0" fmla="*/ 82 w 82"/>
                  <a:gd name="T1" fmla="*/ 24 h 63"/>
                  <a:gd name="T2" fmla="*/ 82 w 82"/>
                  <a:gd name="T3" fmla="*/ 15 h 63"/>
                  <a:gd name="T4" fmla="*/ 82 w 82"/>
                  <a:gd name="T5" fmla="*/ 7 h 63"/>
                  <a:gd name="T6" fmla="*/ 0 w 82"/>
                  <a:gd name="T7" fmla="*/ 0 h 63"/>
                  <a:gd name="T8" fmla="*/ 30 w 82"/>
                  <a:gd name="T9" fmla="*/ 58 h 63"/>
                  <a:gd name="T10" fmla="*/ 82 w 82"/>
                  <a:gd name="T11" fmla="*/ 63 h 63"/>
                  <a:gd name="T12" fmla="*/ 82 w 82"/>
                  <a:gd name="T13" fmla="*/ 24 h 63"/>
                </a:gdLst>
                <a:ahLst/>
                <a:cxnLst>
                  <a:cxn ang="0">
                    <a:pos x="T0" y="T1"/>
                  </a:cxn>
                  <a:cxn ang="0">
                    <a:pos x="T2" y="T3"/>
                  </a:cxn>
                  <a:cxn ang="0">
                    <a:pos x="T4" y="T5"/>
                  </a:cxn>
                  <a:cxn ang="0">
                    <a:pos x="T6" y="T7"/>
                  </a:cxn>
                  <a:cxn ang="0">
                    <a:pos x="T8" y="T9"/>
                  </a:cxn>
                  <a:cxn ang="0">
                    <a:pos x="T10" y="T11"/>
                  </a:cxn>
                  <a:cxn ang="0">
                    <a:pos x="T12" y="T13"/>
                  </a:cxn>
                </a:cxnLst>
                <a:rect l="0" t="0" r="r" b="b"/>
                <a:pathLst>
                  <a:path w="82" h="63">
                    <a:moveTo>
                      <a:pt x="82" y="24"/>
                    </a:moveTo>
                    <a:cubicBezTo>
                      <a:pt x="82" y="15"/>
                      <a:pt x="82" y="15"/>
                      <a:pt x="82" y="15"/>
                    </a:cubicBezTo>
                    <a:cubicBezTo>
                      <a:pt x="82" y="7"/>
                      <a:pt x="82" y="7"/>
                      <a:pt x="82" y="7"/>
                    </a:cubicBezTo>
                    <a:cubicBezTo>
                      <a:pt x="0" y="0"/>
                      <a:pt x="0" y="0"/>
                      <a:pt x="0" y="0"/>
                    </a:cubicBezTo>
                    <a:cubicBezTo>
                      <a:pt x="12" y="18"/>
                      <a:pt x="23" y="37"/>
                      <a:pt x="30" y="58"/>
                    </a:cubicBezTo>
                    <a:cubicBezTo>
                      <a:pt x="82" y="63"/>
                      <a:pt x="82" y="63"/>
                      <a:pt x="82" y="63"/>
                    </a:cubicBezTo>
                    <a:lnTo>
                      <a:pt x="8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42" name="Freeform 255">
                <a:extLst>
                  <a:ext uri="{FF2B5EF4-FFF2-40B4-BE49-F238E27FC236}">
                    <a16:creationId xmlns:a16="http://schemas.microsoft.com/office/drawing/2014/main" id="{1A5C3EFC-9E5E-41C7-BCEC-56AEF2194C28}"/>
                  </a:ext>
                </a:extLst>
              </p:cNvPr>
              <p:cNvSpPr>
                <a:spLocks/>
              </p:cNvSpPr>
              <p:nvPr/>
            </p:nvSpPr>
            <p:spPr bwMode="auto">
              <a:xfrm>
                <a:off x="8551862" y="1329532"/>
                <a:ext cx="65088" cy="60325"/>
              </a:xfrm>
              <a:custGeom>
                <a:avLst/>
                <a:gdLst>
                  <a:gd name="T0" fmla="*/ 0 w 41"/>
                  <a:gd name="T1" fmla="*/ 7 h 38"/>
                  <a:gd name="T2" fmla="*/ 0 w 41"/>
                  <a:gd name="T3" fmla="*/ 8 h 38"/>
                  <a:gd name="T4" fmla="*/ 0 w 41"/>
                  <a:gd name="T5" fmla="*/ 9 h 38"/>
                  <a:gd name="T6" fmla="*/ 0 w 41"/>
                  <a:gd name="T7" fmla="*/ 13 h 38"/>
                  <a:gd name="T8" fmla="*/ 0 w 41"/>
                  <a:gd name="T9" fmla="*/ 19 h 38"/>
                  <a:gd name="T10" fmla="*/ 0 w 41"/>
                  <a:gd name="T11" fmla="*/ 20 h 38"/>
                  <a:gd name="T12" fmla="*/ 0 w 41"/>
                  <a:gd name="T13" fmla="*/ 22 h 38"/>
                  <a:gd name="T14" fmla="*/ 0 w 41"/>
                  <a:gd name="T15" fmla="*/ 31 h 38"/>
                  <a:gd name="T16" fmla="*/ 0 w 41"/>
                  <a:gd name="T17" fmla="*/ 31 h 38"/>
                  <a:gd name="T18" fmla="*/ 0 w 41"/>
                  <a:gd name="T19" fmla="*/ 34 h 38"/>
                  <a:gd name="T20" fmla="*/ 41 w 41"/>
                  <a:gd name="T21" fmla="*/ 38 h 38"/>
                  <a:gd name="T22" fmla="*/ 41 w 41"/>
                  <a:gd name="T23" fmla="*/ 35 h 38"/>
                  <a:gd name="T24" fmla="*/ 41 w 41"/>
                  <a:gd name="T25" fmla="*/ 35 h 38"/>
                  <a:gd name="T26" fmla="*/ 41 w 41"/>
                  <a:gd name="T27" fmla="*/ 25 h 38"/>
                  <a:gd name="T28" fmla="*/ 41 w 41"/>
                  <a:gd name="T29" fmla="*/ 24 h 38"/>
                  <a:gd name="T30" fmla="*/ 41 w 41"/>
                  <a:gd name="T31" fmla="*/ 23 h 38"/>
                  <a:gd name="T32" fmla="*/ 41 w 41"/>
                  <a:gd name="T33" fmla="*/ 16 h 38"/>
                  <a:gd name="T34" fmla="*/ 41 w 41"/>
                  <a:gd name="T35" fmla="*/ 13 h 38"/>
                  <a:gd name="T36" fmla="*/ 41 w 41"/>
                  <a:gd name="T37" fmla="*/ 11 h 38"/>
                  <a:gd name="T38" fmla="*/ 41 w 41"/>
                  <a:gd name="T39" fmla="*/ 10 h 38"/>
                  <a:gd name="T40" fmla="*/ 41 w 41"/>
                  <a:gd name="T41" fmla="*/ 5 h 38"/>
                  <a:gd name="T42" fmla="*/ 41 w 41"/>
                  <a:gd name="T43" fmla="*/ 4 h 38"/>
                  <a:gd name="T44" fmla="*/ 0 w 41"/>
                  <a:gd name="T45" fmla="*/ 0 h 38"/>
                  <a:gd name="T46" fmla="*/ 0 w 41"/>
                  <a:gd name="T47" fmla="*/ 1 h 38"/>
                  <a:gd name="T48" fmla="*/ 0 w 41"/>
                  <a:gd name="T49"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38">
                    <a:moveTo>
                      <a:pt x="0" y="7"/>
                    </a:moveTo>
                    <a:lnTo>
                      <a:pt x="0" y="8"/>
                    </a:lnTo>
                    <a:lnTo>
                      <a:pt x="0" y="9"/>
                    </a:lnTo>
                    <a:lnTo>
                      <a:pt x="0" y="13"/>
                    </a:lnTo>
                    <a:lnTo>
                      <a:pt x="0" y="19"/>
                    </a:lnTo>
                    <a:lnTo>
                      <a:pt x="0" y="20"/>
                    </a:lnTo>
                    <a:lnTo>
                      <a:pt x="0" y="22"/>
                    </a:lnTo>
                    <a:lnTo>
                      <a:pt x="0" y="31"/>
                    </a:lnTo>
                    <a:lnTo>
                      <a:pt x="0" y="31"/>
                    </a:lnTo>
                    <a:lnTo>
                      <a:pt x="0" y="34"/>
                    </a:lnTo>
                    <a:lnTo>
                      <a:pt x="41" y="38"/>
                    </a:lnTo>
                    <a:lnTo>
                      <a:pt x="41" y="35"/>
                    </a:lnTo>
                    <a:lnTo>
                      <a:pt x="41" y="35"/>
                    </a:lnTo>
                    <a:lnTo>
                      <a:pt x="41" y="25"/>
                    </a:lnTo>
                    <a:lnTo>
                      <a:pt x="41" y="24"/>
                    </a:lnTo>
                    <a:lnTo>
                      <a:pt x="41" y="23"/>
                    </a:lnTo>
                    <a:lnTo>
                      <a:pt x="41" y="16"/>
                    </a:lnTo>
                    <a:lnTo>
                      <a:pt x="41" y="13"/>
                    </a:lnTo>
                    <a:lnTo>
                      <a:pt x="41" y="11"/>
                    </a:lnTo>
                    <a:lnTo>
                      <a:pt x="41" y="10"/>
                    </a:lnTo>
                    <a:lnTo>
                      <a:pt x="41" y="5"/>
                    </a:lnTo>
                    <a:lnTo>
                      <a:pt x="41" y="4"/>
                    </a:lnTo>
                    <a:lnTo>
                      <a:pt x="0" y="0"/>
                    </a:lnTo>
                    <a:lnTo>
                      <a:pt x="0" y="1"/>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43" name="Freeform 256">
                <a:extLst>
                  <a:ext uri="{FF2B5EF4-FFF2-40B4-BE49-F238E27FC236}">
                    <a16:creationId xmlns:a16="http://schemas.microsoft.com/office/drawing/2014/main" id="{1CE52371-DCF4-4702-A853-70B8EE2BED24}"/>
                  </a:ext>
                </a:extLst>
              </p:cNvPr>
              <p:cNvSpPr>
                <a:spLocks/>
              </p:cNvSpPr>
              <p:nvPr/>
            </p:nvSpPr>
            <p:spPr bwMode="auto">
              <a:xfrm>
                <a:off x="8550276" y="1291432"/>
                <a:ext cx="66675" cy="17463"/>
              </a:xfrm>
              <a:custGeom>
                <a:avLst/>
                <a:gdLst>
                  <a:gd name="T0" fmla="*/ 42 w 42"/>
                  <a:gd name="T1" fmla="*/ 3 h 11"/>
                  <a:gd name="T2" fmla="*/ 0 w 42"/>
                  <a:gd name="T3" fmla="*/ 0 h 11"/>
                  <a:gd name="T4" fmla="*/ 0 w 42"/>
                  <a:gd name="T5" fmla="*/ 7 h 11"/>
                  <a:gd name="T6" fmla="*/ 42 w 42"/>
                  <a:gd name="T7" fmla="*/ 11 h 11"/>
                  <a:gd name="T8" fmla="*/ 42 w 42"/>
                  <a:gd name="T9" fmla="*/ 3 h 11"/>
                </a:gdLst>
                <a:ahLst/>
                <a:cxnLst>
                  <a:cxn ang="0">
                    <a:pos x="T0" y="T1"/>
                  </a:cxn>
                  <a:cxn ang="0">
                    <a:pos x="T2" y="T3"/>
                  </a:cxn>
                  <a:cxn ang="0">
                    <a:pos x="T4" y="T5"/>
                  </a:cxn>
                  <a:cxn ang="0">
                    <a:pos x="T6" y="T7"/>
                  </a:cxn>
                  <a:cxn ang="0">
                    <a:pos x="T8" y="T9"/>
                  </a:cxn>
                </a:cxnLst>
                <a:rect l="0" t="0" r="r" b="b"/>
                <a:pathLst>
                  <a:path w="42" h="11">
                    <a:moveTo>
                      <a:pt x="42" y="3"/>
                    </a:moveTo>
                    <a:lnTo>
                      <a:pt x="0" y="0"/>
                    </a:lnTo>
                    <a:lnTo>
                      <a:pt x="0" y="7"/>
                    </a:lnTo>
                    <a:lnTo>
                      <a:pt x="42" y="11"/>
                    </a:lnTo>
                    <a:lnTo>
                      <a:pt x="4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44" name="Freeform 257">
                <a:extLst>
                  <a:ext uri="{FF2B5EF4-FFF2-40B4-BE49-F238E27FC236}">
                    <a16:creationId xmlns:a16="http://schemas.microsoft.com/office/drawing/2014/main" id="{3957BC0F-424B-4D43-9720-9794F644767E}"/>
                  </a:ext>
                </a:extLst>
              </p:cNvPr>
              <p:cNvSpPr>
                <a:spLocks/>
              </p:cNvSpPr>
              <p:nvPr/>
            </p:nvSpPr>
            <p:spPr bwMode="auto">
              <a:xfrm>
                <a:off x="8550276" y="1310482"/>
                <a:ext cx="66675" cy="17463"/>
              </a:xfrm>
              <a:custGeom>
                <a:avLst/>
                <a:gdLst>
                  <a:gd name="T0" fmla="*/ 42 w 42"/>
                  <a:gd name="T1" fmla="*/ 4 h 11"/>
                  <a:gd name="T2" fmla="*/ 0 w 42"/>
                  <a:gd name="T3" fmla="*/ 0 h 11"/>
                  <a:gd name="T4" fmla="*/ 0 w 42"/>
                  <a:gd name="T5" fmla="*/ 8 h 11"/>
                  <a:gd name="T6" fmla="*/ 42 w 42"/>
                  <a:gd name="T7" fmla="*/ 11 h 11"/>
                  <a:gd name="T8" fmla="*/ 42 w 42"/>
                  <a:gd name="T9" fmla="*/ 4 h 11"/>
                </a:gdLst>
                <a:ahLst/>
                <a:cxnLst>
                  <a:cxn ang="0">
                    <a:pos x="T0" y="T1"/>
                  </a:cxn>
                  <a:cxn ang="0">
                    <a:pos x="T2" y="T3"/>
                  </a:cxn>
                  <a:cxn ang="0">
                    <a:pos x="T4" y="T5"/>
                  </a:cxn>
                  <a:cxn ang="0">
                    <a:pos x="T6" y="T7"/>
                  </a:cxn>
                  <a:cxn ang="0">
                    <a:pos x="T8" y="T9"/>
                  </a:cxn>
                </a:cxnLst>
                <a:rect l="0" t="0" r="r" b="b"/>
                <a:pathLst>
                  <a:path w="42" h="11">
                    <a:moveTo>
                      <a:pt x="42" y="4"/>
                    </a:moveTo>
                    <a:lnTo>
                      <a:pt x="0" y="0"/>
                    </a:lnTo>
                    <a:lnTo>
                      <a:pt x="0" y="8"/>
                    </a:lnTo>
                    <a:lnTo>
                      <a:pt x="42" y="11"/>
                    </a:lnTo>
                    <a:lnTo>
                      <a:pt x="4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45" name="Freeform 258">
                <a:extLst>
                  <a:ext uri="{FF2B5EF4-FFF2-40B4-BE49-F238E27FC236}">
                    <a16:creationId xmlns:a16="http://schemas.microsoft.com/office/drawing/2014/main" id="{C3BCCE53-67BA-439C-BF9A-27642875F5AD}"/>
                  </a:ext>
                </a:extLst>
              </p:cNvPr>
              <p:cNvSpPr>
                <a:spLocks/>
              </p:cNvSpPr>
              <p:nvPr/>
            </p:nvSpPr>
            <p:spPr bwMode="auto">
              <a:xfrm>
                <a:off x="8529638" y="1350169"/>
                <a:ext cx="9525" cy="12700"/>
              </a:xfrm>
              <a:custGeom>
                <a:avLst/>
                <a:gdLst>
                  <a:gd name="T0" fmla="*/ 40 w 40"/>
                  <a:gd name="T1" fmla="*/ 3 h 50"/>
                  <a:gd name="T2" fmla="*/ 0 w 40"/>
                  <a:gd name="T3" fmla="*/ 0 h 50"/>
                  <a:gd name="T4" fmla="*/ 6 w 40"/>
                  <a:gd name="T5" fmla="*/ 47 h 50"/>
                  <a:gd name="T6" fmla="*/ 40 w 40"/>
                  <a:gd name="T7" fmla="*/ 50 h 50"/>
                  <a:gd name="T8" fmla="*/ 40 w 40"/>
                  <a:gd name="T9" fmla="*/ 3 h 50"/>
                </a:gdLst>
                <a:ahLst/>
                <a:cxnLst>
                  <a:cxn ang="0">
                    <a:pos x="T0" y="T1"/>
                  </a:cxn>
                  <a:cxn ang="0">
                    <a:pos x="T2" y="T3"/>
                  </a:cxn>
                  <a:cxn ang="0">
                    <a:pos x="T4" y="T5"/>
                  </a:cxn>
                  <a:cxn ang="0">
                    <a:pos x="T6" y="T7"/>
                  </a:cxn>
                  <a:cxn ang="0">
                    <a:pos x="T8" y="T9"/>
                  </a:cxn>
                </a:cxnLst>
                <a:rect l="0" t="0" r="r" b="b"/>
                <a:pathLst>
                  <a:path w="40" h="50">
                    <a:moveTo>
                      <a:pt x="40" y="3"/>
                    </a:moveTo>
                    <a:cubicBezTo>
                      <a:pt x="0" y="0"/>
                      <a:pt x="0" y="0"/>
                      <a:pt x="0" y="0"/>
                    </a:cubicBezTo>
                    <a:cubicBezTo>
                      <a:pt x="4" y="15"/>
                      <a:pt x="6" y="31"/>
                      <a:pt x="6" y="47"/>
                    </a:cubicBezTo>
                    <a:cubicBezTo>
                      <a:pt x="40" y="50"/>
                      <a:pt x="40" y="50"/>
                      <a:pt x="40" y="50"/>
                    </a:cubicBezTo>
                    <a:lnTo>
                      <a:pt x="4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46" name="Freeform 259">
                <a:extLst>
                  <a:ext uri="{FF2B5EF4-FFF2-40B4-BE49-F238E27FC236}">
                    <a16:creationId xmlns:a16="http://schemas.microsoft.com/office/drawing/2014/main" id="{A0FEA0D5-9956-40C8-99BE-5E56B4CAB22A}"/>
                  </a:ext>
                </a:extLst>
              </p:cNvPr>
              <p:cNvSpPr>
                <a:spLocks/>
              </p:cNvSpPr>
              <p:nvPr/>
            </p:nvSpPr>
            <p:spPr bwMode="auto">
              <a:xfrm>
                <a:off x="8529638" y="1369219"/>
                <a:ext cx="9525" cy="12700"/>
              </a:xfrm>
              <a:custGeom>
                <a:avLst/>
                <a:gdLst>
                  <a:gd name="T0" fmla="*/ 0 w 42"/>
                  <a:gd name="T1" fmla="*/ 46 h 50"/>
                  <a:gd name="T2" fmla="*/ 42 w 42"/>
                  <a:gd name="T3" fmla="*/ 50 h 50"/>
                  <a:gd name="T4" fmla="*/ 42 w 42"/>
                  <a:gd name="T5" fmla="*/ 3 h 50"/>
                  <a:gd name="T6" fmla="*/ 8 w 42"/>
                  <a:gd name="T7" fmla="*/ 0 h 50"/>
                  <a:gd name="T8" fmla="*/ 0 w 42"/>
                  <a:gd name="T9" fmla="*/ 46 h 50"/>
                </a:gdLst>
                <a:ahLst/>
                <a:cxnLst>
                  <a:cxn ang="0">
                    <a:pos x="T0" y="T1"/>
                  </a:cxn>
                  <a:cxn ang="0">
                    <a:pos x="T2" y="T3"/>
                  </a:cxn>
                  <a:cxn ang="0">
                    <a:pos x="T4" y="T5"/>
                  </a:cxn>
                  <a:cxn ang="0">
                    <a:pos x="T6" y="T7"/>
                  </a:cxn>
                  <a:cxn ang="0">
                    <a:pos x="T8" y="T9"/>
                  </a:cxn>
                </a:cxnLst>
                <a:rect l="0" t="0" r="r" b="b"/>
                <a:pathLst>
                  <a:path w="42" h="50">
                    <a:moveTo>
                      <a:pt x="0" y="46"/>
                    </a:moveTo>
                    <a:cubicBezTo>
                      <a:pt x="42" y="50"/>
                      <a:pt x="42" y="50"/>
                      <a:pt x="42" y="50"/>
                    </a:cubicBezTo>
                    <a:cubicBezTo>
                      <a:pt x="42" y="3"/>
                      <a:pt x="42" y="3"/>
                      <a:pt x="42" y="3"/>
                    </a:cubicBezTo>
                    <a:cubicBezTo>
                      <a:pt x="8" y="0"/>
                      <a:pt x="8" y="0"/>
                      <a:pt x="8" y="0"/>
                    </a:cubicBezTo>
                    <a:cubicBezTo>
                      <a:pt x="6" y="16"/>
                      <a:pt x="4" y="31"/>
                      <a:pt x="0"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grpSp>
      </p:grpSp>
      <p:grpSp>
        <p:nvGrpSpPr>
          <p:cNvPr id="55" name="Groep 54">
            <a:extLst>
              <a:ext uri="{FF2B5EF4-FFF2-40B4-BE49-F238E27FC236}">
                <a16:creationId xmlns:a16="http://schemas.microsoft.com/office/drawing/2014/main" id="{5B055985-4FC8-674C-B59A-93300F0EA903}"/>
              </a:ext>
            </a:extLst>
          </p:cNvPr>
          <p:cNvGrpSpPr/>
          <p:nvPr/>
        </p:nvGrpSpPr>
        <p:grpSpPr>
          <a:xfrm>
            <a:off x="4765424" y="5036824"/>
            <a:ext cx="792000" cy="720000"/>
            <a:chOff x="5076658" y="5050706"/>
            <a:chExt cx="1087732" cy="1089006"/>
          </a:xfrm>
        </p:grpSpPr>
        <p:sp>
          <p:nvSpPr>
            <p:cNvPr id="49" name="Oval 91">
              <a:extLst>
                <a:ext uri="{FF2B5EF4-FFF2-40B4-BE49-F238E27FC236}">
                  <a16:creationId xmlns:a16="http://schemas.microsoft.com/office/drawing/2014/main" id="{D48B26FA-B631-45AF-9244-D37285CAF5B4}"/>
                </a:ext>
              </a:extLst>
            </p:cNvPr>
            <p:cNvSpPr>
              <a:spLocks/>
            </p:cNvSpPr>
            <p:nvPr/>
          </p:nvSpPr>
          <p:spPr>
            <a:xfrm>
              <a:off x="5076658" y="5050706"/>
              <a:ext cx="1087732" cy="1089006"/>
            </a:xfrm>
            <a:prstGeom prst="ellipse">
              <a:avLst/>
            </a:prstGeom>
            <a:solidFill>
              <a:schemeClr val="bg1"/>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93" rtl="0" eaLnBrk="1" fontAlgn="auto" latinLnBrk="0" hangingPunct="1">
                <a:lnSpc>
                  <a:spcPct val="100000"/>
                </a:lnSpc>
                <a:spcBef>
                  <a:spcPts val="0"/>
                </a:spcBef>
                <a:spcAft>
                  <a:spcPts val="0"/>
                </a:spcAft>
                <a:buClrTx/>
                <a:buSzTx/>
                <a:buFontTx/>
                <a:buNone/>
                <a:tabLst/>
                <a:defRPr/>
              </a:pPr>
              <a:endParaRPr kumimoji="0" lang="fr-FR" sz="1837" b="0" i="0" u="none" strike="noStrike" kern="1200" cap="none" spc="0" normalizeH="0" baseline="0" noProof="0" err="1">
                <a:ln>
                  <a:noFill/>
                </a:ln>
                <a:solidFill>
                  <a:srgbClr val="000000"/>
                </a:solidFill>
                <a:effectLst/>
                <a:uLnTx/>
                <a:uFillTx/>
                <a:latin typeface="Arial"/>
                <a:ea typeface="ＭＳ Ｐゴシック"/>
                <a:cs typeface="+mn-cs"/>
              </a:endParaRPr>
            </a:p>
          </p:txBody>
        </p:sp>
        <p:pic>
          <p:nvPicPr>
            <p:cNvPr id="50" name="Graphic 49" descr="Open boek">
              <a:extLst>
                <a:ext uri="{FF2B5EF4-FFF2-40B4-BE49-F238E27FC236}">
                  <a16:creationId xmlns:a16="http://schemas.microsoft.com/office/drawing/2014/main" id="{E5114285-B213-4D04-9B57-7688616CA00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28655" y="5180316"/>
              <a:ext cx="774644" cy="774644"/>
            </a:xfrm>
            <a:prstGeom prst="rect">
              <a:avLst/>
            </a:prstGeom>
          </p:spPr>
        </p:pic>
      </p:grpSp>
      <p:grpSp>
        <p:nvGrpSpPr>
          <p:cNvPr id="56" name="Groep 55">
            <a:extLst>
              <a:ext uri="{FF2B5EF4-FFF2-40B4-BE49-F238E27FC236}">
                <a16:creationId xmlns:a16="http://schemas.microsoft.com/office/drawing/2014/main" id="{2620A9C8-8A06-B54B-BC5F-D3A702FDD442}"/>
              </a:ext>
            </a:extLst>
          </p:cNvPr>
          <p:cNvGrpSpPr>
            <a:grpSpLocks/>
          </p:cNvGrpSpPr>
          <p:nvPr/>
        </p:nvGrpSpPr>
        <p:grpSpPr>
          <a:xfrm>
            <a:off x="8383836" y="2144626"/>
            <a:ext cx="792000" cy="720000"/>
            <a:chOff x="8276787" y="2531187"/>
            <a:chExt cx="1087732" cy="1089006"/>
          </a:xfrm>
        </p:grpSpPr>
        <p:sp>
          <p:nvSpPr>
            <p:cNvPr id="53" name="Oval 39">
              <a:extLst>
                <a:ext uri="{FF2B5EF4-FFF2-40B4-BE49-F238E27FC236}">
                  <a16:creationId xmlns:a16="http://schemas.microsoft.com/office/drawing/2014/main" id="{5B5EE2CA-B2BA-48A4-B859-17F2D33F737A}"/>
                </a:ext>
              </a:extLst>
            </p:cNvPr>
            <p:cNvSpPr>
              <a:spLocks/>
            </p:cNvSpPr>
            <p:nvPr/>
          </p:nvSpPr>
          <p:spPr>
            <a:xfrm>
              <a:off x="8276787" y="2531187"/>
              <a:ext cx="1087732" cy="1089006"/>
            </a:xfrm>
            <a:prstGeom prst="ellipse">
              <a:avLst/>
            </a:prstGeom>
            <a:solidFill>
              <a:schemeClr val="bg1"/>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93" rtl="0" eaLnBrk="1" fontAlgn="auto" latinLnBrk="0" hangingPunct="1">
                <a:lnSpc>
                  <a:spcPct val="100000"/>
                </a:lnSpc>
                <a:spcBef>
                  <a:spcPts val="0"/>
                </a:spcBef>
                <a:spcAft>
                  <a:spcPts val="0"/>
                </a:spcAft>
                <a:buClrTx/>
                <a:buSzTx/>
                <a:buFontTx/>
                <a:buNone/>
                <a:tabLst/>
                <a:defRPr/>
              </a:pPr>
              <a:endParaRPr kumimoji="0" lang="fr-FR" sz="1837" b="0" i="0" u="none" strike="noStrike" kern="1200" cap="none" spc="0" normalizeH="0" baseline="0" noProof="0" err="1">
                <a:ln>
                  <a:noFill/>
                </a:ln>
                <a:solidFill>
                  <a:srgbClr val="000000"/>
                </a:solidFill>
                <a:effectLst/>
                <a:uLnTx/>
                <a:uFillTx/>
                <a:latin typeface="Arial"/>
                <a:ea typeface="ＭＳ Ｐゴシック"/>
                <a:cs typeface="+mn-cs"/>
              </a:endParaRPr>
            </a:p>
          </p:txBody>
        </p:sp>
        <p:pic>
          <p:nvPicPr>
            <p:cNvPr id="58" name="Graphic 57" descr="Doelgroep">
              <a:extLst>
                <a:ext uri="{FF2B5EF4-FFF2-40B4-BE49-F238E27FC236}">
                  <a16:creationId xmlns:a16="http://schemas.microsoft.com/office/drawing/2014/main" id="{6C151C7F-9A7D-44E7-ABEF-A929C3EA277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410153" y="2689926"/>
              <a:ext cx="821000" cy="821000"/>
            </a:xfrm>
            <a:prstGeom prst="rect">
              <a:avLst/>
            </a:prstGeom>
          </p:spPr>
        </p:pic>
      </p:grpSp>
      <p:grpSp>
        <p:nvGrpSpPr>
          <p:cNvPr id="74" name="Groep 73">
            <a:extLst>
              <a:ext uri="{FF2B5EF4-FFF2-40B4-BE49-F238E27FC236}">
                <a16:creationId xmlns:a16="http://schemas.microsoft.com/office/drawing/2014/main" id="{FB1ADA85-DA8D-BA46-98F6-9791425C36F4}"/>
              </a:ext>
            </a:extLst>
          </p:cNvPr>
          <p:cNvGrpSpPr/>
          <p:nvPr/>
        </p:nvGrpSpPr>
        <p:grpSpPr>
          <a:xfrm>
            <a:off x="10347797" y="3234000"/>
            <a:ext cx="792000" cy="720000"/>
            <a:chOff x="10362972" y="4228232"/>
            <a:chExt cx="1087732" cy="1089006"/>
          </a:xfrm>
        </p:grpSpPr>
        <p:sp>
          <p:nvSpPr>
            <p:cNvPr id="51" name="Oval 81">
              <a:extLst>
                <a:ext uri="{FF2B5EF4-FFF2-40B4-BE49-F238E27FC236}">
                  <a16:creationId xmlns:a16="http://schemas.microsoft.com/office/drawing/2014/main" id="{BA1729E7-E49F-4505-98E2-35BB3168CC10}"/>
                </a:ext>
              </a:extLst>
            </p:cNvPr>
            <p:cNvSpPr>
              <a:spLocks/>
            </p:cNvSpPr>
            <p:nvPr/>
          </p:nvSpPr>
          <p:spPr>
            <a:xfrm>
              <a:off x="10362972" y="4228232"/>
              <a:ext cx="1087732" cy="1089006"/>
            </a:xfrm>
            <a:prstGeom prst="ellipse">
              <a:avLst/>
            </a:prstGeom>
            <a:solidFill>
              <a:schemeClr val="bg1"/>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93" rtl="0" eaLnBrk="1" fontAlgn="auto" latinLnBrk="0" hangingPunct="1">
                <a:lnSpc>
                  <a:spcPct val="100000"/>
                </a:lnSpc>
                <a:spcBef>
                  <a:spcPts val="0"/>
                </a:spcBef>
                <a:spcAft>
                  <a:spcPts val="0"/>
                </a:spcAft>
                <a:buClrTx/>
                <a:buSzTx/>
                <a:buFontTx/>
                <a:buNone/>
                <a:tabLst/>
                <a:defRPr/>
              </a:pPr>
              <a:endParaRPr kumimoji="0" lang="fr-FR" sz="1428" b="0" i="0" u="none" strike="noStrike" kern="1200" cap="none" spc="0" normalizeH="0" baseline="0" noProof="0" err="1">
                <a:ln>
                  <a:noFill/>
                </a:ln>
                <a:solidFill>
                  <a:srgbClr val="000000"/>
                </a:solidFill>
                <a:effectLst/>
                <a:uLnTx/>
                <a:uFillTx/>
                <a:latin typeface="Arial"/>
                <a:ea typeface="ＭＳ Ｐゴシック"/>
                <a:cs typeface="+mn-cs"/>
              </a:endParaRPr>
            </a:p>
          </p:txBody>
        </p:sp>
        <p:pic>
          <p:nvPicPr>
            <p:cNvPr id="52" name="CustomIcon">
              <a:extLst>
                <a:ext uri="{FF2B5EF4-FFF2-40B4-BE49-F238E27FC236}">
                  <a16:creationId xmlns:a16="http://schemas.microsoft.com/office/drawing/2014/main" id="{898691E6-169B-47B9-8A9E-E913CC9762FF}"/>
                </a:ext>
              </a:extLst>
            </p:cNvPr>
            <p:cNvPicPr>
              <a:picLocks noChangeAspect="1"/>
            </p:cNvPicPr>
            <p:nvPr>
              <p:custDataLst>
                <p:tags r:id="rId4"/>
              </p:custDataLst>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588962" y="4482026"/>
              <a:ext cx="625994" cy="625994"/>
            </a:xfrm>
            <a:prstGeom prst="rect">
              <a:avLst/>
            </a:prstGeom>
          </p:spPr>
        </p:pic>
        <p:pic>
          <p:nvPicPr>
            <p:cNvPr id="59" name="Graphic 58" descr="Chatten">
              <a:extLst>
                <a:ext uri="{FF2B5EF4-FFF2-40B4-BE49-F238E27FC236}">
                  <a16:creationId xmlns:a16="http://schemas.microsoft.com/office/drawing/2014/main" id="{0E71D0B7-1682-41C6-BD08-F71781B46D3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724634" y="4331806"/>
              <a:ext cx="341590" cy="341590"/>
            </a:xfrm>
            <a:prstGeom prst="rect">
              <a:avLst/>
            </a:prstGeom>
          </p:spPr>
        </p:pic>
      </p:grpSp>
      <p:sp>
        <p:nvSpPr>
          <p:cNvPr id="60" name="Tekstvak 59">
            <a:extLst>
              <a:ext uri="{FF2B5EF4-FFF2-40B4-BE49-F238E27FC236}">
                <a16:creationId xmlns:a16="http://schemas.microsoft.com/office/drawing/2014/main" id="{2FB7644E-37DB-4334-B030-E0EBE2521361}"/>
              </a:ext>
            </a:extLst>
          </p:cNvPr>
          <p:cNvSpPr txBox="1"/>
          <p:nvPr/>
        </p:nvSpPr>
        <p:spPr>
          <a:xfrm>
            <a:off x="150854" y="3146621"/>
            <a:ext cx="2092144" cy="13189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1" u="none" strike="noStrike" kern="1200" cap="none" spc="0" normalizeH="0" baseline="0" noProof="0">
                <a:ln>
                  <a:noFill/>
                </a:ln>
                <a:solidFill>
                  <a:srgbClr val="005777"/>
                </a:solidFill>
                <a:effectLst/>
                <a:uLnTx/>
                <a:uFillTx/>
                <a:latin typeface="Arial"/>
                <a:ea typeface="ＭＳ Ｐゴシック"/>
                <a:cs typeface="+mn-cs"/>
              </a:rPr>
              <a:t>“Ik lees op intranet over onze deelname aan Het Potentieel Pakken en wat meer uren voor mij zou kunnen betekenen. Nog nooit over nagedacht”</a:t>
            </a:r>
          </a:p>
        </p:txBody>
      </p:sp>
      <p:sp>
        <p:nvSpPr>
          <p:cNvPr id="61" name="Tekstvak 60">
            <a:extLst>
              <a:ext uri="{FF2B5EF4-FFF2-40B4-BE49-F238E27FC236}">
                <a16:creationId xmlns:a16="http://schemas.microsoft.com/office/drawing/2014/main" id="{D6EF9E89-8619-4AAD-96E4-50B8138B32CF}"/>
              </a:ext>
            </a:extLst>
          </p:cNvPr>
          <p:cNvSpPr txBox="1"/>
          <p:nvPr/>
        </p:nvSpPr>
        <p:spPr>
          <a:xfrm>
            <a:off x="151237" y="2889911"/>
            <a:ext cx="2382906" cy="219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05777"/>
                </a:solidFill>
                <a:effectLst/>
                <a:uLnTx/>
                <a:uFillTx/>
                <a:latin typeface="Arial"/>
                <a:ea typeface="ＭＳ Ｐゴシック"/>
                <a:cs typeface="+mn-cs"/>
              </a:rPr>
              <a:t>Communicatie campagne</a:t>
            </a:r>
          </a:p>
        </p:txBody>
      </p:sp>
      <p:sp>
        <p:nvSpPr>
          <p:cNvPr id="62" name="Tekstvak 61">
            <a:extLst>
              <a:ext uri="{FF2B5EF4-FFF2-40B4-BE49-F238E27FC236}">
                <a16:creationId xmlns:a16="http://schemas.microsoft.com/office/drawing/2014/main" id="{F3ACDB03-88A3-4F1A-961E-931C425B2A58}"/>
              </a:ext>
            </a:extLst>
          </p:cNvPr>
          <p:cNvSpPr txBox="1"/>
          <p:nvPr/>
        </p:nvSpPr>
        <p:spPr>
          <a:xfrm>
            <a:off x="2342139" y="4164354"/>
            <a:ext cx="1646953" cy="10772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1" u="none" strike="noStrike" kern="1200" cap="none" spc="0" normalizeH="0" baseline="0" noProof="0">
                <a:ln>
                  <a:noFill/>
                </a:ln>
                <a:solidFill>
                  <a:srgbClr val="005777"/>
                </a:solidFill>
                <a:effectLst/>
                <a:uLnTx/>
                <a:uFillTx/>
                <a:latin typeface="Arial"/>
                <a:ea typeface="ＭＳ Ｐゴシック"/>
                <a:cs typeface="+mn-cs"/>
              </a:rPr>
              <a:t>“Ik vul de enquête in of word geïnterviewd. Leuk dat ik hierover mee kan denken”</a:t>
            </a:r>
          </a:p>
        </p:txBody>
      </p:sp>
      <p:grpSp>
        <p:nvGrpSpPr>
          <p:cNvPr id="85" name="Groep 84">
            <a:extLst>
              <a:ext uri="{FF2B5EF4-FFF2-40B4-BE49-F238E27FC236}">
                <a16:creationId xmlns:a16="http://schemas.microsoft.com/office/drawing/2014/main" id="{3E54CA4F-3494-B845-8C88-8A51EACE22A8}"/>
              </a:ext>
            </a:extLst>
          </p:cNvPr>
          <p:cNvGrpSpPr/>
          <p:nvPr/>
        </p:nvGrpSpPr>
        <p:grpSpPr>
          <a:xfrm>
            <a:off x="3627752" y="2074120"/>
            <a:ext cx="792000" cy="720000"/>
            <a:chOff x="3718805" y="2284835"/>
            <a:chExt cx="1087716" cy="1088990"/>
          </a:xfrm>
        </p:grpSpPr>
        <p:grpSp>
          <p:nvGrpSpPr>
            <p:cNvPr id="7" name="Groep 6">
              <a:extLst>
                <a:ext uri="{FF2B5EF4-FFF2-40B4-BE49-F238E27FC236}">
                  <a16:creationId xmlns:a16="http://schemas.microsoft.com/office/drawing/2014/main" id="{C3FF9E48-53D2-4217-BA83-9A6FD40A7ED5}"/>
                </a:ext>
              </a:extLst>
            </p:cNvPr>
            <p:cNvGrpSpPr/>
            <p:nvPr/>
          </p:nvGrpSpPr>
          <p:grpSpPr>
            <a:xfrm>
              <a:off x="3718805" y="2284835"/>
              <a:ext cx="1087716" cy="1088990"/>
              <a:chOff x="10324076" y="1452511"/>
              <a:chExt cx="1087748" cy="1089022"/>
            </a:xfrm>
          </p:grpSpPr>
          <p:sp>
            <p:nvSpPr>
              <p:cNvPr id="8" name="Oval 28">
                <a:extLst>
                  <a:ext uri="{FF2B5EF4-FFF2-40B4-BE49-F238E27FC236}">
                    <a16:creationId xmlns:a16="http://schemas.microsoft.com/office/drawing/2014/main" id="{79C09D7A-A7BC-43E1-82B4-8E2B70915523}"/>
                  </a:ext>
                </a:extLst>
              </p:cNvPr>
              <p:cNvSpPr>
                <a:spLocks/>
              </p:cNvSpPr>
              <p:nvPr/>
            </p:nvSpPr>
            <p:spPr>
              <a:xfrm>
                <a:off x="10324076" y="1452511"/>
                <a:ext cx="1087748" cy="1089022"/>
              </a:xfrm>
              <a:prstGeom prst="ellipse">
                <a:avLst/>
              </a:prstGeom>
              <a:solidFill>
                <a:schemeClr val="bg1"/>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93" rtl="0" eaLnBrk="1" fontAlgn="auto" latinLnBrk="0" hangingPunct="1">
                  <a:lnSpc>
                    <a:spcPct val="100000"/>
                  </a:lnSpc>
                  <a:spcBef>
                    <a:spcPts val="0"/>
                  </a:spcBef>
                  <a:spcAft>
                    <a:spcPts val="0"/>
                  </a:spcAft>
                  <a:buClrTx/>
                  <a:buSzTx/>
                  <a:buFontTx/>
                  <a:buNone/>
                  <a:tabLst/>
                  <a:defRPr/>
                </a:pPr>
                <a:endParaRPr kumimoji="0" lang="fr-FR" sz="1837" b="0" i="0" u="none" strike="noStrike" kern="1200" cap="none" spc="0" normalizeH="0" baseline="0" noProof="0" err="1">
                  <a:ln>
                    <a:noFill/>
                  </a:ln>
                  <a:solidFill>
                    <a:srgbClr val="000000"/>
                  </a:solidFill>
                  <a:effectLst/>
                  <a:uLnTx/>
                  <a:uFillTx/>
                  <a:latin typeface="Arial"/>
                  <a:ea typeface="ＭＳ Ｐゴシック"/>
                  <a:cs typeface="+mn-cs"/>
                </a:endParaRPr>
              </a:p>
            </p:txBody>
          </p:sp>
          <p:sp>
            <p:nvSpPr>
              <p:cNvPr id="9" name="Freeform 35">
                <a:extLst>
                  <a:ext uri="{FF2B5EF4-FFF2-40B4-BE49-F238E27FC236}">
                    <a16:creationId xmlns:a16="http://schemas.microsoft.com/office/drawing/2014/main" id="{234AC12C-509D-4664-B092-F99E9F845FC6}"/>
                  </a:ext>
                </a:extLst>
              </p:cNvPr>
              <p:cNvSpPr>
                <a:spLocks/>
              </p:cNvSpPr>
              <p:nvPr/>
            </p:nvSpPr>
            <p:spPr bwMode="auto">
              <a:xfrm>
                <a:off x="10741578" y="1638526"/>
                <a:ext cx="251002" cy="92385"/>
              </a:xfrm>
              <a:custGeom>
                <a:avLst/>
                <a:gdLst>
                  <a:gd name="T0" fmla="*/ 20 w 104"/>
                  <a:gd name="T1" fmla="*/ 21 h 38"/>
                  <a:gd name="T2" fmla="*/ 34 w 104"/>
                  <a:gd name="T3" fmla="*/ 15 h 38"/>
                  <a:gd name="T4" fmla="*/ 37 w 104"/>
                  <a:gd name="T5" fmla="*/ 15 h 38"/>
                  <a:gd name="T6" fmla="*/ 67 w 104"/>
                  <a:gd name="T7" fmla="*/ 15 h 38"/>
                  <a:gd name="T8" fmla="*/ 70 w 104"/>
                  <a:gd name="T9" fmla="*/ 15 h 38"/>
                  <a:gd name="T10" fmla="*/ 84 w 104"/>
                  <a:gd name="T11" fmla="*/ 21 h 38"/>
                  <a:gd name="T12" fmla="*/ 88 w 104"/>
                  <a:gd name="T13" fmla="*/ 38 h 38"/>
                  <a:gd name="T14" fmla="*/ 104 w 104"/>
                  <a:gd name="T15" fmla="*/ 38 h 38"/>
                  <a:gd name="T16" fmla="*/ 70 w 104"/>
                  <a:gd name="T17" fmla="*/ 0 h 38"/>
                  <a:gd name="T18" fmla="*/ 61 w 104"/>
                  <a:gd name="T19" fmla="*/ 0 h 38"/>
                  <a:gd name="T20" fmla="*/ 43 w 104"/>
                  <a:gd name="T21" fmla="*/ 0 h 38"/>
                  <a:gd name="T22" fmla="*/ 34 w 104"/>
                  <a:gd name="T23" fmla="*/ 0 h 38"/>
                  <a:gd name="T24" fmla="*/ 0 w 104"/>
                  <a:gd name="T25" fmla="*/ 38 h 38"/>
                  <a:gd name="T26" fmla="*/ 16 w 104"/>
                  <a:gd name="T27" fmla="*/ 38 h 38"/>
                  <a:gd name="T28" fmla="*/ 20 w 104"/>
                  <a:gd name="T29" fmla="*/ 2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38">
                    <a:moveTo>
                      <a:pt x="20" y="21"/>
                    </a:moveTo>
                    <a:cubicBezTo>
                      <a:pt x="24" y="17"/>
                      <a:pt x="28" y="15"/>
                      <a:pt x="34" y="15"/>
                    </a:cubicBezTo>
                    <a:cubicBezTo>
                      <a:pt x="37" y="15"/>
                      <a:pt x="37" y="15"/>
                      <a:pt x="37" y="15"/>
                    </a:cubicBezTo>
                    <a:cubicBezTo>
                      <a:pt x="67" y="15"/>
                      <a:pt x="67" y="15"/>
                      <a:pt x="67" y="15"/>
                    </a:cubicBezTo>
                    <a:cubicBezTo>
                      <a:pt x="70" y="15"/>
                      <a:pt x="70" y="15"/>
                      <a:pt x="70" y="15"/>
                    </a:cubicBezTo>
                    <a:cubicBezTo>
                      <a:pt x="76" y="15"/>
                      <a:pt x="80" y="17"/>
                      <a:pt x="84" y="21"/>
                    </a:cubicBezTo>
                    <a:cubicBezTo>
                      <a:pt x="87" y="25"/>
                      <a:pt x="87" y="34"/>
                      <a:pt x="88" y="38"/>
                    </a:cubicBezTo>
                    <a:cubicBezTo>
                      <a:pt x="104" y="38"/>
                      <a:pt x="104" y="38"/>
                      <a:pt x="104" y="38"/>
                    </a:cubicBezTo>
                    <a:cubicBezTo>
                      <a:pt x="101" y="20"/>
                      <a:pt x="98" y="0"/>
                      <a:pt x="70" y="0"/>
                    </a:cubicBezTo>
                    <a:cubicBezTo>
                      <a:pt x="61" y="0"/>
                      <a:pt x="61" y="0"/>
                      <a:pt x="61" y="0"/>
                    </a:cubicBezTo>
                    <a:cubicBezTo>
                      <a:pt x="43" y="0"/>
                      <a:pt x="43" y="0"/>
                      <a:pt x="43" y="0"/>
                    </a:cubicBezTo>
                    <a:cubicBezTo>
                      <a:pt x="34" y="0"/>
                      <a:pt x="34" y="0"/>
                      <a:pt x="34" y="0"/>
                    </a:cubicBezTo>
                    <a:cubicBezTo>
                      <a:pt x="6" y="0"/>
                      <a:pt x="3" y="20"/>
                      <a:pt x="0" y="38"/>
                    </a:cubicBezTo>
                    <a:cubicBezTo>
                      <a:pt x="16" y="38"/>
                      <a:pt x="16" y="38"/>
                      <a:pt x="16" y="38"/>
                    </a:cubicBezTo>
                    <a:cubicBezTo>
                      <a:pt x="17" y="34"/>
                      <a:pt x="17" y="25"/>
                      <a:pt x="20" y="21"/>
                    </a:cubicBezTo>
                    <a:close/>
                  </a:path>
                </a:pathLst>
              </a:custGeom>
              <a:solidFill>
                <a:schemeClr val="accent4"/>
              </a:solidFill>
              <a:ln>
                <a:noFill/>
              </a:ln>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10" name="Freeform 36">
                <a:extLst>
                  <a:ext uri="{FF2B5EF4-FFF2-40B4-BE49-F238E27FC236}">
                    <a16:creationId xmlns:a16="http://schemas.microsoft.com/office/drawing/2014/main" id="{D2E8AF30-3B54-4E8A-81D3-8B04FE93E940}"/>
                  </a:ext>
                </a:extLst>
              </p:cNvPr>
              <p:cNvSpPr>
                <a:spLocks/>
              </p:cNvSpPr>
              <p:nvPr/>
            </p:nvSpPr>
            <p:spPr bwMode="auto">
              <a:xfrm>
                <a:off x="10508007" y="1746597"/>
                <a:ext cx="719887" cy="237057"/>
              </a:xfrm>
              <a:custGeom>
                <a:avLst/>
                <a:gdLst>
                  <a:gd name="T0" fmla="*/ 273 w 298"/>
                  <a:gd name="T1" fmla="*/ 0 h 98"/>
                  <a:gd name="T2" fmla="*/ 25 w 298"/>
                  <a:gd name="T3" fmla="*/ 0 h 98"/>
                  <a:gd name="T4" fmla="*/ 0 w 298"/>
                  <a:gd name="T5" fmla="*/ 26 h 98"/>
                  <a:gd name="T6" fmla="*/ 0 w 298"/>
                  <a:gd name="T7" fmla="*/ 65 h 98"/>
                  <a:gd name="T8" fmla="*/ 5 w 298"/>
                  <a:gd name="T9" fmla="*/ 72 h 98"/>
                  <a:gd name="T10" fmla="*/ 11 w 298"/>
                  <a:gd name="T11" fmla="*/ 75 h 98"/>
                  <a:gd name="T12" fmla="*/ 123 w 298"/>
                  <a:gd name="T13" fmla="*/ 98 h 98"/>
                  <a:gd name="T14" fmla="*/ 123 w 298"/>
                  <a:gd name="T15" fmla="*/ 92 h 98"/>
                  <a:gd name="T16" fmla="*/ 136 w 298"/>
                  <a:gd name="T17" fmla="*/ 80 h 98"/>
                  <a:gd name="T18" fmla="*/ 162 w 298"/>
                  <a:gd name="T19" fmla="*/ 80 h 98"/>
                  <a:gd name="T20" fmla="*/ 175 w 298"/>
                  <a:gd name="T21" fmla="*/ 92 h 98"/>
                  <a:gd name="T22" fmla="*/ 175 w 298"/>
                  <a:gd name="T23" fmla="*/ 98 h 98"/>
                  <a:gd name="T24" fmla="*/ 287 w 298"/>
                  <a:gd name="T25" fmla="*/ 75 h 98"/>
                  <a:gd name="T26" fmla="*/ 298 w 298"/>
                  <a:gd name="T27" fmla="*/ 66 h 98"/>
                  <a:gd name="T28" fmla="*/ 298 w 298"/>
                  <a:gd name="T29" fmla="*/ 65 h 98"/>
                  <a:gd name="T30" fmla="*/ 298 w 298"/>
                  <a:gd name="T31" fmla="*/ 26 h 98"/>
                  <a:gd name="T32" fmla="*/ 273 w 298"/>
                  <a:gd name="T3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8" h="98">
                    <a:moveTo>
                      <a:pt x="273" y="0"/>
                    </a:moveTo>
                    <a:cubicBezTo>
                      <a:pt x="25" y="0"/>
                      <a:pt x="25" y="0"/>
                      <a:pt x="25" y="0"/>
                    </a:cubicBezTo>
                    <a:cubicBezTo>
                      <a:pt x="11" y="0"/>
                      <a:pt x="0" y="12"/>
                      <a:pt x="0" y="26"/>
                    </a:cubicBezTo>
                    <a:cubicBezTo>
                      <a:pt x="0" y="65"/>
                      <a:pt x="0" y="65"/>
                      <a:pt x="0" y="65"/>
                    </a:cubicBezTo>
                    <a:cubicBezTo>
                      <a:pt x="1" y="67"/>
                      <a:pt x="3" y="70"/>
                      <a:pt x="5" y="72"/>
                    </a:cubicBezTo>
                    <a:cubicBezTo>
                      <a:pt x="7" y="73"/>
                      <a:pt x="9" y="74"/>
                      <a:pt x="11" y="75"/>
                    </a:cubicBezTo>
                    <a:cubicBezTo>
                      <a:pt x="123" y="98"/>
                      <a:pt x="123" y="98"/>
                      <a:pt x="123" y="98"/>
                    </a:cubicBezTo>
                    <a:cubicBezTo>
                      <a:pt x="123" y="92"/>
                      <a:pt x="123" y="92"/>
                      <a:pt x="123" y="92"/>
                    </a:cubicBezTo>
                    <a:cubicBezTo>
                      <a:pt x="123" y="85"/>
                      <a:pt x="129" y="80"/>
                      <a:pt x="136" y="80"/>
                    </a:cubicBezTo>
                    <a:cubicBezTo>
                      <a:pt x="162" y="80"/>
                      <a:pt x="162" y="80"/>
                      <a:pt x="162" y="80"/>
                    </a:cubicBezTo>
                    <a:cubicBezTo>
                      <a:pt x="169" y="80"/>
                      <a:pt x="175" y="85"/>
                      <a:pt x="175" y="92"/>
                    </a:cubicBezTo>
                    <a:cubicBezTo>
                      <a:pt x="175" y="98"/>
                      <a:pt x="175" y="98"/>
                      <a:pt x="175" y="98"/>
                    </a:cubicBezTo>
                    <a:cubicBezTo>
                      <a:pt x="287" y="75"/>
                      <a:pt x="287" y="75"/>
                      <a:pt x="287" y="75"/>
                    </a:cubicBezTo>
                    <a:cubicBezTo>
                      <a:pt x="292" y="73"/>
                      <a:pt x="296" y="70"/>
                      <a:pt x="298" y="66"/>
                    </a:cubicBezTo>
                    <a:cubicBezTo>
                      <a:pt x="298" y="65"/>
                      <a:pt x="298" y="65"/>
                      <a:pt x="298" y="65"/>
                    </a:cubicBezTo>
                    <a:cubicBezTo>
                      <a:pt x="298" y="26"/>
                      <a:pt x="298" y="26"/>
                      <a:pt x="298" y="26"/>
                    </a:cubicBezTo>
                    <a:cubicBezTo>
                      <a:pt x="298" y="12"/>
                      <a:pt x="287" y="0"/>
                      <a:pt x="273" y="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428"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1" name="Freeform 37">
                <a:extLst>
                  <a:ext uri="{FF2B5EF4-FFF2-40B4-BE49-F238E27FC236}">
                    <a16:creationId xmlns:a16="http://schemas.microsoft.com/office/drawing/2014/main" id="{71FA25C2-0613-4B80-8E0F-C0350245A870}"/>
                  </a:ext>
                </a:extLst>
              </p:cNvPr>
              <p:cNvSpPr>
                <a:spLocks/>
              </p:cNvSpPr>
              <p:nvPr/>
            </p:nvSpPr>
            <p:spPr bwMode="auto">
              <a:xfrm>
                <a:off x="10508007" y="1941822"/>
                <a:ext cx="719887" cy="301551"/>
              </a:xfrm>
              <a:custGeom>
                <a:avLst/>
                <a:gdLst>
                  <a:gd name="T0" fmla="*/ 290 w 298"/>
                  <a:gd name="T1" fmla="*/ 5 h 125"/>
                  <a:gd name="T2" fmla="*/ 175 w 298"/>
                  <a:gd name="T3" fmla="*/ 28 h 125"/>
                  <a:gd name="T4" fmla="*/ 175 w 298"/>
                  <a:gd name="T5" fmla="*/ 45 h 125"/>
                  <a:gd name="T6" fmla="*/ 162 w 298"/>
                  <a:gd name="T7" fmla="*/ 57 h 125"/>
                  <a:gd name="T8" fmla="*/ 136 w 298"/>
                  <a:gd name="T9" fmla="*/ 57 h 125"/>
                  <a:gd name="T10" fmla="*/ 123 w 298"/>
                  <a:gd name="T11" fmla="*/ 45 h 125"/>
                  <a:gd name="T12" fmla="*/ 123 w 298"/>
                  <a:gd name="T13" fmla="*/ 28 h 125"/>
                  <a:gd name="T14" fmla="*/ 9 w 298"/>
                  <a:gd name="T15" fmla="*/ 5 h 125"/>
                  <a:gd name="T16" fmla="*/ 8 w 298"/>
                  <a:gd name="T17" fmla="*/ 5 h 125"/>
                  <a:gd name="T18" fmla="*/ 0 w 298"/>
                  <a:gd name="T19" fmla="*/ 0 h 125"/>
                  <a:gd name="T20" fmla="*/ 0 w 298"/>
                  <a:gd name="T21" fmla="*/ 99 h 125"/>
                  <a:gd name="T22" fmla="*/ 25 w 298"/>
                  <a:gd name="T23" fmla="*/ 125 h 125"/>
                  <a:gd name="T24" fmla="*/ 273 w 298"/>
                  <a:gd name="T25" fmla="*/ 125 h 125"/>
                  <a:gd name="T26" fmla="*/ 298 w 298"/>
                  <a:gd name="T27" fmla="*/ 99 h 125"/>
                  <a:gd name="T28" fmla="*/ 298 w 298"/>
                  <a:gd name="T29" fmla="*/ 0 h 125"/>
                  <a:gd name="T30" fmla="*/ 290 w 298"/>
                  <a:gd name="T31" fmla="*/ 4 h 125"/>
                  <a:gd name="T32" fmla="*/ 290 w 298"/>
                  <a:gd name="T33" fmla="*/ 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8" h="125">
                    <a:moveTo>
                      <a:pt x="290" y="5"/>
                    </a:moveTo>
                    <a:cubicBezTo>
                      <a:pt x="175" y="28"/>
                      <a:pt x="175" y="28"/>
                      <a:pt x="175" y="28"/>
                    </a:cubicBezTo>
                    <a:cubicBezTo>
                      <a:pt x="175" y="45"/>
                      <a:pt x="175" y="45"/>
                      <a:pt x="175" y="45"/>
                    </a:cubicBezTo>
                    <a:cubicBezTo>
                      <a:pt x="175" y="52"/>
                      <a:pt x="169" y="57"/>
                      <a:pt x="162" y="57"/>
                    </a:cubicBezTo>
                    <a:cubicBezTo>
                      <a:pt x="136" y="57"/>
                      <a:pt x="136" y="57"/>
                      <a:pt x="136" y="57"/>
                    </a:cubicBezTo>
                    <a:cubicBezTo>
                      <a:pt x="129" y="57"/>
                      <a:pt x="123" y="52"/>
                      <a:pt x="123" y="45"/>
                    </a:cubicBezTo>
                    <a:cubicBezTo>
                      <a:pt x="123" y="28"/>
                      <a:pt x="123" y="28"/>
                      <a:pt x="123" y="28"/>
                    </a:cubicBezTo>
                    <a:cubicBezTo>
                      <a:pt x="9" y="5"/>
                      <a:pt x="9" y="5"/>
                      <a:pt x="9" y="5"/>
                    </a:cubicBezTo>
                    <a:cubicBezTo>
                      <a:pt x="8" y="5"/>
                      <a:pt x="8" y="5"/>
                      <a:pt x="8" y="5"/>
                    </a:cubicBezTo>
                    <a:cubicBezTo>
                      <a:pt x="5" y="4"/>
                      <a:pt x="2" y="2"/>
                      <a:pt x="0" y="0"/>
                    </a:cubicBezTo>
                    <a:cubicBezTo>
                      <a:pt x="0" y="99"/>
                      <a:pt x="0" y="99"/>
                      <a:pt x="0" y="99"/>
                    </a:cubicBezTo>
                    <a:cubicBezTo>
                      <a:pt x="0" y="113"/>
                      <a:pt x="11" y="125"/>
                      <a:pt x="25" y="125"/>
                    </a:cubicBezTo>
                    <a:cubicBezTo>
                      <a:pt x="273" y="125"/>
                      <a:pt x="273" y="125"/>
                      <a:pt x="273" y="125"/>
                    </a:cubicBezTo>
                    <a:cubicBezTo>
                      <a:pt x="287" y="125"/>
                      <a:pt x="298" y="113"/>
                      <a:pt x="298" y="99"/>
                    </a:cubicBezTo>
                    <a:cubicBezTo>
                      <a:pt x="298" y="0"/>
                      <a:pt x="298" y="0"/>
                      <a:pt x="298" y="0"/>
                    </a:cubicBezTo>
                    <a:cubicBezTo>
                      <a:pt x="296" y="2"/>
                      <a:pt x="293" y="3"/>
                      <a:pt x="290" y="4"/>
                    </a:cubicBezTo>
                    <a:lnTo>
                      <a:pt x="290" y="5"/>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428"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2" name="Freeform 38">
                <a:extLst>
                  <a:ext uri="{FF2B5EF4-FFF2-40B4-BE49-F238E27FC236}">
                    <a16:creationId xmlns:a16="http://schemas.microsoft.com/office/drawing/2014/main" id="{7339425D-4D15-4BFC-BF56-6AA8CF3C9B9E}"/>
                  </a:ext>
                </a:extLst>
              </p:cNvPr>
              <p:cNvSpPr>
                <a:spLocks/>
              </p:cNvSpPr>
              <p:nvPr/>
            </p:nvSpPr>
            <p:spPr bwMode="auto">
              <a:xfrm>
                <a:off x="10832746" y="1965830"/>
                <a:ext cx="70411" cy="83894"/>
              </a:xfrm>
              <a:custGeom>
                <a:avLst/>
                <a:gdLst>
                  <a:gd name="T0" fmla="*/ 30 w 34"/>
                  <a:gd name="T1" fmla="*/ 40 h 40"/>
                  <a:gd name="T2" fmla="*/ 34 w 34"/>
                  <a:gd name="T3" fmla="*/ 37 h 40"/>
                  <a:gd name="T4" fmla="*/ 34 w 34"/>
                  <a:gd name="T5" fmla="*/ 3 h 40"/>
                  <a:gd name="T6" fmla="*/ 30 w 34"/>
                  <a:gd name="T7" fmla="*/ 0 h 40"/>
                  <a:gd name="T8" fmla="*/ 4 w 34"/>
                  <a:gd name="T9" fmla="*/ 0 h 40"/>
                  <a:gd name="T10" fmla="*/ 0 w 34"/>
                  <a:gd name="T11" fmla="*/ 3 h 40"/>
                  <a:gd name="T12" fmla="*/ 0 w 34"/>
                  <a:gd name="T13" fmla="*/ 37 h 40"/>
                  <a:gd name="T14" fmla="*/ 4 w 34"/>
                  <a:gd name="T15" fmla="*/ 40 h 40"/>
                  <a:gd name="T16" fmla="*/ 30 w 34"/>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40">
                    <a:moveTo>
                      <a:pt x="30" y="40"/>
                    </a:moveTo>
                    <a:cubicBezTo>
                      <a:pt x="32" y="40"/>
                      <a:pt x="34" y="39"/>
                      <a:pt x="34" y="37"/>
                    </a:cubicBezTo>
                    <a:cubicBezTo>
                      <a:pt x="34" y="3"/>
                      <a:pt x="34" y="3"/>
                      <a:pt x="34" y="3"/>
                    </a:cubicBezTo>
                    <a:cubicBezTo>
                      <a:pt x="34" y="1"/>
                      <a:pt x="32" y="0"/>
                      <a:pt x="30" y="0"/>
                    </a:cubicBezTo>
                    <a:cubicBezTo>
                      <a:pt x="4" y="0"/>
                      <a:pt x="4" y="0"/>
                      <a:pt x="4" y="0"/>
                    </a:cubicBezTo>
                    <a:cubicBezTo>
                      <a:pt x="2" y="0"/>
                      <a:pt x="0" y="1"/>
                      <a:pt x="0" y="3"/>
                    </a:cubicBezTo>
                    <a:cubicBezTo>
                      <a:pt x="0" y="37"/>
                      <a:pt x="0" y="37"/>
                      <a:pt x="0" y="37"/>
                    </a:cubicBezTo>
                    <a:cubicBezTo>
                      <a:pt x="0" y="39"/>
                      <a:pt x="2" y="40"/>
                      <a:pt x="4" y="40"/>
                    </a:cubicBezTo>
                    <a:lnTo>
                      <a:pt x="30" y="40"/>
                    </a:lnTo>
                    <a:close/>
                  </a:path>
                </a:pathLst>
              </a:custGeom>
              <a:solidFill>
                <a:schemeClr val="accent3"/>
              </a:solidFill>
              <a:ln>
                <a:noFill/>
              </a:ln>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428"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13" name="Oval 34">
                <a:extLst>
                  <a:ext uri="{FF2B5EF4-FFF2-40B4-BE49-F238E27FC236}">
                    <a16:creationId xmlns:a16="http://schemas.microsoft.com/office/drawing/2014/main" id="{C0BEC97A-8C04-4AE2-BC9D-2A3217200EE4}"/>
                  </a:ext>
                </a:extLst>
              </p:cNvPr>
              <p:cNvSpPr>
                <a:spLocks/>
              </p:cNvSpPr>
              <p:nvPr/>
            </p:nvSpPr>
            <p:spPr>
              <a:xfrm>
                <a:off x="10654836" y="1782292"/>
                <a:ext cx="426232" cy="42623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93" rtl="0" eaLnBrk="1" fontAlgn="auto" latinLnBrk="0" hangingPunct="1">
                  <a:lnSpc>
                    <a:spcPct val="100000"/>
                  </a:lnSpc>
                  <a:spcBef>
                    <a:spcPts val="0"/>
                  </a:spcBef>
                  <a:spcAft>
                    <a:spcPts val="0"/>
                  </a:spcAft>
                  <a:buClrTx/>
                  <a:buSzTx/>
                  <a:buFontTx/>
                  <a:buNone/>
                  <a:tabLst/>
                  <a:defRPr/>
                </a:pPr>
                <a:endParaRPr kumimoji="0" lang="fr-FR" sz="1428" b="0" i="0" u="none" strike="noStrike" kern="1200" cap="none" spc="0" normalizeH="0" baseline="0" noProof="0" err="1">
                  <a:ln>
                    <a:noFill/>
                  </a:ln>
                  <a:solidFill>
                    <a:srgbClr val="000000"/>
                  </a:solidFill>
                  <a:effectLst/>
                  <a:uLnTx/>
                  <a:uFillTx/>
                  <a:latin typeface="Arial"/>
                  <a:ea typeface="ＭＳ Ｐゴシック"/>
                  <a:cs typeface="+mn-cs"/>
                </a:endParaRPr>
              </a:p>
            </p:txBody>
          </p:sp>
          <p:sp>
            <p:nvSpPr>
              <p:cNvPr id="14" name="Freeform 67">
                <a:extLst>
                  <a:ext uri="{FF2B5EF4-FFF2-40B4-BE49-F238E27FC236}">
                    <a16:creationId xmlns:a16="http://schemas.microsoft.com/office/drawing/2014/main" id="{BFFA160C-5CEE-4C35-8CAF-05C6DCE4A17E}"/>
                  </a:ext>
                </a:extLst>
              </p:cNvPr>
              <p:cNvSpPr>
                <a:spLocks noEditPoints="1"/>
              </p:cNvSpPr>
              <p:nvPr/>
            </p:nvSpPr>
            <p:spPr bwMode="auto">
              <a:xfrm>
                <a:off x="10675112" y="1802568"/>
                <a:ext cx="385678" cy="385679"/>
              </a:xfrm>
              <a:custGeom>
                <a:avLst/>
                <a:gdLst>
                  <a:gd name="T0" fmla="*/ 740 w 1129"/>
                  <a:gd name="T1" fmla="*/ 586 h 1129"/>
                  <a:gd name="T2" fmla="*/ 760 w 1129"/>
                  <a:gd name="T3" fmla="*/ 666 h 1129"/>
                  <a:gd name="T4" fmla="*/ 718 w 1129"/>
                  <a:gd name="T5" fmla="*/ 782 h 1129"/>
                  <a:gd name="T6" fmla="*/ 598 w 1129"/>
                  <a:gd name="T7" fmla="*/ 837 h 1129"/>
                  <a:gd name="T8" fmla="*/ 598 w 1129"/>
                  <a:gd name="T9" fmla="*/ 917 h 1129"/>
                  <a:gd name="T10" fmla="*/ 531 w 1129"/>
                  <a:gd name="T11" fmla="*/ 917 h 1129"/>
                  <a:gd name="T12" fmla="*/ 531 w 1129"/>
                  <a:gd name="T13" fmla="*/ 838 h 1129"/>
                  <a:gd name="T14" fmla="*/ 369 w 1129"/>
                  <a:gd name="T15" fmla="*/ 685 h 1129"/>
                  <a:gd name="T16" fmla="*/ 472 w 1129"/>
                  <a:gd name="T17" fmla="*/ 658 h 1129"/>
                  <a:gd name="T18" fmla="*/ 567 w 1129"/>
                  <a:gd name="T19" fmla="*/ 746 h 1129"/>
                  <a:gd name="T20" fmla="*/ 623 w 1129"/>
                  <a:gd name="T21" fmla="*/ 727 h 1129"/>
                  <a:gd name="T22" fmla="*/ 640 w 1129"/>
                  <a:gd name="T23" fmla="*/ 682 h 1129"/>
                  <a:gd name="T24" fmla="*/ 623 w 1129"/>
                  <a:gd name="T25" fmla="*/ 640 h 1129"/>
                  <a:gd name="T26" fmla="*/ 544 w 1129"/>
                  <a:gd name="T27" fmla="*/ 605 h 1129"/>
                  <a:gd name="T28" fmla="*/ 457 w 1129"/>
                  <a:gd name="T29" fmla="*/ 567 h 1129"/>
                  <a:gd name="T30" fmla="*/ 407 w 1129"/>
                  <a:gd name="T31" fmla="*/ 515 h 1129"/>
                  <a:gd name="T32" fmla="*/ 388 w 1129"/>
                  <a:gd name="T33" fmla="*/ 436 h 1129"/>
                  <a:gd name="T34" fmla="*/ 422 w 1129"/>
                  <a:gd name="T35" fmla="*/ 331 h 1129"/>
                  <a:gd name="T36" fmla="*/ 531 w 1129"/>
                  <a:gd name="T37" fmla="*/ 273 h 1129"/>
                  <a:gd name="T38" fmla="*/ 531 w 1129"/>
                  <a:gd name="T39" fmla="*/ 212 h 1129"/>
                  <a:gd name="T40" fmla="*/ 598 w 1129"/>
                  <a:gd name="T41" fmla="*/ 212 h 1129"/>
                  <a:gd name="T42" fmla="*/ 598 w 1129"/>
                  <a:gd name="T43" fmla="*/ 273 h 1129"/>
                  <a:gd name="T44" fmla="*/ 743 w 1129"/>
                  <a:gd name="T45" fmla="*/ 400 h 1129"/>
                  <a:gd name="T46" fmla="*/ 651 w 1129"/>
                  <a:gd name="T47" fmla="*/ 438 h 1129"/>
                  <a:gd name="T48" fmla="*/ 568 w 1129"/>
                  <a:gd name="T49" fmla="*/ 360 h 1129"/>
                  <a:gd name="T50" fmla="*/ 522 w 1129"/>
                  <a:gd name="T51" fmla="*/ 378 h 1129"/>
                  <a:gd name="T52" fmla="*/ 505 w 1129"/>
                  <a:gd name="T53" fmla="*/ 420 h 1129"/>
                  <a:gd name="T54" fmla="*/ 522 w 1129"/>
                  <a:gd name="T55" fmla="*/ 458 h 1129"/>
                  <a:gd name="T56" fmla="*/ 592 w 1129"/>
                  <a:gd name="T57" fmla="*/ 492 h 1129"/>
                  <a:gd name="T58" fmla="*/ 686 w 1129"/>
                  <a:gd name="T59" fmla="*/ 533 h 1129"/>
                  <a:gd name="T60" fmla="*/ 740 w 1129"/>
                  <a:gd name="T61" fmla="*/ 586 h 1129"/>
                  <a:gd name="T62" fmla="*/ 740 w 1129"/>
                  <a:gd name="T63" fmla="*/ 586 h 1129"/>
                  <a:gd name="T64" fmla="*/ 564 w 1129"/>
                  <a:gd name="T65" fmla="*/ 1058 h 1129"/>
                  <a:gd name="T66" fmla="*/ 70 w 1129"/>
                  <a:gd name="T67" fmla="*/ 564 h 1129"/>
                  <a:gd name="T68" fmla="*/ 564 w 1129"/>
                  <a:gd name="T69" fmla="*/ 71 h 1129"/>
                  <a:gd name="T70" fmla="*/ 1058 w 1129"/>
                  <a:gd name="T71" fmla="*/ 564 h 1129"/>
                  <a:gd name="T72" fmla="*/ 564 w 1129"/>
                  <a:gd name="T73" fmla="*/ 1058 h 1129"/>
                  <a:gd name="T74" fmla="*/ 564 w 1129"/>
                  <a:gd name="T75" fmla="*/ 0 h 1129"/>
                  <a:gd name="T76" fmla="*/ 0 w 1129"/>
                  <a:gd name="T77" fmla="*/ 564 h 1129"/>
                  <a:gd name="T78" fmla="*/ 564 w 1129"/>
                  <a:gd name="T79" fmla="*/ 1129 h 1129"/>
                  <a:gd name="T80" fmla="*/ 1129 w 1129"/>
                  <a:gd name="T81" fmla="*/ 564 h 1129"/>
                  <a:gd name="T82" fmla="*/ 564 w 1129"/>
                  <a:gd name="T83" fmla="*/ 0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29" h="1129">
                    <a:moveTo>
                      <a:pt x="740" y="586"/>
                    </a:moveTo>
                    <a:cubicBezTo>
                      <a:pt x="753" y="609"/>
                      <a:pt x="760" y="635"/>
                      <a:pt x="760" y="666"/>
                    </a:cubicBezTo>
                    <a:cubicBezTo>
                      <a:pt x="760" y="712"/>
                      <a:pt x="746" y="751"/>
                      <a:pt x="718" y="782"/>
                    </a:cubicBezTo>
                    <a:cubicBezTo>
                      <a:pt x="690" y="813"/>
                      <a:pt x="650" y="832"/>
                      <a:pt x="598" y="837"/>
                    </a:cubicBezTo>
                    <a:lnTo>
                      <a:pt x="598" y="917"/>
                    </a:lnTo>
                    <a:lnTo>
                      <a:pt x="531" y="917"/>
                    </a:lnTo>
                    <a:lnTo>
                      <a:pt x="531" y="838"/>
                    </a:lnTo>
                    <a:cubicBezTo>
                      <a:pt x="444" y="829"/>
                      <a:pt x="389" y="778"/>
                      <a:pt x="369" y="685"/>
                    </a:cubicBezTo>
                    <a:lnTo>
                      <a:pt x="472" y="658"/>
                    </a:lnTo>
                    <a:cubicBezTo>
                      <a:pt x="482" y="717"/>
                      <a:pt x="513" y="746"/>
                      <a:pt x="567" y="746"/>
                    </a:cubicBezTo>
                    <a:cubicBezTo>
                      <a:pt x="592" y="746"/>
                      <a:pt x="611" y="740"/>
                      <a:pt x="623" y="727"/>
                    </a:cubicBezTo>
                    <a:cubicBezTo>
                      <a:pt x="634" y="715"/>
                      <a:pt x="640" y="700"/>
                      <a:pt x="640" y="682"/>
                    </a:cubicBezTo>
                    <a:cubicBezTo>
                      <a:pt x="640" y="664"/>
                      <a:pt x="634" y="650"/>
                      <a:pt x="623" y="640"/>
                    </a:cubicBezTo>
                    <a:cubicBezTo>
                      <a:pt x="611" y="631"/>
                      <a:pt x="584" y="619"/>
                      <a:pt x="544" y="605"/>
                    </a:cubicBezTo>
                    <a:cubicBezTo>
                      <a:pt x="507" y="592"/>
                      <a:pt x="478" y="579"/>
                      <a:pt x="457" y="567"/>
                    </a:cubicBezTo>
                    <a:cubicBezTo>
                      <a:pt x="437" y="554"/>
                      <a:pt x="420" y="537"/>
                      <a:pt x="407" y="515"/>
                    </a:cubicBezTo>
                    <a:cubicBezTo>
                      <a:pt x="394" y="492"/>
                      <a:pt x="388" y="466"/>
                      <a:pt x="388" y="436"/>
                    </a:cubicBezTo>
                    <a:cubicBezTo>
                      <a:pt x="388" y="397"/>
                      <a:pt x="399" y="362"/>
                      <a:pt x="422" y="331"/>
                    </a:cubicBezTo>
                    <a:cubicBezTo>
                      <a:pt x="445" y="299"/>
                      <a:pt x="482" y="280"/>
                      <a:pt x="531" y="273"/>
                    </a:cubicBezTo>
                    <a:lnTo>
                      <a:pt x="531" y="212"/>
                    </a:lnTo>
                    <a:lnTo>
                      <a:pt x="598" y="212"/>
                    </a:lnTo>
                    <a:lnTo>
                      <a:pt x="598" y="273"/>
                    </a:lnTo>
                    <a:cubicBezTo>
                      <a:pt x="673" y="282"/>
                      <a:pt x="721" y="325"/>
                      <a:pt x="743" y="400"/>
                    </a:cubicBezTo>
                    <a:lnTo>
                      <a:pt x="651" y="438"/>
                    </a:lnTo>
                    <a:cubicBezTo>
                      <a:pt x="633" y="386"/>
                      <a:pt x="605" y="360"/>
                      <a:pt x="568" y="360"/>
                    </a:cubicBezTo>
                    <a:cubicBezTo>
                      <a:pt x="549" y="360"/>
                      <a:pt x="533" y="366"/>
                      <a:pt x="522" y="378"/>
                    </a:cubicBezTo>
                    <a:cubicBezTo>
                      <a:pt x="511" y="389"/>
                      <a:pt x="505" y="403"/>
                      <a:pt x="505" y="420"/>
                    </a:cubicBezTo>
                    <a:cubicBezTo>
                      <a:pt x="505" y="436"/>
                      <a:pt x="511" y="449"/>
                      <a:pt x="522" y="458"/>
                    </a:cubicBezTo>
                    <a:cubicBezTo>
                      <a:pt x="533" y="467"/>
                      <a:pt x="556" y="478"/>
                      <a:pt x="592" y="492"/>
                    </a:cubicBezTo>
                    <a:cubicBezTo>
                      <a:pt x="632" y="506"/>
                      <a:pt x="663" y="520"/>
                      <a:pt x="686" y="533"/>
                    </a:cubicBezTo>
                    <a:cubicBezTo>
                      <a:pt x="708" y="546"/>
                      <a:pt x="726" y="563"/>
                      <a:pt x="740" y="586"/>
                    </a:cubicBezTo>
                    <a:lnTo>
                      <a:pt x="740" y="586"/>
                    </a:lnTo>
                    <a:close/>
                    <a:moveTo>
                      <a:pt x="564" y="1058"/>
                    </a:moveTo>
                    <a:cubicBezTo>
                      <a:pt x="292" y="1058"/>
                      <a:pt x="70" y="837"/>
                      <a:pt x="70" y="564"/>
                    </a:cubicBezTo>
                    <a:cubicBezTo>
                      <a:pt x="70" y="292"/>
                      <a:pt x="292" y="71"/>
                      <a:pt x="564" y="71"/>
                    </a:cubicBezTo>
                    <a:cubicBezTo>
                      <a:pt x="837" y="71"/>
                      <a:pt x="1058" y="292"/>
                      <a:pt x="1058" y="564"/>
                    </a:cubicBezTo>
                    <a:cubicBezTo>
                      <a:pt x="1058" y="837"/>
                      <a:pt x="837" y="1058"/>
                      <a:pt x="564" y="1058"/>
                    </a:cubicBezTo>
                    <a:moveTo>
                      <a:pt x="564" y="0"/>
                    </a:moveTo>
                    <a:cubicBezTo>
                      <a:pt x="253" y="0"/>
                      <a:pt x="0" y="253"/>
                      <a:pt x="0" y="564"/>
                    </a:cubicBezTo>
                    <a:cubicBezTo>
                      <a:pt x="0" y="876"/>
                      <a:pt x="253" y="1129"/>
                      <a:pt x="564" y="1129"/>
                    </a:cubicBezTo>
                    <a:cubicBezTo>
                      <a:pt x="876" y="1129"/>
                      <a:pt x="1129" y="876"/>
                      <a:pt x="1129" y="564"/>
                    </a:cubicBezTo>
                    <a:cubicBezTo>
                      <a:pt x="1129" y="253"/>
                      <a:pt x="876" y="0"/>
                      <a:pt x="564" y="0"/>
                    </a:cubicBezTo>
                  </a:path>
                </a:pathLst>
              </a:custGeom>
              <a:solidFill>
                <a:schemeClr val="accent4"/>
              </a:solidFill>
              <a:ln w="0">
                <a:noFill/>
                <a:prstDash val="solid"/>
                <a:round/>
                <a:headEnd/>
                <a:tailEnd/>
              </a:ln>
            </p:spPr>
            <p:txBody>
              <a:bodyPr vert="horz" wrap="square" lIns="93293" tIns="46649" rIns="93293" bIns="46649" numCol="1" anchor="t" anchorCtr="0" compatLnSpc="1">
                <a:prstTxWarp prst="textNoShape">
                  <a:avLst/>
                </a:prstTxWarp>
                <a:noAutofit/>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a:ln>
                    <a:noFill/>
                  </a:ln>
                  <a:solidFill>
                    <a:srgbClr val="000000"/>
                  </a:solidFill>
                  <a:effectLst/>
                  <a:uLnTx/>
                  <a:uFillTx/>
                  <a:latin typeface="Arial"/>
                  <a:ea typeface="ＭＳ Ｐゴシック"/>
                  <a:cs typeface="+mn-cs"/>
                </a:endParaRPr>
              </a:p>
            </p:txBody>
          </p:sp>
        </p:grpSp>
        <p:sp>
          <p:nvSpPr>
            <p:cNvPr id="15" name="Ovaal 14">
              <a:extLst>
                <a:ext uri="{FF2B5EF4-FFF2-40B4-BE49-F238E27FC236}">
                  <a16:creationId xmlns:a16="http://schemas.microsoft.com/office/drawing/2014/main" id="{B83539B8-435E-42A7-92F5-F666EF003D7A}"/>
                </a:ext>
              </a:extLst>
            </p:cNvPr>
            <p:cNvSpPr/>
            <p:nvPr/>
          </p:nvSpPr>
          <p:spPr>
            <a:xfrm>
              <a:off x="4174217" y="2690653"/>
              <a:ext cx="261413" cy="27735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err="1">
                <a:ln>
                  <a:noFill/>
                </a:ln>
                <a:solidFill>
                  <a:srgbClr val="000000"/>
                </a:solidFill>
                <a:effectLst/>
                <a:uLnTx/>
                <a:uFillTx/>
                <a:latin typeface="Arial"/>
                <a:ea typeface="ＭＳ Ｐゴシック"/>
                <a:cs typeface="+mn-cs"/>
              </a:endParaRPr>
            </a:p>
          </p:txBody>
        </p:sp>
        <p:sp>
          <p:nvSpPr>
            <p:cNvPr id="16" name="TextBox 4">
              <a:extLst>
                <a:ext uri="{FF2B5EF4-FFF2-40B4-BE49-F238E27FC236}">
                  <a16:creationId xmlns:a16="http://schemas.microsoft.com/office/drawing/2014/main" id="{472B8589-B6CA-4297-9D08-E301B290BE2E}"/>
                </a:ext>
              </a:extLst>
            </p:cNvPr>
            <p:cNvSpPr txBox="1"/>
            <p:nvPr/>
          </p:nvSpPr>
          <p:spPr>
            <a:xfrm>
              <a:off x="4156777" y="2705684"/>
              <a:ext cx="252946" cy="282856"/>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marL="0" lvl="0" indent="0" defTabSz="877533" eaLnBrk="1" hangingPunct="1">
                <a:buClr>
                  <a:schemeClr val="tx2"/>
                </a:buClr>
                <a:defRPr sz="1568" baseline="0">
                  <a:latin typeface="+mn-lt"/>
                  <a:sym typeface="+mn-lt"/>
                </a:defRPr>
              </a:lvl1pPr>
              <a:lvl2pPr marL="176415" lvl="1" indent="-176415" defTabSz="877533" eaLnBrk="1" hangingPunct="1">
                <a:buClr>
                  <a:schemeClr val="tx1"/>
                </a:buClr>
                <a:buSzPct val="100000"/>
                <a:buFont typeface="Arial" pitchFamily="34" charset="0"/>
                <a:buChar char="•"/>
                <a:defRPr sz="1568" baseline="0">
                  <a:latin typeface="+mn-lt"/>
                  <a:sym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sym typeface="+mn-lt"/>
                </a:defRPr>
              </a:lvl3pPr>
              <a:lvl4pPr marL="529245" lvl="3" indent="-176415" defTabSz="877533" eaLnBrk="1" hangingPunct="1">
                <a:buClr>
                  <a:schemeClr val="tx1"/>
                </a:buClr>
                <a:buSzPct val="100000"/>
                <a:buFont typeface="Arial" pitchFamily="34" charset="0"/>
                <a:buChar char="»"/>
                <a:defRPr sz="1568" baseline="0">
                  <a:latin typeface="+mn-lt"/>
                  <a:sym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sym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l" defTabSz="877525" rtl="0" eaLnBrk="1" fontAlgn="auto" latinLnBrk="0" hangingPunct="1">
                <a:lnSpc>
                  <a:spcPct val="100000"/>
                </a:lnSpc>
                <a:spcBef>
                  <a:spcPts val="0"/>
                </a:spcBef>
                <a:spcAft>
                  <a:spcPts val="0"/>
                </a:spcAft>
                <a:buClr>
                  <a:srgbClr val="003C54"/>
                </a:buClr>
                <a:buSzTx/>
                <a:buFontTx/>
                <a:buNone/>
                <a:tabLst/>
                <a:defRPr/>
              </a:pPr>
              <a:r>
                <a:rPr kumimoji="0" lang="nl-NL" sz="1800" b="1" i="0" u="none" strike="noStrike" kern="1200" cap="none" spc="0" normalizeH="0" baseline="0" noProof="0">
                  <a:ln>
                    <a:noFill/>
                  </a:ln>
                  <a:solidFill>
                    <a:srgbClr val="005777"/>
                  </a:solidFill>
                  <a:effectLst/>
                  <a:uLnTx/>
                  <a:uFillTx/>
                  <a:latin typeface="Arial"/>
                  <a:ea typeface="ＭＳ Ｐゴシック"/>
                  <a:cs typeface="+mn-cs"/>
                  <a:sym typeface="+mn-lt"/>
                </a:rPr>
                <a:t>€ </a:t>
              </a:r>
            </a:p>
          </p:txBody>
        </p:sp>
      </p:grpSp>
      <p:sp>
        <p:nvSpPr>
          <p:cNvPr id="63" name="Tekstvak 62">
            <a:extLst>
              <a:ext uri="{FF2B5EF4-FFF2-40B4-BE49-F238E27FC236}">
                <a16:creationId xmlns:a16="http://schemas.microsoft.com/office/drawing/2014/main" id="{044F7781-CCA9-46BC-B846-152085259B9A}"/>
              </a:ext>
            </a:extLst>
          </p:cNvPr>
          <p:cNvSpPr txBox="1"/>
          <p:nvPr/>
        </p:nvSpPr>
        <p:spPr>
          <a:xfrm>
            <a:off x="2857886" y="2774145"/>
            <a:ext cx="2331732"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05777"/>
                </a:solidFill>
                <a:effectLst/>
                <a:uLnTx/>
                <a:uFillTx/>
                <a:latin typeface="Arial"/>
                <a:ea typeface="ＭＳ Ｐゴシック"/>
                <a:cs typeface="+mn-cs"/>
              </a:rPr>
              <a:t>Value case presentatie</a:t>
            </a:r>
            <a:endParaRPr kumimoji="0" lang="en-US" sz="1800" b="0" i="0" u="none" strike="noStrike" kern="1200" cap="none" spc="0" normalizeH="0" baseline="0" noProof="0">
              <a:ln>
                <a:noFill/>
              </a:ln>
              <a:solidFill>
                <a:srgbClr val="000000"/>
              </a:solidFill>
              <a:effectLst/>
              <a:uLnTx/>
              <a:uFillTx/>
              <a:latin typeface="Arial"/>
              <a:ea typeface="ＭＳ Ｐゴシック"/>
              <a:cs typeface="Arial"/>
            </a:endParaRPr>
          </a:p>
        </p:txBody>
      </p:sp>
      <p:sp>
        <p:nvSpPr>
          <p:cNvPr id="64" name="Tekstvak 63">
            <a:extLst>
              <a:ext uri="{FF2B5EF4-FFF2-40B4-BE49-F238E27FC236}">
                <a16:creationId xmlns:a16="http://schemas.microsoft.com/office/drawing/2014/main" id="{64E9555F-7F3E-4275-B3B4-DAEA3378229F}"/>
              </a:ext>
            </a:extLst>
          </p:cNvPr>
          <p:cNvSpPr txBox="1"/>
          <p:nvPr/>
        </p:nvSpPr>
        <p:spPr>
          <a:xfrm>
            <a:off x="3061022" y="3007494"/>
            <a:ext cx="1884825" cy="87927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1" u="none" strike="noStrike" kern="1200" cap="none" spc="0" normalizeH="0" baseline="0" noProof="0">
                <a:ln>
                  <a:noFill/>
                </a:ln>
                <a:solidFill>
                  <a:srgbClr val="005777"/>
                </a:solidFill>
                <a:effectLst/>
                <a:uLnTx/>
                <a:uFillTx/>
                <a:latin typeface="Arial"/>
                <a:ea typeface="ＭＳ Ｐゴシック"/>
                <a:cs typeface="+mn-cs"/>
              </a:rPr>
              <a:t>“Ik krijg de resultaten te zien van de enquête en interviews. Goh, interessant”</a:t>
            </a:r>
          </a:p>
        </p:txBody>
      </p:sp>
      <p:sp>
        <p:nvSpPr>
          <p:cNvPr id="65" name="Tekstvak 64">
            <a:extLst>
              <a:ext uri="{FF2B5EF4-FFF2-40B4-BE49-F238E27FC236}">
                <a16:creationId xmlns:a16="http://schemas.microsoft.com/office/drawing/2014/main" id="{9293C59A-4C0E-4A94-90E5-58969B1288AD}"/>
              </a:ext>
            </a:extLst>
          </p:cNvPr>
          <p:cNvSpPr txBox="1"/>
          <p:nvPr/>
        </p:nvSpPr>
        <p:spPr>
          <a:xfrm>
            <a:off x="5649776" y="3484090"/>
            <a:ext cx="1377313" cy="219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05777"/>
                </a:solidFill>
                <a:effectLst/>
                <a:uLnTx/>
                <a:uFillTx/>
                <a:latin typeface="Arial"/>
                <a:ea typeface="ＭＳ Ｐゴシック"/>
                <a:cs typeface="+mn-cs"/>
              </a:rPr>
              <a:t>Dialoogsessie</a:t>
            </a:r>
          </a:p>
        </p:txBody>
      </p:sp>
      <p:sp>
        <p:nvSpPr>
          <p:cNvPr id="66" name="Tekstvak 65">
            <a:extLst>
              <a:ext uri="{FF2B5EF4-FFF2-40B4-BE49-F238E27FC236}">
                <a16:creationId xmlns:a16="http://schemas.microsoft.com/office/drawing/2014/main" id="{20A6B5D7-482F-4F26-BD08-CE075D080BE2}"/>
              </a:ext>
            </a:extLst>
          </p:cNvPr>
          <p:cNvSpPr txBox="1"/>
          <p:nvPr/>
        </p:nvSpPr>
        <p:spPr>
          <a:xfrm>
            <a:off x="5042954" y="3703732"/>
            <a:ext cx="2531595" cy="861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1" u="none" strike="noStrike" kern="1200" cap="none" spc="0" normalizeH="0" baseline="0" noProof="0">
                <a:ln>
                  <a:noFill/>
                </a:ln>
                <a:solidFill>
                  <a:srgbClr val="005777"/>
                </a:solidFill>
                <a:effectLst/>
                <a:uLnTx/>
                <a:uFillTx/>
                <a:latin typeface="Arial"/>
                <a:ea typeface="ＭＳ Ｐゴシック"/>
                <a:cs typeface="+mn-cs"/>
              </a:rPr>
              <a:t>“In onze team meeting hebben we een thema sessie over contract-uitbreiding. Dat zet me aan het denken”</a:t>
            </a:r>
          </a:p>
        </p:txBody>
      </p:sp>
      <p:sp>
        <p:nvSpPr>
          <p:cNvPr id="67" name="Tekstvak 66">
            <a:extLst>
              <a:ext uri="{FF2B5EF4-FFF2-40B4-BE49-F238E27FC236}">
                <a16:creationId xmlns:a16="http://schemas.microsoft.com/office/drawing/2014/main" id="{540C1687-1F49-41D9-A185-35134EB62E5A}"/>
              </a:ext>
            </a:extLst>
          </p:cNvPr>
          <p:cNvSpPr txBox="1"/>
          <p:nvPr/>
        </p:nvSpPr>
        <p:spPr>
          <a:xfrm>
            <a:off x="4756413" y="5748591"/>
            <a:ext cx="1087717" cy="219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05777"/>
                </a:solidFill>
                <a:effectLst/>
                <a:uLnTx/>
                <a:uFillTx/>
                <a:latin typeface="Arial"/>
                <a:ea typeface="ＭＳ Ｐゴシック"/>
                <a:cs typeface="+mn-cs"/>
              </a:rPr>
              <a:t>Infopakket</a:t>
            </a:r>
          </a:p>
        </p:txBody>
      </p:sp>
      <p:sp>
        <p:nvSpPr>
          <p:cNvPr id="68" name="Tekstvak 67">
            <a:extLst>
              <a:ext uri="{FF2B5EF4-FFF2-40B4-BE49-F238E27FC236}">
                <a16:creationId xmlns:a16="http://schemas.microsoft.com/office/drawing/2014/main" id="{3B76FCA9-DBBC-4345-AF68-50579B138A2C}"/>
              </a:ext>
            </a:extLst>
          </p:cNvPr>
          <p:cNvSpPr txBox="1"/>
          <p:nvPr/>
        </p:nvSpPr>
        <p:spPr>
          <a:xfrm>
            <a:off x="3966691" y="5992654"/>
            <a:ext cx="2457921" cy="6594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1" u="none" strike="noStrike" kern="1200" cap="none" spc="0" normalizeH="0" baseline="0" noProof="0">
                <a:ln>
                  <a:noFill/>
                </a:ln>
                <a:solidFill>
                  <a:srgbClr val="005777"/>
                </a:solidFill>
                <a:effectLst/>
                <a:uLnTx/>
                <a:uFillTx/>
                <a:latin typeface="Arial"/>
                <a:ea typeface="ＭＳ Ｐゴシック"/>
                <a:cs typeface="+mn-cs"/>
              </a:rPr>
              <a:t>“Ik ontvang een handig boekje met alle vragen die ik heb rondom meer uren”</a:t>
            </a:r>
          </a:p>
        </p:txBody>
      </p:sp>
      <p:sp>
        <p:nvSpPr>
          <p:cNvPr id="70" name="Tekstvak 69">
            <a:extLst>
              <a:ext uri="{FF2B5EF4-FFF2-40B4-BE49-F238E27FC236}">
                <a16:creationId xmlns:a16="http://schemas.microsoft.com/office/drawing/2014/main" id="{FD440E93-E289-43F4-884F-403A6AC82F62}"/>
              </a:ext>
            </a:extLst>
          </p:cNvPr>
          <p:cNvSpPr txBox="1"/>
          <p:nvPr/>
        </p:nvSpPr>
        <p:spPr>
          <a:xfrm>
            <a:off x="7498597" y="2884683"/>
            <a:ext cx="2582388" cy="219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400" b="1">
                <a:solidFill>
                  <a:srgbClr val="005777"/>
                </a:solidFill>
                <a:latin typeface="Arial"/>
                <a:ea typeface="ＭＳ Ｐゴシック"/>
              </a:rPr>
              <a:t>M</a:t>
            </a:r>
            <a:r>
              <a:rPr kumimoji="0" lang="nl-NL" sz="1400" b="1" i="0" u="none" strike="noStrike" kern="1200" cap="none" spc="0" normalizeH="0" baseline="0" noProof="0" err="1">
                <a:ln>
                  <a:noFill/>
                </a:ln>
                <a:solidFill>
                  <a:srgbClr val="005777"/>
                </a:solidFill>
                <a:effectLst/>
                <a:uLnTx/>
                <a:uFillTx/>
                <a:latin typeface="Arial"/>
                <a:ea typeface="ＭＳ Ｐゴシック"/>
                <a:cs typeface="+mn-cs"/>
              </a:rPr>
              <a:t>atching</a:t>
            </a:r>
            <a:endParaRPr kumimoji="0" lang="nl-NL" sz="1400" b="1" i="0" u="none" strike="noStrike" kern="1200" cap="none" spc="0" normalizeH="0" baseline="0" noProof="0">
              <a:ln>
                <a:noFill/>
              </a:ln>
              <a:solidFill>
                <a:srgbClr val="005777"/>
              </a:solidFill>
              <a:effectLst/>
              <a:uLnTx/>
              <a:uFillTx/>
              <a:latin typeface="Arial"/>
              <a:ea typeface="ＭＳ Ｐゴシック"/>
              <a:cs typeface="+mn-cs"/>
            </a:endParaRPr>
          </a:p>
        </p:txBody>
      </p:sp>
      <p:sp>
        <p:nvSpPr>
          <p:cNvPr id="71" name="Tekstvak 70">
            <a:extLst>
              <a:ext uri="{FF2B5EF4-FFF2-40B4-BE49-F238E27FC236}">
                <a16:creationId xmlns:a16="http://schemas.microsoft.com/office/drawing/2014/main" id="{59FE114C-16CD-42BB-BF09-E07E862C52AA}"/>
              </a:ext>
            </a:extLst>
          </p:cNvPr>
          <p:cNvSpPr txBox="1"/>
          <p:nvPr/>
        </p:nvSpPr>
        <p:spPr>
          <a:xfrm>
            <a:off x="9961803" y="4003635"/>
            <a:ext cx="1637314" cy="219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05777"/>
                </a:solidFill>
                <a:effectLst/>
                <a:uLnTx/>
                <a:uFillTx/>
                <a:latin typeface="Arial"/>
                <a:ea typeface="ＭＳ Ｐゴシック"/>
                <a:cs typeface="+mn-cs"/>
              </a:rPr>
              <a:t>Goed Gesprek</a:t>
            </a:r>
          </a:p>
        </p:txBody>
      </p:sp>
      <p:sp>
        <p:nvSpPr>
          <p:cNvPr id="72" name="Tekstvak 71">
            <a:extLst>
              <a:ext uri="{FF2B5EF4-FFF2-40B4-BE49-F238E27FC236}">
                <a16:creationId xmlns:a16="http://schemas.microsoft.com/office/drawing/2014/main" id="{90CA4D15-6396-46E3-B4FB-A789A123B5D1}"/>
              </a:ext>
            </a:extLst>
          </p:cNvPr>
          <p:cNvSpPr txBox="1"/>
          <p:nvPr/>
        </p:nvSpPr>
        <p:spPr>
          <a:xfrm>
            <a:off x="9462211" y="4215506"/>
            <a:ext cx="2564372" cy="861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1" u="none" strike="noStrike" kern="1200" cap="none" spc="0" normalizeH="0" baseline="0" noProof="0">
                <a:ln>
                  <a:noFill/>
                </a:ln>
                <a:solidFill>
                  <a:srgbClr val="005777"/>
                </a:solidFill>
                <a:effectLst/>
                <a:uLnTx/>
                <a:uFillTx/>
                <a:latin typeface="Arial"/>
                <a:ea typeface="ＭＳ Ｐゴシック"/>
                <a:cs typeface="+mn-cs"/>
              </a:rPr>
              <a:t>“Ik heb een fijn gesprek over mijn situatie en wensen met mijn manager. Die paar uur extra zie ik wel zitten”</a:t>
            </a:r>
          </a:p>
        </p:txBody>
      </p:sp>
      <p:sp>
        <p:nvSpPr>
          <p:cNvPr id="75" name="Tekstvak 74">
            <a:extLst>
              <a:ext uri="{FF2B5EF4-FFF2-40B4-BE49-F238E27FC236}">
                <a16:creationId xmlns:a16="http://schemas.microsoft.com/office/drawing/2014/main" id="{A125788D-508B-43E1-8522-48D91FC155E7}"/>
              </a:ext>
            </a:extLst>
          </p:cNvPr>
          <p:cNvSpPr txBox="1"/>
          <p:nvPr/>
        </p:nvSpPr>
        <p:spPr>
          <a:xfrm>
            <a:off x="6914156" y="5355433"/>
            <a:ext cx="1685835" cy="219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05777"/>
                </a:solidFill>
                <a:effectLst/>
                <a:uLnTx/>
                <a:uFillTx/>
                <a:latin typeface="Arial"/>
                <a:ea typeface="ＭＳ Ｐゴシック"/>
                <a:cs typeface="+mn-cs"/>
              </a:rPr>
              <a:t>Deeltijdberekenaar</a:t>
            </a:r>
          </a:p>
        </p:txBody>
      </p:sp>
      <p:sp>
        <p:nvSpPr>
          <p:cNvPr id="76" name="Tekstvak 75">
            <a:extLst>
              <a:ext uri="{FF2B5EF4-FFF2-40B4-BE49-F238E27FC236}">
                <a16:creationId xmlns:a16="http://schemas.microsoft.com/office/drawing/2014/main" id="{2C99B88D-F62D-4761-A3C4-3E693DAF8E65}"/>
              </a:ext>
            </a:extLst>
          </p:cNvPr>
          <p:cNvSpPr txBox="1"/>
          <p:nvPr/>
        </p:nvSpPr>
        <p:spPr>
          <a:xfrm>
            <a:off x="6622953" y="5592379"/>
            <a:ext cx="2179751" cy="87927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1" u="none" strike="noStrike" kern="1200" cap="none" spc="0" normalizeH="0" baseline="0" noProof="0">
                <a:ln>
                  <a:noFill/>
                </a:ln>
                <a:solidFill>
                  <a:srgbClr val="005777"/>
                </a:solidFill>
                <a:effectLst/>
                <a:uLnTx/>
                <a:uFillTx/>
                <a:latin typeface="Arial"/>
                <a:ea typeface="ＭＳ Ｐゴシック"/>
                <a:cs typeface="+mn-cs"/>
              </a:rPr>
              <a:t>“Ik kan eindelijk eens zien hoeveel meer werken betekent voor mijn inkomen”</a:t>
            </a:r>
          </a:p>
        </p:txBody>
      </p:sp>
      <p:grpSp>
        <p:nvGrpSpPr>
          <p:cNvPr id="86" name="Groep 85">
            <a:extLst>
              <a:ext uri="{FF2B5EF4-FFF2-40B4-BE49-F238E27FC236}">
                <a16:creationId xmlns:a16="http://schemas.microsoft.com/office/drawing/2014/main" id="{589F92E5-094B-B04D-B33F-A371D309F7CF}"/>
              </a:ext>
            </a:extLst>
          </p:cNvPr>
          <p:cNvGrpSpPr/>
          <p:nvPr/>
        </p:nvGrpSpPr>
        <p:grpSpPr>
          <a:xfrm>
            <a:off x="7288273" y="4618307"/>
            <a:ext cx="792000" cy="720000"/>
            <a:chOff x="7578621" y="5017957"/>
            <a:chExt cx="1087732" cy="1089006"/>
          </a:xfrm>
        </p:grpSpPr>
        <p:sp>
          <p:nvSpPr>
            <p:cNvPr id="73" name="Oval 91">
              <a:extLst>
                <a:ext uri="{FF2B5EF4-FFF2-40B4-BE49-F238E27FC236}">
                  <a16:creationId xmlns:a16="http://schemas.microsoft.com/office/drawing/2014/main" id="{3EB08565-C308-4DDD-A92B-0A106A91A351}"/>
                </a:ext>
              </a:extLst>
            </p:cNvPr>
            <p:cNvSpPr>
              <a:spLocks/>
            </p:cNvSpPr>
            <p:nvPr/>
          </p:nvSpPr>
          <p:spPr>
            <a:xfrm>
              <a:off x="7578621" y="5017957"/>
              <a:ext cx="1087732" cy="1089006"/>
            </a:xfrm>
            <a:prstGeom prst="ellipse">
              <a:avLst/>
            </a:prstGeom>
            <a:solidFill>
              <a:schemeClr val="bg1"/>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93" rtl="0" eaLnBrk="1" fontAlgn="auto" latinLnBrk="0" hangingPunct="1">
                <a:lnSpc>
                  <a:spcPct val="100000"/>
                </a:lnSpc>
                <a:spcBef>
                  <a:spcPts val="0"/>
                </a:spcBef>
                <a:spcAft>
                  <a:spcPts val="0"/>
                </a:spcAft>
                <a:buClrTx/>
                <a:buSzTx/>
                <a:buFontTx/>
                <a:buNone/>
                <a:tabLst/>
                <a:defRPr/>
              </a:pPr>
              <a:endParaRPr kumimoji="0" lang="fr-FR" sz="1837" b="0" i="0" u="none" strike="noStrike" kern="1200" cap="none" spc="0" normalizeH="0" baseline="0" noProof="0" err="1">
                <a:ln>
                  <a:noFill/>
                </a:ln>
                <a:solidFill>
                  <a:srgbClr val="000000"/>
                </a:solidFill>
                <a:effectLst/>
                <a:uLnTx/>
                <a:uFillTx/>
                <a:latin typeface="Arial"/>
                <a:ea typeface="ＭＳ Ｐゴシック"/>
                <a:cs typeface="+mn-cs"/>
              </a:endParaRPr>
            </a:p>
          </p:txBody>
        </p:sp>
        <p:grpSp>
          <p:nvGrpSpPr>
            <p:cNvPr id="77" name="Group 96">
              <a:extLst>
                <a:ext uri="{FF2B5EF4-FFF2-40B4-BE49-F238E27FC236}">
                  <a16:creationId xmlns:a16="http://schemas.microsoft.com/office/drawing/2014/main" id="{3648ACEC-A93A-42BD-B5A5-8DA5222EFF2E}"/>
                </a:ext>
              </a:extLst>
            </p:cNvPr>
            <p:cNvGrpSpPr/>
            <p:nvPr/>
          </p:nvGrpSpPr>
          <p:grpSpPr>
            <a:xfrm>
              <a:off x="7826502" y="5284074"/>
              <a:ext cx="651299" cy="616674"/>
              <a:chOff x="9975851" y="798514"/>
              <a:chExt cx="425450" cy="439737"/>
            </a:xfrm>
            <a:solidFill>
              <a:schemeClr val="accent4"/>
            </a:solidFill>
          </p:grpSpPr>
          <p:sp>
            <p:nvSpPr>
              <p:cNvPr id="78" name="Freeform 49">
                <a:extLst>
                  <a:ext uri="{FF2B5EF4-FFF2-40B4-BE49-F238E27FC236}">
                    <a16:creationId xmlns:a16="http://schemas.microsoft.com/office/drawing/2014/main" id="{80F1EEF2-4DF8-4A13-BBCE-61DBF0A315EB}"/>
                  </a:ext>
                </a:extLst>
              </p:cNvPr>
              <p:cNvSpPr>
                <a:spLocks/>
              </p:cNvSpPr>
              <p:nvPr/>
            </p:nvSpPr>
            <p:spPr bwMode="auto">
              <a:xfrm>
                <a:off x="10058401" y="881064"/>
                <a:ext cx="225425" cy="49213"/>
              </a:xfrm>
              <a:custGeom>
                <a:avLst/>
                <a:gdLst>
                  <a:gd name="T0" fmla="*/ 60 w 60"/>
                  <a:gd name="T1" fmla="*/ 7 h 13"/>
                  <a:gd name="T2" fmla="*/ 54 w 60"/>
                  <a:gd name="T3" fmla="*/ 13 h 13"/>
                  <a:gd name="T4" fmla="*/ 7 w 60"/>
                  <a:gd name="T5" fmla="*/ 13 h 13"/>
                  <a:gd name="T6" fmla="*/ 0 w 60"/>
                  <a:gd name="T7" fmla="*/ 7 h 13"/>
                  <a:gd name="T8" fmla="*/ 0 w 60"/>
                  <a:gd name="T9" fmla="*/ 7 h 13"/>
                  <a:gd name="T10" fmla="*/ 7 w 60"/>
                  <a:gd name="T11" fmla="*/ 0 h 13"/>
                  <a:gd name="T12" fmla="*/ 54 w 60"/>
                  <a:gd name="T13" fmla="*/ 0 h 13"/>
                  <a:gd name="T14" fmla="*/ 60 w 60"/>
                  <a:gd name="T15" fmla="*/ 7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13">
                    <a:moveTo>
                      <a:pt x="60" y="7"/>
                    </a:moveTo>
                    <a:cubicBezTo>
                      <a:pt x="60" y="10"/>
                      <a:pt x="57" y="13"/>
                      <a:pt x="54" y="13"/>
                    </a:cubicBezTo>
                    <a:cubicBezTo>
                      <a:pt x="7" y="13"/>
                      <a:pt x="7" y="13"/>
                      <a:pt x="7" y="13"/>
                    </a:cubicBezTo>
                    <a:cubicBezTo>
                      <a:pt x="3" y="13"/>
                      <a:pt x="0" y="10"/>
                      <a:pt x="0" y="7"/>
                    </a:cubicBezTo>
                    <a:cubicBezTo>
                      <a:pt x="0" y="7"/>
                      <a:pt x="0" y="7"/>
                      <a:pt x="0" y="7"/>
                    </a:cubicBezTo>
                    <a:cubicBezTo>
                      <a:pt x="0" y="3"/>
                      <a:pt x="3" y="0"/>
                      <a:pt x="7" y="0"/>
                    </a:cubicBezTo>
                    <a:cubicBezTo>
                      <a:pt x="54" y="0"/>
                      <a:pt x="54" y="0"/>
                      <a:pt x="54" y="0"/>
                    </a:cubicBezTo>
                    <a:cubicBezTo>
                      <a:pt x="57" y="0"/>
                      <a:pt x="60" y="3"/>
                      <a:pt x="6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79" name="Oval 50">
                <a:extLst>
                  <a:ext uri="{FF2B5EF4-FFF2-40B4-BE49-F238E27FC236}">
                    <a16:creationId xmlns:a16="http://schemas.microsoft.com/office/drawing/2014/main" id="{65428BDB-6E47-4FD2-8195-D5401798AB13}"/>
                  </a:ext>
                </a:extLst>
              </p:cNvPr>
              <p:cNvSpPr>
                <a:spLocks noChangeArrowheads="1"/>
              </p:cNvSpPr>
              <p:nvPr/>
            </p:nvSpPr>
            <p:spPr bwMode="auto">
              <a:xfrm>
                <a:off x="10063163" y="963614"/>
                <a:ext cx="47625" cy="492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80" name="Oval 51">
                <a:extLst>
                  <a:ext uri="{FF2B5EF4-FFF2-40B4-BE49-F238E27FC236}">
                    <a16:creationId xmlns:a16="http://schemas.microsoft.com/office/drawing/2014/main" id="{45E38689-B534-40DD-902E-CF6A4FE1BD2A}"/>
                  </a:ext>
                </a:extLst>
              </p:cNvPr>
              <p:cNvSpPr>
                <a:spLocks noChangeArrowheads="1"/>
              </p:cNvSpPr>
              <p:nvPr/>
            </p:nvSpPr>
            <p:spPr bwMode="auto">
              <a:xfrm>
                <a:off x="10145713" y="963614"/>
                <a:ext cx="52388" cy="492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81" name="Oval 52">
                <a:extLst>
                  <a:ext uri="{FF2B5EF4-FFF2-40B4-BE49-F238E27FC236}">
                    <a16:creationId xmlns:a16="http://schemas.microsoft.com/office/drawing/2014/main" id="{6DE194A5-4706-4C50-9841-93535DADF128}"/>
                  </a:ext>
                </a:extLst>
              </p:cNvPr>
              <p:cNvSpPr>
                <a:spLocks noChangeArrowheads="1"/>
              </p:cNvSpPr>
              <p:nvPr/>
            </p:nvSpPr>
            <p:spPr bwMode="auto">
              <a:xfrm>
                <a:off x="10063163" y="1039814"/>
                <a:ext cx="47625"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82" name="Oval 53">
                <a:extLst>
                  <a:ext uri="{FF2B5EF4-FFF2-40B4-BE49-F238E27FC236}">
                    <a16:creationId xmlns:a16="http://schemas.microsoft.com/office/drawing/2014/main" id="{B8CD17D5-4C3D-4500-97C6-9073F334F7D7}"/>
                  </a:ext>
                </a:extLst>
              </p:cNvPr>
              <p:cNvSpPr>
                <a:spLocks noChangeArrowheads="1"/>
              </p:cNvSpPr>
              <p:nvPr/>
            </p:nvSpPr>
            <p:spPr bwMode="auto">
              <a:xfrm>
                <a:off x="10145713" y="1039814"/>
                <a:ext cx="52388" cy="476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83" name="Freeform 54">
                <a:extLst>
                  <a:ext uri="{FF2B5EF4-FFF2-40B4-BE49-F238E27FC236}">
                    <a16:creationId xmlns:a16="http://schemas.microsoft.com/office/drawing/2014/main" id="{B4230BA1-9467-4C84-963E-7CE96D6504C6}"/>
                  </a:ext>
                </a:extLst>
              </p:cNvPr>
              <p:cNvSpPr>
                <a:spLocks/>
              </p:cNvSpPr>
              <p:nvPr/>
            </p:nvSpPr>
            <p:spPr bwMode="auto">
              <a:xfrm>
                <a:off x="10145713" y="955676"/>
                <a:ext cx="255588" cy="282575"/>
              </a:xfrm>
              <a:custGeom>
                <a:avLst/>
                <a:gdLst>
                  <a:gd name="T0" fmla="*/ 68 w 68"/>
                  <a:gd name="T1" fmla="*/ 38 h 75"/>
                  <a:gd name="T2" fmla="*/ 59 w 68"/>
                  <a:gd name="T3" fmla="*/ 32 h 75"/>
                  <a:gd name="T4" fmla="*/ 54 w 68"/>
                  <a:gd name="T5" fmla="*/ 25 h 75"/>
                  <a:gd name="T6" fmla="*/ 48 w 68"/>
                  <a:gd name="T7" fmla="*/ 28 h 75"/>
                  <a:gd name="T8" fmla="*/ 42 w 68"/>
                  <a:gd name="T9" fmla="*/ 21 h 75"/>
                  <a:gd name="T10" fmla="*/ 36 w 68"/>
                  <a:gd name="T11" fmla="*/ 25 h 75"/>
                  <a:gd name="T12" fmla="*/ 35 w 68"/>
                  <a:gd name="T13" fmla="*/ 6 h 75"/>
                  <a:gd name="T14" fmla="*/ 30 w 68"/>
                  <a:gd name="T15" fmla="*/ 0 h 75"/>
                  <a:gd name="T16" fmla="*/ 25 w 68"/>
                  <a:gd name="T17" fmla="*/ 6 h 75"/>
                  <a:gd name="T18" fmla="*/ 24 w 68"/>
                  <a:gd name="T19" fmla="*/ 41 h 75"/>
                  <a:gd name="T20" fmla="*/ 16 w 68"/>
                  <a:gd name="T21" fmla="*/ 45 h 75"/>
                  <a:gd name="T22" fmla="*/ 4 w 68"/>
                  <a:gd name="T23" fmla="*/ 48 h 75"/>
                  <a:gd name="T24" fmla="*/ 20 w 68"/>
                  <a:gd name="T25" fmla="*/ 66 h 75"/>
                  <a:gd name="T26" fmla="*/ 29 w 68"/>
                  <a:gd name="T27" fmla="*/ 75 h 75"/>
                  <a:gd name="T28" fmla="*/ 29 w 68"/>
                  <a:gd name="T29" fmla="*/ 75 h 75"/>
                  <a:gd name="T30" fmla="*/ 58 w 68"/>
                  <a:gd name="T31" fmla="*/ 75 h 75"/>
                  <a:gd name="T32" fmla="*/ 58 w 68"/>
                  <a:gd name="T33" fmla="*/ 75 h 75"/>
                  <a:gd name="T34" fmla="*/ 67 w 68"/>
                  <a:gd name="T35" fmla="*/ 59 h 75"/>
                  <a:gd name="T36" fmla="*/ 68 w 68"/>
                  <a:gd name="T37" fmla="*/ 3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 h="75">
                    <a:moveTo>
                      <a:pt x="68" y="38"/>
                    </a:moveTo>
                    <a:cubicBezTo>
                      <a:pt x="68" y="34"/>
                      <a:pt x="63" y="31"/>
                      <a:pt x="59" y="32"/>
                    </a:cubicBezTo>
                    <a:cubicBezTo>
                      <a:pt x="59" y="28"/>
                      <a:pt x="57" y="26"/>
                      <a:pt x="54" y="25"/>
                    </a:cubicBezTo>
                    <a:cubicBezTo>
                      <a:pt x="51" y="25"/>
                      <a:pt x="49" y="26"/>
                      <a:pt x="48" y="28"/>
                    </a:cubicBezTo>
                    <a:cubicBezTo>
                      <a:pt x="48" y="24"/>
                      <a:pt x="45" y="21"/>
                      <a:pt x="42" y="21"/>
                    </a:cubicBezTo>
                    <a:cubicBezTo>
                      <a:pt x="39" y="21"/>
                      <a:pt x="37" y="23"/>
                      <a:pt x="36" y="25"/>
                    </a:cubicBezTo>
                    <a:cubicBezTo>
                      <a:pt x="35" y="6"/>
                      <a:pt x="35" y="6"/>
                      <a:pt x="35" y="6"/>
                    </a:cubicBezTo>
                    <a:cubicBezTo>
                      <a:pt x="35" y="3"/>
                      <a:pt x="33" y="0"/>
                      <a:pt x="30" y="0"/>
                    </a:cubicBezTo>
                    <a:cubicBezTo>
                      <a:pt x="27" y="0"/>
                      <a:pt x="25" y="3"/>
                      <a:pt x="25" y="6"/>
                    </a:cubicBezTo>
                    <a:cubicBezTo>
                      <a:pt x="25" y="6"/>
                      <a:pt x="24" y="39"/>
                      <a:pt x="24" y="41"/>
                    </a:cubicBezTo>
                    <a:cubicBezTo>
                      <a:pt x="24" y="44"/>
                      <a:pt x="21" y="51"/>
                      <a:pt x="16" y="45"/>
                    </a:cubicBezTo>
                    <a:cubicBezTo>
                      <a:pt x="12" y="40"/>
                      <a:pt x="0" y="43"/>
                      <a:pt x="4" y="48"/>
                    </a:cubicBezTo>
                    <a:cubicBezTo>
                      <a:pt x="10" y="55"/>
                      <a:pt x="16" y="65"/>
                      <a:pt x="20" y="66"/>
                    </a:cubicBezTo>
                    <a:cubicBezTo>
                      <a:pt x="28" y="69"/>
                      <a:pt x="29" y="72"/>
                      <a:pt x="29" y="75"/>
                    </a:cubicBezTo>
                    <a:cubicBezTo>
                      <a:pt x="29" y="75"/>
                      <a:pt x="29" y="75"/>
                      <a:pt x="29" y="75"/>
                    </a:cubicBezTo>
                    <a:cubicBezTo>
                      <a:pt x="58" y="75"/>
                      <a:pt x="58" y="75"/>
                      <a:pt x="58" y="75"/>
                    </a:cubicBezTo>
                    <a:cubicBezTo>
                      <a:pt x="58" y="75"/>
                      <a:pt x="58" y="75"/>
                      <a:pt x="58" y="75"/>
                    </a:cubicBezTo>
                    <a:cubicBezTo>
                      <a:pt x="59" y="73"/>
                      <a:pt x="66" y="67"/>
                      <a:pt x="67" y="59"/>
                    </a:cubicBezTo>
                    <a:cubicBezTo>
                      <a:pt x="68" y="51"/>
                      <a:pt x="68" y="38"/>
                      <a:pt x="6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84" name="Freeform 55">
                <a:extLst>
                  <a:ext uri="{FF2B5EF4-FFF2-40B4-BE49-F238E27FC236}">
                    <a16:creationId xmlns:a16="http://schemas.microsoft.com/office/drawing/2014/main" id="{56E8B271-9330-4E50-BEF9-1C27B384EA1D}"/>
                  </a:ext>
                </a:extLst>
              </p:cNvPr>
              <p:cNvSpPr>
                <a:spLocks/>
              </p:cNvSpPr>
              <p:nvPr/>
            </p:nvSpPr>
            <p:spPr bwMode="auto">
              <a:xfrm>
                <a:off x="9975851" y="798514"/>
                <a:ext cx="387350" cy="384175"/>
              </a:xfrm>
              <a:custGeom>
                <a:avLst/>
                <a:gdLst>
                  <a:gd name="T0" fmla="*/ 39 w 103"/>
                  <a:gd name="T1" fmla="*/ 90 h 102"/>
                  <a:gd name="T2" fmla="*/ 12 w 103"/>
                  <a:gd name="T3" fmla="*/ 90 h 102"/>
                  <a:gd name="T4" fmla="*/ 12 w 103"/>
                  <a:gd name="T5" fmla="*/ 90 h 102"/>
                  <a:gd name="T6" fmla="*/ 12 w 103"/>
                  <a:gd name="T7" fmla="*/ 12 h 102"/>
                  <a:gd name="T8" fmla="*/ 12 w 103"/>
                  <a:gd name="T9" fmla="*/ 12 h 102"/>
                  <a:gd name="T10" fmla="*/ 90 w 103"/>
                  <a:gd name="T11" fmla="*/ 12 h 102"/>
                  <a:gd name="T12" fmla="*/ 90 w 103"/>
                  <a:gd name="T13" fmla="*/ 12 h 102"/>
                  <a:gd name="T14" fmla="*/ 90 w 103"/>
                  <a:gd name="T15" fmla="*/ 56 h 102"/>
                  <a:gd name="T16" fmla="*/ 90 w 103"/>
                  <a:gd name="T17" fmla="*/ 56 h 102"/>
                  <a:gd name="T18" fmla="*/ 102 w 103"/>
                  <a:gd name="T19" fmla="*/ 62 h 102"/>
                  <a:gd name="T20" fmla="*/ 103 w 103"/>
                  <a:gd name="T21" fmla="*/ 62 h 102"/>
                  <a:gd name="T22" fmla="*/ 103 w 103"/>
                  <a:gd name="T23" fmla="*/ 8 h 102"/>
                  <a:gd name="T24" fmla="*/ 94 w 103"/>
                  <a:gd name="T25" fmla="*/ 0 h 102"/>
                  <a:gd name="T26" fmla="*/ 8 w 103"/>
                  <a:gd name="T27" fmla="*/ 0 h 102"/>
                  <a:gd name="T28" fmla="*/ 0 w 103"/>
                  <a:gd name="T29" fmla="*/ 8 h 102"/>
                  <a:gd name="T30" fmla="*/ 0 w 103"/>
                  <a:gd name="T31" fmla="*/ 93 h 102"/>
                  <a:gd name="T32" fmla="*/ 8 w 103"/>
                  <a:gd name="T33" fmla="*/ 102 h 102"/>
                  <a:gd name="T34" fmla="*/ 48 w 103"/>
                  <a:gd name="T35" fmla="*/ 102 h 102"/>
                  <a:gd name="T36" fmla="*/ 48 w 103"/>
                  <a:gd name="T37" fmla="*/ 102 h 102"/>
                  <a:gd name="T38" fmla="*/ 39 w 103"/>
                  <a:gd name="T39" fmla="*/ 90 h 102"/>
                  <a:gd name="T40" fmla="*/ 39 w 103"/>
                  <a:gd name="T41" fmla="*/ 9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 h="102">
                    <a:moveTo>
                      <a:pt x="39" y="90"/>
                    </a:moveTo>
                    <a:cubicBezTo>
                      <a:pt x="12" y="90"/>
                      <a:pt x="12" y="90"/>
                      <a:pt x="12" y="90"/>
                    </a:cubicBezTo>
                    <a:cubicBezTo>
                      <a:pt x="12" y="90"/>
                      <a:pt x="12" y="90"/>
                      <a:pt x="12" y="90"/>
                    </a:cubicBezTo>
                    <a:cubicBezTo>
                      <a:pt x="12" y="12"/>
                      <a:pt x="12" y="12"/>
                      <a:pt x="12" y="12"/>
                    </a:cubicBezTo>
                    <a:cubicBezTo>
                      <a:pt x="12" y="12"/>
                      <a:pt x="12" y="12"/>
                      <a:pt x="12" y="12"/>
                    </a:cubicBezTo>
                    <a:cubicBezTo>
                      <a:pt x="90" y="12"/>
                      <a:pt x="90" y="12"/>
                      <a:pt x="90" y="12"/>
                    </a:cubicBezTo>
                    <a:cubicBezTo>
                      <a:pt x="90" y="12"/>
                      <a:pt x="90" y="12"/>
                      <a:pt x="90" y="12"/>
                    </a:cubicBezTo>
                    <a:cubicBezTo>
                      <a:pt x="90" y="56"/>
                      <a:pt x="90" y="56"/>
                      <a:pt x="90" y="56"/>
                    </a:cubicBezTo>
                    <a:cubicBezTo>
                      <a:pt x="90" y="56"/>
                      <a:pt x="90" y="56"/>
                      <a:pt x="90" y="56"/>
                    </a:cubicBezTo>
                    <a:cubicBezTo>
                      <a:pt x="102" y="62"/>
                      <a:pt x="102" y="62"/>
                      <a:pt x="102" y="62"/>
                    </a:cubicBezTo>
                    <a:cubicBezTo>
                      <a:pt x="102" y="62"/>
                      <a:pt x="103" y="62"/>
                      <a:pt x="103" y="62"/>
                    </a:cubicBezTo>
                    <a:cubicBezTo>
                      <a:pt x="103" y="8"/>
                      <a:pt x="103" y="8"/>
                      <a:pt x="103" y="8"/>
                    </a:cubicBezTo>
                    <a:cubicBezTo>
                      <a:pt x="103" y="4"/>
                      <a:pt x="99" y="0"/>
                      <a:pt x="94" y="0"/>
                    </a:cubicBezTo>
                    <a:cubicBezTo>
                      <a:pt x="8" y="0"/>
                      <a:pt x="8" y="0"/>
                      <a:pt x="8" y="0"/>
                    </a:cubicBezTo>
                    <a:cubicBezTo>
                      <a:pt x="4" y="0"/>
                      <a:pt x="0" y="4"/>
                      <a:pt x="0" y="8"/>
                    </a:cubicBezTo>
                    <a:cubicBezTo>
                      <a:pt x="0" y="93"/>
                      <a:pt x="0" y="93"/>
                      <a:pt x="0" y="93"/>
                    </a:cubicBezTo>
                    <a:cubicBezTo>
                      <a:pt x="0" y="98"/>
                      <a:pt x="4" y="102"/>
                      <a:pt x="8" y="102"/>
                    </a:cubicBezTo>
                    <a:cubicBezTo>
                      <a:pt x="48" y="102"/>
                      <a:pt x="48" y="102"/>
                      <a:pt x="48" y="102"/>
                    </a:cubicBezTo>
                    <a:cubicBezTo>
                      <a:pt x="48" y="102"/>
                      <a:pt x="48" y="102"/>
                      <a:pt x="48" y="102"/>
                    </a:cubicBezTo>
                    <a:cubicBezTo>
                      <a:pt x="48" y="100"/>
                      <a:pt x="43" y="92"/>
                      <a:pt x="39" y="90"/>
                    </a:cubicBezTo>
                    <a:cubicBezTo>
                      <a:pt x="39" y="90"/>
                      <a:pt x="39" y="90"/>
                      <a:pt x="39"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3" tIns="46649" rIns="93293" bIns="46649" numCol="1" anchor="t" anchorCtr="0" compatLnSpc="1">
                <a:prstTxWarp prst="textNoShape">
                  <a:avLst/>
                </a:prstTxWarp>
              </a:bodyPr>
              <a:lstStyle/>
              <a:p>
                <a:pPr marL="0" marR="0" lvl="0" indent="0" algn="l" defTabSz="914393" rtl="0" eaLnBrk="1" fontAlgn="auto" latinLnBrk="0" hangingPunct="1">
                  <a:lnSpc>
                    <a:spcPct val="100000"/>
                  </a:lnSpc>
                  <a:spcBef>
                    <a:spcPts val="0"/>
                  </a:spcBef>
                  <a:spcAft>
                    <a:spcPts val="0"/>
                  </a:spcAft>
                  <a:buClrTx/>
                  <a:buSzTx/>
                  <a:buFontTx/>
                  <a:buNone/>
                  <a:tabLst/>
                  <a:defRPr/>
                </a:pPr>
                <a:endParaRPr kumimoji="0" lang="de-DE" sz="1837" b="0" i="0" u="none" strike="noStrike" kern="1200" cap="none" spc="0" normalizeH="0" baseline="0" noProof="0">
                  <a:ln>
                    <a:noFill/>
                  </a:ln>
                  <a:solidFill>
                    <a:srgbClr val="000000"/>
                  </a:solidFill>
                  <a:effectLst/>
                  <a:uLnTx/>
                  <a:uFillTx/>
                  <a:latin typeface="Arial"/>
                  <a:ea typeface="ＭＳ Ｐゴシック"/>
                  <a:cs typeface="+mn-cs"/>
                </a:endParaRPr>
              </a:p>
            </p:txBody>
          </p:sp>
        </p:grpSp>
      </p:grpSp>
      <p:sp>
        <p:nvSpPr>
          <p:cNvPr id="90" name="Tekstvak 89">
            <a:extLst>
              <a:ext uri="{FF2B5EF4-FFF2-40B4-BE49-F238E27FC236}">
                <a16:creationId xmlns:a16="http://schemas.microsoft.com/office/drawing/2014/main" id="{1D1222CA-FDB4-44A0-A7B0-29D4561C53A5}"/>
              </a:ext>
            </a:extLst>
          </p:cNvPr>
          <p:cNvSpPr txBox="1"/>
          <p:nvPr/>
        </p:nvSpPr>
        <p:spPr>
          <a:xfrm>
            <a:off x="999435" y="5840983"/>
            <a:ext cx="1712255" cy="219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05777"/>
                </a:solidFill>
                <a:effectLst/>
                <a:uLnTx/>
                <a:uFillTx/>
                <a:latin typeface="Arial"/>
                <a:ea typeface="ＭＳ Ｐゴシック"/>
                <a:cs typeface="+mn-cs"/>
              </a:rPr>
              <a:t>Medewerkerspanel</a:t>
            </a:r>
          </a:p>
        </p:txBody>
      </p:sp>
      <p:sp>
        <p:nvSpPr>
          <p:cNvPr id="91" name="Tekstvak 90">
            <a:extLst>
              <a:ext uri="{FF2B5EF4-FFF2-40B4-BE49-F238E27FC236}">
                <a16:creationId xmlns:a16="http://schemas.microsoft.com/office/drawing/2014/main" id="{A593808B-9913-4C5D-B054-BD674B8E9149}"/>
              </a:ext>
            </a:extLst>
          </p:cNvPr>
          <p:cNvSpPr txBox="1"/>
          <p:nvPr/>
        </p:nvSpPr>
        <p:spPr>
          <a:xfrm>
            <a:off x="321226" y="6044830"/>
            <a:ext cx="3240577" cy="6594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1" u="none" strike="noStrike" kern="1200" cap="none" spc="0" normalizeH="0" baseline="0" noProof="0">
                <a:ln>
                  <a:noFill/>
                </a:ln>
                <a:solidFill>
                  <a:srgbClr val="005777"/>
                </a:solidFill>
                <a:effectLst/>
                <a:uLnTx/>
                <a:uFillTx/>
                <a:latin typeface="Arial"/>
                <a:ea typeface="ＭＳ Ｐゴシック"/>
                <a:cs typeface="+mn-cs"/>
              </a:rPr>
              <a:t>“Hier wil ik wel een actieve rol in spelen. Ik meld me aan voor het medewerkerspanel”</a:t>
            </a:r>
          </a:p>
        </p:txBody>
      </p:sp>
      <p:grpSp>
        <p:nvGrpSpPr>
          <p:cNvPr id="92" name="Groep 91">
            <a:extLst>
              <a:ext uri="{FF2B5EF4-FFF2-40B4-BE49-F238E27FC236}">
                <a16:creationId xmlns:a16="http://schemas.microsoft.com/office/drawing/2014/main" id="{D6A7D573-1F70-441B-BCF0-D614A11EF8FB}"/>
              </a:ext>
            </a:extLst>
          </p:cNvPr>
          <p:cNvGrpSpPr>
            <a:grpSpLocks noChangeAspect="1"/>
          </p:cNvGrpSpPr>
          <p:nvPr/>
        </p:nvGrpSpPr>
        <p:grpSpPr>
          <a:xfrm>
            <a:off x="1389203" y="5120983"/>
            <a:ext cx="787066" cy="720000"/>
            <a:chOff x="2440088" y="4419948"/>
            <a:chExt cx="1087732" cy="1089006"/>
          </a:xfrm>
        </p:grpSpPr>
        <p:sp>
          <p:nvSpPr>
            <p:cNvPr id="93" name="Oval 81">
              <a:extLst>
                <a:ext uri="{FF2B5EF4-FFF2-40B4-BE49-F238E27FC236}">
                  <a16:creationId xmlns:a16="http://schemas.microsoft.com/office/drawing/2014/main" id="{5B973353-D8F0-418F-8157-5DA65EDB51DD}"/>
                </a:ext>
              </a:extLst>
            </p:cNvPr>
            <p:cNvSpPr>
              <a:spLocks/>
            </p:cNvSpPr>
            <p:nvPr/>
          </p:nvSpPr>
          <p:spPr>
            <a:xfrm>
              <a:off x="2440088" y="4419948"/>
              <a:ext cx="1087732" cy="1089006"/>
            </a:xfrm>
            <a:prstGeom prst="ellipse">
              <a:avLst/>
            </a:prstGeom>
            <a:solidFill>
              <a:schemeClr val="bg1"/>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93" rtl="0" eaLnBrk="1" fontAlgn="auto" latinLnBrk="0" hangingPunct="1">
                <a:lnSpc>
                  <a:spcPct val="100000"/>
                </a:lnSpc>
                <a:spcBef>
                  <a:spcPts val="0"/>
                </a:spcBef>
                <a:spcAft>
                  <a:spcPts val="0"/>
                </a:spcAft>
                <a:buClrTx/>
                <a:buSzTx/>
                <a:buFontTx/>
                <a:buNone/>
                <a:tabLst/>
                <a:defRPr/>
              </a:pPr>
              <a:endParaRPr kumimoji="0" lang="fr-FR" sz="1428" b="0" i="0" u="none" strike="noStrike" kern="1200" cap="none" spc="0" normalizeH="0" baseline="0" noProof="0" err="1">
                <a:ln>
                  <a:noFill/>
                </a:ln>
                <a:solidFill>
                  <a:srgbClr val="000000"/>
                </a:solidFill>
                <a:effectLst/>
                <a:uLnTx/>
                <a:uFillTx/>
                <a:latin typeface="Arial"/>
                <a:ea typeface="ＭＳ Ｐゴシック"/>
                <a:cs typeface="+mn-cs"/>
              </a:endParaRPr>
            </a:p>
          </p:txBody>
        </p:sp>
        <p:pic>
          <p:nvPicPr>
            <p:cNvPr id="94" name="Graphic 93" descr="Klantbeoordeling">
              <a:extLst>
                <a:ext uri="{FF2B5EF4-FFF2-40B4-BE49-F238E27FC236}">
                  <a16:creationId xmlns:a16="http://schemas.microsoft.com/office/drawing/2014/main" id="{F6C47E99-BFA5-406E-B516-3F8B5A51D749}"/>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612310" y="4618875"/>
              <a:ext cx="708212" cy="708212"/>
            </a:xfrm>
            <a:prstGeom prst="rect">
              <a:avLst/>
            </a:prstGeom>
          </p:spPr>
        </p:pic>
      </p:grpSp>
      <p:grpSp>
        <p:nvGrpSpPr>
          <p:cNvPr id="97" name="Groep 96">
            <a:extLst>
              <a:ext uri="{FF2B5EF4-FFF2-40B4-BE49-F238E27FC236}">
                <a16:creationId xmlns:a16="http://schemas.microsoft.com/office/drawing/2014/main" id="{E6DB690A-AD95-6641-97B8-91B64DEEB332}"/>
              </a:ext>
            </a:extLst>
          </p:cNvPr>
          <p:cNvGrpSpPr>
            <a:grpSpLocks noChangeAspect="1"/>
          </p:cNvGrpSpPr>
          <p:nvPr/>
        </p:nvGrpSpPr>
        <p:grpSpPr>
          <a:xfrm>
            <a:off x="5915218" y="2739847"/>
            <a:ext cx="787066" cy="720000"/>
            <a:chOff x="2440088" y="4419948"/>
            <a:chExt cx="1087732" cy="1089006"/>
          </a:xfrm>
        </p:grpSpPr>
        <p:sp>
          <p:nvSpPr>
            <p:cNvPr id="98" name="Oval 81">
              <a:extLst>
                <a:ext uri="{FF2B5EF4-FFF2-40B4-BE49-F238E27FC236}">
                  <a16:creationId xmlns:a16="http://schemas.microsoft.com/office/drawing/2014/main" id="{F02EF939-E055-4643-9318-F7B90ECC20D7}"/>
                </a:ext>
              </a:extLst>
            </p:cNvPr>
            <p:cNvSpPr>
              <a:spLocks/>
            </p:cNvSpPr>
            <p:nvPr/>
          </p:nvSpPr>
          <p:spPr>
            <a:xfrm>
              <a:off x="2440088" y="4419948"/>
              <a:ext cx="1087732" cy="1089006"/>
            </a:xfrm>
            <a:prstGeom prst="ellipse">
              <a:avLst/>
            </a:prstGeom>
            <a:solidFill>
              <a:schemeClr val="bg1"/>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93" rtl="0" eaLnBrk="1" fontAlgn="auto" latinLnBrk="0" hangingPunct="1">
                <a:lnSpc>
                  <a:spcPct val="100000"/>
                </a:lnSpc>
                <a:spcBef>
                  <a:spcPts val="0"/>
                </a:spcBef>
                <a:spcAft>
                  <a:spcPts val="0"/>
                </a:spcAft>
                <a:buClrTx/>
                <a:buSzTx/>
                <a:buFontTx/>
                <a:buNone/>
                <a:tabLst/>
                <a:defRPr/>
              </a:pPr>
              <a:endParaRPr kumimoji="0" lang="fr-FR" sz="1428" b="0" i="0" u="none" strike="noStrike" kern="1200" cap="none" spc="0" normalizeH="0" baseline="0" noProof="0" err="1">
                <a:ln>
                  <a:noFill/>
                </a:ln>
                <a:solidFill>
                  <a:srgbClr val="000000"/>
                </a:solidFill>
                <a:effectLst/>
                <a:uLnTx/>
                <a:uFillTx/>
                <a:latin typeface="Arial"/>
                <a:ea typeface="ＭＳ Ｐゴシック"/>
                <a:cs typeface="+mn-cs"/>
              </a:endParaRPr>
            </a:p>
          </p:txBody>
        </p:sp>
        <p:pic>
          <p:nvPicPr>
            <p:cNvPr id="99" name="Graphic 98" descr="Klantbeoordeling">
              <a:extLst>
                <a:ext uri="{FF2B5EF4-FFF2-40B4-BE49-F238E27FC236}">
                  <a16:creationId xmlns:a16="http://schemas.microsoft.com/office/drawing/2014/main" id="{D9C976E0-8F42-C74B-B6E5-DACB6C03F5F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612310" y="4618875"/>
              <a:ext cx="708212" cy="708212"/>
            </a:xfrm>
            <a:prstGeom prst="rect">
              <a:avLst/>
            </a:prstGeom>
          </p:spPr>
        </p:pic>
      </p:grpSp>
      <p:sp>
        <p:nvSpPr>
          <p:cNvPr id="100" name="Tekstvak 99">
            <a:extLst>
              <a:ext uri="{FF2B5EF4-FFF2-40B4-BE49-F238E27FC236}">
                <a16:creationId xmlns:a16="http://schemas.microsoft.com/office/drawing/2014/main" id="{0483297E-A447-6041-876E-313A80313E67}"/>
              </a:ext>
            </a:extLst>
          </p:cNvPr>
          <p:cNvSpPr txBox="1"/>
          <p:nvPr/>
        </p:nvSpPr>
        <p:spPr>
          <a:xfrm>
            <a:off x="5057715" y="1999073"/>
            <a:ext cx="3431525"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1" u="none" strike="noStrike" kern="1200" cap="none" spc="0" normalizeH="0" baseline="0" noProof="0">
                <a:ln>
                  <a:noFill/>
                </a:ln>
                <a:solidFill>
                  <a:srgbClr val="005777"/>
                </a:solidFill>
                <a:effectLst/>
                <a:uLnTx/>
                <a:uFillTx/>
                <a:latin typeface="Arial"/>
                <a:ea typeface="ＭＳ Ｐゴシック"/>
                <a:cs typeface="+mn-cs"/>
              </a:rPr>
              <a:t>“Binnen mijn instelling zie ik posters hangen over contractuitbreiding”</a:t>
            </a:r>
          </a:p>
        </p:txBody>
      </p:sp>
      <p:sp>
        <p:nvSpPr>
          <p:cNvPr id="111" name="Tekstvak 110">
            <a:extLst>
              <a:ext uri="{FF2B5EF4-FFF2-40B4-BE49-F238E27FC236}">
                <a16:creationId xmlns:a16="http://schemas.microsoft.com/office/drawing/2014/main" id="{397082B0-331D-9A47-9A07-ED9EC4AB0C31}"/>
              </a:ext>
            </a:extLst>
          </p:cNvPr>
          <p:cNvSpPr txBox="1"/>
          <p:nvPr/>
        </p:nvSpPr>
        <p:spPr>
          <a:xfrm>
            <a:off x="9904024" y="2022909"/>
            <a:ext cx="1524688" cy="861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lvl="0" algn="ctr">
              <a:defRPr/>
            </a:pPr>
            <a:r>
              <a:rPr kumimoji="0" lang="nl-NL" sz="1400" b="0" i="1" u="none" strike="noStrike" kern="1200" cap="none" spc="0" normalizeH="0" baseline="0" noProof="0">
                <a:ln>
                  <a:noFill/>
                </a:ln>
                <a:solidFill>
                  <a:srgbClr val="005777"/>
                </a:solidFill>
                <a:effectLst/>
                <a:uLnTx/>
                <a:uFillTx/>
                <a:latin typeface="Arial"/>
                <a:ea typeface="ＭＳ Ｐゴシック"/>
                <a:cs typeface="+mn-cs"/>
              </a:rPr>
              <a:t>“Vanaf volgende maand ga ik 6 uur </a:t>
            </a:r>
            <a:r>
              <a:rPr lang="nl-NL" sz="1400" i="1">
                <a:solidFill>
                  <a:srgbClr val="005777"/>
                </a:solidFill>
              </a:rPr>
              <a:t>per week  meer werken”</a:t>
            </a:r>
            <a:endParaRPr kumimoji="0" lang="nl-NL" sz="1400" b="0" i="1" u="none" strike="noStrike" kern="1200" cap="none" spc="0" normalizeH="0" baseline="0" noProof="0">
              <a:ln>
                <a:noFill/>
              </a:ln>
              <a:solidFill>
                <a:srgbClr val="005777"/>
              </a:solidFill>
              <a:effectLst/>
              <a:uLnTx/>
              <a:uFillTx/>
              <a:latin typeface="Arial"/>
              <a:ea typeface="ＭＳ Ｐゴシック"/>
              <a:cs typeface="+mn-cs"/>
            </a:endParaRPr>
          </a:p>
        </p:txBody>
      </p:sp>
      <p:sp>
        <p:nvSpPr>
          <p:cNvPr id="130" name="Tekstvak 129">
            <a:extLst>
              <a:ext uri="{FF2B5EF4-FFF2-40B4-BE49-F238E27FC236}">
                <a16:creationId xmlns:a16="http://schemas.microsoft.com/office/drawing/2014/main" id="{8937E80C-2569-9349-8811-8206FE3ACFEA}"/>
              </a:ext>
            </a:extLst>
          </p:cNvPr>
          <p:cNvSpPr txBox="1"/>
          <p:nvPr/>
        </p:nvSpPr>
        <p:spPr>
          <a:xfrm>
            <a:off x="9114963" y="5331164"/>
            <a:ext cx="2656715" cy="10772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lvl="0" algn="ctr">
              <a:defRPr/>
            </a:pPr>
            <a:r>
              <a:rPr kumimoji="0" lang="nl-NL" sz="1400" b="0" i="1" u="none" strike="noStrike" kern="1200" cap="none" spc="0" normalizeH="0" baseline="0" noProof="0">
                <a:ln>
                  <a:noFill/>
                </a:ln>
                <a:solidFill>
                  <a:srgbClr val="005777"/>
                </a:solidFill>
                <a:effectLst/>
                <a:uLnTx/>
                <a:uFillTx/>
                <a:latin typeface="Arial"/>
                <a:ea typeface="ＭＳ Ｐゴシック"/>
                <a:cs typeface="+mn-cs"/>
              </a:rPr>
              <a:t>“Er wordt mij gevraagd een impact meting in te vullen. Ik ben benieuwd wat voor impact HPP binnen mijn instelling heeft gehad”</a:t>
            </a:r>
          </a:p>
        </p:txBody>
      </p:sp>
      <p:sp>
        <p:nvSpPr>
          <p:cNvPr id="96" name="Rechthoek 95">
            <a:extLst>
              <a:ext uri="{FF2B5EF4-FFF2-40B4-BE49-F238E27FC236}">
                <a16:creationId xmlns:a16="http://schemas.microsoft.com/office/drawing/2014/main" id="{3A63D156-EB7A-F940-886D-A237475BDC5E}"/>
              </a:ext>
            </a:extLst>
          </p:cNvPr>
          <p:cNvSpPr/>
          <p:nvPr/>
        </p:nvSpPr>
        <p:spPr>
          <a:xfrm>
            <a:off x="-1648854" y="119498"/>
            <a:ext cx="1903751" cy="1272244"/>
          </a:xfrm>
          <a:prstGeom prst="rect">
            <a:avLst/>
          </a:prstGeom>
          <a:solidFill>
            <a:srgbClr val="92D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err="1">
                <a:solidFill>
                  <a:schemeClr val="tx1"/>
                </a:solidFill>
              </a:rPr>
              <a:t>Rox</a:t>
            </a:r>
            <a:r>
              <a:rPr lang="nl-NL" sz="1600">
                <a:solidFill>
                  <a:schemeClr val="tx1"/>
                </a:solidFill>
              </a:rPr>
              <a:t> kijken of dit de laatst versie is</a:t>
            </a:r>
          </a:p>
        </p:txBody>
      </p:sp>
    </p:spTree>
    <p:extLst>
      <p:ext uri="{BB962C8B-B14F-4D97-AF65-F5344CB8AC3E}">
        <p14:creationId xmlns:p14="http://schemas.microsoft.com/office/powerpoint/2010/main" val="14908237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hoek 2">
            <a:extLst>
              <a:ext uri="{FF2B5EF4-FFF2-40B4-BE49-F238E27FC236}">
                <a16:creationId xmlns:a16="http://schemas.microsoft.com/office/drawing/2014/main" id="{0FB1547D-535F-4C9C-A0C4-5D585E61D868}"/>
              </a:ext>
            </a:extLst>
          </p:cNvPr>
          <p:cNvSpPr/>
          <p:nvPr/>
        </p:nvSpPr>
        <p:spPr>
          <a:xfrm>
            <a:off x="1202321" y="1706194"/>
            <a:ext cx="10379593" cy="993124"/>
          </a:xfrm>
          <a:prstGeom prst="rect">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24" dirty="0">
                <a:solidFill>
                  <a:schemeClr val="bg1"/>
                </a:solidFill>
              </a:rPr>
              <a:t>Vergroten deeltijdfactor van 0,67 naar 0,7 per 31 dec 2020</a:t>
            </a:r>
          </a:p>
          <a:p>
            <a:pPr algn="ctr"/>
            <a:r>
              <a:rPr lang="nl-NL" sz="1224" dirty="0">
                <a:solidFill>
                  <a:schemeClr val="bg1"/>
                </a:solidFill>
              </a:rPr>
              <a:t>Bewustzijn op dit thema bij [instelling] verhogen en potentieel maximaal inzetten</a:t>
            </a:r>
          </a:p>
          <a:p>
            <a:pPr algn="ctr"/>
            <a:r>
              <a:rPr lang="nl-NL" sz="1224" dirty="0">
                <a:solidFill>
                  <a:schemeClr val="bg1"/>
                </a:solidFill>
              </a:rPr>
              <a:t>Aanpak hebben staan die breed binnen [instelling] kan worden uitgerold </a:t>
            </a:r>
          </a:p>
        </p:txBody>
      </p:sp>
      <p:sp>
        <p:nvSpPr>
          <p:cNvPr id="10" name="Rechthoek 9">
            <a:extLst>
              <a:ext uri="{FF2B5EF4-FFF2-40B4-BE49-F238E27FC236}">
                <a16:creationId xmlns:a16="http://schemas.microsoft.com/office/drawing/2014/main" id="{0EF0CCB9-ABCB-46DD-9B44-EC45608B06C2}"/>
              </a:ext>
            </a:extLst>
          </p:cNvPr>
          <p:cNvSpPr/>
          <p:nvPr/>
        </p:nvSpPr>
        <p:spPr>
          <a:xfrm>
            <a:off x="6616163" y="2789942"/>
            <a:ext cx="4965752" cy="1872048"/>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224" err="1">
              <a:solidFill>
                <a:schemeClr val="tx1"/>
              </a:solidFill>
            </a:endParaRPr>
          </a:p>
        </p:txBody>
      </p:sp>
      <p:sp>
        <p:nvSpPr>
          <p:cNvPr id="11" name="Rechthoek 10">
            <a:extLst>
              <a:ext uri="{FF2B5EF4-FFF2-40B4-BE49-F238E27FC236}">
                <a16:creationId xmlns:a16="http://schemas.microsoft.com/office/drawing/2014/main" id="{CD76C7B1-5343-4A28-905E-27C6A9ED532F}"/>
              </a:ext>
            </a:extLst>
          </p:cNvPr>
          <p:cNvSpPr/>
          <p:nvPr/>
        </p:nvSpPr>
        <p:spPr>
          <a:xfrm>
            <a:off x="6616163" y="2789943"/>
            <a:ext cx="4965752" cy="426888"/>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24" b="1">
                <a:solidFill>
                  <a:schemeClr val="accent4"/>
                </a:solidFill>
              </a:rPr>
              <a:t>Als instelling op een constructieve manier met zo’n verzoek omgaan (“Aanbod”)</a:t>
            </a:r>
          </a:p>
        </p:txBody>
      </p:sp>
      <p:sp>
        <p:nvSpPr>
          <p:cNvPr id="12" name="Tekstvak 11">
            <a:extLst>
              <a:ext uri="{FF2B5EF4-FFF2-40B4-BE49-F238E27FC236}">
                <a16:creationId xmlns:a16="http://schemas.microsoft.com/office/drawing/2014/main" id="{8789F904-70DA-41D1-B78F-FFD13CB32AE0}"/>
              </a:ext>
            </a:extLst>
          </p:cNvPr>
          <p:cNvSpPr txBox="1"/>
          <p:nvPr/>
        </p:nvSpPr>
        <p:spPr>
          <a:xfrm>
            <a:off x="6769614" y="3265204"/>
            <a:ext cx="4529944" cy="426888"/>
          </a:xfrm>
          <a:prstGeom prst="rect">
            <a:avLst/>
          </a:prstGeom>
          <a:noFill/>
          <a:ln w="19050">
            <a:noFill/>
            <a:miter lim="800000"/>
            <a:headEnd/>
            <a:tailEnd/>
          </a:ln>
          <a:effectLst/>
        </p:spPr>
        <p:txBody>
          <a:bodyPr vert="horz" wrap="square" lIns="143998" tIns="72007" rIns="72007" bIns="72007" numCol="1" rtlCol="0" anchor="t" anchorCtr="0" compatLnSpc="1">
            <a:prstTxWarp prst="textNoShape">
              <a:avLst/>
            </a:prstTxWarp>
            <a:noAutofit/>
          </a:bodyPr>
          <a:lstStyle/>
          <a:p>
            <a:pPr marL="174930" indent="-174930">
              <a:spcBef>
                <a:spcPts val="300"/>
              </a:spcBef>
              <a:buFont typeface="Wingdings" panose="05000000000000000000" pitchFamily="2" charset="2"/>
              <a:buChar char="§"/>
            </a:pPr>
            <a:r>
              <a:rPr lang="nl-NL" sz="1224">
                <a:latin typeface="Arial"/>
                <a:cs typeface="Arial"/>
              </a:rPr>
              <a:t>Commitment op Value Case, o.a. door doelstelling</a:t>
            </a:r>
          </a:p>
          <a:p>
            <a:pPr marL="174930" indent="-174930">
              <a:spcBef>
                <a:spcPts val="300"/>
              </a:spcBef>
              <a:buFont typeface="Wingdings" panose="05000000000000000000" pitchFamily="2" charset="2"/>
              <a:buChar char="§"/>
            </a:pPr>
            <a:r>
              <a:rPr lang="nl-NL" sz="1224">
                <a:latin typeface="Arial"/>
                <a:cs typeface="Arial"/>
              </a:rPr>
              <a:t>Dialoog-sessie HR, wijkverpleegkundigen, MT</a:t>
            </a:r>
          </a:p>
          <a:p>
            <a:pPr marL="174930" indent="-174930">
              <a:spcBef>
                <a:spcPts val="300"/>
              </a:spcBef>
              <a:buFont typeface="Wingdings" panose="05000000000000000000" pitchFamily="2" charset="2"/>
              <a:buChar char="§"/>
            </a:pPr>
            <a:r>
              <a:rPr lang="nl-NL" sz="1224">
                <a:latin typeface="Arial"/>
                <a:cs typeface="Arial"/>
              </a:rPr>
              <a:t>Infopakket werkgevers</a:t>
            </a:r>
          </a:p>
          <a:p>
            <a:pPr marL="174930" indent="-174930">
              <a:spcBef>
                <a:spcPts val="300"/>
              </a:spcBef>
              <a:buFont typeface="Wingdings" panose="05000000000000000000" pitchFamily="2" charset="2"/>
              <a:buChar char="§"/>
            </a:pPr>
            <a:r>
              <a:rPr lang="nl-NL" sz="1224">
                <a:latin typeface="Arial"/>
                <a:cs typeface="Arial"/>
              </a:rPr>
              <a:t>Roosterpilot</a:t>
            </a:r>
          </a:p>
        </p:txBody>
      </p:sp>
      <p:sp>
        <p:nvSpPr>
          <p:cNvPr id="4" name="Rechthoek 3">
            <a:extLst>
              <a:ext uri="{FF2B5EF4-FFF2-40B4-BE49-F238E27FC236}">
                <a16:creationId xmlns:a16="http://schemas.microsoft.com/office/drawing/2014/main" id="{B3C663E1-8C46-40CF-9AF6-E6648858C6EC}"/>
              </a:ext>
            </a:extLst>
          </p:cNvPr>
          <p:cNvSpPr/>
          <p:nvPr/>
        </p:nvSpPr>
        <p:spPr>
          <a:xfrm>
            <a:off x="1202322" y="2789943"/>
            <a:ext cx="4965752" cy="1872049"/>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224" err="1">
              <a:solidFill>
                <a:schemeClr val="tx1"/>
              </a:solidFill>
            </a:endParaRPr>
          </a:p>
        </p:txBody>
      </p:sp>
      <p:sp>
        <p:nvSpPr>
          <p:cNvPr id="6" name="Rechthoek 5">
            <a:extLst>
              <a:ext uri="{FF2B5EF4-FFF2-40B4-BE49-F238E27FC236}">
                <a16:creationId xmlns:a16="http://schemas.microsoft.com/office/drawing/2014/main" id="{4C5A62F5-BB84-4894-87A3-F8C0F0B355BA}"/>
              </a:ext>
            </a:extLst>
          </p:cNvPr>
          <p:cNvSpPr/>
          <p:nvPr/>
        </p:nvSpPr>
        <p:spPr>
          <a:xfrm>
            <a:off x="1202322" y="2789943"/>
            <a:ext cx="4965752" cy="426888"/>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24" b="1">
                <a:solidFill>
                  <a:schemeClr val="accent4"/>
                </a:solidFill>
              </a:rPr>
              <a:t>Medewerkers stimuleren hun wens om meer uren te werken expliciet te maken (“Vraag”)</a:t>
            </a:r>
          </a:p>
        </p:txBody>
      </p:sp>
      <p:sp>
        <p:nvSpPr>
          <p:cNvPr id="7" name="Tekstvak 6">
            <a:extLst>
              <a:ext uri="{FF2B5EF4-FFF2-40B4-BE49-F238E27FC236}">
                <a16:creationId xmlns:a16="http://schemas.microsoft.com/office/drawing/2014/main" id="{FDA6588B-6CE3-4253-A846-1333EBC5292A}"/>
              </a:ext>
            </a:extLst>
          </p:cNvPr>
          <p:cNvSpPr txBox="1"/>
          <p:nvPr/>
        </p:nvSpPr>
        <p:spPr>
          <a:xfrm>
            <a:off x="1355774" y="3265204"/>
            <a:ext cx="4321250" cy="426888"/>
          </a:xfrm>
          <a:prstGeom prst="rect">
            <a:avLst/>
          </a:prstGeom>
          <a:noFill/>
          <a:ln w="19050">
            <a:noFill/>
            <a:miter lim="800000"/>
            <a:headEnd/>
            <a:tailEnd/>
          </a:ln>
          <a:effectLst/>
        </p:spPr>
        <p:txBody>
          <a:bodyPr vert="horz" wrap="square" lIns="143998" tIns="72007" rIns="72007" bIns="72007" numCol="1" rtlCol="0" anchor="t" anchorCtr="0" compatLnSpc="1">
            <a:prstTxWarp prst="textNoShape">
              <a:avLst/>
            </a:prstTxWarp>
            <a:noAutofit/>
          </a:bodyPr>
          <a:lstStyle/>
          <a:p>
            <a:pPr marL="174930" indent="-174930">
              <a:spcBef>
                <a:spcPts val="300"/>
              </a:spcBef>
              <a:buFont typeface="Wingdings" panose="05000000000000000000" pitchFamily="2" charset="2"/>
              <a:buChar char="§"/>
            </a:pPr>
            <a:r>
              <a:rPr lang="nl-NL" sz="1224"/>
              <a:t>Communicatie-campagne</a:t>
            </a:r>
          </a:p>
          <a:p>
            <a:pPr marL="174930" indent="-174930">
              <a:spcBef>
                <a:spcPts val="300"/>
              </a:spcBef>
              <a:buFont typeface="Wingdings" panose="05000000000000000000" pitchFamily="2" charset="2"/>
              <a:buChar char="§"/>
            </a:pPr>
            <a:r>
              <a:rPr lang="nl-NL" sz="1224"/>
              <a:t>Dialoog-sessies medewerkers</a:t>
            </a:r>
          </a:p>
          <a:p>
            <a:pPr marL="174930" indent="-174930">
              <a:spcBef>
                <a:spcPts val="300"/>
              </a:spcBef>
              <a:buFont typeface="Wingdings" panose="05000000000000000000" pitchFamily="2" charset="2"/>
              <a:buChar char="§"/>
            </a:pPr>
            <a:r>
              <a:rPr lang="nl-NL" sz="1224"/>
              <a:t>Infopakket medewerkers</a:t>
            </a:r>
          </a:p>
          <a:p>
            <a:pPr marL="174930" indent="-174930">
              <a:spcBef>
                <a:spcPts val="300"/>
              </a:spcBef>
              <a:buFont typeface="Wingdings" panose="05000000000000000000" pitchFamily="2" charset="2"/>
              <a:buChar char="§"/>
            </a:pPr>
            <a:r>
              <a:rPr lang="nl-NL" sz="1224"/>
              <a:t>Deeltijdberekenaar</a:t>
            </a:r>
          </a:p>
        </p:txBody>
      </p:sp>
      <p:sp>
        <p:nvSpPr>
          <p:cNvPr id="13" name="Rechthoek 12">
            <a:extLst>
              <a:ext uri="{FF2B5EF4-FFF2-40B4-BE49-F238E27FC236}">
                <a16:creationId xmlns:a16="http://schemas.microsoft.com/office/drawing/2014/main" id="{C79B196E-A80E-4D6E-8592-1C15CEEFE38C}"/>
              </a:ext>
            </a:extLst>
          </p:cNvPr>
          <p:cNvSpPr/>
          <p:nvPr/>
        </p:nvSpPr>
        <p:spPr>
          <a:xfrm>
            <a:off x="3891849" y="4238556"/>
            <a:ext cx="4965752" cy="298414"/>
          </a:xfrm>
          <a:prstGeom prst="rect">
            <a:avLst/>
          </a:prstGeom>
          <a:solidFill>
            <a:srgbClr val="E8C5F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24">
                <a:solidFill>
                  <a:schemeClr val="tx1"/>
                </a:solidFill>
              </a:rPr>
              <a:t>Goed Gesprek</a:t>
            </a:r>
          </a:p>
        </p:txBody>
      </p:sp>
      <p:sp>
        <p:nvSpPr>
          <p:cNvPr id="14" name="Rechthoek 13">
            <a:extLst>
              <a:ext uri="{FF2B5EF4-FFF2-40B4-BE49-F238E27FC236}">
                <a16:creationId xmlns:a16="http://schemas.microsoft.com/office/drawing/2014/main" id="{C80C9F19-BDCB-47A1-9877-6A940C834588}"/>
              </a:ext>
            </a:extLst>
          </p:cNvPr>
          <p:cNvSpPr/>
          <p:nvPr/>
        </p:nvSpPr>
        <p:spPr>
          <a:xfrm>
            <a:off x="1202322" y="4748239"/>
            <a:ext cx="3259350" cy="1452993"/>
          </a:xfrm>
          <a:prstGeom prst="rect">
            <a:avLst/>
          </a:prstGeom>
          <a:solidFill>
            <a:schemeClr val="bg2">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224" err="1">
              <a:solidFill>
                <a:schemeClr val="tx1"/>
              </a:solidFill>
            </a:endParaRPr>
          </a:p>
        </p:txBody>
      </p:sp>
      <p:sp>
        <p:nvSpPr>
          <p:cNvPr id="15" name="Tekstvak 14">
            <a:extLst>
              <a:ext uri="{FF2B5EF4-FFF2-40B4-BE49-F238E27FC236}">
                <a16:creationId xmlns:a16="http://schemas.microsoft.com/office/drawing/2014/main" id="{0BB9917B-9AF6-4233-8BEA-A43627AB3E96}"/>
              </a:ext>
            </a:extLst>
          </p:cNvPr>
          <p:cNvSpPr txBox="1"/>
          <p:nvPr/>
        </p:nvSpPr>
        <p:spPr>
          <a:xfrm>
            <a:off x="1309382" y="4803371"/>
            <a:ext cx="3105897" cy="426888"/>
          </a:xfrm>
          <a:prstGeom prst="rect">
            <a:avLst/>
          </a:prstGeom>
          <a:noFill/>
          <a:ln w="19050">
            <a:noFill/>
            <a:miter lim="800000"/>
            <a:headEnd/>
            <a:tailEnd/>
          </a:ln>
          <a:effectLst/>
        </p:spPr>
        <p:txBody>
          <a:bodyPr vert="horz" wrap="square" lIns="143998" tIns="72007" rIns="72007" bIns="72007" numCol="1" rtlCol="0" anchor="t" anchorCtr="0" compatLnSpc="1">
            <a:prstTxWarp prst="textNoShape">
              <a:avLst/>
            </a:prstTxWarp>
            <a:noAutofit/>
          </a:bodyPr>
          <a:lstStyle/>
          <a:p>
            <a:pPr>
              <a:spcBef>
                <a:spcPts val="300"/>
              </a:spcBef>
            </a:pPr>
            <a:r>
              <a:rPr lang="nl-NL" sz="1224" b="1">
                <a:solidFill>
                  <a:schemeClr val="accent4"/>
                </a:solidFill>
              </a:rPr>
              <a:t>Support vanuit MT</a:t>
            </a:r>
          </a:p>
          <a:p>
            <a:pPr marL="291551" indent="-291551">
              <a:spcBef>
                <a:spcPts val="300"/>
              </a:spcBef>
              <a:buFont typeface="Wingdings" panose="05000000000000000000" pitchFamily="2" charset="2"/>
              <a:buChar char="§"/>
            </a:pPr>
            <a:r>
              <a:rPr lang="nl-NL" sz="1224"/>
              <a:t>Lange termijn visie  </a:t>
            </a:r>
          </a:p>
          <a:p>
            <a:pPr marL="291551" indent="-291551">
              <a:spcBef>
                <a:spcPts val="300"/>
              </a:spcBef>
              <a:buFont typeface="Wingdings" panose="05000000000000000000" pitchFamily="2" charset="2"/>
              <a:buChar char="§"/>
            </a:pPr>
            <a:r>
              <a:rPr lang="nl-NL" sz="1224"/>
              <a:t>Concrete ambitie en doelstellingen</a:t>
            </a:r>
          </a:p>
          <a:p>
            <a:pPr marL="291551" indent="-291551">
              <a:spcBef>
                <a:spcPts val="300"/>
              </a:spcBef>
              <a:buFont typeface="Wingdings" panose="05000000000000000000" pitchFamily="2" charset="2"/>
              <a:buChar char="§"/>
            </a:pPr>
            <a:r>
              <a:rPr lang="nl-NL" sz="1224"/>
              <a:t>Bereidheid om fundamenteel te willen veranderen/ duidelijke kaders rondom oplossingsruimte</a:t>
            </a:r>
          </a:p>
        </p:txBody>
      </p:sp>
      <p:sp>
        <p:nvSpPr>
          <p:cNvPr id="18" name="Rechthoek 17">
            <a:extLst>
              <a:ext uri="{FF2B5EF4-FFF2-40B4-BE49-F238E27FC236}">
                <a16:creationId xmlns:a16="http://schemas.microsoft.com/office/drawing/2014/main" id="{D466211F-E79F-4A85-908D-5F564FF16873}"/>
              </a:ext>
            </a:extLst>
          </p:cNvPr>
          <p:cNvSpPr/>
          <p:nvPr/>
        </p:nvSpPr>
        <p:spPr>
          <a:xfrm>
            <a:off x="4816155" y="4748239"/>
            <a:ext cx="3259350" cy="1452993"/>
          </a:xfrm>
          <a:prstGeom prst="rect">
            <a:avLst/>
          </a:prstGeom>
          <a:solidFill>
            <a:schemeClr val="bg2">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224" err="1">
              <a:solidFill>
                <a:schemeClr val="tx1"/>
              </a:solidFill>
            </a:endParaRPr>
          </a:p>
        </p:txBody>
      </p:sp>
      <p:sp>
        <p:nvSpPr>
          <p:cNvPr id="17" name="Tekstvak 16">
            <a:extLst>
              <a:ext uri="{FF2B5EF4-FFF2-40B4-BE49-F238E27FC236}">
                <a16:creationId xmlns:a16="http://schemas.microsoft.com/office/drawing/2014/main" id="{83FB8438-B19C-49FD-BFC0-2586CF4E410A}"/>
              </a:ext>
            </a:extLst>
          </p:cNvPr>
          <p:cNvSpPr txBox="1"/>
          <p:nvPr/>
        </p:nvSpPr>
        <p:spPr>
          <a:xfrm>
            <a:off x="4892882" y="4803371"/>
            <a:ext cx="3016891" cy="426888"/>
          </a:xfrm>
          <a:prstGeom prst="rect">
            <a:avLst/>
          </a:prstGeom>
          <a:noFill/>
          <a:ln w="19050">
            <a:noFill/>
            <a:miter lim="800000"/>
            <a:headEnd/>
            <a:tailEnd/>
          </a:ln>
          <a:effectLst/>
        </p:spPr>
        <p:txBody>
          <a:bodyPr vert="horz" wrap="square" lIns="143998" tIns="72007" rIns="72007" bIns="72007" numCol="1" rtlCol="0" anchor="t" anchorCtr="0" compatLnSpc="1">
            <a:prstTxWarp prst="textNoShape">
              <a:avLst/>
            </a:prstTxWarp>
            <a:noAutofit/>
          </a:bodyPr>
          <a:lstStyle/>
          <a:p>
            <a:pPr>
              <a:spcBef>
                <a:spcPts val="300"/>
              </a:spcBef>
            </a:pPr>
            <a:r>
              <a:rPr lang="nl-NL" sz="1224" b="1">
                <a:solidFill>
                  <a:schemeClr val="accent4"/>
                </a:solidFill>
              </a:rPr>
              <a:t>Effectieve projectopzet</a:t>
            </a:r>
          </a:p>
          <a:p>
            <a:pPr marL="291551" indent="-291551">
              <a:spcBef>
                <a:spcPts val="300"/>
              </a:spcBef>
              <a:buFont typeface="Wingdings" panose="05000000000000000000" pitchFamily="2" charset="2"/>
              <a:buChar char="§"/>
            </a:pPr>
            <a:r>
              <a:rPr lang="nl-NL" sz="1224"/>
              <a:t>Realistische scope </a:t>
            </a:r>
          </a:p>
          <a:p>
            <a:pPr marL="291551" indent="-291551">
              <a:spcBef>
                <a:spcPts val="300"/>
              </a:spcBef>
              <a:buFont typeface="Wingdings" panose="05000000000000000000" pitchFamily="2" charset="2"/>
              <a:buChar char="§"/>
            </a:pPr>
            <a:r>
              <a:rPr lang="nl-NL" sz="1224"/>
              <a:t>Bemensing project team en binnen teams</a:t>
            </a:r>
          </a:p>
          <a:p>
            <a:pPr marL="291551" indent="-291551">
              <a:spcBef>
                <a:spcPts val="300"/>
              </a:spcBef>
              <a:buFont typeface="Wingdings" panose="05000000000000000000" pitchFamily="2" charset="2"/>
              <a:buChar char="§"/>
            </a:pPr>
            <a:r>
              <a:rPr lang="nl-NL" sz="1224"/>
              <a:t>Voldoende tijd van betrokkenen</a:t>
            </a:r>
          </a:p>
          <a:p>
            <a:pPr marL="291551" indent="-291551">
              <a:spcBef>
                <a:spcPts val="300"/>
              </a:spcBef>
              <a:buFont typeface="Wingdings" panose="05000000000000000000" pitchFamily="2" charset="2"/>
              <a:buChar char="§"/>
            </a:pPr>
            <a:endParaRPr lang="nl-NL" sz="1224"/>
          </a:p>
        </p:txBody>
      </p:sp>
      <p:sp>
        <p:nvSpPr>
          <p:cNvPr id="19" name="Rechthoek 18">
            <a:extLst>
              <a:ext uri="{FF2B5EF4-FFF2-40B4-BE49-F238E27FC236}">
                <a16:creationId xmlns:a16="http://schemas.microsoft.com/office/drawing/2014/main" id="{73248419-CA9E-4010-B310-0F798F1CA682}"/>
              </a:ext>
            </a:extLst>
          </p:cNvPr>
          <p:cNvSpPr/>
          <p:nvPr/>
        </p:nvSpPr>
        <p:spPr>
          <a:xfrm>
            <a:off x="8328731" y="4748239"/>
            <a:ext cx="3259350" cy="1452993"/>
          </a:xfrm>
          <a:prstGeom prst="rect">
            <a:avLst/>
          </a:prstGeom>
          <a:solidFill>
            <a:schemeClr val="bg2">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224" err="1">
              <a:solidFill>
                <a:schemeClr val="tx1"/>
              </a:solidFill>
            </a:endParaRPr>
          </a:p>
        </p:txBody>
      </p:sp>
      <p:sp>
        <p:nvSpPr>
          <p:cNvPr id="20" name="Tekstvak 19">
            <a:extLst>
              <a:ext uri="{FF2B5EF4-FFF2-40B4-BE49-F238E27FC236}">
                <a16:creationId xmlns:a16="http://schemas.microsoft.com/office/drawing/2014/main" id="{421995BA-7399-436C-BDFB-4CAC6FBFAC48}"/>
              </a:ext>
            </a:extLst>
          </p:cNvPr>
          <p:cNvSpPr txBox="1"/>
          <p:nvPr/>
        </p:nvSpPr>
        <p:spPr>
          <a:xfrm>
            <a:off x="8405460" y="4803371"/>
            <a:ext cx="3016891" cy="426888"/>
          </a:xfrm>
          <a:prstGeom prst="rect">
            <a:avLst/>
          </a:prstGeom>
          <a:noFill/>
          <a:ln w="19050">
            <a:noFill/>
            <a:miter lim="800000"/>
            <a:headEnd/>
            <a:tailEnd/>
          </a:ln>
          <a:effectLst/>
        </p:spPr>
        <p:txBody>
          <a:bodyPr vert="horz" wrap="square" lIns="143998" tIns="72007" rIns="72007" bIns="72007" numCol="1" rtlCol="0" anchor="t" anchorCtr="0" compatLnSpc="1">
            <a:prstTxWarp prst="textNoShape">
              <a:avLst/>
            </a:prstTxWarp>
            <a:noAutofit/>
          </a:bodyPr>
          <a:lstStyle/>
          <a:p>
            <a:pPr>
              <a:spcBef>
                <a:spcPts val="300"/>
              </a:spcBef>
            </a:pPr>
            <a:r>
              <a:rPr lang="nl-NL" sz="1224" b="1">
                <a:solidFill>
                  <a:schemeClr val="accent4"/>
                </a:solidFill>
              </a:rPr>
              <a:t>Juiste manier van denken</a:t>
            </a:r>
          </a:p>
          <a:p>
            <a:pPr marL="291551" indent="-291551">
              <a:spcBef>
                <a:spcPts val="300"/>
              </a:spcBef>
              <a:buFont typeface="Wingdings" panose="05000000000000000000" pitchFamily="2" charset="2"/>
              <a:buChar char="§"/>
            </a:pPr>
            <a:r>
              <a:rPr lang="nl-NL" sz="1224"/>
              <a:t>Krachten bundelen</a:t>
            </a:r>
          </a:p>
          <a:p>
            <a:pPr marL="291551" indent="-291551">
              <a:spcBef>
                <a:spcPts val="300"/>
              </a:spcBef>
              <a:buFont typeface="Wingdings" panose="05000000000000000000" pitchFamily="2" charset="2"/>
              <a:buChar char="§"/>
            </a:pPr>
            <a:r>
              <a:rPr lang="nl-NL" sz="1224"/>
              <a:t>Denken in mogelijkheden</a:t>
            </a:r>
          </a:p>
          <a:p>
            <a:pPr marL="291551" indent="-291551">
              <a:spcBef>
                <a:spcPts val="300"/>
              </a:spcBef>
              <a:buFont typeface="Wingdings" panose="05000000000000000000" pitchFamily="2" charset="2"/>
              <a:buChar char="§"/>
            </a:pPr>
            <a:r>
              <a:rPr lang="nl-NL" sz="1224"/>
              <a:t>Leren door te doen</a:t>
            </a:r>
          </a:p>
        </p:txBody>
      </p:sp>
      <p:sp>
        <p:nvSpPr>
          <p:cNvPr id="23" name="Tekstvak 22">
            <a:extLst>
              <a:ext uri="{FF2B5EF4-FFF2-40B4-BE49-F238E27FC236}">
                <a16:creationId xmlns:a16="http://schemas.microsoft.com/office/drawing/2014/main" id="{B4E7E3A6-6B16-4067-8CAF-953C8375E096}"/>
              </a:ext>
            </a:extLst>
          </p:cNvPr>
          <p:cNvSpPr txBox="1"/>
          <p:nvPr/>
        </p:nvSpPr>
        <p:spPr>
          <a:xfrm>
            <a:off x="12776" y="2789942"/>
            <a:ext cx="1202802" cy="533354"/>
          </a:xfrm>
          <a:prstGeom prst="rect">
            <a:avLst/>
          </a:prstGeom>
          <a:noFill/>
          <a:ln w="19050">
            <a:noFill/>
            <a:miter lim="800000"/>
            <a:headEnd/>
            <a:tailEnd/>
          </a:ln>
          <a:effectLst/>
        </p:spPr>
        <p:txBody>
          <a:bodyPr vert="horz" wrap="square" lIns="143998" tIns="72007" rIns="72007" bIns="72007" numCol="1" rtlCol="0" anchor="t" anchorCtr="0" compatLnSpc="1">
            <a:prstTxWarp prst="textNoShape">
              <a:avLst/>
            </a:prstTxWarp>
            <a:noAutofit/>
          </a:bodyPr>
          <a:lstStyle/>
          <a:p>
            <a:pPr>
              <a:spcBef>
                <a:spcPts val="300"/>
              </a:spcBef>
            </a:pPr>
            <a:r>
              <a:rPr lang="nl-NL" sz="1122" b="1" i="1">
                <a:solidFill>
                  <a:schemeClr val="accent4"/>
                </a:solidFill>
              </a:rPr>
              <a:t>Wat gaan we doen?</a:t>
            </a:r>
          </a:p>
        </p:txBody>
      </p:sp>
      <p:sp>
        <p:nvSpPr>
          <p:cNvPr id="24" name="Tekstvak 23">
            <a:extLst>
              <a:ext uri="{FF2B5EF4-FFF2-40B4-BE49-F238E27FC236}">
                <a16:creationId xmlns:a16="http://schemas.microsoft.com/office/drawing/2014/main" id="{2AB97FE5-4EE3-4DDD-B632-96F48EA07D6A}"/>
              </a:ext>
            </a:extLst>
          </p:cNvPr>
          <p:cNvSpPr txBox="1"/>
          <p:nvPr/>
        </p:nvSpPr>
        <p:spPr>
          <a:xfrm>
            <a:off x="91" y="1167872"/>
            <a:ext cx="1250936" cy="533354"/>
          </a:xfrm>
          <a:prstGeom prst="rect">
            <a:avLst/>
          </a:prstGeom>
          <a:noFill/>
          <a:ln w="19050">
            <a:noFill/>
            <a:miter lim="800000"/>
            <a:headEnd/>
            <a:tailEnd/>
          </a:ln>
          <a:effectLst/>
        </p:spPr>
        <p:txBody>
          <a:bodyPr vert="horz" wrap="square" lIns="143998" tIns="72007" rIns="72007" bIns="72007" numCol="1" rtlCol="0" anchor="t" anchorCtr="0" compatLnSpc="1">
            <a:prstTxWarp prst="textNoShape">
              <a:avLst/>
            </a:prstTxWarp>
            <a:noAutofit/>
          </a:bodyPr>
          <a:lstStyle/>
          <a:p>
            <a:pPr>
              <a:spcBef>
                <a:spcPts val="300"/>
              </a:spcBef>
            </a:pPr>
            <a:r>
              <a:rPr lang="nl-NL" sz="1122" b="1" i="1">
                <a:solidFill>
                  <a:schemeClr val="accent4"/>
                </a:solidFill>
              </a:rPr>
              <a:t>Wat willen we bereiken?</a:t>
            </a:r>
          </a:p>
        </p:txBody>
      </p:sp>
      <p:sp>
        <p:nvSpPr>
          <p:cNvPr id="25" name="Tekstvak 24">
            <a:extLst>
              <a:ext uri="{FF2B5EF4-FFF2-40B4-BE49-F238E27FC236}">
                <a16:creationId xmlns:a16="http://schemas.microsoft.com/office/drawing/2014/main" id="{392BAC3F-6FB2-4B77-A901-084C4909EA05}"/>
              </a:ext>
            </a:extLst>
          </p:cNvPr>
          <p:cNvSpPr txBox="1"/>
          <p:nvPr/>
        </p:nvSpPr>
        <p:spPr>
          <a:xfrm>
            <a:off x="17169" y="4769946"/>
            <a:ext cx="1186129" cy="533354"/>
          </a:xfrm>
          <a:prstGeom prst="rect">
            <a:avLst/>
          </a:prstGeom>
          <a:noFill/>
          <a:ln w="19050">
            <a:noFill/>
            <a:miter lim="800000"/>
            <a:headEnd/>
            <a:tailEnd/>
          </a:ln>
          <a:effectLst/>
        </p:spPr>
        <p:txBody>
          <a:bodyPr vert="horz" wrap="square" lIns="143998" tIns="72007" rIns="72007" bIns="72007" numCol="1" rtlCol="0" anchor="t" anchorCtr="0" compatLnSpc="1">
            <a:prstTxWarp prst="textNoShape">
              <a:avLst/>
            </a:prstTxWarp>
            <a:noAutofit/>
          </a:bodyPr>
          <a:lstStyle/>
          <a:p>
            <a:pPr>
              <a:spcBef>
                <a:spcPts val="300"/>
              </a:spcBef>
            </a:pPr>
            <a:r>
              <a:rPr lang="nl-NL" sz="1122" b="1" i="1">
                <a:solidFill>
                  <a:schemeClr val="accent4"/>
                </a:solidFill>
              </a:rPr>
              <a:t>Wat is daarvoor nodig?</a:t>
            </a:r>
          </a:p>
        </p:txBody>
      </p:sp>
      <p:sp>
        <p:nvSpPr>
          <p:cNvPr id="26" name="Rechthoek 25">
            <a:extLst>
              <a:ext uri="{FF2B5EF4-FFF2-40B4-BE49-F238E27FC236}">
                <a16:creationId xmlns:a16="http://schemas.microsoft.com/office/drawing/2014/main" id="{ADE61871-0EFB-4570-8140-F459AD31FAE4}"/>
              </a:ext>
            </a:extLst>
          </p:cNvPr>
          <p:cNvSpPr/>
          <p:nvPr/>
        </p:nvSpPr>
        <p:spPr>
          <a:xfrm>
            <a:off x="1202321" y="1167872"/>
            <a:ext cx="10385760" cy="426888"/>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24">
                <a:solidFill>
                  <a:schemeClr val="bg1"/>
                </a:solidFill>
              </a:rPr>
              <a:t>Het potentieel van onze medewerkers zo goed mogelijk benutten en daarmee onze personeelstekorten verlagen </a:t>
            </a:r>
          </a:p>
        </p:txBody>
      </p:sp>
      <p:sp>
        <p:nvSpPr>
          <p:cNvPr id="27" name="Tekstvak 26">
            <a:extLst>
              <a:ext uri="{FF2B5EF4-FFF2-40B4-BE49-F238E27FC236}">
                <a16:creationId xmlns:a16="http://schemas.microsoft.com/office/drawing/2014/main" id="{13C9CD86-3E40-4EE7-8254-E3474A2CFF79}"/>
              </a:ext>
            </a:extLst>
          </p:cNvPr>
          <p:cNvSpPr txBox="1"/>
          <p:nvPr/>
        </p:nvSpPr>
        <p:spPr>
          <a:xfrm>
            <a:off x="91" y="1707268"/>
            <a:ext cx="1250936" cy="533354"/>
          </a:xfrm>
          <a:prstGeom prst="rect">
            <a:avLst/>
          </a:prstGeom>
          <a:noFill/>
          <a:ln w="19050">
            <a:noFill/>
            <a:miter lim="800000"/>
            <a:headEnd/>
            <a:tailEnd/>
          </a:ln>
          <a:effectLst/>
        </p:spPr>
        <p:txBody>
          <a:bodyPr vert="horz" wrap="square" lIns="143998" tIns="72007" rIns="72007" bIns="72007" numCol="1" rtlCol="0" anchor="t" anchorCtr="0" compatLnSpc="1">
            <a:prstTxWarp prst="textNoShape">
              <a:avLst/>
            </a:prstTxWarp>
            <a:noAutofit/>
          </a:bodyPr>
          <a:lstStyle/>
          <a:p>
            <a:pPr>
              <a:spcBef>
                <a:spcPts val="300"/>
              </a:spcBef>
            </a:pPr>
            <a:r>
              <a:rPr lang="nl-NL" sz="1122" b="1" i="1">
                <a:solidFill>
                  <a:schemeClr val="accent4"/>
                </a:solidFill>
              </a:rPr>
              <a:t>Welk doel zetten we?</a:t>
            </a:r>
          </a:p>
        </p:txBody>
      </p:sp>
      <p:sp>
        <p:nvSpPr>
          <p:cNvPr id="32" name="TextBox 77">
            <a:extLst>
              <a:ext uri="{FF2B5EF4-FFF2-40B4-BE49-F238E27FC236}">
                <a16:creationId xmlns:a16="http://schemas.microsoft.com/office/drawing/2014/main" id="{FB60CFDC-B1C5-4BFB-A5A6-8F712D3B811A}"/>
              </a:ext>
            </a:extLst>
          </p:cNvPr>
          <p:cNvSpPr txBox="1">
            <a:spLocks/>
          </p:cNvSpPr>
          <p:nvPr>
            <p:custDataLst>
              <p:tags r:id="rId1"/>
            </p:custDataLst>
          </p:nvPr>
        </p:nvSpPr>
        <p:spPr>
          <a:xfrm>
            <a:off x="3833960" y="-154260"/>
            <a:ext cx="2437500" cy="861277"/>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lvl="1" indent="0" defTabSz="1218016">
              <a:spcBef>
                <a:spcPct val="40000"/>
              </a:spcBef>
              <a:buClr>
                <a:srgbClr val="000000"/>
              </a:buClr>
              <a:buNone/>
              <a:defRPr/>
            </a:pPr>
            <a:endParaRPr lang="nl-NL" sz="1400">
              <a:solidFill>
                <a:srgbClr val="000000"/>
              </a:solidFill>
              <a:latin typeface="Arial"/>
              <a:ea typeface="Times New Roman" panose="02020603050405020304" pitchFamily="18" charset="0"/>
            </a:endParaRPr>
          </a:p>
        </p:txBody>
      </p:sp>
      <p:sp>
        <p:nvSpPr>
          <p:cNvPr id="34" name="TextBox 85">
            <a:extLst>
              <a:ext uri="{FF2B5EF4-FFF2-40B4-BE49-F238E27FC236}">
                <a16:creationId xmlns:a16="http://schemas.microsoft.com/office/drawing/2014/main" id="{D4128B8F-2E85-4FFD-AD3D-83539852C6DA}"/>
              </a:ext>
            </a:extLst>
          </p:cNvPr>
          <p:cNvSpPr txBox="1">
            <a:spLocks/>
          </p:cNvSpPr>
          <p:nvPr>
            <p:custDataLst>
              <p:tags r:id="rId2"/>
            </p:custDataLst>
          </p:nvPr>
        </p:nvSpPr>
        <p:spPr>
          <a:xfrm>
            <a:off x="6616162" y="-154260"/>
            <a:ext cx="2437500" cy="863044"/>
          </a:xfrm>
          <a:prstGeom prst="rect">
            <a:avLst/>
          </a:prstGeom>
        </p:spPr>
        <p:txBody>
          <a:bodyPr vert="horz" wrap="square" lIns="0" tIns="0" rIns="0" bIns="0" rtlCol="0" anchor="ctr">
            <a:noAutofit/>
          </a:bodyPr>
          <a:lstStyle>
            <a:defPPr>
              <a:defRPr lang="en-US"/>
            </a:defPPr>
            <a:lvl1pPr lvl="0" indent="0" defTabSz="1218026">
              <a:buClr>
                <a:schemeClr val="tx2"/>
              </a:buClr>
              <a:buSzPct val="100000"/>
              <a:defRPr sz="1600" baseline="0"/>
            </a:lvl1pPr>
            <a:lvl2pPr marL="0" lvl="1" indent="0" defTabSz="1218021" fontAlgn="base">
              <a:spcBef>
                <a:spcPct val="40000"/>
              </a:spcBef>
              <a:spcAft>
                <a:spcPct val="0"/>
              </a:spcAft>
              <a:buClr>
                <a:srgbClr val="000000"/>
              </a:buClr>
              <a:buSzPct val="125000"/>
              <a:buFont typeface="Arial" panose="020B0604020202020204" pitchFamily="34" charset="0"/>
              <a:buNone/>
              <a:defRPr sz="1600" baseline="0">
                <a:solidFill>
                  <a:srgbClr val="000000"/>
                </a:solidFill>
                <a:latin typeface="Arial"/>
                <a:ea typeface="Times New Roman" panose="02020603050405020304" pitchFamily="18" charset="0"/>
              </a:defRPr>
            </a:lvl2pPr>
            <a:lvl3pPr marL="457200" lvl="2" indent="-265176" defTabSz="1218026">
              <a:buClr>
                <a:schemeClr val="tx2"/>
              </a:buClr>
              <a:buSzPct val="120000"/>
              <a:buFont typeface="Arial" panose="020B0604020202020204" pitchFamily="34" charset="0"/>
              <a:buChar char="–"/>
              <a:defRPr sz="1600" baseline="0"/>
            </a:lvl3pPr>
            <a:lvl4pPr marL="612648" lvl="3" indent="-155448" defTabSz="1218026">
              <a:buClr>
                <a:schemeClr val="tx2"/>
              </a:buClr>
              <a:buSzPct val="120000"/>
              <a:buFont typeface="Arial" panose="020B0604020202020204" pitchFamily="34" charset="0"/>
              <a:buChar char="▫"/>
              <a:defRPr sz="1600" baseline="0"/>
            </a:lvl4pPr>
            <a:lvl5pPr marL="749808" lvl="4" indent="-128016" defTabSz="1218026">
              <a:buClr>
                <a:schemeClr val="tx2"/>
              </a:buClr>
              <a:buSzPct val="89000"/>
              <a:buFont typeface="Arial" panose="020B0604020202020204" pitchFamily="34" charset="0"/>
              <a:buChar char="-"/>
              <a:defRPr sz="1600" baseline="0"/>
            </a:lvl5pPr>
            <a:lvl6pPr marL="1020030" indent="-177089" defTabSz="1218026" fontAlgn="base">
              <a:spcBef>
                <a:spcPct val="0"/>
              </a:spcBef>
              <a:spcAft>
                <a:spcPct val="0"/>
              </a:spcAft>
              <a:buClr>
                <a:schemeClr val="tx2"/>
              </a:buClr>
              <a:buSzPct val="89000"/>
              <a:buFont typeface="Arial" charset="0"/>
              <a:buChar char="-"/>
              <a:defRPr sz="2176" baseline="0"/>
            </a:lvl6pPr>
            <a:lvl7pPr marL="1020030" indent="-177089" defTabSz="1218026" fontAlgn="base">
              <a:spcBef>
                <a:spcPct val="0"/>
              </a:spcBef>
              <a:spcAft>
                <a:spcPct val="0"/>
              </a:spcAft>
              <a:buClr>
                <a:schemeClr val="tx2"/>
              </a:buClr>
              <a:buSzPct val="89000"/>
              <a:buFont typeface="Arial" charset="0"/>
              <a:buChar char="-"/>
              <a:defRPr sz="2176" baseline="0"/>
            </a:lvl7pPr>
            <a:lvl8pPr marL="1020030" indent="-177089" defTabSz="1218026" fontAlgn="base">
              <a:spcBef>
                <a:spcPct val="0"/>
              </a:spcBef>
              <a:spcAft>
                <a:spcPct val="0"/>
              </a:spcAft>
              <a:buClr>
                <a:schemeClr val="tx2"/>
              </a:buClr>
              <a:buSzPct val="89000"/>
              <a:buFont typeface="Arial" charset="0"/>
              <a:buChar char="-"/>
              <a:defRPr sz="2176" baseline="0"/>
            </a:lvl8pPr>
            <a:lvl9pPr marL="1020030" indent="-177089" defTabSz="1218026" fontAlgn="base">
              <a:spcBef>
                <a:spcPct val="0"/>
              </a:spcBef>
              <a:spcAft>
                <a:spcPct val="0"/>
              </a:spcAft>
              <a:buClr>
                <a:schemeClr val="tx2"/>
              </a:buClr>
              <a:buSzPct val="89000"/>
              <a:buFont typeface="Arial" charset="0"/>
              <a:buChar char="-"/>
              <a:defRPr sz="2176" baseline="0"/>
            </a:lvl9pPr>
          </a:lstStyle>
          <a:p>
            <a:pPr lvl="1"/>
            <a:endParaRPr lang="nl-NL" sz="1400"/>
          </a:p>
        </p:txBody>
      </p:sp>
      <p:sp>
        <p:nvSpPr>
          <p:cNvPr id="30" name="Titel 3">
            <a:extLst>
              <a:ext uri="{FF2B5EF4-FFF2-40B4-BE49-F238E27FC236}">
                <a16:creationId xmlns:a16="http://schemas.microsoft.com/office/drawing/2014/main" id="{0598CC2C-0A84-3D42-AC2D-CB1CCBD3449A}"/>
              </a:ext>
            </a:extLst>
          </p:cNvPr>
          <p:cNvSpPr>
            <a:spLocks noGrp="1"/>
          </p:cNvSpPr>
          <p:nvPr>
            <p:ph type="title"/>
          </p:nvPr>
        </p:nvSpPr>
        <p:spPr>
          <a:xfrm>
            <a:off x="554737" y="472853"/>
            <a:ext cx="11082528" cy="439639"/>
          </a:xfrm>
        </p:spPr>
        <p:txBody>
          <a:bodyPr/>
          <a:lstStyle/>
          <a:p>
            <a:r>
              <a:rPr lang="nl-NL"/>
              <a:t>Hoe past het Goede Gesprek in het geheel?</a:t>
            </a:r>
          </a:p>
        </p:txBody>
      </p:sp>
    </p:spTree>
    <p:extLst>
      <p:ext uri="{BB962C8B-B14F-4D97-AF65-F5344CB8AC3E}">
        <p14:creationId xmlns:p14="http://schemas.microsoft.com/office/powerpoint/2010/main" val="10983707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D9A544-D6DB-4AB1-8713-95BE6E5FF1ED}"/>
              </a:ext>
            </a:extLst>
          </p:cNvPr>
          <p:cNvGraphicFramePr>
            <a:graphicFrameLocks noChangeAspect="1"/>
          </p:cNvGraphicFramePr>
          <p:nvPr>
            <p:custDataLst>
              <p:tags r:id="rId2"/>
            </p:custDataLst>
          </p:nvPr>
        </p:nvGraphicFramePr>
        <p:xfrm>
          <a:off x="1711" y="1621"/>
          <a:ext cx="1620" cy="1620"/>
        </p:xfrm>
        <a:graphic>
          <a:graphicData uri="http://schemas.openxmlformats.org/presentationml/2006/ole">
            <mc:AlternateContent xmlns:mc="http://schemas.openxmlformats.org/markup-compatibility/2006">
              <mc:Choice xmlns:v="urn:schemas-microsoft-com:vml" Requires="v">
                <p:oleObj spid="_x0000_s38914" name="think-cell Slide" r:id="rId24" imgW="395" imgH="396" progId="TCLayout.ActiveDocument.1">
                  <p:embed/>
                </p:oleObj>
              </mc:Choice>
              <mc:Fallback>
                <p:oleObj name="think-cell Slide" r:id="rId24" imgW="395" imgH="396" progId="TCLayout.ActiveDocument.1">
                  <p:embed/>
                  <p:pic>
                    <p:nvPicPr>
                      <p:cNvPr id="4" name="Object 3" hidden="1">
                        <a:extLst>
                          <a:ext uri="{FF2B5EF4-FFF2-40B4-BE49-F238E27FC236}">
                            <a16:creationId xmlns:a16="http://schemas.microsoft.com/office/drawing/2014/main" id="{BBD9A544-D6DB-4AB1-8713-95BE6E5FF1ED}"/>
                          </a:ext>
                        </a:extLst>
                      </p:cNvPr>
                      <p:cNvPicPr/>
                      <p:nvPr/>
                    </p:nvPicPr>
                    <p:blipFill>
                      <a:blip r:embed="rId25"/>
                      <a:stretch>
                        <a:fillRect/>
                      </a:stretch>
                    </p:blipFill>
                    <p:spPr>
                      <a:xfrm>
                        <a:off x="1711" y="1621"/>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880C4F4-0D4E-421F-B59F-CC590C553764}"/>
              </a:ext>
            </a:extLst>
          </p:cNvPr>
          <p:cNvSpPr/>
          <p:nvPr>
            <p:custDataLst>
              <p:tags r:id="rId3"/>
            </p:custDataLst>
          </p:nvPr>
        </p:nvSpPr>
        <p:spPr>
          <a:xfrm>
            <a:off x="90" y="1"/>
            <a:ext cx="161974" cy="161974"/>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err="1">
              <a:ln>
                <a:noFill/>
              </a:ln>
              <a:solidFill>
                <a:srgbClr val="000000"/>
              </a:solidFill>
              <a:effectLst/>
              <a:uLnTx/>
              <a:uFillTx/>
              <a:latin typeface="Andada" panose="02000000000000000000" pitchFamily="50" charset="0"/>
              <a:ea typeface="ＭＳ Ｐゴシック" panose="020B0600070205080204" pitchFamily="34" charset="-128"/>
              <a:cs typeface="+mn-cs"/>
              <a:sym typeface="Andada" panose="02000000000000000000" pitchFamily="50" charset="0"/>
            </a:endParaRPr>
          </a:p>
        </p:txBody>
      </p:sp>
      <p:grpSp>
        <p:nvGrpSpPr>
          <p:cNvPr id="34" name="Group 33">
            <a:extLst>
              <a:ext uri="{FF2B5EF4-FFF2-40B4-BE49-F238E27FC236}">
                <a16:creationId xmlns:a16="http://schemas.microsoft.com/office/drawing/2014/main" id="{4A2581E8-EF3E-4CA5-B093-EB26611187A3}"/>
              </a:ext>
            </a:extLst>
          </p:cNvPr>
          <p:cNvGrpSpPr/>
          <p:nvPr>
            <p:custDataLst>
              <p:tags r:id="rId4"/>
            </p:custDataLst>
          </p:nvPr>
        </p:nvGrpSpPr>
        <p:grpSpPr>
          <a:xfrm>
            <a:off x="2159077" y="1425273"/>
            <a:ext cx="1896854" cy="1268528"/>
            <a:chOff x="2116006" y="1317954"/>
            <a:chExt cx="1859093" cy="1243275"/>
          </a:xfrm>
          <a:solidFill>
            <a:schemeClr val="accent2">
              <a:lumMod val="40000"/>
              <a:lumOff val="60000"/>
            </a:schemeClr>
          </a:solidFill>
        </p:grpSpPr>
        <p:sp>
          <p:nvSpPr>
            <p:cNvPr id="78" name="Freeform 105">
              <a:extLst>
                <a:ext uri="{FF2B5EF4-FFF2-40B4-BE49-F238E27FC236}">
                  <a16:creationId xmlns:a16="http://schemas.microsoft.com/office/drawing/2014/main" id="{BE56636C-A39F-4C13-8B80-2ABD3436AF09}"/>
                </a:ext>
              </a:extLst>
            </p:cNvPr>
            <p:cNvSpPr/>
            <p:nvPr>
              <p:custDataLst>
                <p:tags r:id="rId21"/>
              </p:custDataLst>
            </p:nvPr>
          </p:nvSpPr>
          <p:spPr bwMode="auto">
            <a:xfrm>
              <a:off x="2116006" y="1317954"/>
              <a:ext cx="1859093" cy="124327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33880 w 1828800"/>
                <a:gd name="connsiteY5" fmla="*/ 457202 h 914402"/>
                <a:gd name="connsiteX0" fmla="*/ 0 w 1828800"/>
                <a:gd name="connsiteY0" fmla="*/ 0 h 914402"/>
                <a:gd name="connsiteX1" fmla="*/ 1694920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33880 w 1828800"/>
                <a:gd name="connsiteY5" fmla="*/ 457202 h 914402"/>
                <a:gd name="connsiteX0" fmla="*/ 0 w 1828800"/>
                <a:gd name="connsiteY0" fmla="*/ 0 h 914402"/>
                <a:gd name="connsiteX1" fmla="*/ 1694920 w 1828800"/>
                <a:gd name="connsiteY1" fmla="*/ 0 h 914402"/>
                <a:gd name="connsiteX2" fmla="*/ 1828800 w 1828800"/>
                <a:gd name="connsiteY2" fmla="*/ 457200 h 914402"/>
                <a:gd name="connsiteX3" fmla="*/ 1694920 w 1828800"/>
                <a:gd name="connsiteY3" fmla="*/ 914402 h 914402"/>
                <a:gd name="connsiteX4" fmla="*/ 0 w 1828800"/>
                <a:gd name="connsiteY4" fmla="*/ 914400 h 914402"/>
                <a:gd name="connsiteX5" fmla="*/ 133880 w 1828800"/>
                <a:gd name="connsiteY5" fmla="*/ 457202 h 914402"/>
                <a:gd name="connsiteX0" fmla="*/ 0 w 1828800"/>
                <a:gd name="connsiteY0" fmla="*/ 0 h 914402"/>
                <a:gd name="connsiteX1" fmla="*/ 1694920 w 1828800"/>
                <a:gd name="connsiteY1" fmla="*/ 0 h 914402"/>
                <a:gd name="connsiteX2" fmla="*/ 1828800 w 1828800"/>
                <a:gd name="connsiteY2" fmla="*/ 457200 h 914402"/>
                <a:gd name="connsiteX3" fmla="*/ 169492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99433 w 1828800"/>
                <a:gd name="connsiteY1" fmla="*/ 0 h 914402"/>
                <a:gd name="connsiteX2" fmla="*/ 1828800 w 1828800"/>
                <a:gd name="connsiteY2" fmla="*/ 457200 h 914402"/>
                <a:gd name="connsiteX3" fmla="*/ 169492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99433 w 1828800"/>
                <a:gd name="connsiteY1" fmla="*/ 0 h 914402"/>
                <a:gd name="connsiteX2" fmla="*/ 1828800 w 1828800"/>
                <a:gd name="connsiteY2" fmla="*/ 457200 h 914402"/>
                <a:gd name="connsiteX3" fmla="*/ 1699433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99433 w 1828800"/>
                <a:gd name="connsiteY1" fmla="*/ 0 h 914402"/>
                <a:gd name="connsiteX2" fmla="*/ 1828800 w 1828800"/>
                <a:gd name="connsiteY2" fmla="*/ 457200 h 914402"/>
                <a:gd name="connsiteX3" fmla="*/ 1699433 w 1828800"/>
                <a:gd name="connsiteY3" fmla="*/ 914402 h 914402"/>
                <a:gd name="connsiteX4" fmla="*/ 0 w 1828800"/>
                <a:gd name="connsiteY4" fmla="*/ 914400 h 914402"/>
                <a:gd name="connsiteX5" fmla="*/ 129367 w 1828800"/>
                <a:gd name="connsiteY5" fmla="*/ 457202 h 914402"/>
                <a:gd name="connsiteX0" fmla="*/ 0 w 1828800"/>
                <a:gd name="connsiteY0" fmla="*/ 0 h 914402"/>
                <a:gd name="connsiteX1" fmla="*/ 1699433 w 1828800"/>
                <a:gd name="connsiteY1" fmla="*/ 0 h 914402"/>
                <a:gd name="connsiteX2" fmla="*/ 1828800 w 1828800"/>
                <a:gd name="connsiteY2" fmla="*/ 457200 h 914402"/>
                <a:gd name="connsiteX3" fmla="*/ 1699433 w 1828800"/>
                <a:gd name="connsiteY3" fmla="*/ 914402 h 914402"/>
                <a:gd name="connsiteX4" fmla="*/ 0 w 1828800"/>
                <a:gd name="connsiteY4" fmla="*/ 914400 h 914402"/>
                <a:gd name="connsiteX5" fmla="*/ 129367 w 1828800"/>
                <a:gd name="connsiteY5" fmla="*/ 457202 h 914402"/>
                <a:gd name="connsiteX0" fmla="*/ 0 w 1828800"/>
                <a:gd name="connsiteY0" fmla="*/ 0 h 914402"/>
                <a:gd name="connsiteX1" fmla="*/ 1699433 w 1828800"/>
                <a:gd name="connsiteY1" fmla="*/ 0 h 914402"/>
                <a:gd name="connsiteX2" fmla="*/ 1828800 w 1828800"/>
                <a:gd name="connsiteY2" fmla="*/ 457200 h 914402"/>
                <a:gd name="connsiteX3" fmla="*/ 1699433 w 1828800"/>
                <a:gd name="connsiteY3" fmla="*/ 914402 h 914402"/>
                <a:gd name="connsiteX4" fmla="*/ 0 w 1828800"/>
                <a:gd name="connsiteY4" fmla="*/ 914400 h 914402"/>
                <a:gd name="connsiteX5" fmla="*/ 129367 w 1828800"/>
                <a:gd name="connsiteY5" fmla="*/ 457202 h 914402"/>
                <a:gd name="connsiteX0" fmla="*/ 0 w 1828800"/>
                <a:gd name="connsiteY0" fmla="*/ 0 h 914402"/>
                <a:gd name="connsiteX1" fmla="*/ 1699433 w 1828800"/>
                <a:gd name="connsiteY1" fmla="*/ 0 h 914402"/>
                <a:gd name="connsiteX2" fmla="*/ 1828800 w 1828800"/>
                <a:gd name="connsiteY2" fmla="*/ 457200 h 914402"/>
                <a:gd name="connsiteX3" fmla="*/ 1699433 w 1828800"/>
                <a:gd name="connsiteY3" fmla="*/ 914402 h 914402"/>
                <a:gd name="connsiteX4" fmla="*/ 0 w 1828800"/>
                <a:gd name="connsiteY4" fmla="*/ 914400 h 914402"/>
                <a:gd name="connsiteX5" fmla="*/ 112259 w 1828800"/>
                <a:gd name="connsiteY5" fmla="*/ 457202 h 914402"/>
                <a:gd name="connsiteX0" fmla="*/ 0 w 1828800"/>
                <a:gd name="connsiteY0" fmla="*/ 0 h 914402"/>
                <a:gd name="connsiteX1" fmla="*/ 1716541 w 1828800"/>
                <a:gd name="connsiteY1" fmla="*/ 0 h 914402"/>
                <a:gd name="connsiteX2" fmla="*/ 1828800 w 1828800"/>
                <a:gd name="connsiteY2" fmla="*/ 457200 h 914402"/>
                <a:gd name="connsiteX3" fmla="*/ 1699433 w 1828800"/>
                <a:gd name="connsiteY3" fmla="*/ 914402 h 914402"/>
                <a:gd name="connsiteX4" fmla="*/ 0 w 1828800"/>
                <a:gd name="connsiteY4" fmla="*/ 914400 h 914402"/>
                <a:gd name="connsiteX5" fmla="*/ 112259 w 1828800"/>
                <a:gd name="connsiteY5" fmla="*/ 457202 h 914402"/>
                <a:gd name="connsiteX0" fmla="*/ 0 w 1828800"/>
                <a:gd name="connsiteY0" fmla="*/ 0 h 914402"/>
                <a:gd name="connsiteX1" fmla="*/ 1716541 w 1828800"/>
                <a:gd name="connsiteY1" fmla="*/ 0 h 914402"/>
                <a:gd name="connsiteX2" fmla="*/ 1828800 w 1828800"/>
                <a:gd name="connsiteY2" fmla="*/ 457200 h 914402"/>
                <a:gd name="connsiteX3" fmla="*/ 1716541 w 1828800"/>
                <a:gd name="connsiteY3" fmla="*/ 914402 h 914402"/>
                <a:gd name="connsiteX4" fmla="*/ 0 w 1828800"/>
                <a:gd name="connsiteY4" fmla="*/ 914400 h 914402"/>
                <a:gd name="connsiteX5" fmla="*/ 112259 w 1828800"/>
                <a:gd name="connsiteY5" fmla="*/ 457202 h 914402"/>
                <a:gd name="connsiteX0" fmla="*/ 0 w 1828800"/>
                <a:gd name="connsiteY0" fmla="*/ 0 h 914402"/>
                <a:gd name="connsiteX1" fmla="*/ 1716541 w 1828800"/>
                <a:gd name="connsiteY1" fmla="*/ 0 h 914402"/>
                <a:gd name="connsiteX2" fmla="*/ 1828800 w 1828800"/>
                <a:gd name="connsiteY2" fmla="*/ 457200 h 914402"/>
                <a:gd name="connsiteX3" fmla="*/ 171654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7125 w 1828800"/>
                <a:gd name="connsiteY1" fmla="*/ 0 h 914402"/>
                <a:gd name="connsiteX2" fmla="*/ 1828800 w 1828800"/>
                <a:gd name="connsiteY2" fmla="*/ 457200 h 914402"/>
                <a:gd name="connsiteX3" fmla="*/ 171654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7125 w 1828800"/>
                <a:gd name="connsiteY1" fmla="*/ 0 h 914402"/>
                <a:gd name="connsiteX2" fmla="*/ 1828800 w 1828800"/>
                <a:gd name="connsiteY2" fmla="*/ 457200 h 914402"/>
                <a:gd name="connsiteX3" fmla="*/ 1717125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7125 w 1828800"/>
                <a:gd name="connsiteY1" fmla="*/ 0 h 914402"/>
                <a:gd name="connsiteX2" fmla="*/ 1828800 w 1828800"/>
                <a:gd name="connsiteY2" fmla="*/ 457200 h 914402"/>
                <a:gd name="connsiteX3" fmla="*/ 1717125 w 1828800"/>
                <a:gd name="connsiteY3" fmla="*/ 914402 h 914402"/>
                <a:gd name="connsiteX4" fmla="*/ 0 w 1828800"/>
                <a:gd name="connsiteY4" fmla="*/ 914400 h 914402"/>
                <a:gd name="connsiteX5" fmla="*/ 111675 w 1828800"/>
                <a:gd name="connsiteY5" fmla="*/ 457202 h 914402"/>
                <a:gd name="connsiteX0" fmla="*/ 0 w 1828800"/>
                <a:gd name="connsiteY0" fmla="*/ 0 h 914402"/>
                <a:gd name="connsiteX1" fmla="*/ 1717125 w 1828800"/>
                <a:gd name="connsiteY1" fmla="*/ 0 h 914402"/>
                <a:gd name="connsiteX2" fmla="*/ 1828800 w 1828800"/>
                <a:gd name="connsiteY2" fmla="*/ 457200 h 914402"/>
                <a:gd name="connsiteX3" fmla="*/ 1717125 w 1828800"/>
                <a:gd name="connsiteY3" fmla="*/ 914402 h 914402"/>
                <a:gd name="connsiteX4" fmla="*/ 0 w 1828800"/>
                <a:gd name="connsiteY4" fmla="*/ 914400 h 914402"/>
                <a:gd name="connsiteX5" fmla="*/ 111675 w 1828800"/>
                <a:gd name="connsiteY5" fmla="*/ 457202 h 914402"/>
                <a:gd name="connsiteX0" fmla="*/ 0 w 1828800"/>
                <a:gd name="connsiteY0" fmla="*/ 0 h 914402"/>
                <a:gd name="connsiteX1" fmla="*/ 1717125 w 1828800"/>
                <a:gd name="connsiteY1" fmla="*/ 0 h 914402"/>
                <a:gd name="connsiteX2" fmla="*/ 1828800 w 1828800"/>
                <a:gd name="connsiteY2" fmla="*/ 457200 h 914402"/>
                <a:gd name="connsiteX3" fmla="*/ 1717125 w 1828800"/>
                <a:gd name="connsiteY3" fmla="*/ 914402 h 914402"/>
                <a:gd name="connsiteX4" fmla="*/ 0 w 1828800"/>
                <a:gd name="connsiteY4" fmla="*/ 914400 h 914402"/>
                <a:gd name="connsiteX5" fmla="*/ 111675 w 1828800"/>
                <a:gd name="connsiteY5" fmla="*/ 457202 h 914402"/>
                <a:gd name="connsiteX0" fmla="*/ 0 w 1828800"/>
                <a:gd name="connsiteY0" fmla="*/ 0 h 914402"/>
                <a:gd name="connsiteX1" fmla="*/ 1717125 w 1828800"/>
                <a:gd name="connsiteY1" fmla="*/ 0 h 914402"/>
                <a:gd name="connsiteX2" fmla="*/ 1828800 w 1828800"/>
                <a:gd name="connsiteY2" fmla="*/ 457200 h 914402"/>
                <a:gd name="connsiteX3" fmla="*/ 1717125 w 1828800"/>
                <a:gd name="connsiteY3" fmla="*/ 914402 h 914402"/>
                <a:gd name="connsiteX4" fmla="*/ 0 w 1828800"/>
                <a:gd name="connsiteY4" fmla="*/ 914400 h 914402"/>
                <a:gd name="connsiteX5" fmla="*/ 206891 w 1828800"/>
                <a:gd name="connsiteY5" fmla="*/ 457202 h 914402"/>
                <a:gd name="connsiteX0" fmla="*/ 0 w 1828800"/>
                <a:gd name="connsiteY0" fmla="*/ 0 h 914402"/>
                <a:gd name="connsiteX1" fmla="*/ 1621909 w 1828800"/>
                <a:gd name="connsiteY1" fmla="*/ 0 h 914402"/>
                <a:gd name="connsiteX2" fmla="*/ 1828800 w 1828800"/>
                <a:gd name="connsiteY2" fmla="*/ 457200 h 914402"/>
                <a:gd name="connsiteX3" fmla="*/ 1717125 w 1828800"/>
                <a:gd name="connsiteY3" fmla="*/ 914402 h 914402"/>
                <a:gd name="connsiteX4" fmla="*/ 0 w 1828800"/>
                <a:gd name="connsiteY4" fmla="*/ 914400 h 914402"/>
                <a:gd name="connsiteX5" fmla="*/ 206891 w 1828800"/>
                <a:gd name="connsiteY5" fmla="*/ 457202 h 914402"/>
                <a:gd name="connsiteX0" fmla="*/ 0 w 1828800"/>
                <a:gd name="connsiteY0" fmla="*/ 0 h 914402"/>
                <a:gd name="connsiteX1" fmla="*/ 1621909 w 1828800"/>
                <a:gd name="connsiteY1" fmla="*/ 0 h 914402"/>
                <a:gd name="connsiteX2" fmla="*/ 1828800 w 1828800"/>
                <a:gd name="connsiteY2" fmla="*/ 457200 h 914402"/>
                <a:gd name="connsiteX3" fmla="*/ 1621909 w 1828800"/>
                <a:gd name="connsiteY3" fmla="*/ 914402 h 914402"/>
                <a:gd name="connsiteX4" fmla="*/ 0 w 1828800"/>
                <a:gd name="connsiteY4" fmla="*/ 914400 h 914402"/>
                <a:gd name="connsiteX5" fmla="*/ 206891 w 1828800"/>
                <a:gd name="connsiteY5" fmla="*/ 457202 h 914402"/>
                <a:gd name="connsiteX0" fmla="*/ 0 w 1828800"/>
                <a:gd name="connsiteY0" fmla="*/ 0 h 914402"/>
                <a:gd name="connsiteX1" fmla="*/ 1621909 w 1828800"/>
                <a:gd name="connsiteY1" fmla="*/ 0 h 914402"/>
                <a:gd name="connsiteX2" fmla="*/ 1828800 w 1828800"/>
                <a:gd name="connsiteY2" fmla="*/ 457200 h 914402"/>
                <a:gd name="connsiteX3" fmla="*/ 1621909 w 1828800"/>
                <a:gd name="connsiteY3" fmla="*/ 914402 h 914402"/>
                <a:gd name="connsiteX4" fmla="*/ 0 w 1828800"/>
                <a:gd name="connsiteY4" fmla="*/ 914400 h 914402"/>
                <a:gd name="connsiteX5" fmla="*/ 248797 w 1828800"/>
                <a:gd name="connsiteY5" fmla="*/ 457202 h 914402"/>
                <a:gd name="connsiteX0" fmla="*/ 0 w 1828800"/>
                <a:gd name="connsiteY0" fmla="*/ 0 h 914402"/>
                <a:gd name="connsiteX1" fmla="*/ 1580003 w 1828800"/>
                <a:gd name="connsiteY1" fmla="*/ 0 h 914402"/>
                <a:gd name="connsiteX2" fmla="*/ 1828800 w 1828800"/>
                <a:gd name="connsiteY2" fmla="*/ 457200 h 914402"/>
                <a:gd name="connsiteX3" fmla="*/ 1621909 w 1828800"/>
                <a:gd name="connsiteY3" fmla="*/ 914402 h 914402"/>
                <a:gd name="connsiteX4" fmla="*/ 0 w 1828800"/>
                <a:gd name="connsiteY4" fmla="*/ 914400 h 914402"/>
                <a:gd name="connsiteX5" fmla="*/ 248797 w 1828800"/>
                <a:gd name="connsiteY5" fmla="*/ 457202 h 914402"/>
                <a:gd name="connsiteX0" fmla="*/ 0 w 1828800"/>
                <a:gd name="connsiteY0" fmla="*/ 0 h 914402"/>
                <a:gd name="connsiteX1" fmla="*/ 1580003 w 1828800"/>
                <a:gd name="connsiteY1" fmla="*/ 0 h 914402"/>
                <a:gd name="connsiteX2" fmla="*/ 1828800 w 1828800"/>
                <a:gd name="connsiteY2" fmla="*/ 457200 h 914402"/>
                <a:gd name="connsiteX3" fmla="*/ 1580003 w 1828800"/>
                <a:gd name="connsiteY3" fmla="*/ 914402 h 914402"/>
                <a:gd name="connsiteX4" fmla="*/ 0 w 1828800"/>
                <a:gd name="connsiteY4" fmla="*/ 914400 h 914402"/>
                <a:gd name="connsiteX5" fmla="*/ 248797 w 1828800"/>
                <a:gd name="connsiteY5" fmla="*/ 457202 h 914402"/>
                <a:gd name="connsiteX0" fmla="*/ 0 w 1828800"/>
                <a:gd name="connsiteY0" fmla="*/ 0 h 914402"/>
                <a:gd name="connsiteX1" fmla="*/ 1580003 w 1828800"/>
                <a:gd name="connsiteY1" fmla="*/ 0 h 914402"/>
                <a:gd name="connsiteX2" fmla="*/ 1828800 w 1828800"/>
                <a:gd name="connsiteY2" fmla="*/ 457200 h 914402"/>
                <a:gd name="connsiteX3" fmla="*/ 1580003 w 1828800"/>
                <a:gd name="connsiteY3" fmla="*/ 914402 h 914402"/>
                <a:gd name="connsiteX4" fmla="*/ 0 w 1828800"/>
                <a:gd name="connsiteY4" fmla="*/ 914400 h 914402"/>
                <a:gd name="connsiteX5" fmla="*/ 227862 w 1828800"/>
                <a:gd name="connsiteY5" fmla="*/ 457202 h 914402"/>
                <a:gd name="connsiteX0" fmla="*/ 0 w 1828800"/>
                <a:gd name="connsiteY0" fmla="*/ 0 h 914402"/>
                <a:gd name="connsiteX1" fmla="*/ 1600938 w 1828800"/>
                <a:gd name="connsiteY1" fmla="*/ 0 h 914402"/>
                <a:gd name="connsiteX2" fmla="*/ 1828800 w 1828800"/>
                <a:gd name="connsiteY2" fmla="*/ 457200 h 914402"/>
                <a:gd name="connsiteX3" fmla="*/ 1580003 w 1828800"/>
                <a:gd name="connsiteY3" fmla="*/ 914402 h 914402"/>
                <a:gd name="connsiteX4" fmla="*/ 0 w 1828800"/>
                <a:gd name="connsiteY4" fmla="*/ 914400 h 914402"/>
                <a:gd name="connsiteX5" fmla="*/ 227862 w 1828800"/>
                <a:gd name="connsiteY5" fmla="*/ 457202 h 914402"/>
                <a:gd name="connsiteX0" fmla="*/ 0 w 1828800"/>
                <a:gd name="connsiteY0" fmla="*/ 0 h 914402"/>
                <a:gd name="connsiteX1" fmla="*/ 1600938 w 1828800"/>
                <a:gd name="connsiteY1" fmla="*/ 0 h 914402"/>
                <a:gd name="connsiteX2" fmla="*/ 1828800 w 1828800"/>
                <a:gd name="connsiteY2" fmla="*/ 457200 h 914402"/>
                <a:gd name="connsiteX3" fmla="*/ 1600938 w 1828800"/>
                <a:gd name="connsiteY3" fmla="*/ 914402 h 914402"/>
                <a:gd name="connsiteX4" fmla="*/ 0 w 1828800"/>
                <a:gd name="connsiteY4" fmla="*/ 914400 h 914402"/>
                <a:gd name="connsiteX5" fmla="*/ 227862 w 1828800"/>
                <a:gd name="connsiteY5" fmla="*/ 457202 h 914402"/>
                <a:gd name="connsiteX0" fmla="*/ 0 w 1828800"/>
                <a:gd name="connsiteY0" fmla="*/ 0 h 914402"/>
                <a:gd name="connsiteX1" fmla="*/ 1600938 w 1828800"/>
                <a:gd name="connsiteY1" fmla="*/ 0 h 914402"/>
                <a:gd name="connsiteX2" fmla="*/ 1828800 w 1828800"/>
                <a:gd name="connsiteY2" fmla="*/ 457200 h 914402"/>
                <a:gd name="connsiteX3" fmla="*/ 160093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08657 w 1828800"/>
                <a:gd name="connsiteY1" fmla="*/ 0 h 914402"/>
                <a:gd name="connsiteX2" fmla="*/ 1828800 w 1828800"/>
                <a:gd name="connsiteY2" fmla="*/ 457200 h 914402"/>
                <a:gd name="connsiteX3" fmla="*/ 160093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08657 w 1828800"/>
                <a:gd name="connsiteY1" fmla="*/ 0 h 914402"/>
                <a:gd name="connsiteX2" fmla="*/ 1828800 w 1828800"/>
                <a:gd name="connsiteY2" fmla="*/ 457200 h 914402"/>
                <a:gd name="connsiteX3" fmla="*/ 1608657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08657 w 1828800"/>
                <a:gd name="connsiteY1" fmla="*/ 0 h 914402"/>
                <a:gd name="connsiteX2" fmla="*/ 1828800 w 1828800"/>
                <a:gd name="connsiteY2" fmla="*/ 457200 h 914402"/>
                <a:gd name="connsiteX3" fmla="*/ 1608657 w 1828800"/>
                <a:gd name="connsiteY3" fmla="*/ 914402 h 914402"/>
                <a:gd name="connsiteX4" fmla="*/ 0 w 1828800"/>
                <a:gd name="connsiteY4" fmla="*/ 914400 h 914402"/>
                <a:gd name="connsiteX5" fmla="*/ 220142 w 1828800"/>
                <a:gd name="connsiteY5" fmla="*/ 457202 h 914402"/>
                <a:gd name="connsiteX0" fmla="*/ 0 w 1828800"/>
                <a:gd name="connsiteY0" fmla="*/ 0 h 914402"/>
                <a:gd name="connsiteX1" fmla="*/ 1608657 w 1828800"/>
                <a:gd name="connsiteY1" fmla="*/ 0 h 914402"/>
                <a:gd name="connsiteX2" fmla="*/ 1828800 w 1828800"/>
                <a:gd name="connsiteY2" fmla="*/ 457200 h 914402"/>
                <a:gd name="connsiteX3" fmla="*/ 1608657 w 1828800"/>
                <a:gd name="connsiteY3" fmla="*/ 914402 h 914402"/>
                <a:gd name="connsiteX4" fmla="*/ 0 w 1828800"/>
                <a:gd name="connsiteY4" fmla="*/ 914400 h 914402"/>
                <a:gd name="connsiteX5" fmla="*/ 220142 w 1828800"/>
                <a:gd name="connsiteY5" fmla="*/ 457202 h 914402"/>
                <a:gd name="connsiteX0" fmla="*/ 0 w 1828800"/>
                <a:gd name="connsiteY0" fmla="*/ 0 h 914402"/>
                <a:gd name="connsiteX1" fmla="*/ 1608657 w 1828800"/>
                <a:gd name="connsiteY1" fmla="*/ 0 h 914402"/>
                <a:gd name="connsiteX2" fmla="*/ 1828800 w 1828800"/>
                <a:gd name="connsiteY2" fmla="*/ 457200 h 914402"/>
                <a:gd name="connsiteX3" fmla="*/ 1608657 w 1828800"/>
                <a:gd name="connsiteY3" fmla="*/ 914402 h 914402"/>
                <a:gd name="connsiteX4" fmla="*/ 0 w 1828800"/>
                <a:gd name="connsiteY4" fmla="*/ 914400 h 914402"/>
                <a:gd name="connsiteX5" fmla="*/ 220142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08657" y="0"/>
                  </a:lnTo>
                  <a:lnTo>
                    <a:pt x="1828800" y="457200"/>
                  </a:lnTo>
                  <a:lnTo>
                    <a:pt x="1608657" y="914402"/>
                  </a:lnTo>
                  <a:lnTo>
                    <a:pt x="0" y="914400"/>
                  </a:lnTo>
                  <a:lnTo>
                    <a:pt x="220142" y="457202"/>
                  </a:lnTo>
                  <a:close/>
                </a:path>
              </a:pathLst>
            </a:custGeom>
            <a:grpFill/>
            <a:ln w="9525">
              <a:solidFill>
                <a:srgbClr val="FFFFFF"/>
              </a:solidFill>
              <a:round/>
              <a:headEnd/>
              <a:tailEnd/>
            </a:ln>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79" name="TextBox 4">
              <a:extLst>
                <a:ext uri="{FF2B5EF4-FFF2-40B4-BE49-F238E27FC236}">
                  <a16:creationId xmlns:a16="http://schemas.microsoft.com/office/drawing/2014/main" id="{0B421A3B-69EF-4C50-BEC0-B669FA6F8CC7}"/>
                </a:ext>
              </a:extLst>
            </p:cNvPr>
            <p:cNvSpPr txBox="1">
              <a:spLocks noChangeArrowheads="1"/>
            </p:cNvSpPr>
            <p:nvPr>
              <p:custDataLst>
                <p:tags r:id="rId22"/>
              </p:custDataLst>
            </p:nvPr>
          </p:nvSpPr>
          <p:spPr bwMode="auto">
            <a:xfrm>
              <a:off x="2390595" y="1849097"/>
              <a:ext cx="1360714" cy="18099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003C54"/>
                </a:buClr>
                <a:buSzTx/>
                <a:buFontTx/>
                <a:buNone/>
                <a:tabLst/>
                <a:defRPr/>
              </a:pPr>
              <a:r>
                <a:rPr lang="en-US" sz="1200" b="1">
                  <a:solidFill>
                    <a:srgbClr val="000000"/>
                  </a:solidFill>
                  <a:latin typeface="Arial"/>
                  <a:ea typeface="ＭＳ Ｐゴシック"/>
                  <a:cs typeface="Arial"/>
                </a:rPr>
                <a:t>T</a:t>
              </a:r>
              <a:r>
                <a:rPr kumimoji="0" lang="en-US" sz="1200" b="1" i="0" u="none" strike="noStrike" kern="1200" cap="none" spc="0" normalizeH="0" baseline="0" noProof="0" err="1">
                  <a:ln>
                    <a:noFill/>
                  </a:ln>
                  <a:solidFill>
                    <a:srgbClr val="000000"/>
                  </a:solidFill>
                  <a:effectLst/>
                  <a:uLnTx/>
                  <a:uFillTx/>
                  <a:latin typeface="Arial"/>
                  <a:ea typeface="ＭＳ Ｐゴシック"/>
                  <a:cs typeface="Arial"/>
                </a:rPr>
                <a:t>eamsessies</a:t>
              </a:r>
              <a:endParaRPr kumimoji="0" lang="en-US" sz="1200" b="1" i="0" u="none" strike="noStrike" kern="1200" cap="none" spc="0" normalizeH="0" baseline="0" noProof="0">
                <a:ln>
                  <a:noFill/>
                </a:ln>
                <a:solidFill>
                  <a:srgbClr val="000000"/>
                </a:solidFill>
                <a:effectLst/>
                <a:uLnTx/>
                <a:uFillTx/>
                <a:latin typeface="Arial"/>
                <a:ea typeface="ＭＳ Ｐゴシック"/>
                <a:cs typeface="Arial"/>
              </a:endParaRPr>
            </a:p>
          </p:txBody>
        </p:sp>
      </p:grpSp>
      <p:sp>
        <p:nvSpPr>
          <p:cNvPr id="80" name="Freeform 5">
            <a:extLst>
              <a:ext uri="{FF2B5EF4-FFF2-40B4-BE49-F238E27FC236}">
                <a16:creationId xmlns:a16="http://schemas.microsoft.com/office/drawing/2014/main" id="{9ADCED8E-295F-4B85-A562-3E9F378973D9}"/>
              </a:ext>
            </a:extLst>
          </p:cNvPr>
          <p:cNvSpPr>
            <a:spLocks/>
          </p:cNvSpPr>
          <p:nvPr>
            <p:custDataLst>
              <p:tags r:id="rId5"/>
            </p:custDataLst>
          </p:nvPr>
        </p:nvSpPr>
        <p:spPr bwMode="auto">
          <a:xfrm>
            <a:off x="5930210" y="1423761"/>
            <a:ext cx="2112165" cy="2098296"/>
          </a:xfrm>
          <a:custGeom>
            <a:avLst/>
            <a:gdLst>
              <a:gd name="T0" fmla="*/ 2147483647 w 1530"/>
              <a:gd name="T1" fmla="*/ 2147483647 h 1871"/>
              <a:gd name="T2" fmla="*/ 2147483647 w 1530"/>
              <a:gd name="T3" fmla="*/ 2147483647 h 1871"/>
              <a:gd name="T4" fmla="*/ 2147483647 w 1530"/>
              <a:gd name="T5" fmla="*/ 2147483647 h 1871"/>
              <a:gd name="T6" fmla="*/ 2147483647 w 1530"/>
              <a:gd name="T7" fmla="*/ 2147483647 h 1871"/>
              <a:gd name="T8" fmla="*/ 2147483647 w 1530"/>
              <a:gd name="T9" fmla="*/ 2147483647 h 1871"/>
              <a:gd name="T10" fmla="*/ 2147483647 w 1530"/>
              <a:gd name="T11" fmla="*/ 2147483647 h 1871"/>
              <a:gd name="T12" fmla="*/ 2147483647 w 1530"/>
              <a:gd name="T13" fmla="*/ 2147483647 h 1871"/>
              <a:gd name="T14" fmla="*/ 2147483647 w 1530"/>
              <a:gd name="T15" fmla="*/ 2147483647 h 1871"/>
              <a:gd name="T16" fmla="*/ 2147483647 w 1530"/>
              <a:gd name="T17" fmla="*/ 2147483647 h 1871"/>
              <a:gd name="T18" fmla="*/ 2147483647 w 1530"/>
              <a:gd name="T19" fmla="*/ 2147483647 h 1871"/>
              <a:gd name="T20" fmla="*/ 2147483647 w 1530"/>
              <a:gd name="T21" fmla="*/ 2147483647 h 1871"/>
              <a:gd name="T22" fmla="*/ 2147483647 w 1530"/>
              <a:gd name="T23" fmla="*/ 2147483647 h 1871"/>
              <a:gd name="T24" fmla="*/ 2147483647 w 1530"/>
              <a:gd name="T25" fmla="*/ 2147483647 h 1871"/>
              <a:gd name="T26" fmla="*/ 2147483647 w 1530"/>
              <a:gd name="T27" fmla="*/ 2147483647 h 1871"/>
              <a:gd name="T28" fmla="*/ 2147483647 w 1530"/>
              <a:gd name="T29" fmla="*/ 2147483647 h 1871"/>
              <a:gd name="T30" fmla="*/ 2147483647 w 1530"/>
              <a:gd name="T31" fmla="*/ 2147483647 h 1871"/>
              <a:gd name="T32" fmla="*/ 2147483647 w 1530"/>
              <a:gd name="T33" fmla="*/ 2147483647 h 1871"/>
              <a:gd name="T34" fmla="*/ 2147483647 w 1530"/>
              <a:gd name="T35" fmla="*/ 2147483647 h 1871"/>
              <a:gd name="T36" fmla="*/ 2147483647 w 1530"/>
              <a:gd name="T37" fmla="*/ 2147483647 h 1871"/>
              <a:gd name="T38" fmla="*/ 2147483647 w 1530"/>
              <a:gd name="T39" fmla="*/ 2147483647 h 1871"/>
              <a:gd name="T40" fmla="*/ 2147483647 w 1530"/>
              <a:gd name="T41" fmla="*/ 2147483647 h 1871"/>
              <a:gd name="T42" fmla="*/ 2147483647 w 1530"/>
              <a:gd name="T43" fmla="*/ 2147483647 h 1871"/>
              <a:gd name="T44" fmla="*/ 2147483647 w 1530"/>
              <a:gd name="T45" fmla="*/ 2147483647 h 1871"/>
              <a:gd name="T46" fmla="*/ 2147483647 w 1530"/>
              <a:gd name="T47" fmla="*/ 2147483647 h 1871"/>
              <a:gd name="T48" fmla="*/ 2147483647 w 1530"/>
              <a:gd name="T49" fmla="*/ 2147483647 h 1871"/>
              <a:gd name="T50" fmla="*/ 2147483647 w 1530"/>
              <a:gd name="T51" fmla="*/ 2147483647 h 1871"/>
              <a:gd name="T52" fmla="*/ 2147483647 w 1530"/>
              <a:gd name="T53" fmla="*/ 2147483647 h 1871"/>
              <a:gd name="T54" fmla="*/ 2147483647 w 1530"/>
              <a:gd name="T55" fmla="*/ 2147483647 h 1871"/>
              <a:gd name="T56" fmla="*/ 2147483647 w 1530"/>
              <a:gd name="T57" fmla="*/ 2147483647 h 1871"/>
              <a:gd name="T58" fmla="*/ 2147483647 w 1530"/>
              <a:gd name="T59" fmla="*/ 2147483647 h 1871"/>
              <a:gd name="T60" fmla="*/ 2147483647 w 1530"/>
              <a:gd name="T61" fmla="*/ 2147483647 h 1871"/>
              <a:gd name="T62" fmla="*/ 2147483647 w 1530"/>
              <a:gd name="T63" fmla="*/ 2147483647 h 1871"/>
              <a:gd name="T64" fmla="*/ 2147483647 w 1530"/>
              <a:gd name="T65" fmla="*/ 2147483647 h 1871"/>
              <a:gd name="T66" fmla="*/ 2147483647 w 1530"/>
              <a:gd name="T67" fmla="*/ 2147483647 h 1871"/>
              <a:gd name="T68" fmla="*/ 2147483647 w 1530"/>
              <a:gd name="T69" fmla="*/ 2147483647 h 1871"/>
              <a:gd name="T70" fmla="*/ 2147483647 w 1530"/>
              <a:gd name="T71" fmla="*/ 2147483647 h 1871"/>
              <a:gd name="T72" fmla="*/ 2147483647 w 1530"/>
              <a:gd name="T73" fmla="*/ 2147483647 h 1871"/>
              <a:gd name="T74" fmla="*/ 2147483647 w 1530"/>
              <a:gd name="T75" fmla="*/ 2147483647 h 1871"/>
              <a:gd name="T76" fmla="*/ 2147483647 w 1530"/>
              <a:gd name="T77" fmla="*/ 2147483647 h 1871"/>
              <a:gd name="T78" fmla="*/ 2147483647 w 1530"/>
              <a:gd name="T79" fmla="*/ 2147483647 h 1871"/>
              <a:gd name="T80" fmla="*/ 2147483647 w 1530"/>
              <a:gd name="T81" fmla="*/ 2147483647 h 1871"/>
              <a:gd name="T82" fmla="*/ 2147483647 w 1530"/>
              <a:gd name="T83" fmla="*/ 2147483647 h 1871"/>
              <a:gd name="T84" fmla="*/ 2147483647 w 1530"/>
              <a:gd name="T85" fmla="*/ 2147483647 h 1871"/>
              <a:gd name="T86" fmla="*/ 2147483647 w 1530"/>
              <a:gd name="T87" fmla="*/ 2147483647 h 1871"/>
              <a:gd name="T88" fmla="*/ 2147483647 w 1530"/>
              <a:gd name="T89" fmla="*/ 2147483647 h 1871"/>
              <a:gd name="T90" fmla="*/ 2147483647 w 1530"/>
              <a:gd name="T91" fmla="*/ 2147483647 h 1871"/>
              <a:gd name="T92" fmla="*/ 2147483647 w 1530"/>
              <a:gd name="T93" fmla="*/ 2147483647 h 1871"/>
              <a:gd name="T94" fmla="*/ 2147483647 w 1530"/>
              <a:gd name="T95" fmla="*/ 2147483647 h 1871"/>
              <a:gd name="T96" fmla="*/ 2147483647 w 1530"/>
              <a:gd name="T97" fmla="*/ 0 h 1871"/>
              <a:gd name="T98" fmla="*/ 2147483647 w 1530"/>
              <a:gd name="T99" fmla="*/ 2147483647 h 187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30"/>
              <a:gd name="T151" fmla="*/ 0 h 1871"/>
              <a:gd name="T152" fmla="*/ 1530 w 1530"/>
              <a:gd name="T153" fmla="*/ 1871 h 1871"/>
              <a:gd name="connsiteX0" fmla="*/ 26 w 10000"/>
              <a:gd name="connsiteY0" fmla="*/ 4768 h 10000"/>
              <a:gd name="connsiteX1" fmla="*/ 59 w 10000"/>
              <a:gd name="connsiteY1" fmla="*/ 4762 h 10000"/>
              <a:gd name="connsiteX2" fmla="*/ 163 w 10000"/>
              <a:gd name="connsiteY2" fmla="*/ 4762 h 10000"/>
              <a:gd name="connsiteX3" fmla="*/ 268 w 10000"/>
              <a:gd name="connsiteY3" fmla="*/ 4768 h 10000"/>
              <a:gd name="connsiteX4" fmla="*/ 373 w 10000"/>
              <a:gd name="connsiteY4" fmla="*/ 4773 h 10000"/>
              <a:gd name="connsiteX5" fmla="*/ 477 w 10000"/>
              <a:gd name="connsiteY5" fmla="*/ 4778 h 10000"/>
              <a:gd name="connsiteX6" fmla="*/ 582 w 10000"/>
              <a:gd name="connsiteY6" fmla="*/ 4794 h 10000"/>
              <a:gd name="connsiteX7" fmla="*/ 686 w 10000"/>
              <a:gd name="connsiteY7" fmla="*/ 4805 h 10000"/>
              <a:gd name="connsiteX8" fmla="*/ 784 w 10000"/>
              <a:gd name="connsiteY8" fmla="*/ 4816 h 10000"/>
              <a:gd name="connsiteX9" fmla="*/ 882 w 10000"/>
              <a:gd name="connsiteY9" fmla="*/ 4832 h 10000"/>
              <a:gd name="connsiteX10" fmla="*/ 987 w 10000"/>
              <a:gd name="connsiteY10" fmla="*/ 4848 h 10000"/>
              <a:gd name="connsiteX11" fmla="*/ 1085 w 10000"/>
              <a:gd name="connsiteY11" fmla="*/ 4869 h 10000"/>
              <a:gd name="connsiteX12" fmla="*/ 1183 w 10000"/>
              <a:gd name="connsiteY12" fmla="*/ 4890 h 10000"/>
              <a:gd name="connsiteX13" fmla="*/ 1281 w 10000"/>
              <a:gd name="connsiteY13" fmla="*/ 4912 h 10000"/>
              <a:gd name="connsiteX14" fmla="*/ 1373 w 10000"/>
              <a:gd name="connsiteY14" fmla="*/ 4939 h 10000"/>
              <a:gd name="connsiteX15" fmla="*/ 1471 w 10000"/>
              <a:gd name="connsiteY15" fmla="*/ 4965 h 10000"/>
              <a:gd name="connsiteX16" fmla="*/ 1562 w 10000"/>
              <a:gd name="connsiteY16" fmla="*/ 4997 h 10000"/>
              <a:gd name="connsiteX17" fmla="*/ 1654 w 10000"/>
              <a:gd name="connsiteY17" fmla="*/ 5029 h 10000"/>
              <a:gd name="connsiteX18" fmla="*/ 1745 w 10000"/>
              <a:gd name="connsiteY18" fmla="*/ 5061 h 10000"/>
              <a:gd name="connsiteX19" fmla="*/ 1837 w 10000"/>
              <a:gd name="connsiteY19" fmla="*/ 5094 h 10000"/>
              <a:gd name="connsiteX20" fmla="*/ 1928 w 10000"/>
              <a:gd name="connsiteY20" fmla="*/ 5131 h 10000"/>
              <a:gd name="connsiteX21" fmla="*/ 2020 w 10000"/>
              <a:gd name="connsiteY21" fmla="*/ 5168 h 10000"/>
              <a:gd name="connsiteX22" fmla="*/ 2105 w 10000"/>
              <a:gd name="connsiteY22" fmla="*/ 5211 h 10000"/>
              <a:gd name="connsiteX23" fmla="*/ 2190 w 10000"/>
              <a:gd name="connsiteY23" fmla="*/ 5249 h 10000"/>
              <a:gd name="connsiteX24" fmla="*/ 2275 w 10000"/>
              <a:gd name="connsiteY24" fmla="*/ 5291 h 10000"/>
              <a:gd name="connsiteX25" fmla="*/ 2353 w 10000"/>
              <a:gd name="connsiteY25" fmla="*/ 5334 h 10000"/>
              <a:gd name="connsiteX26" fmla="*/ 2438 w 10000"/>
              <a:gd name="connsiteY26" fmla="*/ 5382 h 10000"/>
              <a:gd name="connsiteX27" fmla="*/ 2516 w 10000"/>
              <a:gd name="connsiteY27" fmla="*/ 5430 h 10000"/>
              <a:gd name="connsiteX28" fmla="*/ 2595 w 10000"/>
              <a:gd name="connsiteY28" fmla="*/ 5478 h 10000"/>
              <a:gd name="connsiteX29" fmla="*/ 2673 w 10000"/>
              <a:gd name="connsiteY29" fmla="*/ 5526 h 10000"/>
              <a:gd name="connsiteX30" fmla="*/ 2752 w 10000"/>
              <a:gd name="connsiteY30" fmla="*/ 5580 h 10000"/>
              <a:gd name="connsiteX31" fmla="*/ 2824 w 10000"/>
              <a:gd name="connsiteY31" fmla="*/ 5633 h 10000"/>
              <a:gd name="connsiteX32" fmla="*/ 2895 w 10000"/>
              <a:gd name="connsiteY32" fmla="*/ 5687 h 10000"/>
              <a:gd name="connsiteX33" fmla="*/ 2967 w 10000"/>
              <a:gd name="connsiteY33" fmla="*/ 5746 h 10000"/>
              <a:gd name="connsiteX34" fmla="*/ 3033 w 10000"/>
              <a:gd name="connsiteY34" fmla="*/ 5804 h 10000"/>
              <a:gd name="connsiteX35" fmla="*/ 3105 w 10000"/>
              <a:gd name="connsiteY35" fmla="*/ 5863 h 10000"/>
              <a:gd name="connsiteX36" fmla="*/ 3170 w 10000"/>
              <a:gd name="connsiteY36" fmla="*/ 5922 h 10000"/>
              <a:gd name="connsiteX37" fmla="*/ 3229 w 10000"/>
              <a:gd name="connsiteY37" fmla="*/ 5986 h 10000"/>
              <a:gd name="connsiteX38" fmla="*/ 3294 w 10000"/>
              <a:gd name="connsiteY38" fmla="*/ 6045 h 10000"/>
              <a:gd name="connsiteX39" fmla="*/ 3353 w 10000"/>
              <a:gd name="connsiteY39" fmla="*/ 6109 h 10000"/>
              <a:gd name="connsiteX40" fmla="*/ 3412 w 10000"/>
              <a:gd name="connsiteY40" fmla="*/ 6173 h 10000"/>
              <a:gd name="connsiteX41" fmla="*/ 3471 w 10000"/>
              <a:gd name="connsiteY41" fmla="*/ 6237 h 10000"/>
              <a:gd name="connsiteX42" fmla="*/ 3523 w 10000"/>
              <a:gd name="connsiteY42" fmla="*/ 6307 h 10000"/>
              <a:gd name="connsiteX43" fmla="*/ 3575 w 10000"/>
              <a:gd name="connsiteY43" fmla="*/ 6376 h 10000"/>
              <a:gd name="connsiteX44" fmla="*/ 3627 w 10000"/>
              <a:gd name="connsiteY44" fmla="*/ 6446 h 10000"/>
              <a:gd name="connsiteX45" fmla="*/ 3680 w 10000"/>
              <a:gd name="connsiteY45" fmla="*/ 6515 h 10000"/>
              <a:gd name="connsiteX46" fmla="*/ 3719 w 10000"/>
              <a:gd name="connsiteY46" fmla="*/ 6590 h 10000"/>
              <a:gd name="connsiteX47" fmla="*/ 3771 w 10000"/>
              <a:gd name="connsiteY47" fmla="*/ 6665 h 10000"/>
              <a:gd name="connsiteX48" fmla="*/ 3810 w 10000"/>
              <a:gd name="connsiteY48" fmla="*/ 6734 h 10000"/>
              <a:gd name="connsiteX49" fmla="*/ 3850 w 10000"/>
              <a:gd name="connsiteY49" fmla="*/ 6809 h 10000"/>
              <a:gd name="connsiteX50" fmla="*/ 3889 w 10000"/>
              <a:gd name="connsiteY50" fmla="*/ 6884 h 10000"/>
              <a:gd name="connsiteX51" fmla="*/ 3922 w 10000"/>
              <a:gd name="connsiteY51" fmla="*/ 6959 h 10000"/>
              <a:gd name="connsiteX52" fmla="*/ 3954 w 10000"/>
              <a:gd name="connsiteY52" fmla="*/ 7039 h 10000"/>
              <a:gd name="connsiteX53" fmla="*/ 3987 w 10000"/>
              <a:gd name="connsiteY53" fmla="*/ 7119 h 10000"/>
              <a:gd name="connsiteX54" fmla="*/ 4020 w 10000"/>
              <a:gd name="connsiteY54" fmla="*/ 7194 h 10000"/>
              <a:gd name="connsiteX55" fmla="*/ 4046 w 10000"/>
              <a:gd name="connsiteY55" fmla="*/ 7274 h 10000"/>
              <a:gd name="connsiteX56" fmla="*/ 4065 w 10000"/>
              <a:gd name="connsiteY56" fmla="*/ 7354 h 10000"/>
              <a:gd name="connsiteX57" fmla="*/ 4092 w 10000"/>
              <a:gd name="connsiteY57" fmla="*/ 7440 h 10000"/>
              <a:gd name="connsiteX58" fmla="*/ 4111 w 10000"/>
              <a:gd name="connsiteY58" fmla="*/ 7520 h 10000"/>
              <a:gd name="connsiteX59" fmla="*/ 4131 w 10000"/>
              <a:gd name="connsiteY59" fmla="*/ 7600 h 10000"/>
              <a:gd name="connsiteX60" fmla="*/ 4144 w 10000"/>
              <a:gd name="connsiteY60" fmla="*/ 7686 h 10000"/>
              <a:gd name="connsiteX61" fmla="*/ 4157 w 10000"/>
              <a:gd name="connsiteY61" fmla="*/ 7771 h 10000"/>
              <a:gd name="connsiteX62" fmla="*/ 4163 w 10000"/>
              <a:gd name="connsiteY62" fmla="*/ 7857 h 10000"/>
              <a:gd name="connsiteX63" fmla="*/ 4170 w 10000"/>
              <a:gd name="connsiteY63" fmla="*/ 7942 h 10000"/>
              <a:gd name="connsiteX64" fmla="*/ 4170 w 10000"/>
              <a:gd name="connsiteY64" fmla="*/ 8028 h 10000"/>
              <a:gd name="connsiteX65" fmla="*/ 4176 w 10000"/>
              <a:gd name="connsiteY65" fmla="*/ 8113 h 10000"/>
              <a:gd name="connsiteX66" fmla="*/ 4170 w 10000"/>
              <a:gd name="connsiteY66" fmla="*/ 8226 h 10000"/>
              <a:gd name="connsiteX67" fmla="*/ 4163 w 10000"/>
              <a:gd name="connsiteY67" fmla="*/ 8343 h 10000"/>
              <a:gd name="connsiteX68" fmla="*/ 4157 w 10000"/>
              <a:gd name="connsiteY68" fmla="*/ 8450 h 10000"/>
              <a:gd name="connsiteX69" fmla="*/ 4137 w 10000"/>
              <a:gd name="connsiteY69" fmla="*/ 8562 h 10000"/>
              <a:gd name="connsiteX70" fmla="*/ 6739 w 10000"/>
              <a:gd name="connsiteY70" fmla="*/ 10000 h 10000"/>
              <a:gd name="connsiteX71" fmla="*/ 9850 w 10000"/>
              <a:gd name="connsiteY71" fmla="*/ 9498 h 10000"/>
              <a:gd name="connsiteX72" fmla="*/ 9889 w 10000"/>
              <a:gd name="connsiteY72" fmla="*/ 9332 h 10000"/>
              <a:gd name="connsiteX73" fmla="*/ 9915 w 10000"/>
              <a:gd name="connsiteY73" fmla="*/ 9161 h 10000"/>
              <a:gd name="connsiteX74" fmla="*/ 9941 w 10000"/>
              <a:gd name="connsiteY74" fmla="*/ 8990 h 10000"/>
              <a:gd name="connsiteX75" fmla="*/ 9961 w 10000"/>
              <a:gd name="connsiteY75" fmla="*/ 8813 h 10000"/>
              <a:gd name="connsiteX76" fmla="*/ 9974 w 10000"/>
              <a:gd name="connsiteY76" fmla="*/ 8637 h 10000"/>
              <a:gd name="connsiteX77" fmla="*/ 9987 w 10000"/>
              <a:gd name="connsiteY77" fmla="*/ 8466 h 10000"/>
              <a:gd name="connsiteX78" fmla="*/ 9993 w 10000"/>
              <a:gd name="connsiteY78" fmla="*/ 8290 h 10000"/>
              <a:gd name="connsiteX79" fmla="*/ 10000 w 10000"/>
              <a:gd name="connsiteY79" fmla="*/ 8113 h 10000"/>
              <a:gd name="connsiteX80" fmla="*/ 9993 w 10000"/>
              <a:gd name="connsiteY80" fmla="*/ 7900 h 10000"/>
              <a:gd name="connsiteX81" fmla="*/ 9987 w 10000"/>
              <a:gd name="connsiteY81" fmla="*/ 7696 h 10000"/>
              <a:gd name="connsiteX82" fmla="*/ 9967 w 10000"/>
              <a:gd name="connsiteY82" fmla="*/ 7488 h 10000"/>
              <a:gd name="connsiteX83" fmla="*/ 9948 w 10000"/>
              <a:gd name="connsiteY83" fmla="*/ 7285 h 10000"/>
              <a:gd name="connsiteX84" fmla="*/ 9915 w 10000"/>
              <a:gd name="connsiteY84" fmla="*/ 7076 h 10000"/>
              <a:gd name="connsiteX85" fmla="*/ 9882 w 10000"/>
              <a:gd name="connsiteY85" fmla="*/ 6879 h 10000"/>
              <a:gd name="connsiteX86" fmla="*/ 9843 w 10000"/>
              <a:gd name="connsiteY86" fmla="*/ 6676 h 10000"/>
              <a:gd name="connsiteX87" fmla="*/ 9797 w 10000"/>
              <a:gd name="connsiteY87" fmla="*/ 6478 h 10000"/>
              <a:gd name="connsiteX88" fmla="*/ 9745 w 10000"/>
              <a:gd name="connsiteY88" fmla="*/ 6280 h 10000"/>
              <a:gd name="connsiteX89" fmla="*/ 9686 w 10000"/>
              <a:gd name="connsiteY89" fmla="*/ 6088 h 10000"/>
              <a:gd name="connsiteX90" fmla="*/ 9621 w 10000"/>
              <a:gd name="connsiteY90" fmla="*/ 5890 h 10000"/>
              <a:gd name="connsiteX91" fmla="*/ 9556 w 10000"/>
              <a:gd name="connsiteY91" fmla="*/ 5697 h 10000"/>
              <a:gd name="connsiteX92" fmla="*/ 9477 w 10000"/>
              <a:gd name="connsiteY92" fmla="*/ 5510 h 10000"/>
              <a:gd name="connsiteX93" fmla="*/ 9399 w 10000"/>
              <a:gd name="connsiteY93" fmla="*/ 5323 h 10000"/>
              <a:gd name="connsiteX94" fmla="*/ 9307 w 10000"/>
              <a:gd name="connsiteY94" fmla="*/ 5136 h 10000"/>
              <a:gd name="connsiteX95" fmla="*/ 9216 w 10000"/>
              <a:gd name="connsiteY95" fmla="*/ 4955 h 10000"/>
              <a:gd name="connsiteX96" fmla="*/ 9124 w 10000"/>
              <a:gd name="connsiteY96" fmla="*/ 4773 h 10000"/>
              <a:gd name="connsiteX97" fmla="*/ 9020 w 10000"/>
              <a:gd name="connsiteY97" fmla="*/ 4596 h 10000"/>
              <a:gd name="connsiteX98" fmla="*/ 8915 w 10000"/>
              <a:gd name="connsiteY98" fmla="*/ 4420 h 10000"/>
              <a:gd name="connsiteX99" fmla="*/ 8804 w 10000"/>
              <a:gd name="connsiteY99" fmla="*/ 4244 h 10000"/>
              <a:gd name="connsiteX100" fmla="*/ 8686 w 10000"/>
              <a:gd name="connsiteY100" fmla="*/ 4073 h 10000"/>
              <a:gd name="connsiteX101" fmla="*/ 8562 w 10000"/>
              <a:gd name="connsiteY101" fmla="*/ 3907 h 10000"/>
              <a:gd name="connsiteX102" fmla="*/ 8438 w 10000"/>
              <a:gd name="connsiteY102" fmla="*/ 3741 h 10000"/>
              <a:gd name="connsiteX103" fmla="*/ 8307 w 10000"/>
              <a:gd name="connsiteY103" fmla="*/ 3576 h 10000"/>
              <a:gd name="connsiteX104" fmla="*/ 8170 w 10000"/>
              <a:gd name="connsiteY104" fmla="*/ 3415 h 10000"/>
              <a:gd name="connsiteX105" fmla="*/ 8026 w 10000"/>
              <a:gd name="connsiteY105" fmla="*/ 3260 h 10000"/>
              <a:gd name="connsiteX106" fmla="*/ 7882 w 10000"/>
              <a:gd name="connsiteY106" fmla="*/ 3105 h 10000"/>
              <a:gd name="connsiteX107" fmla="*/ 7732 w 10000"/>
              <a:gd name="connsiteY107" fmla="*/ 2950 h 10000"/>
              <a:gd name="connsiteX108" fmla="*/ 7582 w 10000"/>
              <a:gd name="connsiteY108" fmla="*/ 2806 h 10000"/>
              <a:gd name="connsiteX109" fmla="*/ 7418 w 10000"/>
              <a:gd name="connsiteY109" fmla="*/ 2662 h 10000"/>
              <a:gd name="connsiteX110" fmla="*/ 7261 w 10000"/>
              <a:gd name="connsiteY110" fmla="*/ 2517 h 10000"/>
              <a:gd name="connsiteX111" fmla="*/ 7092 w 10000"/>
              <a:gd name="connsiteY111" fmla="*/ 2373 h 10000"/>
              <a:gd name="connsiteX112" fmla="*/ 6922 w 10000"/>
              <a:gd name="connsiteY112" fmla="*/ 2239 h 10000"/>
              <a:gd name="connsiteX113" fmla="*/ 6752 w 10000"/>
              <a:gd name="connsiteY113" fmla="*/ 2106 h 10000"/>
              <a:gd name="connsiteX114" fmla="*/ 6569 w 10000"/>
              <a:gd name="connsiteY114" fmla="*/ 1978 h 10000"/>
              <a:gd name="connsiteX115" fmla="*/ 6386 w 10000"/>
              <a:gd name="connsiteY115" fmla="*/ 1855 h 10000"/>
              <a:gd name="connsiteX116" fmla="*/ 6203 w 10000"/>
              <a:gd name="connsiteY116" fmla="*/ 1732 h 10000"/>
              <a:gd name="connsiteX117" fmla="*/ 6013 w 10000"/>
              <a:gd name="connsiteY117" fmla="*/ 1614 h 10000"/>
              <a:gd name="connsiteX118" fmla="*/ 5817 w 10000"/>
              <a:gd name="connsiteY118" fmla="*/ 1497 h 10000"/>
              <a:gd name="connsiteX119" fmla="*/ 5621 w 10000"/>
              <a:gd name="connsiteY119" fmla="*/ 1384 h 10000"/>
              <a:gd name="connsiteX120" fmla="*/ 5425 w 10000"/>
              <a:gd name="connsiteY120" fmla="*/ 1277 h 10000"/>
              <a:gd name="connsiteX121" fmla="*/ 5222 w 10000"/>
              <a:gd name="connsiteY121" fmla="*/ 1176 h 10000"/>
              <a:gd name="connsiteX122" fmla="*/ 5020 w 10000"/>
              <a:gd name="connsiteY122" fmla="*/ 1074 h 10000"/>
              <a:gd name="connsiteX123" fmla="*/ 4804 w 10000"/>
              <a:gd name="connsiteY123" fmla="*/ 978 h 10000"/>
              <a:gd name="connsiteX124" fmla="*/ 4595 w 10000"/>
              <a:gd name="connsiteY124" fmla="*/ 887 h 10000"/>
              <a:gd name="connsiteX125" fmla="*/ 4379 w 10000"/>
              <a:gd name="connsiteY125" fmla="*/ 802 h 10000"/>
              <a:gd name="connsiteX126" fmla="*/ 4157 w 10000"/>
              <a:gd name="connsiteY126" fmla="*/ 716 h 10000"/>
              <a:gd name="connsiteX127" fmla="*/ 3941 w 10000"/>
              <a:gd name="connsiteY127" fmla="*/ 636 h 10000"/>
              <a:gd name="connsiteX128" fmla="*/ 3719 w 10000"/>
              <a:gd name="connsiteY128" fmla="*/ 567 h 10000"/>
              <a:gd name="connsiteX129" fmla="*/ 3490 w 10000"/>
              <a:gd name="connsiteY129" fmla="*/ 492 h 10000"/>
              <a:gd name="connsiteX130" fmla="*/ 3261 w 10000"/>
              <a:gd name="connsiteY130" fmla="*/ 428 h 10000"/>
              <a:gd name="connsiteX131" fmla="*/ 3026 w 10000"/>
              <a:gd name="connsiteY131" fmla="*/ 363 h 10000"/>
              <a:gd name="connsiteX132" fmla="*/ 2797 w 10000"/>
              <a:gd name="connsiteY132" fmla="*/ 310 h 10000"/>
              <a:gd name="connsiteX133" fmla="*/ 2556 w 10000"/>
              <a:gd name="connsiteY133" fmla="*/ 257 h 10000"/>
              <a:gd name="connsiteX134" fmla="*/ 2314 w 10000"/>
              <a:gd name="connsiteY134" fmla="*/ 208 h 10000"/>
              <a:gd name="connsiteX135" fmla="*/ 2078 w 10000"/>
              <a:gd name="connsiteY135" fmla="*/ 166 h 10000"/>
              <a:gd name="connsiteX136" fmla="*/ 1837 w 10000"/>
              <a:gd name="connsiteY136" fmla="*/ 128 h 10000"/>
              <a:gd name="connsiteX137" fmla="*/ 1588 w 10000"/>
              <a:gd name="connsiteY137" fmla="*/ 91 h 10000"/>
              <a:gd name="connsiteX138" fmla="*/ 1340 w 10000"/>
              <a:gd name="connsiteY138" fmla="*/ 64 h 10000"/>
              <a:gd name="connsiteX139" fmla="*/ 1092 w 10000"/>
              <a:gd name="connsiteY139" fmla="*/ 43 h 10000"/>
              <a:gd name="connsiteX140" fmla="*/ 843 w 10000"/>
              <a:gd name="connsiteY140" fmla="*/ 27 h 10000"/>
              <a:gd name="connsiteX141" fmla="*/ 588 w 10000"/>
              <a:gd name="connsiteY141" fmla="*/ 11 h 10000"/>
              <a:gd name="connsiteX142" fmla="*/ 333 w 10000"/>
              <a:gd name="connsiteY142" fmla="*/ 5 h 10000"/>
              <a:gd name="connsiteX143" fmla="*/ 78 w 10000"/>
              <a:gd name="connsiteY143" fmla="*/ 0 h 10000"/>
              <a:gd name="connsiteX144" fmla="*/ 0 w 10000"/>
              <a:gd name="connsiteY144" fmla="*/ 5 h 10000"/>
              <a:gd name="connsiteX145" fmla="*/ 1245 w 10000"/>
              <a:gd name="connsiteY145" fmla="*/ 2475 h 10000"/>
              <a:gd name="connsiteX146" fmla="*/ 26 w 10000"/>
              <a:gd name="connsiteY146" fmla="*/ 4768 h 10000"/>
              <a:gd name="connsiteX0" fmla="*/ 26 w 10000"/>
              <a:gd name="connsiteY0" fmla="*/ 4768 h 10000"/>
              <a:gd name="connsiteX1" fmla="*/ 59 w 10000"/>
              <a:gd name="connsiteY1" fmla="*/ 4762 h 10000"/>
              <a:gd name="connsiteX2" fmla="*/ 163 w 10000"/>
              <a:gd name="connsiteY2" fmla="*/ 4762 h 10000"/>
              <a:gd name="connsiteX3" fmla="*/ 268 w 10000"/>
              <a:gd name="connsiteY3" fmla="*/ 4768 h 10000"/>
              <a:gd name="connsiteX4" fmla="*/ 373 w 10000"/>
              <a:gd name="connsiteY4" fmla="*/ 4773 h 10000"/>
              <a:gd name="connsiteX5" fmla="*/ 477 w 10000"/>
              <a:gd name="connsiteY5" fmla="*/ 4778 h 10000"/>
              <a:gd name="connsiteX6" fmla="*/ 582 w 10000"/>
              <a:gd name="connsiteY6" fmla="*/ 4794 h 10000"/>
              <a:gd name="connsiteX7" fmla="*/ 686 w 10000"/>
              <a:gd name="connsiteY7" fmla="*/ 4805 h 10000"/>
              <a:gd name="connsiteX8" fmla="*/ 784 w 10000"/>
              <a:gd name="connsiteY8" fmla="*/ 4816 h 10000"/>
              <a:gd name="connsiteX9" fmla="*/ 882 w 10000"/>
              <a:gd name="connsiteY9" fmla="*/ 4832 h 10000"/>
              <a:gd name="connsiteX10" fmla="*/ 987 w 10000"/>
              <a:gd name="connsiteY10" fmla="*/ 4848 h 10000"/>
              <a:gd name="connsiteX11" fmla="*/ 1085 w 10000"/>
              <a:gd name="connsiteY11" fmla="*/ 4869 h 10000"/>
              <a:gd name="connsiteX12" fmla="*/ 1183 w 10000"/>
              <a:gd name="connsiteY12" fmla="*/ 4890 h 10000"/>
              <a:gd name="connsiteX13" fmla="*/ 1281 w 10000"/>
              <a:gd name="connsiteY13" fmla="*/ 4912 h 10000"/>
              <a:gd name="connsiteX14" fmla="*/ 1373 w 10000"/>
              <a:gd name="connsiteY14" fmla="*/ 4939 h 10000"/>
              <a:gd name="connsiteX15" fmla="*/ 1471 w 10000"/>
              <a:gd name="connsiteY15" fmla="*/ 4965 h 10000"/>
              <a:gd name="connsiteX16" fmla="*/ 1562 w 10000"/>
              <a:gd name="connsiteY16" fmla="*/ 4997 h 10000"/>
              <a:gd name="connsiteX17" fmla="*/ 1654 w 10000"/>
              <a:gd name="connsiteY17" fmla="*/ 5029 h 10000"/>
              <a:gd name="connsiteX18" fmla="*/ 1745 w 10000"/>
              <a:gd name="connsiteY18" fmla="*/ 5061 h 10000"/>
              <a:gd name="connsiteX19" fmla="*/ 1837 w 10000"/>
              <a:gd name="connsiteY19" fmla="*/ 5094 h 10000"/>
              <a:gd name="connsiteX20" fmla="*/ 1928 w 10000"/>
              <a:gd name="connsiteY20" fmla="*/ 5131 h 10000"/>
              <a:gd name="connsiteX21" fmla="*/ 2020 w 10000"/>
              <a:gd name="connsiteY21" fmla="*/ 5168 h 10000"/>
              <a:gd name="connsiteX22" fmla="*/ 2105 w 10000"/>
              <a:gd name="connsiteY22" fmla="*/ 5211 h 10000"/>
              <a:gd name="connsiteX23" fmla="*/ 2190 w 10000"/>
              <a:gd name="connsiteY23" fmla="*/ 5249 h 10000"/>
              <a:gd name="connsiteX24" fmla="*/ 2275 w 10000"/>
              <a:gd name="connsiteY24" fmla="*/ 5291 h 10000"/>
              <a:gd name="connsiteX25" fmla="*/ 2353 w 10000"/>
              <a:gd name="connsiteY25" fmla="*/ 5334 h 10000"/>
              <a:gd name="connsiteX26" fmla="*/ 2438 w 10000"/>
              <a:gd name="connsiteY26" fmla="*/ 5382 h 10000"/>
              <a:gd name="connsiteX27" fmla="*/ 2516 w 10000"/>
              <a:gd name="connsiteY27" fmla="*/ 5430 h 10000"/>
              <a:gd name="connsiteX28" fmla="*/ 2595 w 10000"/>
              <a:gd name="connsiteY28" fmla="*/ 5478 h 10000"/>
              <a:gd name="connsiteX29" fmla="*/ 2673 w 10000"/>
              <a:gd name="connsiteY29" fmla="*/ 5526 h 10000"/>
              <a:gd name="connsiteX30" fmla="*/ 2752 w 10000"/>
              <a:gd name="connsiteY30" fmla="*/ 5580 h 10000"/>
              <a:gd name="connsiteX31" fmla="*/ 2824 w 10000"/>
              <a:gd name="connsiteY31" fmla="*/ 5633 h 10000"/>
              <a:gd name="connsiteX32" fmla="*/ 2895 w 10000"/>
              <a:gd name="connsiteY32" fmla="*/ 5687 h 10000"/>
              <a:gd name="connsiteX33" fmla="*/ 2967 w 10000"/>
              <a:gd name="connsiteY33" fmla="*/ 5746 h 10000"/>
              <a:gd name="connsiteX34" fmla="*/ 3033 w 10000"/>
              <a:gd name="connsiteY34" fmla="*/ 5804 h 10000"/>
              <a:gd name="connsiteX35" fmla="*/ 3105 w 10000"/>
              <a:gd name="connsiteY35" fmla="*/ 5863 h 10000"/>
              <a:gd name="connsiteX36" fmla="*/ 3170 w 10000"/>
              <a:gd name="connsiteY36" fmla="*/ 5922 h 10000"/>
              <a:gd name="connsiteX37" fmla="*/ 3229 w 10000"/>
              <a:gd name="connsiteY37" fmla="*/ 5986 h 10000"/>
              <a:gd name="connsiteX38" fmla="*/ 3294 w 10000"/>
              <a:gd name="connsiteY38" fmla="*/ 6045 h 10000"/>
              <a:gd name="connsiteX39" fmla="*/ 3353 w 10000"/>
              <a:gd name="connsiteY39" fmla="*/ 6109 h 10000"/>
              <a:gd name="connsiteX40" fmla="*/ 3412 w 10000"/>
              <a:gd name="connsiteY40" fmla="*/ 6173 h 10000"/>
              <a:gd name="connsiteX41" fmla="*/ 3471 w 10000"/>
              <a:gd name="connsiteY41" fmla="*/ 6237 h 10000"/>
              <a:gd name="connsiteX42" fmla="*/ 3523 w 10000"/>
              <a:gd name="connsiteY42" fmla="*/ 6307 h 10000"/>
              <a:gd name="connsiteX43" fmla="*/ 3575 w 10000"/>
              <a:gd name="connsiteY43" fmla="*/ 6376 h 10000"/>
              <a:gd name="connsiteX44" fmla="*/ 3627 w 10000"/>
              <a:gd name="connsiteY44" fmla="*/ 6446 h 10000"/>
              <a:gd name="connsiteX45" fmla="*/ 3680 w 10000"/>
              <a:gd name="connsiteY45" fmla="*/ 6515 h 10000"/>
              <a:gd name="connsiteX46" fmla="*/ 3719 w 10000"/>
              <a:gd name="connsiteY46" fmla="*/ 6590 h 10000"/>
              <a:gd name="connsiteX47" fmla="*/ 3771 w 10000"/>
              <a:gd name="connsiteY47" fmla="*/ 6665 h 10000"/>
              <a:gd name="connsiteX48" fmla="*/ 3810 w 10000"/>
              <a:gd name="connsiteY48" fmla="*/ 6734 h 10000"/>
              <a:gd name="connsiteX49" fmla="*/ 3850 w 10000"/>
              <a:gd name="connsiteY49" fmla="*/ 6809 h 10000"/>
              <a:gd name="connsiteX50" fmla="*/ 3889 w 10000"/>
              <a:gd name="connsiteY50" fmla="*/ 6884 h 10000"/>
              <a:gd name="connsiteX51" fmla="*/ 3922 w 10000"/>
              <a:gd name="connsiteY51" fmla="*/ 6959 h 10000"/>
              <a:gd name="connsiteX52" fmla="*/ 3954 w 10000"/>
              <a:gd name="connsiteY52" fmla="*/ 7039 h 10000"/>
              <a:gd name="connsiteX53" fmla="*/ 3987 w 10000"/>
              <a:gd name="connsiteY53" fmla="*/ 7119 h 10000"/>
              <a:gd name="connsiteX54" fmla="*/ 4020 w 10000"/>
              <a:gd name="connsiteY54" fmla="*/ 7194 h 10000"/>
              <a:gd name="connsiteX55" fmla="*/ 4046 w 10000"/>
              <a:gd name="connsiteY55" fmla="*/ 7274 h 10000"/>
              <a:gd name="connsiteX56" fmla="*/ 4065 w 10000"/>
              <a:gd name="connsiteY56" fmla="*/ 7354 h 10000"/>
              <a:gd name="connsiteX57" fmla="*/ 4092 w 10000"/>
              <a:gd name="connsiteY57" fmla="*/ 7440 h 10000"/>
              <a:gd name="connsiteX58" fmla="*/ 4111 w 10000"/>
              <a:gd name="connsiteY58" fmla="*/ 7520 h 10000"/>
              <a:gd name="connsiteX59" fmla="*/ 4131 w 10000"/>
              <a:gd name="connsiteY59" fmla="*/ 7600 h 10000"/>
              <a:gd name="connsiteX60" fmla="*/ 4144 w 10000"/>
              <a:gd name="connsiteY60" fmla="*/ 7686 h 10000"/>
              <a:gd name="connsiteX61" fmla="*/ 4157 w 10000"/>
              <a:gd name="connsiteY61" fmla="*/ 7771 h 10000"/>
              <a:gd name="connsiteX62" fmla="*/ 4163 w 10000"/>
              <a:gd name="connsiteY62" fmla="*/ 7857 h 10000"/>
              <a:gd name="connsiteX63" fmla="*/ 4170 w 10000"/>
              <a:gd name="connsiteY63" fmla="*/ 7942 h 10000"/>
              <a:gd name="connsiteX64" fmla="*/ 4170 w 10000"/>
              <a:gd name="connsiteY64" fmla="*/ 8028 h 10000"/>
              <a:gd name="connsiteX65" fmla="*/ 4176 w 10000"/>
              <a:gd name="connsiteY65" fmla="*/ 8113 h 10000"/>
              <a:gd name="connsiteX66" fmla="*/ 4170 w 10000"/>
              <a:gd name="connsiteY66" fmla="*/ 8226 h 10000"/>
              <a:gd name="connsiteX67" fmla="*/ 4163 w 10000"/>
              <a:gd name="connsiteY67" fmla="*/ 8343 h 10000"/>
              <a:gd name="connsiteX68" fmla="*/ 4157 w 10000"/>
              <a:gd name="connsiteY68" fmla="*/ 8450 h 10000"/>
              <a:gd name="connsiteX69" fmla="*/ 4137 w 10000"/>
              <a:gd name="connsiteY69" fmla="*/ 8562 h 10000"/>
              <a:gd name="connsiteX70" fmla="*/ 6739 w 10000"/>
              <a:gd name="connsiteY70" fmla="*/ 10000 h 10000"/>
              <a:gd name="connsiteX71" fmla="*/ 9850 w 10000"/>
              <a:gd name="connsiteY71" fmla="*/ 9498 h 10000"/>
              <a:gd name="connsiteX72" fmla="*/ 9889 w 10000"/>
              <a:gd name="connsiteY72" fmla="*/ 9332 h 10000"/>
              <a:gd name="connsiteX73" fmla="*/ 9915 w 10000"/>
              <a:gd name="connsiteY73" fmla="*/ 9161 h 10000"/>
              <a:gd name="connsiteX74" fmla="*/ 9941 w 10000"/>
              <a:gd name="connsiteY74" fmla="*/ 8990 h 10000"/>
              <a:gd name="connsiteX75" fmla="*/ 9961 w 10000"/>
              <a:gd name="connsiteY75" fmla="*/ 8813 h 10000"/>
              <a:gd name="connsiteX76" fmla="*/ 9974 w 10000"/>
              <a:gd name="connsiteY76" fmla="*/ 8637 h 10000"/>
              <a:gd name="connsiteX77" fmla="*/ 9987 w 10000"/>
              <a:gd name="connsiteY77" fmla="*/ 8466 h 10000"/>
              <a:gd name="connsiteX78" fmla="*/ 9993 w 10000"/>
              <a:gd name="connsiteY78" fmla="*/ 8290 h 10000"/>
              <a:gd name="connsiteX79" fmla="*/ 10000 w 10000"/>
              <a:gd name="connsiteY79" fmla="*/ 8113 h 10000"/>
              <a:gd name="connsiteX80" fmla="*/ 9993 w 10000"/>
              <a:gd name="connsiteY80" fmla="*/ 7900 h 10000"/>
              <a:gd name="connsiteX81" fmla="*/ 9987 w 10000"/>
              <a:gd name="connsiteY81" fmla="*/ 7696 h 10000"/>
              <a:gd name="connsiteX82" fmla="*/ 9967 w 10000"/>
              <a:gd name="connsiteY82" fmla="*/ 7488 h 10000"/>
              <a:gd name="connsiteX83" fmla="*/ 9948 w 10000"/>
              <a:gd name="connsiteY83" fmla="*/ 7285 h 10000"/>
              <a:gd name="connsiteX84" fmla="*/ 9915 w 10000"/>
              <a:gd name="connsiteY84" fmla="*/ 7076 h 10000"/>
              <a:gd name="connsiteX85" fmla="*/ 9882 w 10000"/>
              <a:gd name="connsiteY85" fmla="*/ 6879 h 10000"/>
              <a:gd name="connsiteX86" fmla="*/ 9843 w 10000"/>
              <a:gd name="connsiteY86" fmla="*/ 6676 h 10000"/>
              <a:gd name="connsiteX87" fmla="*/ 9797 w 10000"/>
              <a:gd name="connsiteY87" fmla="*/ 6478 h 10000"/>
              <a:gd name="connsiteX88" fmla="*/ 9745 w 10000"/>
              <a:gd name="connsiteY88" fmla="*/ 6280 h 10000"/>
              <a:gd name="connsiteX89" fmla="*/ 9686 w 10000"/>
              <a:gd name="connsiteY89" fmla="*/ 6088 h 10000"/>
              <a:gd name="connsiteX90" fmla="*/ 9621 w 10000"/>
              <a:gd name="connsiteY90" fmla="*/ 5890 h 10000"/>
              <a:gd name="connsiteX91" fmla="*/ 9556 w 10000"/>
              <a:gd name="connsiteY91" fmla="*/ 5697 h 10000"/>
              <a:gd name="connsiteX92" fmla="*/ 9477 w 10000"/>
              <a:gd name="connsiteY92" fmla="*/ 5510 h 10000"/>
              <a:gd name="connsiteX93" fmla="*/ 9399 w 10000"/>
              <a:gd name="connsiteY93" fmla="*/ 5323 h 10000"/>
              <a:gd name="connsiteX94" fmla="*/ 9307 w 10000"/>
              <a:gd name="connsiteY94" fmla="*/ 5136 h 10000"/>
              <a:gd name="connsiteX95" fmla="*/ 9216 w 10000"/>
              <a:gd name="connsiteY95" fmla="*/ 4955 h 10000"/>
              <a:gd name="connsiteX96" fmla="*/ 9124 w 10000"/>
              <a:gd name="connsiteY96" fmla="*/ 4773 h 10000"/>
              <a:gd name="connsiteX97" fmla="*/ 9020 w 10000"/>
              <a:gd name="connsiteY97" fmla="*/ 4596 h 10000"/>
              <a:gd name="connsiteX98" fmla="*/ 8915 w 10000"/>
              <a:gd name="connsiteY98" fmla="*/ 4420 h 10000"/>
              <a:gd name="connsiteX99" fmla="*/ 8804 w 10000"/>
              <a:gd name="connsiteY99" fmla="*/ 4244 h 10000"/>
              <a:gd name="connsiteX100" fmla="*/ 8686 w 10000"/>
              <a:gd name="connsiteY100" fmla="*/ 4073 h 10000"/>
              <a:gd name="connsiteX101" fmla="*/ 8562 w 10000"/>
              <a:gd name="connsiteY101" fmla="*/ 3907 h 10000"/>
              <a:gd name="connsiteX102" fmla="*/ 8438 w 10000"/>
              <a:gd name="connsiteY102" fmla="*/ 3741 h 10000"/>
              <a:gd name="connsiteX103" fmla="*/ 8307 w 10000"/>
              <a:gd name="connsiteY103" fmla="*/ 3576 h 10000"/>
              <a:gd name="connsiteX104" fmla="*/ 8170 w 10000"/>
              <a:gd name="connsiteY104" fmla="*/ 3415 h 10000"/>
              <a:gd name="connsiteX105" fmla="*/ 8026 w 10000"/>
              <a:gd name="connsiteY105" fmla="*/ 3260 h 10000"/>
              <a:gd name="connsiteX106" fmla="*/ 7882 w 10000"/>
              <a:gd name="connsiteY106" fmla="*/ 3105 h 10000"/>
              <a:gd name="connsiteX107" fmla="*/ 7732 w 10000"/>
              <a:gd name="connsiteY107" fmla="*/ 2950 h 10000"/>
              <a:gd name="connsiteX108" fmla="*/ 7582 w 10000"/>
              <a:gd name="connsiteY108" fmla="*/ 2806 h 10000"/>
              <a:gd name="connsiteX109" fmla="*/ 7418 w 10000"/>
              <a:gd name="connsiteY109" fmla="*/ 2662 h 10000"/>
              <a:gd name="connsiteX110" fmla="*/ 7261 w 10000"/>
              <a:gd name="connsiteY110" fmla="*/ 2517 h 10000"/>
              <a:gd name="connsiteX111" fmla="*/ 7092 w 10000"/>
              <a:gd name="connsiteY111" fmla="*/ 2373 h 10000"/>
              <a:gd name="connsiteX112" fmla="*/ 6922 w 10000"/>
              <a:gd name="connsiteY112" fmla="*/ 2239 h 10000"/>
              <a:gd name="connsiteX113" fmla="*/ 6752 w 10000"/>
              <a:gd name="connsiteY113" fmla="*/ 2106 h 10000"/>
              <a:gd name="connsiteX114" fmla="*/ 6569 w 10000"/>
              <a:gd name="connsiteY114" fmla="*/ 1978 h 10000"/>
              <a:gd name="connsiteX115" fmla="*/ 6386 w 10000"/>
              <a:gd name="connsiteY115" fmla="*/ 1855 h 10000"/>
              <a:gd name="connsiteX116" fmla="*/ 6203 w 10000"/>
              <a:gd name="connsiteY116" fmla="*/ 1732 h 10000"/>
              <a:gd name="connsiteX117" fmla="*/ 6013 w 10000"/>
              <a:gd name="connsiteY117" fmla="*/ 1614 h 10000"/>
              <a:gd name="connsiteX118" fmla="*/ 5817 w 10000"/>
              <a:gd name="connsiteY118" fmla="*/ 1497 h 10000"/>
              <a:gd name="connsiteX119" fmla="*/ 5621 w 10000"/>
              <a:gd name="connsiteY119" fmla="*/ 1384 h 10000"/>
              <a:gd name="connsiteX120" fmla="*/ 5425 w 10000"/>
              <a:gd name="connsiteY120" fmla="*/ 1277 h 10000"/>
              <a:gd name="connsiteX121" fmla="*/ 5222 w 10000"/>
              <a:gd name="connsiteY121" fmla="*/ 1176 h 10000"/>
              <a:gd name="connsiteX122" fmla="*/ 5020 w 10000"/>
              <a:gd name="connsiteY122" fmla="*/ 1074 h 10000"/>
              <a:gd name="connsiteX123" fmla="*/ 4804 w 10000"/>
              <a:gd name="connsiteY123" fmla="*/ 978 h 10000"/>
              <a:gd name="connsiteX124" fmla="*/ 4595 w 10000"/>
              <a:gd name="connsiteY124" fmla="*/ 887 h 10000"/>
              <a:gd name="connsiteX125" fmla="*/ 4379 w 10000"/>
              <a:gd name="connsiteY125" fmla="*/ 802 h 10000"/>
              <a:gd name="connsiteX126" fmla="*/ 4157 w 10000"/>
              <a:gd name="connsiteY126" fmla="*/ 716 h 10000"/>
              <a:gd name="connsiteX127" fmla="*/ 3941 w 10000"/>
              <a:gd name="connsiteY127" fmla="*/ 636 h 10000"/>
              <a:gd name="connsiteX128" fmla="*/ 3719 w 10000"/>
              <a:gd name="connsiteY128" fmla="*/ 567 h 10000"/>
              <a:gd name="connsiteX129" fmla="*/ 3490 w 10000"/>
              <a:gd name="connsiteY129" fmla="*/ 492 h 10000"/>
              <a:gd name="connsiteX130" fmla="*/ 3261 w 10000"/>
              <a:gd name="connsiteY130" fmla="*/ 428 h 10000"/>
              <a:gd name="connsiteX131" fmla="*/ 3026 w 10000"/>
              <a:gd name="connsiteY131" fmla="*/ 363 h 10000"/>
              <a:gd name="connsiteX132" fmla="*/ 2797 w 10000"/>
              <a:gd name="connsiteY132" fmla="*/ 310 h 10000"/>
              <a:gd name="connsiteX133" fmla="*/ 2556 w 10000"/>
              <a:gd name="connsiteY133" fmla="*/ 257 h 10000"/>
              <a:gd name="connsiteX134" fmla="*/ 2314 w 10000"/>
              <a:gd name="connsiteY134" fmla="*/ 208 h 10000"/>
              <a:gd name="connsiteX135" fmla="*/ 2078 w 10000"/>
              <a:gd name="connsiteY135" fmla="*/ 166 h 10000"/>
              <a:gd name="connsiteX136" fmla="*/ 1837 w 10000"/>
              <a:gd name="connsiteY136" fmla="*/ 128 h 10000"/>
              <a:gd name="connsiteX137" fmla="*/ 1588 w 10000"/>
              <a:gd name="connsiteY137" fmla="*/ 91 h 10000"/>
              <a:gd name="connsiteX138" fmla="*/ 1340 w 10000"/>
              <a:gd name="connsiteY138" fmla="*/ 64 h 10000"/>
              <a:gd name="connsiteX139" fmla="*/ 1092 w 10000"/>
              <a:gd name="connsiteY139" fmla="*/ 43 h 10000"/>
              <a:gd name="connsiteX140" fmla="*/ 843 w 10000"/>
              <a:gd name="connsiteY140" fmla="*/ 27 h 10000"/>
              <a:gd name="connsiteX141" fmla="*/ 588 w 10000"/>
              <a:gd name="connsiteY141" fmla="*/ 11 h 10000"/>
              <a:gd name="connsiteX142" fmla="*/ 333 w 10000"/>
              <a:gd name="connsiteY142" fmla="*/ 5 h 10000"/>
              <a:gd name="connsiteX143" fmla="*/ 78 w 10000"/>
              <a:gd name="connsiteY143" fmla="*/ 0 h 10000"/>
              <a:gd name="connsiteX144" fmla="*/ 0 w 10000"/>
              <a:gd name="connsiteY144" fmla="*/ 5 h 10000"/>
              <a:gd name="connsiteX145" fmla="*/ 1245 w 10000"/>
              <a:gd name="connsiteY145" fmla="*/ 2443 h 10000"/>
              <a:gd name="connsiteX146" fmla="*/ 26 w 10000"/>
              <a:gd name="connsiteY146" fmla="*/ 4768 h 10000"/>
              <a:gd name="connsiteX0" fmla="*/ 26 w 10000"/>
              <a:gd name="connsiteY0" fmla="*/ 4768 h 10000"/>
              <a:gd name="connsiteX1" fmla="*/ 59 w 10000"/>
              <a:gd name="connsiteY1" fmla="*/ 4762 h 10000"/>
              <a:gd name="connsiteX2" fmla="*/ 163 w 10000"/>
              <a:gd name="connsiteY2" fmla="*/ 4762 h 10000"/>
              <a:gd name="connsiteX3" fmla="*/ 268 w 10000"/>
              <a:gd name="connsiteY3" fmla="*/ 4768 h 10000"/>
              <a:gd name="connsiteX4" fmla="*/ 373 w 10000"/>
              <a:gd name="connsiteY4" fmla="*/ 4773 h 10000"/>
              <a:gd name="connsiteX5" fmla="*/ 477 w 10000"/>
              <a:gd name="connsiteY5" fmla="*/ 4778 h 10000"/>
              <a:gd name="connsiteX6" fmla="*/ 582 w 10000"/>
              <a:gd name="connsiteY6" fmla="*/ 4794 h 10000"/>
              <a:gd name="connsiteX7" fmla="*/ 686 w 10000"/>
              <a:gd name="connsiteY7" fmla="*/ 4805 h 10000"/>
              <a:gd name="connsiteX8" fmla="*/ 784 w 10000"/>
              <a:gd name="connsiteY8" fmla="*/ 4816 h 10000"/>
              <a:gd name="connsiteX9" fmla="*/ 882 w 10000"/>
              <a:gd name="connsiteY9" fmla="*/ 4832 h 10000"/>
              <a:gd name="connsiteX10" fmla="*/ 987 w 10000"/>
              <a:gd name="connsiteY10" fmla="*/ 4848 h 10000"/>
              <a:gd name="connsiteX11" fmla="*/ 1085 w 10000"/>
              <a:gd name="connsiteY11" fmla="*/ 4869 h 10000"/>
              <a:gd name="connsiteX12" fmla="*/ 1183 w 10000"/>
              <a:gd name="connsiteY12" fmla="*/ 4890 h 10000"/>
              <a:gd name="connsiteX13" fmla="*/ 1281 w 10000"/>
              <a:gd name="connsiteY13" fmla="*/ 4912 h 10000"/>
              <a:gd name="connsiteX14" fmla="*/ 1373 w 10000"/>
              <a:gd name="connsiteY14" fmla="*/ 4939 h 10000"/>
              <a:gd name="connsiteX15" fmla="*/ 1471 w 10000"/>
              <a:gd name="connsiteY15" fmla="*/ 4965 h 10000"/>
              <a:gd name="connsiteX16" fmla="*/ 1562 w 10000"/>
              <a:gd name="connsiteY16" fmla="*/ 4997 h 10000"/>
              <a:gd name="connsiteX17" fmla="*/ 1654 w 10000"/>
              <a:gd name="connsiteY17" fmla="*/ 5029 h 10000"/>
              <a:gd name="connsiteX18" fmla="*/ 1745 w 10000"/>
              <a:gd name="connsiteY18" fmla="*/ 5061 h 10000"/>
              <a:gd name="connsiteX19" fmla="*/ 1837 w 10000"/>
              <a:gd name="connsiteY19" fmla="*/ 5094 h 10000"/>
              <a:gd name="connsiteX20" fmla="*/ 1928 w 10000"/>
              <a:gd name="connsiteY20" fmla="*/ 5131 h 10000"/>
              <a:gd name="connsiteX21" fmla="*/ 2020 w 10000"/>
              <a:gd name="connsiteY21" fmla="*/ 5168 h 10000"/>
              <a:gd name="connsiteX22" fmla="*/ 2105 w 10000"/>
              <a:gd name="connsiteY22" fmla="*/ 5211 h 10000"/>
              <a:gd name="connsiteX23" fmla="*/ 2190 w 10000"/>
              <a:gd name="connsiteY23" fmla="*/ 5249 h 10000"/>
              <a:gd name="connsiteX24" fmla="*/ 2275 w 10000"/>
              <a:gd name="connsiteY24" fmla="*/ 5291 h 10000"/>
              <a:gd name="connsiteX25" fmla="*/ 2353 w 10000"/>
              <a:gd name="connsiteY25" fmla="*/ 5334 h 10000"/>
              <a:gd name="connsiteX26" fmla="*/ 2438 w 10000"/>
              <a:gd name="connsiteY26" fmla="*/ 5382 h 10000"/>
              <a:gd name="connsiteX27" fmla="*/ 2516 w 10000"/>
              <a:gd name="connsiteY27" fmla="*/ 5430 h 10000"/>
              <a:gd name="connsiteX28" fmla="*/ 2595 w 10000"/>
              <a:gd name="connsiteY28" fmla="*/ 5478 h 10000"/>
              <a:gd name="connsiteX29" fmla="*/ 2673 w 10000"/>
              <a:gd name="connsiteY29" fmla="*/ 5526 h 10000"/>
              <a:gd name="connsiteX30" fmla="*/ 2752 w 10000"/>
              <a:gd name="connsiteY30" fmla="*/ 5580 h 10000"/>
              <a:gd name="connsiteX31" fmla="*/ 2824 w 10000"/>
              <a:gd name="connsiteY31" fmla="*/ 5633 h 10000"/>
              <a:gd name="connsiteX32" fmla="*/ 2895 w 10000"/>
              <a:gd name="connsiteY32" fmla="*/ 5687 h 10000"/>
              <a:gd name="connsiteX33" fmla="*/ 2967 w 10000"/>
              <a:gd name="connsiteY33" fmla="*/ 5746 h 10000"/>
              <a:gd name="connsiteX34" fmla="*/ 3033 w 10000"/>
              <a:gd name="connsiteY34" fmla="*/ 5804 h 10000"/>
              <a:gd name="connsiteX35" fmla="*/ 3105 w 10000"/>
              <a:gd name="connsiteY35" fmla="*/ 5863 h 10000"/>
              <a:gd name="connsiteX36" fmla="*/ 3170 w 10000"/>
              <a:gd name="connsiteY36" fmla="*/ 5922 h 10000"/>
              <a:gd name="connsiteX37" fmla="*/ 3229 w 10000"/>
              <a:gd name="connsiteY37" fmla="*/ 5986 h 10000"/>
              <a:gd name="connsiteX38" fmla="*/ 3294 w 10000"/>
              <a:gd name="connsiteY38" fmla="*/ 6045 h 10000"/>
              <a:gd name="connsiteX39" fmla="*/ 3353 w 10000"/>
              <a:gd name="connsiteY39" fmla="*/ 6109 h 10000"/>
              <a:gd name="connsiteX40" fmla="*/ 3412 w 10000"/>
              <a:gd name="connsiteY40" fmla="*/ 6173 h 10000"/>
              <a:gd name="connsiteX41" fmla="*/ 3471 w 10000"/>
              <a:gd name="connsiteY41" fmla="*/ 6237 h 10000"/>
              <a:gd name="connsiteX42" fmla="*/ 3523 w 10000"/>
              <a:gd name="connsiteY42" fmla="*/ 6307 h 10000"/>
              <a:gd name="connsiteX43" fmla="*/ 3575 w 10000"/>
              <a:gd name="connsiteY43" fmla="*/ 6376 h 10000"/>
              <a:gd name="connsiteX44" fmla="*/ 3627 w 10000"/>
              <a:gd name="connsiteY44" fmla="*/ 6446 h 10000"/>
              <a:gd name="connsiteX45" fmla="*/ 3680 w 10000"/>
              <a:gd name="connsiteY45" fmla="*/ 6515 h 10000"/>
              <a:gd name="connsiteX46" fmla="*/ 3719 w 10000"/>
              <a:gd name="connsiteY46" fmla="*/ 6590 h 10000"/>
              <a:gd name="connsiteX47" fmla="*/ 3771 w 10000"/>
              <a:gd name="connsiteY47" fmla="*/ 6665 h 10000"/>
              <a:gd name="connsiteX48" fmla="*/ 3810 w 10000"/>
              <a:gd name="connsiteY48" fmla="*/ 6734 h 10000"/>
              <a:gd name="connsiteX49" fmla="*/ 3850 w 10000"/>
              <a:gd name="connsiteY49" fmla="*/ 6809 h 10000"/>
              <a:gd name="connsiteX50" fmla="*/ 3889 w 10000"/>
              <a:gd name="connsiteY50" fmla="*/ 6884 h 10000"/>
              <a:gd name="connsiteX51" fmla="*/ 3922 w 10000"/>
              <a:gd name="connsiteY51" fmla="*/ 6959 h 10000"/>
              <a:gd name="connsiteX52" fmla="*/ 3954 w 10000"/>
              <a:gd name="connsiteY52" fmla="*/ 7039 h 10000"/>
              <a:gd name="connsiteX53" fmla="*/ 3987 w 10000"/>
              <a:gd name="connsiteY53" fmla="*/ 7119 h 10000"/>
              <a:gd name="connsiteX54" fmla="*/ 4020 w 10000"/>
              <a:gd name="connsiteY54" fmla="*/ 7194 h 10000"/>
              <a:gd name="connsiteX55" fmla="*/ 4046 w 10000"/>
              <a:gd name="connsiteY55" fmla="*/ 7274 h 10000"/>
              <a:gd name="connsiteX56" fmla="*/ 4065 w 10000"/>
              <a:gd name="connsiteY56" fmla="*/ 7354 h 10000"/>
              <a:gd name="connsiteX57" fmla="*/ 4092 w 10000"/>
              <a:gd name="connsiteY57" fmla="*/ 7440 h 10000"/>
              <a:gd name="connsiteX58" fmla="*/ 4111 w 10000"/>
              <a:gd name="connsiteY58" fmla="*/ 7520 h 10000"/>
              <a:gd name="connsiteX59" fmla="*/ 4131 w 10000"/>
              <a:gd name="connsiteY59" fmla="*/ 7600 h 10000"/>
              <a:gd name="connsiteX60" fmla="*/ 4144 w 10000"/>
              <a:gd name="connsiteY60" fmla="*/ 7686 h 10000"/>
              <a:gd name="connsiteX61" fmla="*/ 4157 w 10000"/>
              <a:gd name="connsiteY61" fmla="*/ 7771 h 10000"/>
              <a:gd name="connsiteX62" fmla="*/ 4163 w 10000"/>
              <a:gd name="connsiteY62" fmla="*/ 7857 h 10000"/>
              <a:gd name="connsiteX63" fmla="*/ 4170 w 10000"/>
              <a:gd name="connsiteY63" fmla="*/ 7942 h 10000"/>
              <a:gd name="connsiteX64" fmla="*/ 4170 w 10000"/>
              <a:gd name="connsiteY64" fmla="*/ 8028 h 10000"/>
              <a:gd name="connsiteX65" fmla="*/ 4176 w 10000"/>
              <a:gd name="connsiteY65" fmla="*/ 8113 h 10000"/>
              <a:gd name="connsiteX66" fmla="*/ 4170 w 10000"/>
              <a:gd name="connsiteY66" fmla="*/ 8226 h 10000"/>
              <a:gd name="connsiteX67" fmla="*/ 4163 w 10000"/>
              <a:gd name="connsiteY67" fmla="*/ 8343 h 10000"/>
              <a:gd name="connsiteX68" fmla="*/ 4157 w 10000"/>
              <a:gd name="connsiteY68" fmla="*/ 8450 h 10000"/>
              <a:gd name="connsiteX69" fmla="*/ 4137 w 10000"/>
              <a:gd name="connsiteY69" fmla="*/ 8562 h 10000"/>
              <a:gd name="connsiteX70" fmla="*/ 6739 w 10000"/>
              <a:gd name="connsiteY70" fmla="*/ 10000 h 10000"/>
              <a:gd name="connsiteX71" fmla="*/ 9850 w 10000"/>
              <a:gd name="connsiteY71" fmla="*/ 9498 h 10000"/>
              <a:gd name="connsiteX72" fmla="*/ 9889 w 10000"/>
              <a:gd name="connsiteY72" fmla="*/ 9332 h 10000"/>
              <a:gd name="connsiteX73" fmla="*/ 9915 w 10000"/>
              <a:gd name="connsiteY73" fmla="*/ 9161 h 10000"/>
              <a:gd name="connsiteX74" fmla="*/ 9941 w 10000"/>
              <a:gd name="connsiteY74" fmla="*/ 8990 h 10000"/>
              <a:gd name="connsiteX75" fmla="*/ 9961 w 10000"/>
              <a:gd name="connsiteY75" fmla="*/ 8813 h 10000"/>
              <a:gd name="connsiteX76" fmla="*/ 9974 w 10000"/>
              <a:gd name="connsiteY76" fmla="*/ 8637 h 10000"/>
              <a:gd name="connsiteX77" fmla="*/ 9987 w 10000"/>
              <a:gd name="connsiteY77" fmla="*/ 8466 h 10000"/>
              <a:gd name="connsiteX78" fmla="*/ 9993 w 10000"/>
              <a:gd name="connsiteY78" fmla="*/ 8290 h 10000"/>
              <a:gd name="connsiteX79" fmla="*/ 10000 w 10000"/>
              <a:gd name="connsiteY79" fmla="*/ 8113 h 10000"/>
              <a:gd name="connsiteX80" fmla="*/ 9993 w 10000"/>
              <a:gd name="connsiteY80" fmla="*/ 7900 h 10000"/>
              <a:gd name="connsiteX81" fmla="*/ 9987 w 10000"/>
              <a:gd name="connsiteY81" fmla="*/ 7696 h 10000"/>
              <a:gd name="connsiteX82" fmla="*/ 9967 w 10000"/>
              <a:gd name="connsiteY82" fmla="*/ 7488 h 10000"/>
              <a:gd name="connsiteX83" fmla="*/ 9948 w 10000"/>
              <a:gd name="connsiteY83" fmla="*/ 7285 h 10000"/>
              <a:gd name="connsiteX84" fmla="*/ 9915 w 10000"/>
              <a:gd name="connsiteY84" fmla="*/ 7076 h 10000"/>
              <a:gd name="connsiteX85" fmla="*/ 9882 w 10000"/>
              <a:gd name="connsiteY85" fmla="*/ 6879 h 10000"/>
              <a:gd name="connsiteX86" fmla="*/ 9843 w 10000"/>
              <a:gd name="connsiteY86" fmla="*/ 6676 h 10000"/>
              <a:gd name="connsiteX87" fmla="*/ 9797 w 10000"/>
              <a:gd name="connsiteY87" fmla="*/ 6478 h 10000"/>
              <a:gd name="connsiteX88" fmla="*/ 9745 w 10000"/>
              <a:gd name="connsiteY88" fmla="*/ 6280 h 10000"/>
              <a:gd name="connsiteX89" fmla="*/ 9686 w 10000"/>
              <a:gd name="connsiteY89" fmla="*/ 6088 h 10000"/>
              <a:gd name="connsiteX90" fmla="*/ 9621 w 10000"/>
              <a:gd name="connsiteY90" fmla="*/ 5890 h 10000"/>
              <a:gd name="connsiteX91" fmla="*/ 9556 w 10000"/>
              <a:gd name="connsiteY91" fmla="*/ 5697 h 10000"/>
              <a:gd name="connsiteX92" fmla="*/ 9477 w 10000"/>
              <a:gd name="connsiteY92" fmla="*/ 5510 h 10000"/>
              <a:gd name="connsiteX93" fmla="*/ 9399 w 10000"/>
              <a:gd name="connsiteY93" fmla="*/ 5323 h 10000"/>
              <a:gd name="connsiteX94" fmla="*/ 9307 w 10000"/>
              <a:gd name="connsiteY94" fmla="*/ 5136 h 10000"/>
              <a:gd name="connsiteX95" fmla="*/ 9216 w 10000"/>
              <a:gd name="connsiteY95" fmla="*/ 4955 h 10000"/>
              <a:gd name="connsiteX96" fmla="*/ 9124 w 10000"/>
              <a:gd name="connsiteY96" fmla="*/ 4773 h 10000"/>
              <a:gd name="connsiteX97" fmla="*/ 9020 w 10000"/>
              <a:gd name="connsiteY97" fmla="*/ 4596 h 10000"/>
              <a:gd name="connsiteX98" fmla="*/ 8915 w 10000"/>
              <a:gd name="connsiteY98" fmla="*/ 4420 h 10000"/>
              <a:gd name="connsiteX99" fmla="*/ 8804 w 10000"/>
              <a:gd name="connsiteY99" fmla="*/ 4244 h 10000"/>
              <a:gd name="connsiteX100" fmla="*/ 8686 w 10000"/>
              <a:gd name="connsiteY100" fmla="*/ 4073 h 10000"/>
              <a:gd name="connsiteX101" fmla="*/ 8562 w 10000"/>
              <a:gd name="connsiteY101" fmla="*/ 3907 h 10000"/>
              <a:gd name="connsiteX102" fmla="*/ 8438 w 10000"/>
              <a:gd name="connsiteY102" fmla="*/ 3741 h 10000"/>
              <a:gd name="connsiteX103" fmla="*/ 8307 w 10000"/>
              <a:gd name="connsiteY103" fmla="*/ 3576 h 10000"/>
              <a:gd name="connsiteX104" fmla="*/ 8170 w 10000"/>
              <a:gd name="connsiteY104" fmla="*/ 3415 h 10000"/>
              <a:gd name="connsiteX105" fmla="*/ 8026 w 10000"/>
              <a:gd name="connsiteY105" fmla="*/ 3260 h 10000"/>
              <a:gd name="connsiteX106" fmla="*/ 7882 w 10000"/>
              <a:gd name="connsiteY106" fmla="*/ 3105 h 10000"/>
              <a:gd name="connsiteX107" fmla="*/ 7732 w 10000"/>
              <a:gd name="connsiteY107" fmla="*/ 2950 h 10000"/>
              <a:gd name="connsiteX108" fmla="*/ 7582 w 10000"/>
              <a:gd name="connsiteY108" fmla="*/ 2806 h 10000"/>
              <a:gd name="connsiteX109" fmla="*/ 7418 w 10000"/>
              <a:gd name="connsiteY109" fmla="*/ 2662 h 10000"/>
              <a:gd name="connsiteX110" fmla="*/ 7261 w 10000"/>
              <a:gd name="connsiteY110" fmla="*/ 2517 h 10000"/>
              <a:gd name="connsiteX111" fmla="*/ 7092 w 10000"/>
              <a:gd name="connsiteY111" fmla="*/ 2373 h 10000"/>
              <a:gd name="connsiteX112" fmla="*/ 6922 w 10000"/>
              <a:gd name="connsiteY112" fmla="*/ 2239 h 10000"/>
              <a:gd name="connsiteX113" fmla="*/ 6752 w 10000"/>
              <a:gd name="connsiteY113" fmla="*/ 2106 h 10000"/>
              <a:gd name="connsiteX114" fmla="*/ 6569 w 10000"/>
              <a:gd name="connsiteY114" fmla="*/ 1978 h 10000"/>
              <a:gd name="connsiteX115" fmla="*/ 6386 w 10000"/>
              <a:gd name="connsiteY115" fmla="*/ 1855 h 10000"/>
              <a:gd name="connsiteX116" fmla="*/ 6203 w 10000"/>
              <a:gd name="connsiteY116" fmla="*/ 1732 h 10000"/>
              <a:gd name="connsiteX117" fmla="*/ 6013 w 10000"/>
              <a:gd name="connsiteY117" fmla="*/ 1614 h 10000"/>
              <a:gd name="connsiteX118" fmla="*/ 5817 w 10000"/>
              <a:gd name="connsiteY118" fmla="*/ 1497 h 10000"/>
              <a:gd name="connsiteX119" fmla="*/ 5621 w 10000"/>
              <a:gd name="connsiteY119" fmla="*/ 1384 h 10000"/>
              <a:gd name="connsiteX120" fmla="*/ 5425 w 10000"/>
              <a:gd name="connsiteY120" fmla="*/ 1277 h 10000"/>
              <a:gd name="connsiteX121" fmla="*/ 5222 w 10000"/>
              <a:gd name="connsiteY121" fmla="*/ 1176 h 10000"/>
              <a:gd name="connsiteX122" fmla="*/ 5020 w 10000"/>
              <a:gd name="connsiteY122" fmla="*/ 1074 h 10000"/>
              <a:gd name="connsiteX123" fmla="*/ 4804 w 10000"/>
              <a:gd name="connsiteY123" fmla="*/ 978 h 10000"/>
              <a:gd name="connsiteX124" fmla="*/ 4595 w 10000"/>
              <a:gd name="connsiteY124" fmla="*/ 887 h 10000"/>
              <a:gd name="connsiteX125" fmla="*/ 4379 w 10000"/>
              <a:gd name="connsiteY125" fmla="*/ 802 h 10000"/>
              <a:gd name="connsiteX126" fmla="*/ 4157 w 10000"/>
              <a:gd name="connsiteY126" fmla="*/ 716 h 10000"/>
              <a:gd name="connsiteX127" fmla="*/ 3941 w 10000"/>
              <a:gd name="connsiteY127" fmla="*/ 636 h 10000"/>
              <a:gd name="connsiteX128" fmla="*/ 3719 w 10000"/>
              <a:gd name="connsiteY128" fmla="*/ 567 h 10000"/>
              <a:gd name="connsiteX129" fmla="*/ 3490 w 10000"/>
              <a:gd name="connsiteY129" fmla="*/ 492 h 10000"/>
              <a:gd name="connsiteX130" fmla="*/ 3261 w 10000"/>
              <a:gd name="connsiteY130" fmla="*/ 428 h 10000"/>
              <a:gd name="connsiteX131" fmla="*/ 3026 w 10000"/>
              <a:gd name="connsiteY131" fmla="*/ 363 h 10000"/>
              <a:gd name="connsiteX132" fmla="*/ 2797 w 10000"/>
              <a:gd name="connsiteY132" fmla="*/ 310 h 10000"/>
              <a:gd name="connsiteX133" fmla="*/ 2556 w 10000"/>
              <a:gd name="connsiteY133" fmla="*/ 257 h 10000"/>
              <a:gd name="connsiteX134" fmla="*/ 2314 w 10000"/>
              <a:gd name="connsiteY134" fmla="*/ 208 h 10000"/>
              <a:gd name="connsiteX135" fmla="*/ 2078 w 10000"/>
              <a:gd name="connsiteY135" fmla="*/ 166 h 10000"/>
              <a:gd name="connsiteX136" fmla="*/ 1837 w 10000"/>
              <a:gd name="connsiteY136" fmla="*/ 128 h 10000"/>
              <a:gd name="connsiteX137" fmla="*/ 1588 w 10000"/>
              <a:gd name="connsiteY137" fmla="*/ 91 h 10000"/>
              <a:gd name="connsiteX138" fmla="*/ 1340 w 10000"/>
              <a:gd name="connsiteY138" fmla="*/ 64 h 10000"/>
              <a:gd name="connsiteX139" fmla="*/ 1092 w 10000"/>
              <a:gd name="connsiteY139" fmla="*/ 43 h 10000"/>
              <a:gd name="connsiteX140" fmla="*/ 843 w 10000"/>
              <a:gd name="connsiteY140" fmla="*/ 27 h 10000"/>
              <a:gd name="connsiteX141" fmla="*/ 588 w 10000"/>
              <a:gd name="connsiteY141" fmla="*/ 11 h 10000"/>
              <a:gd name="connsiteX142" fmla="*/ 333 w 10000"/>
              <a:gd name="connsiteY142" fmla="*/ 5 h 10000"/>
              <a:gd name="connsiteX143" fmla="*/ 78 w 10000"/>
              <a:gd name="connsiteY143" fmla="*/ 0 h 10000"/>
              <a:gd name="connsiteX144" fmla="*/ 0 w 10000"/>
              <a:gd name="connsiteY144" fmla="*/ 5 h 10000"/>
              <a:gd name="connsiteX145" fmla="*/ 1245 w 10000"/>
              <a:gd name="connsiteY145" fmla="*/ 2443 h 10000"/>
              <a:gd name="connsiteX146" fmla="*/ 26 w 10000"/>
              <a:gd name="connsiteY146" fmla="*/ 4768 h 10000"/>
              <a:gd name="connsiteX0" fmla="*/ 0 w 9974"/>
              <a:gd name="connsiteY0" fmla="*/ 4771 h 10003"/>
              <a:gd name="connsiteX1" fmla="*/ 33 w 9974"/>
              <a:gd name="connsiteY1" fmla="*/ 4765 h 10003"/>
              <a:gd name="connsiteX2" fmla="*/ 137 w 9974"/>
              <a:gd name="connsiteY2" fmla="*/ 4765 h 10003"/>
              <a:gd name="connsiteX3" fmla="*/ 242 w 9974"/>
              <a:gd name="connsiteY3" fmla="*/ 4771 h 10003"/>
              <a:gd name="connsiteX4" fmla="*/ 347 w 9974"/>
              <a:gd name="connsiteY4" fmla="*/ 4776 h 10003"/>
              <a:gd name="connsiteX5" fmla="*/ 451 w 9974"/>
              <a:gd name="connsiteY5" fmla="*/ 4781 h 10003"/>
              <a:gd name="connsiteX6" fmla="*/ 556 w 9974"/>
              <a:gd name="connsiteY6" fmla="*/ 4797 h 10003"/>
              <a:gd name="connsiteX7" fmla="*/ 660 w 9974"/>
              <a:gd name="connsiteY7" fmla="*/ 4808 h 10003"/>
              <a:gd name="connsiteX8" fmla="*/ 758 w 9974"/>
              <a:gd name="connsiteY8" fmla="*/ 4819 h 10003"/>
              <a:gd name="connsiteX9" fmla="*/ 856 w 9974"/>
              <a:gd name="connsiteY9" fmla="*/ 4835 h 10003"/>
              <a:gd name="connsiteX10" fmla="*/ 961 w 9974"/>
              <a:gd name="connsiteY10" fmla="*/ 4851 h 10003"/>
              <a:gd name="connsiteX11" fmla="*/ 1059 w 9974"/>
              <a:gd name="connsiteY11" fmla="*/ 4872 h 10003"/>
              <a:gd name="connsiteX12" fmla="*/ 1157 w 9974"/>
              <a:gd name="connsiteY12" fmla="*/ 4893 h 10003"/>
              <a:gd name="connsiteX13" fmla="*/ 1255 w 9974"/>
              <a:gd name="connsiteY13" fmla="*/ 4915 h 10003"/>
              <a:gd name="connsiteX14" fmla="*/ 1347 w 9974"/>
              <a:gd name="connsiteY14" fmla="*/ 4942 h 10003"/>
              <a:gd name="connsiteX15" fmla="*/ 1445 w 9974"/>
              <a:gd name="connsiteY15" fmla="*/ 4968 h 10003"/>
              <a:gd name="connsiteX16" fmla="*/ 1536 w 9974"/>
              <a:gd name="connsiteY16" fmla="*/ 5000 h 10003"/>
              <a:gd name="connsiteX17" fmla="*/ 1628 w 9974"/>
              <a:gd name="connsiteY17" fmla="*/ 5032 h 10003"/>
              <a:gd name="connsiteX18" fmla="*/ 1719 w 9974"/>
              <a:gd name="connsiteY18" fmla="*/ 5064 h 10003"/>
              <a:gd name="connsiteX19" fmla="*/ 1811 w 9974"/>
              <a:gd name="connsiteY19" fmla="*/ 5097 h 10003"/>
              <a:gd name="connsiteX20" fmla="*/ 1902 w 9974"/>
              <a:gd name="connsiteY20" fmla="*/ 5134 h 10003"/>
              <a:gd name="connsiteX21" fmla="*/ 1994 w 9974"/>
              <a:gd name="connsiteY21" fmla="*/ 5171 h 10003"/>
              <a:gd name="connsiteX22" fmla="*/ 2079 w 9974"/>
              <a:gd name="connsiteY22" fmla="*/ 5214 h 10003"/>
              <a:gd name="connsiteX23" fmla="*/ 2164 w 9974"/>
              <a:gd name="connsiteY23" fmla="*/ 5252 h 10003"/>
              <a:gd name="connsiteX24" fmla="*/ 2249 w 9974"/>
              <a:gd name="connsiteY24" fmla="*/ 5294 h 10003"/>
              <a:gd name="connsiteX25" fmla="*/ 2327 w 9974"/>
              <a:gd name="connsiteY25" fmla="*/ 5337 h 10003"/>
              <a:gd name="connsiteX26" fmla="*/ 2412 w 9974"/>
              <a:gd name="connsiteY26" fmla="*/ 5385 h 10003"/>
              <a:gd name="connsiteX27" fmla="*/ 2490 w 9974"/>
              <a:gd name="connsiteY27" fmla="*/ 5433 h 10003"/>
              <a:gd name="connsiteX28" fmla="*/ 2569 w 9974"/>
              <a:gd name="connsiteY28" fmla="*/ 5481 h 10003"/>
              <a:gd name="connsiteX29" fmla="*/ 2647 w 9974"/>
              <a:gd name="connsiteY29" fmla="*/ 5529 h 10003"/>
              <a:gd name="connsiteX30" fmla="*/ 2726 w 9974"/>
              <a:gd name="connsiteY30" fmla="*/ 5583 h 10003"/>
              <a:gd name="connsiteX31" fmla="*/ 2798 w 9974"/>
              <a:gd name="connsiteY31" fmla="*/ 5636 h 10003"/>
              <a:gd name="connsiteX32" fmla="*/ 2869 w 9974"/>
              <a:gd name="connsiteY32" fmla="*/ 5690 h 10003"/>
              <a:gd name="connsiteX33" fmla="*/ 2941 w 9974"/>
              <a:gd name="connsiteY33" fmla="*/ 5749 h 10003"/>
              <a:gd name="connsiteX34" fmla="*/ 3007 w 9974"/>
              <a:gd name="connsiteY34" fmla="*/ 5807 h 10003"/>
              <a:gd name="connsiteX35" fmla="*/ 3079 w 9974"/>
              <a:gd name="connsiteY35" fmla="*/ 5866 h 10003"/>
              <a:gd name="connsiteX36" fmla="*/ 3144 w 9974"/>
              <a:gd name="connsiteY36" fmla="*/ 5925 h 10003"/>
              <a:gd name="connsiteX37" fmla="*/ 3203 w 9974"/>
              <a:gd name="connsiteY37" fmla="*/ 5989 h 10003"/>
              <a:gd name="connsiteX38" fmla="*/ 3268 w 9974"/>
              <a:gd name="connsiteY38" fmla="*/ 6048 h 10003"/>
              <a:gd name="connsiteX39" fmla="*/ 3327 w 9974"/>
              <a:gd name="connsiteY39" fmla="*/ 6112 h 10003"/>
              <a:gd name="connsiteX40" fmla="*/ 3386 w 9974"/>
              <a:gd name="connsiteY40" fmla="*/ 6176 h 10003"/>
              <a:gd name="connsiteX41" fmla="*/ 3445 w 9974"/>
              <a:gd name="connsiteY41" fmla="*/ 6240 h 10003"/>
              <a:gd name="connsiteX42" fmla="*/ 3497 w 9974"/>
              <a:gd name="connsiteY42" fmla="*/ 6310 h 10003"/>
              <a:gd name="connsiteX43" fmla="*/ 3549 w 9974"/>
              <a:gd name="connsiteY43" fmla="*/ 6379 h 10003"/>
              <a:gd name="connsiteX44" fmla="*/ 3601 w 9974"/>
              <a:gd name="connsiteY44" fmla="*/ 6449 h 10003"/>
              <a:gd name="connsiteX45" fmla="*/ 3654 w 9974"/>
              <a:gd name="connsiteY45" fmla="*/ 6518 h 10003"/>
              <a:gd name="connsiteX46" fmla="*/ 3693 w 9974"/>
              <a:gd name="connsiteY46" fmla="*/ 6593 h 10003"/>
              <a:gd name="connsiteX47" fmla="*/ 3745 w 9974"/>
              <a:gd name="connsiteY47" fmla="*/ 6668 h 10003"/>
              <a:gd name="connsiteX48" fmla="*/ 3784 w 9974"/>
              <a:gd name="connsiteY48" fmla="*/ 6737 h 10003"/>
              <a:gd name="connsiteX49" fmla="*/ 3824 w 9974"/>
              <a:gd name="connsiteY49" fmla="*/ 6812 h 10003"/>
              <a:gd name="connsiteX50" fmla="*/ 3863 w 9974"/>
              <a:gd name="connsiteY50" fmla="*/ 6887 h 10003"/>
              <a:gd name="connsiteX51" fmla="*/ 3896 w 9974"/>
              <a:gd name="connsiteY51" fmla="*/ 6962 h 10003"/>
              <a:gd name="connsiteX52" fmla="*/ 3928 w 9974"/>
              <a:gd name="connsiteY52" fmla="*/ 7042 h 10003"/>
              <a:gd name="connsiteX53" fmla="*/ 3961 w 9974"/>
              <a:gd name="connsiteY53" fmla="*/ 7122 h 10003"/>
              <a:gd name="connsiteX54" fmla="*/ 3994 w 9974"/>
              <a:gd name="connsiteY54" fmla="*/ 7197 h 10003"/>
              <a:gd name="connsiteX55" fmla="*/ 4020 w 9974"/>
              <a:gd name="connsiteY55" fmla="*/ 7277 h 10003"/>
              <a:gd name="connsiteX56" fmla="*/ 4039 w 9974"/>
              <a:gd name="connsiteY56" fmla="*/ 7357 h 10003"/>
              <a:gd name="connsiteX57" fmla="*/ 4066 w 9974"/>
              <a:gd name="connsiteY57" fmla="*/ 7443 h 10003"/>
              <a:gd name="connsiteX58" fmla="*/ 4085 w 9974"/>
              <a:gd name="connsiteY58" fmla="*/ 7523 h 10003"/>
              <a:gd name="connsiteX59" fmla="*/ 4105 w 9974"/>
              <a:gd name="connsiteY59" fmla="*/ 7603 h 10003"/>
              <a:gd name="connsiteX60" fmla="*/ 4118 w 9974"/>
              <a:gd name="connsiteY60" fmla="*/ 7689 h 10003"/>
              <a:gd name="connsiteX61" fmla="*/ 4131 w 9974"/>
              <a:gd name="connsiteY61" fmla="*/ 7774 h 10003"/>
              <a:gd name="connsiteX62" fmla="*/ 4137 w 9974"/>
              <a:gd name="connsiteY62" fmla="*/ 7860 h 10003"/>
              <a:gd name="connsiteX63" fmla="*/ 4144 w 9974"/>
              <a:gd name="connsiteY63" fmla="*/ 7945 h 10003"/>
              <a:gd name="connsiteX64" fmla="*/ 4144 w 9974"/>
              <a:gd name="connsiteY64" fmla="*/ 8031 h 10003"/>
              <a:gd name="connsiteX65" fmla="*/ 4150 w 9974"/>
              <a:gd name="connsiteY65" fmla="*/ 8116 h 10003"/>
              <a:gd name="connsiteX66" fmla="*/ 4144 w 9974"/>
              <a:gd name="connsiteY66" fmla="*/ 8229 h 10003"/>
              <a:gd name="connsiteX67" fmla="*/ 4137 w 9974"/>
              <a:gd name="connsiteY67" fmla="*/ 8346 h 10003"/>
              <a:gd name="connsiteX68" fmla="*/ 4131 w 9974"/>
              <a:gd name="connsiteY68" fmla="*/ 8453 h 10003"/>
              <a:gd name="connsiteX69" fmla="*/ 4111 w 9974"/>
              <a:gd name="connsiteY69" fmla="*/ 8565 h 10003"/>
              <a:gd name="connsiteX70" fmla="*/ 6713 w 9974"/>
              <a:gd name="connsiteY70" fmla="*/ 10003 h 10003"/>
              <a:gd name="connsiteX71" fmla="*/ 9824 w 9974"/>
              <a:gd name="connsiteY71" fmla="*/ 9501 h 10003"/>
              <a:gd name="connsiteX72" fmla="*/ 9863 w 9974"/>
              <a:gd name="connsiteY72" fmla="*/ 9335 h 10003"/>
              <a:gd name="connsiteX73" fmla="*/ 9889 w 9974"/>
              <a:gd name="connsiteY73" fmla="*/ 9164 h 10003"/>
              <a:gd name="connsiteX74" fmla="*/ 9915 w 9974"/>
              <a:gd name="connsiteY74" fmla="*/ 8993 h 10003"/>
              <a:gd name="connsiteX75" fmla="*/ 9935 w 9974"/>
              <a:gd name="connsiteY75" fmla="*/ 8816 h 10003"/>
              <a:gd name="connsiteX76" fmla="*/ 9948 w 9974"/>
              <a:gd name="connsiteY76" fmla="*/ 8640 h 10003"/>
              <a:gd name="connsiteX77" fmla="*/ 9961 w 9974"/>
              <a:gd name="connsiteY77" fmla="*/ 8469 h 10003"/>
              <a:gd name="connsiteX78" fmla="*/ 9967 w 9974"/>
              <a:gd name="connsiteY78" fmla="*/ 8293 h 10003"/>
              <a:gd name="connsiteX79" fmla="*/ 9974 w 9974"/>
              <a:gd name="connsiteY79" fmla="*/ 8116 h 10003"/>
              <a:gd name="connsiteX80" fmla="*/ 9967 w 9974"/>
              <a:gd name="connsiteY80" fmla="*/ 7903 h 10003"/>
              <a:gd name="connsiteX81" fmla="*/ 9961 w 9974"/>
              <a:gd name="connsiteY81" fmla="*/ 7699 h 10003"/>
              <a:gd name="connsiteX82" fmla="*/ 9941 w 9974"/>
              <a:gd name="connsiteY82" fmla="*/ 7491 h 10003"/>
              <a:gd name="connsiteX83" fmla="*/ 9922 w 9974"/>
              <a:gd name="connsiteY83" fmla="*/ 7288 h 10003"/>
              <a:gd name="connsiteX84" fmla="*/ 9889 w 9974"/>
              <a:gd name="connsiteY84" fmla="*/ 7079 h 10003"/>
              <a:gd name="connsiteX85" fmla="*/ 9856 w 9974"/>
              <a:gd name="connsiteY85" fmla="*/ 6882 h 10003"/>
              <a:gd name="connsiteX86" fmla="*/ 9817 w 9974"/>
              <a:gd name="connsiteY86" fmla="*/ 6679 h 10003"/>
              <a:gd name="connsiteX87" fmla="*/ 9771 w 9974"/>
              <a:gd name="connsiteY87" fmla="*/ 6481 h 10003"/>
              <a:gd name="connsiteX88" fmla="*/ 9719 w 9974"/>
              <a:gd name="connsiteY88" fmla="*/ 6283 h 10003"/>
              <a:gd name="connsiteX89" fmla="*/ 9660 w 9974"/>
              <a:gd name="connsiteY89" fmla="*/ 6091 h 10003"/>
              <a:gd name="connsiteX90" fmla="*/ 9595 w 9974"/>
              <a:gd name="connsiteY90" fmla="*/ 5893 h 10003"/>
              <a:gd name="connsiteX91" fmla="*/ 9530 w 9974"/>
              <a:gd name="connsiteY91" fmla="*/ 5700 h 10003"/>
              <a:gd name="connsiteX92" fmla="*/ 9451 w 9974"/>
              <a:gd name="connsiteY92" fmla="*/ 5513 h 10003"/>
              <a:gd name="connsiteX93" fmla="*/ 9373 w 9974"/>
              <a:gd name="connsiteY93" fmla="*/ 5326 h 10003"/>
              <a:gd name="connsiteX94" fmla="*/ 9281 w 9974"/>
              <a:gd name="connsiteY94" fmla="*/ 5139 h 10003"/>
              <a:gd name="connsiteX95" fmla="*/ 9190 w 9974"/>
              <a:gd name="connsiteY95" fmla="*/ 4958 h 10003"/>
              <a:gd name="connsiteX96" fmla="*/ 9098 w 9974"/>
              <a:gd name="connsiteY96" fmla="*/ 4776 h 10003"/>
              <a:gd name="connsiteX97" fmla="*/ 8994 w 9974"/>
              <a:gd name="connsiteY97" fmla="*/ 4599 h 10003"/>
              <a:gd name="connsiteX98" fmla="*/ 8889 w 9974"/>
              <a:gd name="connsiteY98" fmla="*/ 4423 h 10003"/>
              <a:gd name="connsiteX99" fmla="*/ 8778 w 9974"/>
              <a:gd name="connsiteY99" fmla="*/ 4247 h 10003"/>
              <a:gd name="connsiteX100" fmla="*/ 8660 w 9974"/>
              <a:gd name="connsiteY100" fmla="*/ 4076 h 10003"/>
              <a:gd name="connsiteX101" fmla="*/ 8536 w 9974"/>
              <a:gd name="connsiteY101" fmla="*/ 3910 h 10003"/>
              <a:gd name="connsiteX102" fmla="*/ 8412 w 9974"/>
              <a:gd name="connsiteY102" fmla="*/ 3744 h 10003"/>
              <a:gd name="connsiteX103" fmla="*/ 8281 w 9974"/>
              <a:gd name="connsiteY103" fmla="*/ 3579 h 10003"/>
              <a:gd name="connsiteX104" fmla="*/ 8144 w 9974"/>
              <a:gd name="connsiteY104" fmla="*/ 3418 h 10003"/>
              <a:gd name="connsiteX105" fmla="*/ 8000 w 9974"/>
              <a:gd name="connsiteY105" fmla="*/ 3263 h 10003"/>
              <a:gd name="connsiteX106" fmla="*/ 7856 w 9974"/>
              <a:gd name="connsiteY106" fmla="*/ 3108 h 10003"/>
              <a:gd name="connsiteX107" fmla="*/ 7706 w 9974"/>
              <a:gd name="connsiteY107" fmla="*/ 2953 h 10003"/>
              <a:gd name="connsiteX108" fmla="*/ 7556 w 9974"/>
              <a:gd name="connsiteY108" fmla="*/ 2809 h 10003"/>
              <a:gd name="connsiteX109" fmla="*/ 7392 w 9974"/>
              <a:gd name="connsiteY109" fmla="*/ 2665 h 10003"/>
              <a:gd name="connsiteX110" fmla="*/ 7235 w 9974"/>
              <a:gd name="connsiteY110" fmla="*/ 2520 h 10003"/>
              <a:gd name="connsiteX111" fmla="*/ 7066 w 9974"/>
              <a:gd name="connsiteY111" fmla="*/ 2376 h 10003"/>
              <a:gd name="connsiteX112" fmla="*/ 6896 w 9974"/>
              <a:gd name="connsiteY112" fmla="*/ 2242 h 10003"/>
              <a:gd name="connsiteX113" fmla="*/ 6726 w 9974"/>
              <a:gd name="connsiteY113" fmla="*/ 2109 h 10003"/>
              <a:gd name="connsiteX114" fmla="*/ 6543 w 9974"/>
              <a:gd name="connsiteY114" fmla="*/ 1981 h 10003"/>
              <a:gd name="connsiteX115" fmla="*/ 6360 w 9974"/>
              <a:gd name="connsiteY115" fmla="*/ 1858 h 10003"/>
              <a:gd name="connsiteX116" fmla="*/ 6177 w 9974"/>
              <a:gd name="connsiteY116" fmla="*/ 1735 h 10003"/>
              <a:gd name="connsiteX117" fmla="*/ 5987 w 9974"/>
              <a:gd name="connsiteY117" fmla="*/ 1617 h 10003"/>
              <a:gd name="connsiteX118" fmla="*/ 5791 w 9974"/>
              <a:gd name="connsiteY118" fmla="*/ 1500 h 10003"/>
              <a:gd name="connsiteX119" fmla="*/ 5595 w 9974"/>
              <a:gd name="connsiteY119" fmla="*/ 1387 h 10003"/>
              <a:gd name="connsiteX120" fmla="*/ 5399 w 9974"/>
              <a:gd name="connsiteY120" fmla="*/ 1280 h 10003"/>
              <a:gd name="connsiteX121" fmla="*/ 5196 w 9974"/>
              <a:gd name="connsiteY121" fmla="*/ 1179 h 10003"/>
              <a:gd name="connsiteX122" fmla="*/ 4994 w 9974"/>
              <a:gd name="connsiteY122" fmla="*/ 1077 h 10003"/>
              <a:gd name="connsiteX123" fmla="*/ 4778 w 9974"/>
              <a:gd name="connsiteY123" fmla="*/ 981 h 10003"/>
              <a:gd name="connsiteX124" fmla="*/ 4569 w 9974"/>
              <a:gd name="connsiteY124" fmla="*/ 890 h 10003"/>
              <a:gd name="connsiteX125" fmla="*/ 4353 w 9974"/>
              <a:gd name="connsiteY125" fmla="*/ 805 h 10003"/>
              <a:gd name="connsiteX126" fmla="*/ 4131 w 9974"/>
              <a:gd name="connsiteY126" fmla="*/ 719 h 10003"/>
              <a:gd name="connsiteX127" fmla="*/ 3915 w 9974"/>
              <a:gd name="connsiteY127" fmla="*/ 639 h 10003"/>
              <a:gd name="connsiteX128" fmla="*/ 3693 w 9974"/>
              <a:gd name="connsiteY128" fmla="*/ 570 h 10003"/>
              <a:gd name="connsiteX129" fmla="*/ 3464 w 9974"/>
              <a:gd name="connsiteY129" fmla="*/ 495 h 10003"/>
              <a:gd name="connsiteX130" fmla="*/ 3235 w 9974"/>
              <a:gd name="connsiteY130" fmla="*/ 431 h 10003"/>
              <a:gd name="connsiteX131" fmla="*/ 3000 w 9974"/>
              <a:gd name="connsiteY131" fmla="*/ 366 h 10003"/>
              <a:gd name="connsiteX132" fmla="*/ 2771 w 9974"/>
              <a:gd name="connsiteY132" fmla="*/ 313 h 10003"/>
              <a:gd name="connsiteX133" fmla="*/ 2530 w 9974"/>
              <a:gd name="connsiteY133" fmla="*/ 260 h 10003"/>
              <a:gd name="connsiteX134" fmla="*/ 2288 w 9974"/>
              <a:gd name="connsiteY134" fmla="*/ 211 h 10003"/>
              <a:gd name="connsiteX135" fmla="*/ 2052 w 9974"/>
              <a:gd name="connsiteY135" fmla="*/ 169 h 10003"/>
              <a:gd name="connsiteX136" fmla="*/ 1811 w 9974"/>
              <a:gd name="connsiteY136" fmla="*/ 131 h 10003"/>
              <a:gd name="connsiteX137" fmla="*/ 1562 w 9974"/>
              <a:gd name="connsiteY137" fmla="*/ 94 h 10003"/>
              <a:gd name="connsiteX138" fmla="*/ 1314 w 9974"/>
              <a:gd name="connsiteY138" fmla="*/ 67 h 10003"/>
              <a:gd name="connsiteX139" fmla="*/ 1066 w 9974"/>
              <a:gd name="connsiteY139" fmla="*/ 46 h 10003"/>
              <a:gd name="connsiteX140" fmla="*/ 817 w 9974"/>
              <a:gd name="connsiteY140" fmla="*/ 30 h 10003"/>
              <a:gd name="connsiteX141" fmla="*/ 562 w 9974"/>
              <a:gd name="connsiteY141" fmla="*/ 14 h 10003"/>
              <a:gd name="connsiteX142" fmla="*/ 307 w 9974"/>
              <a:gd name="connsiteY142" fmla="*/ 8 h 10003"/>
              <a:gd name="connsiteX143" fmla="*/ 52 w 9974"/>
              <a:gd name="connsiteY143" fmla="*/ 3 h 10003"/>
              <a:gd name="connsiteX144" fmla="*/ 13 w 9974"/>
              <a:gd name="connsiteY144" fmla="*/ 0 h 10003"/>
              <a:gd name="connsiteX145" fmla="*/ 1219 w 9974"/>
              <a:gd name="connsiteY145" fmla="*/ 2446 h 10003"/>
              <a:gd name="connsiteX146" fmla="*/ 0 w 9974"/>
              <a:gd name="connsiteY146" fmla="*/ 4771 h 10003"/>
              <a:gd name="connsiteX0" fmla="*/ 0 w 9990"/>
              <a:gd name="connsiteY0" fmla="*/ 4770 h 10000"/>
              <a:gd name="connsiteX1" fmla="*/ 23 w 9990"/>
              <a:gd name="connsiteY1" fmla="*/ 4764 h 10000"/>
              <a:gd name="connsiteX2" fmla="*/ 127 w 9990"/>
              <a:gd name="connsiteY2" fmla="*/ 4764 h 10000"/>
              <a:gd name="connsiteX3" fmla="*/ 233 w 9990"/>
              <a:gd name="connsiteY3" fmla="*/ 4770 h 10000"/>
              <a:gd name="connsiteX4" fmla="*/ 338 w 9990"/>
              <a:gd name="connsiteY4" fmla="*/ 4775 h 10000"/>
              <a:gd name="connsiteX5" fmla="*/ 442 w 9990"/>
              <a:gd name="connsiteY5" fmla="*/ 4780 h 10000"/>
              <a:gd name="connsiteX6" fmla="*/ 547 w 9990"/>
              <a:gd name="connsiteY6" fmla="*/ 4796 h 10000"/>
              <a:gd name="connsiteX7" fmla="*/ 652 w 9990"/>
              <a:gd name="connsiteY7" fmla="*/ 4807 h 10000"/>
              <a:gd name="connsiteX8" fmla="*/ 750 w 9990"/>
              <a:gd name="connsiteY8" fmla="*/ 4818 h 10000"/>
              <a:gd name="connsiteX9" fmla="*/ 848 w 9990"/>
              <a:gd name="connsiteY9" fmla="*/ 4834 h 10000"/>
              <a:gd name="connsiteX10" fmla="*/ 954 w 9990"/>
              <a:gd name="connsiteY10" fmla="*/ 4850 h 10000"/>
              <a:gd name="connsiteX11" fmla="*/ 1052 w 9990"/>
              <a:gd name="connsiteY11" fmla="*/ 4871 h 10000"/>
              <a:gd name="connsiteX12" fmla="*/ 1150 w 9990"/>
              <a:gd name="connsiteY12" fmla="*/ 4892 h 10000"/>
              <a:gd name="connsiteX13" fmla="*/ 1248 w 9990"/>
              <a:gd name="connsiteY13" fmla="*/ 4914 h 10000"/>
              <a:gd name="connsiteX14" fmla="*/ 1341 w 9990"/>
              <a:gd name="connsiteY14" fmla="*/ 4941 h 10000"/>
              <a:gd name="connsiteX15" fmla="*/ 1439 w 9990"/>
              <a:gd name="connsiteY15" fmla="*/ 4967 h 10000"/>
              <a:gd name="connsiteX16" fmla="*/ 1530 w 9990"/>
              <a:gd name="connsiteY16" fmla="*/ 4999 h 10000"/>
              <a:gd name="connsiteX17" fmla="*/ 1622 w 9990"/>
              <a:gd name="connsiteY17" fmla="*/ 5030 h 10000"/>
              <a:gd name="connsiteX18" fmla="*/ 1713 w 9990"/>
              <a:gd name="connsiteY18" fmla="*/ 5062 h 10000"/>
              <a:gd name="connsiteX19" fmla="*/ 1806 w 9990"/>
              <a:gd name="connsiteY19" fmla="*/ 5095 h 10000"/>
              <a:gd name="connsiteX20" fmla="*/ 1897 w 9990"/>
              <a:gd name="connsiteY20" fmla="*/ 5132 h 10000"/>
              <a:gd name="connsiteX21" fmla="*/ 1989 w 9990"/>
              <a:gd name="connsiteY21" fmla="*/ 5169 h 10000"/>
              <a:gd name="connsiteX22" fmla="*/ 2074 w 9990"/>
              <a:gd name="connsiteY22" fmla="*/ 5212 h 10000"/>
              <a:gd name="connsiteX23" fmla="*/ 2160 w 9990"/>
              <a:gd name="connsiteY23" fmla="*/ 5250 h 10000"/>
              <a:gd name="connsiteX24" fmla="*/ 2245 w 9990"/>
              <a:gd name="connsiteY24" fmla="*/ 5292 h 10000"/>
              <a:gd name="connsiteX25" fmla="*/ 2323 w 9990"/>
              <a:gd name="connsiteY25" fmla="*/ 5335 h 10000"/>
              <a:gd name="connsiteX26" fmla="*/ 2408 w 9990"/>
              <a:gd name="connsiteY26" fmla="*/ 5383 h 10000"/>
              <a:gd name="connsiteX27" fmla="*/ 2486 w 9990"/>
              <a:gd name="connsiteY27" fmla="*/ 5431 h 10000"/>
              <a:gd name="connsiteX28" fmla="*/ 2566 w 9990"/>
              <a:gd name="connsiteY28" fmla="*/ 5479 h 10000"/>
              <a:gd name="connsiteX29" fmla="*/ 2644 w 9990"/>
              <a:gd name="connsiteY29" fmla="*/ 5527 h 10000"/>
              <a:gd name="connsiteX30" fmla="*/ 2723 w 9990"/>
              <a:gd name="connsiteY30" fmla="*/ 5581 h 10000"/>
              <a:gd name="connsiteX31" fmla="*/ 2795 w 9990"/>
              <a:gd name="connsiteY31" fmla="*/ 5634 h 10000"/>
              <a:gd name="connsiteX32" fmla="*/ 2866 w 9990"/>
              <a:gd name="connsiteY32" fmla="*/ 5688 h 10000"/>
              <a:gd name="connsiteX33" fmla="*/ 2939 w 9990"/>
              <a:gd name="connsiteY33" fmla="*/ 5747 h 10000"/>
              <a:gd name="connsiteX34" fmla="*/ 3005 w 9990"/>
              <a:gd name="connsiteY34" fmla="*/ 5805 h 10000"/>
              <a:gd name="connsiteX35" fmla="*/ 3077 w 9990"/>
              <a:gd name="connsiteY35" fmla="*/ 5864 h 10000"/>
              <a:gd name="connsiteX36" fmla="*/ 3142 w 9990"/>
              <a:gd name="connsiteY36" fmla="*/ 5923 h 10000"/>
              <a:gd name="connsiteX37" fmla="*/ 3201 w 9990"/>
              <a:gd name="connsiteY37" fmla="*/ 5987 h 10000"/>
              <a:gd name="connsiteX38" fmla="*/ 3267 w 9990"/>
              <a:gd name="connsiteY38" fmla="*/ 6046 h 10000"/>
              <a:gd name="connsiteX39" fmla="*/ 3326 w 9990"/>
              <a:gd name="connsiteY39" fmla="*/ 6110 h 10000"/>
              <a:gd name="connsiteX40" fmla="*/ 3385 w 9990"/>
              <a:gd name="connsiteY40" fmla="*/ 6174 h 10000"/>
              <a:gd name="connsiteX41" fmla="*/ 3444 w 9990"/>
              <a:gd name="connsiteY41" fmla="*/ 6238 h 10000"/>
              <a:gd name="connsiteX42" fmla="*/ 3496 w 9990"/>
              <a:gd name="connsiteY42" fmla="*/ 6308 h 10000"/>
              <a:gd name="connsiteX43" fmla="*/ 3548 w 9990"/>
              <a:gd name="connsiteY43" fmla="*/ 6377 h 10000"/>
              <a:gd name="connsiteX44" fmla="*/ 3600 w 9990"/>
              <a:gd name="connsiteY44" fmla="*/ 6447 h 10000"/>
              <a:gd name="connsiteX45" fmla="*/ 3654 w 9990"/>
              <a:gd name="connsiteY45" fmla="*/ 6516 h 10000"/>
              <a:gd name="connsiteX46" fmla="*/ 3693 w 9990"/>
              <a:gd name="connsiteY46" fmla="*/ 6591 h 10000"/>
              <a:gd name="connsiteX47" fmla="*/ 3745 w 9990"/>
              <a:gd name="connsiteY47" fmla="*/ 6666 h 10000"/>
              <a:gd name="connsiteX48" fmla="*/ 3784 w 9990"/>
              <a:gd name="connsiteY48" fmla="*/ 6735 h 10000"/>
              <a:gd name="connsiteX49" fmla="*/ 3824 w 9990"/>
              <a:gd name="connsiteY49" fmla="*/ 6810 h 10000"/>
              <a:gd name="connsiteX50" fmla="*/ 3863 w 9990"/>
              <a:gd name="connsiteY50" fmla="*/ 6885 h 10000"/>
              <a:gd name="connsiteX51" fmla="*/ 3896 w 9990"/>
              <a:gd name="connsiteY51" fmla="*/ 6960 h 10000"/>
              <a:gd name="connsiteX52" fmla="*/ 3928 w 9990"/>
              <a:gd name="connsiteY52" fmla="*/ 7040 h 10000"/>
              <a:gd name="connsiteX53" fmla="*/ 3961 w 9990"/>
              <a:gd name="connsiteY53" fmla="*/ 7120 h 10000"/>
              <a:gd name="connsiteX54" fmla="*/ 3994 w 9990"/>
              <a:gd name="connsiteY54" fmla="*/ 7195 h 10000"/>
              <a:gd name="connsiteX55" fmla="*/ 4020 w 9990"/>
              <a:gd name="connsiteY55" fmla="*/ 7275 h 10000"/>
              <a:gd name="connsiteX56" fmla="*/ 4040 w 9990"/>
              <a:gd name="connsiteY56" fmla="*/ 7355 h 10000"/>
              <a:gd name="connsiteX57" fmla="*/ 4067 w 9990"/>
              <a:gd name="connsiteY57" fmla="*/ 7441 h 10000"/>
              <a:gd name="connsiteX58" fmla="*/ 4086 w 9990"/>
              <a:gd name="connsiteY58" fmla="*/ 7521 h 10000"/>
              <a:gd name="connsiteX59" fmla="*/ 4106 w 9990"/>
              <a:gd name="connsiteY59" fmla="*/ 7601 h 10000"/>
              <a:gd name="connsiteX60" fmla="*/ 4119 w 9990"/>
              <a:gd name="connsiteY60" fmla="*/ 7687 h 10000"/>
              <a:gd name="connsiteX61" fmla="*/ 4132 w 9990"/>
              <a:gd name="connsiteY61" fmla="*/ 7772 h 10000"/>
              <a:gd name="connsiteX62" fmla="*/ 4138 w 9990"/>
              <a:gd name="connsiteY62" fmla="*/ 7858 h 10000"/>
              <a:gd name="connsiteX63" fmla="*/ 4145 w 9990"/>
              <a:gd name="connsiteY63" fmla="*/ 7943 h 10000"/>
              <a:gd name="connsiteX64" fmla="*/ 4145 w 9990"/>
              <a:gd name="connsiteY64" fmla="*/ 8029 h 10000"/>
              <a:gd name="connsiteX65" fmla="*/ 4151 w 9990"/>
              <a:gd name="connsiteY65" fmla="*/ 8114 h 10000"/>
              <a:gd name="connsiteX66" fmla="*/ 4145 w 9990"/>
              <a:gd name="connsiteY66" fmla="*/ 8227 h 10000"/>
              <a:gd name="connsiteX67" fmla="*/ 4138 w 9990"/>
              <a:gd name="connsiteY67" fmla="*/ 8343 h 10000"/>
              <a:gd name="connsiteX68" fmla="*/ 4132 w 9990"/>
              <a:gd name="connsiteY68" fmla="*/ 8450 h 10000"/>
              <a:gd name="connsiteX69" fmla="*/ 4112 w 9990"/>
              <a:gd name="connsiteY69" fmla="*/ 8562 h 10000"/>
              <a:gd name="connsiteX70" fmla="*/ 6720 w 9990"/>
              <a:gd name="connsiteY70" fmla="*/ 10000 h 10000"/>
              <a:gd name="connsiteX71" fmla="*/ 9840 w 9990"/>
              <a:gd name="connsiteY71" fmla="*/ 9498 h 10000"/>
              <a:gd name="connsiteX72" fmla="*/ 9879 w 9990"/>
              <a:gd name="connsiteY72" fmla="*/ 9332 h 10000"/>
              <a:gd name="connsiteX73" fmla="*/ 9905 w 9990"/>
              <a:gd name="connsiteY73" fmla="*/ 9161 h 10000"/>
              <a:gd name="connsiteX74" fmla="*/ 9931 w 9990"/>
              <a:gd name="connsiteY74" fmla="*/ 8990 h 10000"/>
              <a:gd name="connsiteX75" fmla="*/ 9951 w 9990"/>
              <a:gd name="connsiteY75" fmla="*/ 8813 h 10000"/>
              <a:gd name="connsiteX76" fmla="*/ 9964 w 9990"/>
              <a:gd name="connsiteY76" fmla="*/ 8637 h 10000"/>
              <a:gd name="connsiteX77" fmla="*/ 9977 w 9990"/>
              <a:gd name="connsiteY77" fmla="*/ 8466 h 10000"/>
              <a:gd name="connsiteX78" fmla="*/ 9983 w 9990"/>
              <a:gd name="connsiteY78" fmla="*/ 8291 h 10000"/>
              <a:gd name="connsiteX79" fmla="*/ 9990 w 9990"/>
              <a:gd name="connsiteY79" fmla="*/ 8114 h 10000"/>
              <a:gd name="connsiteX80" fmla="*/ 9983 w 9990"/>
              <a:gd name="connsiteY80" fmla="*/ 7901 h 10000"/>
              <a:gd name="connsiteX81" fmla="*/ 9977 w 9990"/>
              <a:gd name="connsiteY81" fmla="*/ 7697 h 10000"/>
              <a:gd name="connsiteX82" fmla="*/ 9957 w 9990"/>
              <a:gd name="connsiteY82" fmla="*/ 7489 h 10000"/>
              <a:gd name="connsiteX83" fmla="*/ 9938 w 9990"/>
              <a:gd name="connsiteY83" fmla="*/ 7286 h 10000"/>
              <a:gd name="connsiteX84" fmla="*/ 9905 w 9990"/>
              <a:gd name="connsiteY84" fmla="*/ 7077 h 10000"/>
              <a:gd name="connsiteX85" fmla="*/ 9872 w 9990"/>
              <a:gd name="connsiteY85" fmla="*/ 6880 h 10000"/>
              <a:gd name="connsiteX86" fmla="*/ 9833 w 9990"/>
              <a:gd name="connsiteY86" fmla="*/ 6677 h 10000"/>
              <a:gd name="connsiteX87" fmla="*/ 9786 w 9990"/>
              <a:gd name="connsiteY87" fmla="*/ 6479 h 10000"/>
              <a:gd name="connsiteX88" fmla="*/ 9734 w 9990"/>
              <a:gd name="connsiteY88" fmla="*/ 6281 h 10000"/>
              <a:gd name="connsiteX89" fmla="*/ 9675 w 9990"/>
              <a:gd name="connsiteY89" fmla="*/ 6089 h 10000"/>
              <a:gd name="connsiteX90" fmla="*/ 9610 w 9990"/>
              <a:gd name="connsiteY90" fmla="*/ 5891 h 10000"/>
              <a:gd name="connsiteX91" fmla="*/ 9545 w 9990"/>
              <a:gd name="connsiteY91" fmla="*/ 5698 h 10000"/>
              <a:gd name="connsiteX92" fmla="*/ 9466 w 9990"/>
              <a:gd name="connsiteY92" fmla="*/ 5511 h 10000"/>
              <a:gd name="connsiteX93" fmla="*/ 9387 w 9990"/>
              <a:gd name="connsiteY93" fmla="*/ 5324 h 10000"/>
              <a:gd name="connsiteX94" fmla="*/ 9295 w 9990"/>
              <a:gd name="connsiteY94" fmla="*/ 5137 h 10000"/>
              <a:gd name="connsiteX95" fmla="*/ 9204 w 9990"/>
              <a:gd name="connsiteY95" fmla="*/ 4957 h 10000"/>
              <a:gd name="connsiteX96" fmla="*/ 9112 w 9990"/>
              <a:gd name="connsiteY96" fmla="*/ 4775 h 10000"/>
              <a:gd name="connsiteX97" fmla="*/ 9007 w 9990"/>
              <a:gd name="connsiteY97" fmla="*/ 4598 h 10000"/>
              <a:gd name="connsiteX98" fmla="*/ 8902 w 9990"/>
              <a:gd name="connsiteY98" fmla="*/ 4422 h 10000"/>
              <a:gd name="connsiteX99" fmla="*/ 8791 w 9990"/>
              <a:gd name="connsiteY99" fmla="*/ 4246 h 10000"/>
              <a:gd name="connsiteX100" fmla="*/ 8673 w 9990"/>
              <a:gd name="connsiteY100" fmla="*/ 4075 h 10000"/>
              <a:gd name="connsiteX101" fmla="*/ 8548 w 9990"/>
              <a:gd name="connsiteY101" fmla="*/ 3909 h 10000"/>
              <a:gd name="connsiteX102" fmla="*/ 8424 w 9990"/>
              <a:gd name="connsiteY102" fmla="*/ 3743 h 10000"/>
              <a:gd name="connsiteX103" fmla="*/ 8293 w 9990"/>
              <a:gd name="connsiteY103" fmla="*/ 3578 h 10000"/>
              <a:gd name="connsiteX104" fmla="*/ 8155 w 9990"/>
              <a:gd name="connsiteY104" fmla="*/ 3417 h 10000"/>
              <a:gd name="connsiteX105" fmla="*/ 8011 w 9990"/>
              <a:gd name="connsiteY105" fmla="*/ 3262 h 10000"/>
              <a:gd name="connsiteX106" fmla="*/ 7866 w 9990"/>
              <a:gd name="connsiteY106" fmla="*/ 3107 h 10000"/>
              <a:gd name="connsiteX107" fmla="*/ 7716 w 9990"/>
              <a:gd name="connsiteY107" fmla="*/ 2952 h 10000"/>
              <a:gd name="connsiteX108" fmla="*/ 7566 w 9990"/>
              <a:gd name="connsiteY108" fmla="*/ 2808 h 10000"/>
              <a:gd name="connsiteX109" fmla="*/ 7401 w 9990"/>
              <a:gd name="connsiteY109" fmla="*/ 2664 h 10000"/>
              <a:gd name="connsiteX110" fmla="*/ 7244 w 9990"/>
              <a:gd name="connsiteY110" fmla="*/ 2519 h 10000"/>
              <a:gd name="connsiteX111" fmla="*/ 7074 w 9990"/>
              <a:gd name="connsiteY111" fmla="*/ 2375 h 10000"/>
              <a:gd name="connsiteX112" fmla="*/ 6904 w 9990"/>
              <a:gd name="connsiteY112" fmla="*/ 2241 h 10000"/>
              <a:gd name="connsiteX113" fmla="*/ 6734 w 9990"/>
              <a:gd name="connsiteY113" fmla="*/ 2108 h 10000"/>
              <a:gd name="connsiteX114" fmla="*/ 6550 w 9990"/>
              <a:gd name="connsiteY114" fmla="*/ 1980 h 10000"/>
              <a:gd name="connsiteX115" fmla="*/ 6367 w 9990"/>
              <a:gd name="connsiteY115" fmla="*/ 1857 h 10000"/>
              <a:gd name="connsiteX116" fmla="*/ 6183 w 9990"/>
              <a:gd name="connsiteY116" fmla="*/ 1734 h 10000"/>
              <a:gd name="connsiteX117" fmla="*/ 5993 w 9990"/>
              <a:gd name="connsiteY117" fmla="*/ 1617 h 10000"/>
              <a:gd name="connsiteX118" fmla="*/ 5796 w 9990"/>
              <a:gd name="connsiteY118" fmla="*/ 1500 h 10000"/>
              <a:gd name="connsiteX119" fmla="*/ 5600 w 9990"/>
              <a:gd name="connsiteY119" fmla="*/ 1387 h 10000"/>
              <a:gd name="connsiteX120" fmla="*/ 5403 w 9990"/>
              <a:gd name="connsiteY120" fmla="*/ 1280 h 10000"/>
              <a:gd name="connsiteX121" fmla="*/ 5200 w 9990"/>
              <a:gd name="connsiteY121" fmla="*/ 1179 h 10000"/>
              <a:gd name="connsiteX122" fmla="*/ 4997 w 9990"/>
              <a:gd name="connsiteY122" fmla="*/ 1077 h 10000"/>
              <a:gd name="connsiteX123" fmla="*/ 4780 w 9990"/>
              <a:gd name="connsiteY123" fmla="*/ 981 h 10000"/>
              <a:gd name="connsiteX124" fmla="*/ 4571 w 9990"/>
              <a:gd name="connsiteY124" fmla="*/ 890 h 10000"/>
              <a:gd name="connsiteX125" fmla="*/ 4354 w 9990"/>
              <a:gd name="connsiteY125" fmla="*/ 805 h 10000"/>
              <a:gd name="connsiteX126" fmla="*/ 4132 w 9990"/>
              <a:gd name="connsiteY126" fmla="*/ 719 h 10000"/>
              <a:gd name="connsiteX127" fmla="*/ 3915 w 9990"/>
              <a:gd name="connsiteY127" fmla="*/ 639 h 10000"/>
              <a:gd name="connsiteX128" fmla="*/ 3693 w 9990"/>
              <a:gd name="connsiteY128" fmla="*/ 570 h 10000"/>
              <a:gd name="connsiteX129" fmla="*/ 3463 w 9990"/>
              <a:gd name="connsiteY129" fmla="*/ 495 h 10000"/>
              <a:gd name="connsiteX130" fmla="*/ 3233 w 9990"/>
              <a:gd name="connsiteY130" fmla="*/ 431 h 10000"/>
              <a:gd name="connsiteX131" fmla="*/ 2998 w 9990"/>
              <a:gd name="connsiteY131" fmla="*/ 366 h 10000"/>
              <a:gd name="connsiteX132" fmla="*/ 2768 w 9990"/>
              <a:gd name="connsiteY132" fmla="*/ 313 h 10000"/>
              <a:gd name="connsiteX133" fmla="*/ 2527 w 9990"/>
              <a:gd name="connsiteY133" fmla="*/ 260 h 10000"/>
              <a:gd name="connsiteX134" fmla="*/ 2284 w 9990"/>
              <a:gd name="connsiteY134" fmla="*/ 211 h 10000"/>
              <a:gd name="connsiteX135" fmla="*/ 2047 w 9990"/>
              <a:gd name="connsiteY135" fmla="*/ 169 h 10000"/>
              <a:gd name="connsiteX136" fmla="*/ 1806 w 9990"/>
              <a:gd name="connsiteY136" fmla="*/ 131 h 10000"/>
              <a:gd name="connsiteX137" fmla="*/ 1556 w 9990"/>
              <a:gd name="connsiteY137" fmla="*/ 94 h 10000"/>
              <a:gd name="connsiteX138" fmla="*/ 1307 w 9990"/>
              <a:gd name="connsiteY138" fmla="*/ 67 h 10000"/>
              <a:gd name="connsiteX139" fmla="*/ 1059 w 9990"/>
              <a:gd name="connsiteY139" fmla="*/ 46 h 10000"/>
              <a:gd name="connsiteX140" fmla="*/ 809 w 9990"/>
              <a:gd name="connsiteY140" fmla="*/ 30 h 10000"/>
              <a:gd name="connsiteX141" fmla="*/ 553 w 9990"/>
              <a:gd name="connsiteY141" fmla="*/ 14 h 10000"/>
              <a:gd name="connsiteX142" fmla="*/ 298 w 9990"/>
              <a:gd name="connsiteY142" fmla="*/ 8 h 10000"/>
              <a:gd name="connsiteX143" fmla="*/ 42 w 9990"/>
              <a:gd name="connsiteY143" fmla="*/ 3 h 10000"/>
              <a:gd name="connsiteX144" fmla="*/ 3 w 9990"/>
              <a:gd name="connsiteY144" fmla="*/ 0 h 10000"/>
              <a:gd name="connsiteX145" fmla="*/ 1212 w 9990"/>
              <a:gd name="connsiteY145" fmla="*/ 2445 h 10000"/>
              <a:gd name="connsiteX146" fmla="*/ 0 w 9990"/>
              <a:gd name="connsiteY146" fmla="*/ 4770 h 10000"/>
              <a:gd name="connsiteX0" fmla="*/ 7 w 9997"/>
              <a:gd name="connsiteY0" fmla="*/ 4770 h 10000"/>
              <a:gd name="connsiteX1" fmla="*/ 20 w 9997"/>
              <a:gd name="connsiteY1" fmla="*/ 4764 h 10000"/>
              <a:gd name="connsiteX2" fmla="*/ 124 w 9997"/>
              <a:gd name="connsiteY2" fmla="*/ 4764 h 10000"/>
              <a:gd name="connsiteX3" fmla="*/ 230 w 9997"/>
              <a:gd name="connsiteY3" fmla="*/ 4770 h 10000"/>
              <a:gd name="connsiteX4" fmla="*/ 335 w 9997"/>
              <a:gd name="connsiteY4" fmla="*/ 4775 h 10000"/>
              <a:gd name="connsiteX5" fmla="*/ 439 w 9997"/>
              <a:gd name="connsiteY5" fmla="*/ 4780 h 10000"/>
              <a:gd name="connsiteX6" fmla="*/ 545 w 9997"/>
              <a:gd name="connsiteY6" fmla="*/ 4796 h 10000"/>
              <a:gd name="connsiteX7" fmla="*/ 650 w 9997"/>
              <a:gd name="connsiteY7" fmla="*/ 4807 h 10000"/>
              <a:gd name="connsiteX8" fmla="*/ 748 w 9997"/>
              <a:gd name="connsiteY8" fmla="*/ 4818 h 10000"/>
              <a:gd name="connsiteX9" fmla="*/ 846 w 9997"/>
              <a:gd name="connsiteY9" fmla="*/ 4834 h 10000"/>
              <a:gd name="connsiteX10" fmla="*/ 952 w 9997"/>
              <a:gd name="connsiteY10" fmla="*/ 4850 h 10000"/>
              <a:gd name="connsiteX11" fmla="*/ 1050 w 9997"/>
              <a:gd name="connsiteY11" fmla="*/ 4871 h 10000"/>
              <a:gd name="connsiteX12" fmla="*/ 1148 w 9997"/>
              <a:gd name="connsiteY12" fmla="*/ 4892 h 10000"/>
              <a:gd name="connsiteX13" fmla="*/ 1246 w 9997"/>
              <a:gd name="connsiteY13" fmla="*/ 4914 h 10000"/>
              <a:gd name="connsiteX14" fmla="*/ 1339 w 9997"/>
              <a:gd name="connsiteY14" fmla="*/ 4941 h 10000"/>
              <a:gd name="connsiteX15" fmla="*/ 1437 w 9997"/>
              <a:gd name="connsiteY15" fmla="*/ 4967 h 10000"/>
              <a:gd name="connsiteX16" fmla="*/ 1529 w 9997"/>
              <a:gd name="connsiteY16" fmla="*/ 4999 h 10000"/>
              <a:gd name="connsiteX17" fmla="*/ 1621 w 9997"/>
              <a:gd name="connsiteY17" fmla="*/ 5030 h 10000"/>
              <a:gd name="connsiteX18" fmla="*/ 1712 w 9997"/>
              <a:gd name="connsiteY18" fmla="*/ 5062 h 10000"/>
              <a:gd name="connsiteX19" fmla="*/ 1805 w 9997"/>
              <a:gd name="connsiteY19" fmla="*/ 5095 h 10000"/>
              <a:gd name="connsiteX20" fmla="*/ 1896 w 9997"/>
              <a:gd name="connsiteY20" fmla="*/ 5132 h 10000"/>
              <a:gd name="connsiteX21" fmla="*/ 1988 w 9997"/>
              <a:gd name="connsiteY21" fmla="*/ 5169 h 10000"/>
              <a:gd name="connsiteX22" fmla="*/ 2073 w 9997"/>
              <a:gd name="connsiteY22" fmla="*/ 5212 h 10000"/>
              <a:gd name="connsiteX23" fmla="*/ 2159 w 9997"/>
              <a:gd name="connsiteY23" fmla="*/ 5250 h 10000"/>
              <a:gd name="connsiteX24" fmla="*/ 2244 w 9997"/>
              <a:gd name="connsiteY24" fmla="*/ 5292 h 10000"/>
              <a:gd name="connsiteX25" fmla="*/ 2322 w 9997"/>
              <a:gd name="connsiteY25" fmla="*/ 5335 h 10000"/>
              <a:gd name="connsiteX26" fmla="*/ 2407 w 9997"/>
              <a:gd name="connsiteY26" fmla="*/ 5383 h 10000"/>
              <a:gd name="connsiteX27" fmla="*/ 2485 w 9997"/>
              <a:gd name="connsiteY27" fmla="*/ 5431 h 10000"/>
              <a:gd name="connsiteX28" fmla="*/ 2566 w 9997"/>
              <a:gd name="connsiteY28" fmla="*/ 5479 h 10000"/>
              <a:gd name="connsiteX29" fmla="*/ 2644 w 9997"/>
              <a:gd name="connsiteY29" fmla="*/ 5527 h 10000"/>
              <a:gd name="connsiteX30" fmla="*/ 2723 w 9997"/>
              <a:gd name="connsiteY30" fmla="*/ 5581 h 10000"/>
              <a:gd name="connsiteX31" fmla="*/ 2795 w 9997"/>
              <a:gd name="connsiteY31" fmla="*/ 5634 h 10000"/>
              <a:gd name="connsiteX32" fmla="*/ 2866 w 9997"/>
              <a:gd name="connsiteY32" fmla="*/ 5688 h 10000"/>
              <a:gd name="connsiteX33" fmla="*/ 2939 w 9997"/>
              <a:gd name="connsiteY33" fmla="*/ 5747 h 10000"/>
              <a:gd name="connsiteX34" fmla="*/ 3005 w 9997"/>
              <a:gd name="connsiteY34" fmla="*/ 5805 h 10000"/>
              <a:gd name="connsiteX35" fmla="*/ 3077 w 9997"/>
              <a:gd name="connsiteY35" fmla="*/ 5864 h 10000"/>
              <a:gd name="connsiteX36" fmla="*/ 3142 w 9997"/>
              <a:gd name="connsiteY36" fmla="*/ 5923 h 10000"/>
              <a:gd name="connsiteX37" fmla="*/ 3201 w 9997"/>
              <a:gd name="connsiteY37" fmla="*/ 5987 h 10000"/>
              <a:gd name="connsiteX38" fmla="*/ 3267 w 9997"/>
              <a:gd name="connsiteY38" fmla="*/ 6046 h 10000"/>
              <a:gd name="connsiteX39" fmla="*/ 3326 w 9997"/>
              <a:gd name="connsiteY39" fmla="*/ 6110 h 10000"/>
              <a:gd name="connsiteX40" fmla="*/ 3385 w 9997"/>
              <a:gd name="connsiteY40" fmla="*/ 6174 h 10000"/>
              <a:gd name="connsiteX41" fmla="*/ 3444 w 9997"/>
              <a:gd name="connsiteY41" fmla="*/ 6238 h 10000"/>
              <a:gd name="connsiteX42" fmla="*/ 3496 w 9997"/>
              <a:gd name="connsiteY42" fmla="*/ 6308 h 10000"/>
              <a:gd name="connsiteX43" fmla="*/ 3549 w 9997"/>
              <a:gd name="connsiteY43" fmla="*/ 6377 h 10000"/>
              <a:gd name="connsiteX44" fmla="*/ 3601 w 9997"/>
              <a:gd name="connsiteY44" fmla="*/ 6447 h 10000"/>
              <a:gd name="connsiteX45" fmla="*/ 3655 w 9997"/>
              <a:gd name="connsiteY45" fmla="*/ 6516 h 10000"/>
              <a:gd name="connsiteX46" fmla="*/ 3694 w 9997"/>
              <a:gd name="connsiteY46" fmla="*/ 6591 h 10000"/>
              <a:gd name="connsiteX47" fmla="*/ 3746 w 9997"/>
              <a:gd name="connsiteY47" fmla="*/ 6666 h 10000"/>
              <a:gd name="connsiteX48" fmla="*/ 3785 w 9997"/>
              <a:gd name="connsiteY48" fmla="*/ 6735 h 10000"/>
              <a:gd name="connsiteX49" fmla="*/ 3825 w 9997"/>
              <a:gd name="connsiteY49" fmla="*/ 6810 h 10000"/>
              <a:gd name="connsiteX50" fmla="*/ 3864 w 9997"/>
              <a:gd name="connsiteY50" fmla="*/ 6885 h 10000"/>
              <a:gd name="connsiteX51" fmla="*/ 3897 w 9997"/>
              <a:gd name="connsiteY51" fmla="*/ 6960 h 10000"/>
              <a:gd name="connsiteX52" fmla="*/ 3929 w 9997"/>
              <a:gd name="connsiteY52" fmla="*/ 7040 h 10000"/>
              <a:gd name="connsiteX53" fmla="*/ 3962 w 9997"/>
              <a:gd name="connsiteY53" fmla="*/ 7120 h 10000"/>
              <a:gd name="connsiteX54" fmla="*/ 3995 w 9997"/>
              <a:gd name="connsiteY54" fmla="*/ 7195 h 10000"/>
              <a:gd name="connsiteX55" fmla="*/ 4021 w 9997"/>
              <a:gd name="connsiteY55" fmla="*/ 7275 h 10000"/>
              <a:gd name="connsiteX56" fmla="*/ 4041 w 9997"/>
              <a:gd name="connsiteY56" fmla="*/ 7355 h 10000"/>
              <a:gd name="connsiteX57" fmla="*/ 4068 w 9997"/>
              <a:gd name="connsiteY57" fmla="*/ 7441 h 10000"/>
              <a:gd name="connsiteX58" fmla="*/ 4087 w 9997"/>
              <a:gd name="connsiteY58" fmla="*/ 7521 h 10000"/>
              <a:gd name="connsiteX59" fmla="*/ 4107 w 9997"/>
              <a:gd name="connsiteY59" fmla="*/ 7601 h 10000"/>
              <a:gd name="connsiteX60" fmla="*/ 4120 w 9997"/>
              <a:gd name="connsiteY60" fmla="*/ 7687 h 10000"/>
              <a:gd name="connsiteX61" fmla="*/ 4133 w 9997"/>
              <a:gd name="connsiteY61" fmla="*/ 7772 h 10000"/>
              <a:gd name="connsiteX62" fmla="*/ 4139 w 9997"/>
              <a:gd name="connsiteY62" fmla="*/ 7858 h 10000"/>
              <a:gd name="connsiteX63" fmla="*/ 4146 w 9997"/>
              <a:gd name="connsiteY63" fmla="*/ 7943 h 10000"/>
              <a:gd name="connsiteX64" fmla="*/ 4146 w 9997"/>
              <a:gd name="connsiteY64" fmla="*/ 8029 h 10000"/>
              <a:gd name="connsiteX65" fmla="*/ 4152 w 9997"/>
              <a:gd name="connsiteY65" fmla="*/ 8114 h 10000"/>
              <a:gd name="connsiteX66" fmla="*/ 4146 w 9997"/>
              <a:gd name="connsiteY66" fmla="*/ 8227 h 10000"/>
              <a:gd name="connsiteX67" fmla="*/ 4139 w 9997"/>
              <a:gd name="connsiteY67" fmla="*/ 8343 h 10000"/>
              <a:gd name="connsiteX68" fmla="*/ 4133 w 9997"/>
              <a:gd name="connsiteY68" fmla="*/ 8450 h 10000"/>
              <a:gd name="connsiteX69" fmla="*/ 4113 w 9997"/>
              <a:gd name="connsiteY69" fmla="*/ 8562 h 10000"/>
              <a:gd name="connsiteX70" fmla="*/ 6724 w 9997"/>
              <a:gd name="connsiteY70" fmla="*/ 10000 h 10000"/>
              <a:gd name="connsiteX71" fmla="*/ 9847 w 9997"/>
              <a:gd name="connsiteY71" fmla="*/ 9498 h 10000"/>
              <a:gd name="connsiteX72" fmla="*/ 9886 w 9997"/>
              <a:gd name="connsiteY72" fmla="*/ 9332 h 10000"/>
              <a:gd name="connsiteX73" fmla="*/ 9912 w 9997"/>
              <a:gd name="connsiteY73" fmla="*/ 9161 h 10000"/>
              <a:gd name="connsiteX74" fmla="*/ 9938 w 9997"/>
              <a:gd name="connsiteY74" fmla="*/ 8990 h 10000"/>
              <a:gd name="connsiteX75" fmla="*/ 9958 w 9997"/>
              <a:gd name="connsiteY75" fmla="*/ 8813 h 10000"/>
              <a:gd name="connsiteX76" fmla="*/ 9971 w 9997"/>
              <a:gd name="connsiteY76" fmla="*/ 8637 h 10000"/>
              <a:gd name="connsiteX77" fmla="*/ 9984 w 9997"/>
              <a:gd name="connsiteY77" fmla="*/ 8466 h 10000"/>
              <a:gd name="connsiteX78" fmla="*/ 9990 w 9997"/>
              <a:gd name="connsiteY78" fmla="*/ 8291 h 10000"/>
              <a:gd name="connsiteX79" fmla="*/ 9997 w 9997"/>
              <a:gd name="connsiteY79" fmla="*/ 8114 h 10000"/>
              <a:gd name="connsiteX80" fmla="*/ 9990 w 9997"/>
              <a:gd name="connsiteY80" fmla="*/ 7901 h 10000"/>
              <a:gd name="connsiteX81" fmla="*/ 9984 w 9997"/>
              <a:gd name="connsiteY81" fmla="*/ 7697 h 10000"/>
              <a:gd name="connsiteX82" fmla="*/ 9964 w 9997"/>
              <a:gd name="connsiteY82" fmla="*/ 7489 h 10000"/>
              <a:gd name="connsiteX83" fmla="*/ 9945 w 9997"/>
              <a:gd name="connsiteY83" fmla="*/ 7286 h 10000"/>
              <a:gd name="connsiteX84" fmla="*/ 9912 w 9997"/>
              <a:gd name="connsiteY84" fmla="*/ 7077 h 10000"/>
              <a:gd name="connsiteX85" fmla="*/ 9879 w 9997"/>
              <a:gd name="connsiteY85" fmla="*/ 6880 h 10000"/>
              <a:gd name="connsiteX86" fmla="*/ 9840 w 9997"/>
              <a:gd name="connsiteY86" fmla="*/ 6677 h 10000"/>
              <a:gd name="connsiteX87" fmla="*/ 9793 w 9997"/>
              <a:gd name="connsiteY87" fmla="*/ 6479 h 10000"/>
              <a:gd name="connsiteX88" fmla="*/ 9741 w 9997"/>
              <a:gd name="connsiteY88" fmla="*/ 6281 h 10000"/>
              <a:gd name="connsiteX89" fmla="*/ 9682 w 9997"/>
              <a:gd name="connsiteY89" fmla="*/ 6089 h 10000"/>
              <a:gd name="connsiteX90" fmla="*/ 9617 w 9997"/>
              <a:gd name="connsiteY90" fmla="*/ 5891 h 10000"/>
              <a:gd name="connsiteX91" fmla="*/ 9552 w 9997"/>
              <a:gd name="connsiteY91" fmla="*/ 5698 h 10000"/>
              <a:gd name="connsiteX92" fmla="*/ 9472 w 9997"/>
              <a:gd name="connsiteY92" fmla="*/ 5511 h 10000"/>
              <a:gd name="connsiteX93" fmla="*/ 9393 w 9997"/>
              <a:gd name="connsiteY93" fmla="*/ 5324 h 10000"/>
              <a:gd name="connsiteX94" fmla="*/ 9301 w 9997"/>
              <a:gd name="connsiteY94" fmla="*/ 5137 h 10000"/>
              <a:gd name="connsiteX95" fmla="*/ 9210 w 9997"/>
              <a:gd name="connsiteY95" fmla="*/ 4957 h 10000"/>
              <a:gd name="connsiteX96" fmla="*/ 9118 w 9997"/>
              <a:gd name="connsiteY96" fmla="*/ 4775 h 10000"/>
              <a:gd name="connsiteX97" fmla="*/ 9013 w 9997"/>
              <a:gd name="connsiteY97" fmla="*/ 4598 h 10000"/>
              <a:gd name="connsiteX98" fmla="*/ 8908 w 9997"/>
              <a:gd name="connsiteY98" fmla="*/ 4422 h 10000"/>
              <a:gd name="connsiteX99" fmla="*/ 8797 w 9997"/>
              <a:gd name="connsiteY99" fmla="*/ 4246 h 10000"/>
              <a:gd name="connsiteX100" fmla="*/ 8679 w 9997"/>
              <a:gd name="connsiteY100" fmla="*/ 4075 h 10000"/>
              <a:gd name="connsiteX101" fmla="*/ 8554 w 9997"/>
              <a:gd name="connsiteY101" fmla="*/ 3909 h 10000"/>
              <a:gd name="connsiteX102" fmla="*/ 8429 w 9997"/>
              <a:gd name="connsiteY102" fmla="*/ 3743 h 10000"/>
              <a:gd name="connsiteX103" fmla="*/ 8298 w 9997"/>
              <a:gd name="connsiteY103" fmla="*/ 3578 h 10000"/>
              <a:gd name="connsiteX104" fmla="*/ 8160 w 9997"/>
              <a:gd name="connsiteY104" fmla="*/ 3417 h 10000"/>
              <a:gd name="connsiteX105" fmla="*/ 8016 w 9997"/>
              <a:gd name="connsiteY105" fmla="*/ 3262 h 10000"/>
              <a:gd name="connsiteX106" fmla="*/ 7871 w 9997"/>
              <a:gd name="connsiteY106" fmla="*/ 3107 h 10000"/>
              <a:gd name="connsiteX107" fmla="*/ 7721 w 9997"/>
              <a:gd name="connsiteY107" fmla="*/ 2952 h 10000"/>
              <a:gd name="connsiteX108" fmla="*/ 7571 w 9997"/>
              <a:gd name="connsiteY108" fmla="*/ 2808 h 10000"/>
              <a:gd name="connsiteX109" fmla="*/ 7405 w 9997"/>
              <a:gd name="connsiteY109" fmla="*/ 2664 h 10000"/>
              <a:gd name="connsiteX110" fmla="*/ 7248 w 9997"/>
              <a:gd name="connsiteY110" fmla="*/ 2519 h 10000"/>
              <a:gd name="connsiteX111" fmla="*/ 7078 w 9997"/>
              <a:gd name="connsiteY111" fmla="*/ 2375 h 10000"/>
              <a:gd name="connsiteX112" fmla="*/ 6908 w 9997"/>
              <a:gd name="connsiteY112" fmla="*/ 2241 h 10000"/>
              <a:gd name="connsiteX113" fmla="*/ 6738 w 9997"/>
              <a:gd name="connsiteY113" fmla="*/ 2108 h 10000"/>
              <a:gd name="connsiteX114" fmla="*/ 6554 w 9997"/>
              <a:gd name="connsiteY114" fmla="*/ 1980 h 10000"/>
              <a:gd name="connsiteX115" fmla="*/ 6370 w 9997"/>
              <a:gd name="connsiteY115" fmla="*/ 1857 h 10000"/>
              <a:gd name="connsiteX116" fmla="*/ 6186 w 9997"/>
              <a:gd name="connsiteY116" fmla="*/ 1734 h 10000"/>
              <a:gd name="connsiteX117" fmla="*/ 5996 w 9997"/>
              <a:gd name="connsiteY117" fmla="*/ 1617 h 10000"/>
              <a:gd name="connsiteX118" fmla="*/ 5799 w 9997"/>
              <a:gd name="connsiteY118" fmla="*/ 1500 h 10000"/>
              <a:gd name="connsiteX119" fmla="*/ 5603 w 9997"/>
              <a:gd name="connsiteY119" fmla="*/ 1387 h 10000"/>
              <a:gd name="connsiteX120" fmla="*/ 5405 w 9997"/>
              <a:gd name="connsiteY120" fmla="*/ 1280 h 10000"/>
              <a:gd name="connsiteX121" fmla="*/ 5202 w 9997"/>
              <a:gd name="connsiteY121" fmla="*/ 1179 h 10000"/>
              <a:gd name="connsiteX122" fmla="*/ 4999 w 9997"/>
              <a:gd name="connsiteY122" fmla="*/ 1077 h 10000"/>
              <a:gd name="connsiteX123" fmla="*/ 4782 w 9997"/>
              <a:gd name="connsiteY123" fmla="*/ 981 h 10000"/>
              <a:gd name="connsiteX124" fmla="*/ 4573 w 9997"/>
              <a:gd name="connsiteY124" fmla="*/ 890 h 10000"/>
              <a:gd name="connsiteX125" fmla="*/ 4355 w 9997"/>
              <a:gd name="connsiteY125" fmla="*/ 805 h 10000"/>
              <a:gd name="connsiteX126" fmla="*/ 4133 w 9997"/>
              <a:gd name="connsiteY126" fmla="*/ 719 h 10000"/>
              <a:gd name="connsiteX127" fmla="*/ 3916 w 9997"/>
              <a:gd name="connsiteY127" fmla="*/ 639 h 10000"/>
              <a:gd name="connsiteX128" fmla="*/ 3694 w 9997"/>
              <a:gd name="connsiteY128" fmla="*/ 570 h 10000"/>
              <a:gd name="connsiteX129" fmla="*/ 3463 w 9997"/>
              <a:gd name="connsiteY129" fmla="*/ 495 h 10000"/>
              <a:gd name="connsiteX130" fmla="*/ 3233 w 9997"/>
              <a:gd name="connsiteY130" fmla="*/ 431 h 10000"/>
              <a:gd name="connsiteX131" fmla="*/ 2998 w 9997"/>
              <a:gd name="connsiteY131" fmla="*/ 366 h 10000"/>
              <a:gd name="connsiteX132" fmla="*/ 2768 w 9997"/>
              <a:gd name="connsiteY132" fmla="*/ 313 h 10000"/>
              <a:gd name="connsiteX133" fmla="*/ 2527 w 9997"/>
              <a:gd name="connsiteY133" fmla="*/ 260 h 10000"/>
              <a:gd name="connsiteX134" fmla="*/ 2283 w 9997"/>
              <a:gd name="connsiteY134" fmla="*/ 211 h 10000"/>
              <a:gd name="connsiteX135" fmla="*/ 2046 w 9997"/>
              <a:gd name="connsiteY135" fmla="*/ 169 h 10000"/>
              <a:gd name="connsiteX136" fmla="*/ 1805 w 9997"/>
              <a:gd name="connsiteY136" fmla="*/ 131 h 10000"/>
              <a:gd name="connsiteX137" fmla="*/ 1555 w 9997"/>
              <a:gd name="connsiteY137" fmla="*/ 94 h 10000"/>
              <a:gd name="connsiteX138" fmla="*/ 1305 w 9997"/>
              <a:gd name="connsiteY138" fmla="*/ 67 h 10000"/>
              <a:gd name="connsiteX139" fmla="*/ 1057 w 9997"/>
              <a:gd name="connsiteY139" fmla="*/ 46 h 10000"/>
              <a:gd name="connsiteX140" fmla="*/ 807 w 9997"/>
              <a:gd name="connsiteY140" fmla="*/ 30 h 10000"/>
              <a:gd name="connsiteX141" fmla="*/ 551 w 9997"/>
              <a:gd name="connsiteY141" fmla="*/ 14 h 10000"/>
              <a:gd name="connsiteX142" fmla="*/ 295 w 9997"/>
              <a:gd name="connsiteY142" fmla="*/ 8 h 10000"/>
              <a:gd name="connsiteX143" fmla="*/ 39 w 9997"/>
              <a:gd name="connsiteY143" fmla="*/ 3 h 10000"/>
              <a:gd name="connsiteX144" fmla="*/ 0 w 9997"/>
              <a:gd name="connsiteY144" fmla="*/ 0 h 10000"/>
              <a:gd name="connsiteX145" fmla="*/ 1210 w 9997"/>
              <a:gd name="connsiteY145" fmla="*/ 2445 h 10000"/>
              <a:gd name="connsiteX146" fmla="*/ 7 w 9997"/>
              <a:gd name="connsiteY146" fmla="*/ 4770 h 10000"/>
              <a:gd name="connsiteX0" fmla="*/ 7 w 10000"/>
              <a:gd name="connsiteY0" fmla="*/ 4770 h 10000"/>
              <a:gd name="connsiteX1" fmla="*/ 20 w 10000"/>
              <a:gd name="connsiteY1" fmla="*/ 4764 h 10000"/>
              <a:gd name="connsiteX2" fmla="*/ 124 w 10000"/>
              <a:gd name="connsiteY2" fmla="*/ 4764 h 10000"/>
              <a:gd name="connsiteX3" fmla="*/ 230 w 10000"/>
              <a:gd name="connsiteY3" fmla="*/ 4770 h 10000"/>
              <a:gd name="connsiteX4" fmla="*/ 335 w 10000"/>
              <a:gd name="connsiteY4" fmla="*/ 4775 h 10000"/>
              <a:gd name="connsiteX5" fmla="*/ 439 w 10000"/>
              <a:gd name="connsiteY5" fmla="*/ 4780 h 10000"/>
              <a:gd name="connsiteX6" fmla="*/ 545 w 10000"/>
              <a:gd name="connsiteY6" fmla="*/ 4796 h 10000"/>
              <a:gd name="connsiteX7" fmla="*/ 650 w 10000"/>
              <a:gd name="connsiteY7" fmla="*/ 4807 h 10000"/>
              <a:gd name="connsiteX8" fmla="*/ 748 w 10000"/>
              <a:gd name="connsiteY8" fmla="*/ 4818 h 10000"/>
              <a:gd name="connsiteX9" fmla="*/ 846 w 10000"/>
              <a:gd name="connsiteY9" fmla="*/ 4834 h 10000"/>
              <a:gd name="connsiteX10" fmla="*/ 952 w 10000"/>
              <a:gd name="connsiteY10" fmla="*/ 4850 h 10000"/>
              <a:gd name="connsiteX11" fmla="*/ 1050 w 10000"/>
              <a:gd name="connsiteY11" fmla="*/ 4871 h 10000"/>
              <a:gd name="connsiteX12" fmla="*/ 1148 w 10000"/>
              <a:gd name="connsiteY12" fmla="*/ 4892 h 10000"/>
              <a:gd name="connsiteX13" fmla="*/ 1246 w 10000"/>
              <a:gd name="connsiteY13" fmla="*/ 4914 h 10000"/>
              <a:gd name="connsiteX14" fmla="*/ 1339 w 10000"/>
              <a:gd name="connsiteY14" fmla="*/ 4941 h 10000"/>
              <a:gd name="connsiteX15" fmla="*/ 1437 w 10000"/>
              <a:gd name="connsiteY15" fmla="*/ 4967 h 10000"/>
              <a:gd name="connsiteX16" fmla="*/ 1529 w 10000"/>
              <a:gd name="connsiteY16" fmla="*/ 4999 h 10000"/>
              <a:gd name="connsiteX17" fmla="*/ 1621 w 10000"/>
              <a:gd name="connsiteY17" fmla="*/ 5030 h 10000"/>
              <a:gd name="connsiteX18" fmla="*/ 1713 w 10000"/>
              <a:gd name="connsiteY18" fmla="*/ 5062 h 10000"/>
              <a:gd name="connsiteX19" fmla="*/ 1806 w 10000"/>
              <a:gd name="connsiteY19" fmla="*/ 5095 h 10000"/>
              <a:gd name="connsiteX20" fmla="*/ 1897 w 10000"/>
              <a:gd name="connsiteY20" fmla="*/ 5132 h 10000"/>
              <a:gd name="connsiteX21" fmla="*/ 1989 w 10000"/>
              <a:gd name="connsiteY21" fmla="*/ 5169 h 10000"/>
              <a:gd name="connsiteX22" fmla="*/ 2074 w 10000"/>
              <a:gd name="connsiteY22" fmla="*/ 5212 h 10000"/>
              <a:gd name="connsiteX23" fmla="*/ 2160 w 10000"/>
              <a:gd name="connsiteY23" fmla="*/ 5250 h 10000"/>
              <a:gd name="connsiteX24" fmla="*/ 2245 w 10000"/>
              <a:gd name="connsiteY24" fmla="*/ 5292 h 10000"/>
              <a:gd name="connsiteX25" fmla="*/ 2323 w 10000"/>
              <a:gd name="connsiteY25" fmla="*/ 5335 h 10000"/>
              <a:gd name="connsiteX26" fmla="*/ 2408 w 10000"/>
              <a:gd name="connsiteY26" fmla="*/ 5383 h 10000"/>
              <a:gd name="connsiteX27" fmla="*/ 2486 w 10000"/>
              <a:gd name="connsiteY27" fmla="*/ 5431 h 10000"/>
              <a:gd name="connsiteX28" fmla="*/ 2567 w 10000"/>
              <a:gd name="connsiteY28" fmla="*/ 5479 h 10000"/>
              <a:gd name="connsiteX29" fmla="*/ 2645 w 10000"/>
              <a:gd name="connsiteY29" fmla="*/ 5527 h 10000"/>
              <a:gd name="connsiteX30" fmla="*/ 2724 w 10000"/>
              <a:gd name="connsiteY30" fmla="*/ 5581 h 10000"/>
              <a:gd name="connsiteX31" fmla="*/ 2796 w 10000"/>
              <a:gd name="connsiteY31" fmla="*/ 5634 h 10000"/>
              <a:gd name="connsiteX32" fmla="*/ 2867 w 10000"/>
              <a:gd name="connsiteY32" fmla="*/ 5688 h 10000"/>
              <a:gd name="connsiteX33" fmla="*/ 2940 w 10000"/>
              <a:gd name="connsiteY33" fmla="*/ 5747 h 10000"/>
              <a:gd name="connsiteX34" fmla="*/ 3006 w 10000"/>
              <a:gd name="connsiteY34" fmla="*/ 5805 h 10000"/>
              <a:gd name="connsiteX35" fmla="*/ 3078 w 10000"/>
              <a:gd name="connsiteY35" fmla="*/ 5864 h 10000"/>
              <a:gd name="connsiteX36" fmla="*/ 3143 w 10000"/>
              <a:gd name="connsiteY36" fmla="*/ 5923 h 10000"/>
              <a:gd name="connsiteX37" fmla="*/ 3202 w 10000"/>
              <a:gd name="connsiteY37" fmla="*/ 5987 h 10000"/>
              <a:gd name="connsiteX38" fmla="*/ 3268 w 10000"/>
              <a:gd name="connsiteY38" fmla="*/ 6046 h 10000"/>
              <a:gd name="connsiteX39" fmla="*/ 3327 w 10000"/>
              <a:gd name="connsiteY39" fmla="*/ 6110 h 10000"/>
              <a:gd name="connsiteX40" fmla="*/ 3386 w 10000"/>
              <a:gd name="connsiteY40" fmla="*/ 6174 h 10000"/>
              <a:gd name="connsiteX41" fmla="*/ 3445 w 10000"/>
              <a:gd name="connsiteY41" fmla="*/ 6238 h 10000"/>
              <a:gd name="connsiteX42" fmla="*/ 3497 w 10000"/>
              <a:gd name="connsiteY42" fmla="*/ 6308 h 10000"/>
              <a:gd name="connsiteX43" fmla="*/ 3550 w 10000"/>
              <a:gd name="connsiteY43" fmla="*/ 6377 h 10000"/>
              <a:gd name="connsiteX44" fmla="*/ 3602 w 10000"/>
              <a:gd name="connsiteY44" fmla="*/ 6447 h 10000"/>
              <a:gd name="connsiteX45" fmla="*/ 3656 w 10000"/>
              <a:gd name="connsiteY45" fmla="*/ 6516 h 10000"/>
              <a:gd name="connsiteX46" fmla="*/ 3695 w 10000"/>
              <a:gd name="connsiteY46" fmla="*/ 6591 h 10000"/>
              <a:gd name="connsiteX47" fmla="*/ 3747 w 10000"/>
              <a:gd name="connsiteY47" fmla="*/ 6666 h 10000"/>
              <a:gd name="connsiteX48" fmla="*/ 3786 w 10000"/>
              <a:gd name="connsiteY48" fmla="*/ 6735 h 10000"/>
              <a:gd name="connsiteX49" fmla="*/ 3826 w 10000"/>
              <a:gd name="connsiteY49" fmla="*/ 6810 h 10000"/>
              <a:gd name="connsiteX50" fmla="*/ 3865 w 10000"/>
              <a:gd name="connsiteY50" fmla="*/ 6885 h 10000"/>
              <a:gd name="connsiteX51" fmla="*/ 3898 w 10000"/>
              <a:gd name="connsiteY51" fmla="*/ 6960 h 10000"/>
              <a:gd name="connsiteX52" fmla="*/ 3930 w 10000"/>
              <a:gd name="connsiteY52" fmla="*/ 7040 h 10000"/>
              <a:gd name="connsiteX53" fmla="*/ 3963 w 10000"/>
              <a:gd name="connsiteY53" fmla="*/ 7120 h 10000"/>
              <a:gd name="connsiteX54" fmla="*/ 3996 w 10000"/>
              <a:gd name="connsiteY54" fmla="*/ 7195 h 10000"/>
              <a:gd name="connsiteX55" fmla="*/ 4022 w 10000"/>
              <a:gd name="connsiteY55" fmla="*/ 7275 h 10000"/>
              <a:gd name="connsiteX56" fmla="*/ 4042 w 10000"/>
              <a:gd name="connsiteY56" fmla="*/ 7355 h 10000"/>
              <a:gd name="connsiteX57" fmla="*/ 4069 w 10000"/>
              <a:gd name="connsiteY57" fmla="*/ 7441 h 10000"/>
              <a:gd name="connsiteX58" fmla="*/ 4088 w 10000"/>
              <a:gd name="connsiteY58" fmla="*/ 7521 h 10000"/>
              <a:gd name="connsiteX59" fmla="*/ 4108 w 10000"/>
              <a:gd name="connsiteY59" fmla="*/ 7601 h 10000"/>
              <a:gd name="connsiteX60" fmla="*/ 4121 w 10000"/>
              <a:gd name="connsiteY60" fmla="*/ 7687 h 10000"/>
              <a:gd name="connsiteX61" fmla="*/ 4134 w 10000"/>
              <a:gd name="connsiteY61" fmla="*/ 7772 h 10000"/>
              <a:gd name="connsiteX62" fmla="*/ 4140 w 10000"/>
              <a:gd name="connsiteY62" fmla="*/ 7858 h 10000"/>
              <a:gd name="connsiteX63" fmla="*/ 4147 w 10000"/>
              <a:gd name="connsiteY63" fmla="*/ 7943 h 10000"/>
              <a:gd name="connsiteX64" fmla="*/ 4147 w 10000"/>
              <a:gd name="connsiteY64" fmla="*/ 8029 h 10000"/>
              <a:gd name="connsiteX65" fmla="*/ 4153 w 10000"/>
              <a:gd name="connsiteY65" fmla="*/ 8114 h 10000"/>
              <a:gd name="connsiteX66" fmla="*/ 4147 w 10000"/>
              <a:gd name="connsiteY66" fmla="*/ 8227 h 10000"/>
              <a:gd name="connsiteX67" fmla="*/ 4140 w 10000"/>
              <a:gd name="connsiteY67" fmla="*/ 8343 h 10000"/>
              <a:gd name="connsiteX68" fmla="*/ 4134 w 10000"/>
              <a:gd name="connsiteY68" fmla="*/ 8450 h 10000"/>
              <a:gd name="connsiteX69" fmla="*/ 6726 w 10000"/>
              <a:gd name="connsiteY69" fmla="*/ 10000 h 10000"/>
              <a:gd name="connsiteX70" fmla="*/ 9850 w 10000"/>
              <a:gd name="connsiteY70" fmla="*/ 9498 h 10000"/>
              <a:gd name="connsiteX71" fmla="*/ 9889 w 10000"/>
              <a:gd name="connsiteY71" fmla="*/ 9332 h 10000"/>
              <a:gd name="connsiteX72" fmla="*/ 9915 w 10000"/>
              <a:gd name="connsiteY72" fmla="*/ 9161 h 10000"/>
              <a:gd name="connsiteX73" fmla="*/ 9941 w 10000"/>
              <a:gd name="connsiteY73" fmla="*/ 8990 h 10000"/>
              <a:gd name="connsiteX74" fmla="*/ 9961 w 10000"/>
              <a:gd name="connsiteY74" fmla="*/ 8813 h 10000"/>
              <a:gd name="connsiteX75" fmla="*/ 9974 w 10000"/>
              <a:gd name="connsiteY75" fmla="*/ 8637 h 10000"/>
              <a:gd name="connsiteX76" fmla="*/ 9987 w 10000"/>
              <a:gd name="connsiteY76" fmla="*/ 8466 h 10000"/>
              <a:gd name="connsiteX77" fmla="*/ 9993 w 10000"/>
              <a:gd name="connsiteY77" fmla="*/ 8291 h 10000"/>
              <a:gd name="connsiteX78" fmla="*/ 10000 w 10000"/>
              <a:gd name="connsiteY78" fmla="*/ 8114 h 10000"/>
              <a:gd name="connsiteX79" fmla="*/ 9993 w 10000"/>
              <a:gd name="connsiteY79" fmla="*/ 7901 h 10000"/>
              <a:gd name="connsiteX80" fmla="*/ 9987 w 10000"/>
              <a:gd name="connsiteY80" fmla="*/ 7697 h 10000"/>
              <a:gd name="connsiteX81" fmla="*/ 9967 w 10000"/>
              <a:gd name="connsiteY81" fmla="*/ 7489 h 10000"/>
              <a:gd name="connsiteX82" fmla="*/ 9948 w 10000"/>
              <a:gd name="connsiteY82" fmla="*/ 7286 h 10000"/>
              <a:gd name="connsiteX83" fmla="*/ 9915 w 10000"/>
              <a:gd name="connsiteY83" fmla="*/ 7077 h 10000"/>
              <a:gd name="connsiteX84" fmla="*/ 9882 w 10000"/>
              <a:gd name="connsiteY84" fmla="*/ 6880 h 10000"/>
              <a:gd name="connsiteX85" fmla="*/ 9843 w 10000"/>
              <a:gd name="connsiteY85" fmla="*/ 6677 h 10000"/>
              <a:gd name="connsiteX86" fmla="*/ 9796 w 10000"/>
              <a:gd name="connsiteY86" fmla="*/ 6479 h 10000"/>
              <a:gd name="connsiteX87" fmla="*/ 9744 w 10000"/>
              <a:gd name="connsiteY87" fmla="*/ 6281 h 10000"/>
              <a:gd name="connsiteX88" fmla="*/ 9685 w 10000"/>
              <a:gd name="connsiteY88" fmla="*/ 6089 h 10000"/>
              <a:gd name="connsiteX89" fmla="*/ 9620 w 10000"/>
              <a:gd name="connsiteY89" fmla="*/ 5891 h 10000"/>
              <a:gd name="connsiteX90" fmla="*/ 9555 w 10000"/>
              <a:gd name="connsiteY90" fmla="*/ 5698 h 10000"/>
              <a:gd name="connsiteX91" fmla="*/ 9475 w 10000"/>
              <a:gd name="connsiteY91" fmla="*/ 5511 h 10000"/>
              <a:gd name="connsiteX92" fmla="*/ 9396 w 10000"/>
              <a:gd name="connsiteY92" fmla="*/ 5324 h 10000"/>
              <a:gd name="connsiteX93" fmla="*/ 9304 w 10000"/>
              <a:gd name="connsiteY93" fmla="*/ 5137 h 10000"/>
              <a:gd name="connsiteX94" fmla="*/ 9213 w 10000"/>
              <a:gd name="connsiteY94" fmla="*/ 4957 h 10000"/>
              <a:gd name="connsiteX95" fmla="*/ 9121 w 10000"/>
              <a:gd name="connsiteY95" fmla="*/ 4775 h 10000"/>
              <a:gd name="connsiteX96" fmla="*/ 9016 w 10000"/>
              <a:gd name="connsiteY96" fmla="*/ 4598 h 10000"/>
              <a:gd name="connsiteX97" fmla="*/ 8911 w 10000"/>
              <a:gd name="connsiteY97" fmla="*/ 4422 h 10000"/>
              <a:gd name="connsiteX98" fmla="*/ 8800 w 10000"/>
              <a:gd name="connsiteY98" fmla="*/ 4246 h 10000"/>
              <a:gd name="connsiteX99" fmla="*/ 8682 w 10000"/>
              <a:gd name="connsiteY99" fmla="*/ 4075 h 10000"/>
              <a:gd name="connsiteX100" fmla="*/ 8557 w 10000"/>
              <a:gd name="connsiteY100" fmla="*/ 3909 h 10000"/>
              <a:gd name="connsiteX101" fmla="*/ 8432 w 10000"/>
              <a:gd name="connsiteY101" fmla="*/ 3743 h 10000"/>
              <a:gd name="connsiteX102" fmla="*/ 8300 w 10000"/>
              <a:gd name="connsiteY102" fmla="*/ 3578 h 10000"/>
              <a:gd name="connsiteX103" fmla="*/ 8162 w 10000"/>
              <a:gd name="connsiteY103" fmla="*/ 3417 h 10000"/>
              <a:gd name="connsiteX104" fmla="*/ 8018 w 10000"/>
              <a:gd name="connsiteY104" fmla="*/ 3262 h 10000"/>
              <a:gd name="connsiteX105" fmla="*/ 7873 w 10000"/>
              <a:gd name="connsiteY105" fmla="*/ 3107 h 10000"/>
              <a:gd name="connsiteX106" fmla="*/ 7723 w 10000"/>
              <a:gd name="connsiteY106" fmla="*/ 2952 h 10000"/>
              <a:gd name="connsiteX107" fmla="*/ 7573 w 10000"/>
              <a:gd name="connsiteY107" fmla="*/ 2808 h 10000"/>
              <a:gd name="connsiteX108" fmla="*/ 7407 w 10000"/>
              <a:gd name="connsiteY108" fmla="*/ 2664 h 10000"/>
              <a:gd name="connsiteX109" fmla="*/ 7250 w 10000"/>
              <a:gd name="connsiteY109" fmla="*/ 2519 h 10000"/>
              <a:gd name="connsiteX110" fmla="*/ 7080 w 10000"/>
              <a:gd name="connsiteY110" fmla="*/ 2375 h 10000"/>
              <a:gd name="connsiteX111" fmla="*/ 6910 w 10000"/>
              <a:gd name="connsiteY111" fmla="*/ 2241 h 10000"/>
              <a:gd name="connsiteX112" fmla="*/ 6740 w 10000"/>
              <a:gd name="connsiteY112" fmla="*/ 2108 h 10000"/>
              <a:gd name="connsiteX113" fmla="*/ 6556 w 10000"/>
              <a:gd name="connsiteY113" fmla="*/ 1980 h 10000"/>
              <a:gd name="connsiteX114" fmla="*/ 6372 w 10000"/>
              <a:gd name="connsiteY114" fmla="*/ 1857 h 10000"/>
              <a:gd name="connsiteX115" fmla="*/ 6188 w 10000"/>
              <a:gd name="connsiteY115" fmla="*/ 1734 h 10000"/>
              <a:gd name="connsiteX116" fmla="*/ 5998 w 10000"/>
              <a:gd name="connsiteY116" fmla="*/ 1617 h 10000"/>
              <a:gd name="connsiteX117" fmla="*/ 5801 w 10000"/>
              <a:gd name="connsiteY117" fmla="*/ 1500 h 10000"/>
              <a:gd name="connsiteX118" fmla="*/ 5605 w 10000"/>
              <a:gd name="connsiteY118" fmla="*/ 1387 h 10000"/>
              <a:gd name="connsiteX119" fmla="*/ 5407 w 10000"/>
              <a:gd name="connsiteY119" fmla="*/ 1280 h 10000"/>
              <a:gd name="connsiteX120" fmla="*/ 5204 w 10000"/>
              <a:gd name="connsiteY120" fmla="*/ 1179 h 10000"/>
              <a:gd name="connsiteX121" fmla="*/ 5001 w 10000"/>
              <a:gd name="connsiteY121" fmla="*/ 1077 h 10000"/>
              <a:gd name="connsiteX122" fmla="*/ 4783 w 10000"/>
              <a:gd name="connsiteY122" fmla="*/ 981 h 10000"/>
              <a:gd name="connsiteX123" fmla="*/ 4574 w 10000"/>
              <a:gd name="connsiteY123" fmla="*/ 890 h 10000"/>
              <a:gd name="connsiteX124" fmla="*/ 4356 w 10000"/>
              <a:gd name="connsiteY124" fmla="*/ 805 h 10000"/>
              <a:gd name="connsiteX125" fmla="*/ 4134 w 10000"/>
              <a:gd name="connsiteY125" fmla="*/ 719 h 10000"/>
              <a:gd name="connsiteX126" fmla="*/ 3917 w 10000"/>
              <a:gd name="connsiteY126" fmla="*/ 639 h 10000"/>
              <a:gd name="connsiteX127" fmla="*/ 3695 w 10000"/>
              <a:gd name="connsiteY127" fmla="*/ 570 h 10000"/>
              <a:gd name="connsiteX128" fmla="*/ 3464 w 10000"/>
              <a:gd name="connsiteY128" fmla="*/ 495 h 10000"/>
              <a:gd name="connsiteX129" fmla="*/ 3234 w 10000"/>
              <a:gd name="connsiteY129" fmla="*/ 431 h 10000"/>
              <a:gd name="connsiteX130" fmla="*/ 2999 w 10000"/>
              <a:gd name="connsiteY130" fmla="*/ 366 h 10000"/>
              <a:gd name="connsiteX131" fmla="*/ 2769 w 10000"/>
              <a:gd name="connsiteY131" fmla="*/ 313 h 10000"/>
              <a:gd name="connsiteX132" fmla="*/ 2528 w 10000"/>
              <a:gd name="connsiteY132" fmla="*/ 260 h 10000"/>
              <a:gd name="connsiteX133" fmla="*/ 2284 w 10000"/>
              <a:gd name="connsiteY133" fmla="*/ 211 h 10000"/>
              <a:gd name="connsiteX134" fmla="*/ 2047 w 10000"/>
              <a:gd name="connsiteY134" fmla="*/ 169 h 10000"/>
              <a:gd name="connsiteX135" fmla="*/ 1806 w 10000"/>
              <a:gd name="connsiteY135" fmla="*/ 131 h 10000"/>
              <a:gd name="connsiteX136" fmla="*/ 1555 w 10000"/>
              <a:gd name="connsiteY136" fmla="*/ 94 h 10000"/>
              <a:gd name="connsiteX137" fmla="*/ 1305 w 10000"/>
              <a:gd name="connsiteY137" fmla="*/ 67 h 10000"/>
              <a:gd name="connsiteX138" fmla="*/ 1057 w 10000"/>
              <a:gd name="connsiteY138" fmla="*/ 46 h 10000"/>
              <a:gd name="connsiteX139" fmla="*/ 807 w 10000"/>
              <a:gd name="connsiteY139" fmla="*/ 30 h 10000"/>
              <a:gd name="connsiteX140" fmla="*/ 551 w 10000"/>
              <a:gd name="connsiteY140" fmla="*/ 14 h 10000"/>
              <a:gd name="connsiteX141" fmla="*/ 295 w 10000"/>
              <a:gd name="connsiteY141" fmla="*/ 8 h 10000"/>
              <a:gd name="connsiteX142" fmla="*/ 39 w 10000"/>
              <a:gd name="connsiteY142" fmla="*/ 3 h 10000"/>
              <a:gd name="connsiteX143" fmla="*/ 0 w 10000"/>
              <a:gd name="connsiteY143" fmla="*/ 0 h 10000"/>
              <a:gd name="connsiteX144" fmla="*/ 1210 w 10000"/>
              <a:gd name="connsiteY144" fmla="*/ 2445 h 10000"/>
              <a:gd name="connsiteX145" fmla="*/ 7 w 10000"/>
              <a:gd name="connsiteY145" fmla="*/ 4770 h 10000"/>
              <a:gd name="connsiteX0" fmla="*/ 7 w 10000"/>
              <a:gd name="connsiteY0" fmla="*/ 4770 h 10000"/>
              <a:gd name="connsiteX1" fmla="*/ 20 w 10000"/>
              <a:gd name="connsiteY1" fmla="*/ 4764 h 10000"/>
              <a:gd name="connsiteX2" fmla="*/ 124 w 10000"/>
              <a:gd name="connsiteY2" fmla="*/ 4764 h 10000"/>
              <a:gd name="connsiteX3" fmla="*/ 230 w 10000"/>
              <a:gd name="connsiteY3" fmla="*/ 4770 h 10000"/>
              <a:gd name="connsiteX4" fmla="*/ 335 w 10000"/>
              <a:gd name="connsiteY4" fmla="*/ 4775 h 10000"/>
              <a:gd name="connsiteX5" fmla="*/ 439 w 10000"/>
              <a:gd name="connsiteY5" fmla="*/ 4780 h 10000"/>
              <a:gd name="connsiteX6" fmla="*/ 545 w 10000"/>
              <a:gd name="connsiteY6" fmla="*/ 4796 h 10000"/>
              <a:gd name="connsiteX7" fmla="*/ 650 w 10000"/>
              <a:gd name="connsiteY7" fmla="*/ 4807 h 10000"/>
              <a:gd name="connsiteX8" fmla="*/ 748 w 10000"/>
              <a:gd name="connsiteY8" fmla="*/ 4818 h 10000"/>
              <a:gd name="connsiteX9" fmla="*/ 846 w 10000"/>
              <a:gd name="connsiteY9" fmla="*/ 4834 h 10000"/>
              <a:gd name="connsiteX10" fmla="*/ 952 w 10000"/>
              <a:gd name="connsiteY10" fmla="*/ 4850 h 10000"/>
              <a:gd name="connsiteX11" fmla="*/ 1050 w 10000"/>
              <a:gd name="connsiteY11" fmla="*/ 4871 h 10000"/>
              <a:gd name="connsiteX12" fmla="*/ 1148 w 10000"/>
              <a:gd name="connsiteY12" fmla="*/ 4892 h 10000"/>
              <a:gd name="connsiteX13" fmla="*/ 1246 w 10000"/>
              <a:gd name="connsiteY13" fmla="*/ 4914 h 10000"/>
              <a:gd name="connsiteX14" fmla="*/ 1339 w 10000"/>
              <a:gd name="connsiteY14" fmla="*/ 4941 h 10000"/>
              <a:gd name="connsiteX15" fmla="*/ 1437 w 10000"/>
              <a:gd name="connsiteY15" fmla="*/ 4967 h 10000"/>
              <a:gd name="connsiteX16" fmla="*/ 1529 w 10000"/>
              <a:gd name="connsiteY16" fmla="*/ 4999 h 10000"/>
              <a:gd name="connsiteX17" fmla="*/ 1621 w 10000"/>
              <a:gd name="connsiteY17" fmla="*/ 5030 h 10000"/>
              <a:gd name="connsiteX18" fmla="*/ 1713 w 10000"/>
              <a:gd name="connsiteY18" fmla="*/ 5062 h 10000"/>
              <a:gd name="connsiteX19" fmla="*/ 1806 w 10000"/>
              <a:gd name="connsiteY19" fmla="*/ 5095 h 10000"/>
              <a:gd name="connsiteX20" fmla="*/ 1897 w 10000"/>
              <a:gd name="connsiteY20" fmla="*/ 5132 h 10000"/>
              <a:gd name="connsiteX21" fmla="*/ 1989 w 10000"/>
              <a:gd name="connsiteY21" fmla="*/ 5169 h 10000"/>
              <a:gd name="connsiteX22" fmla="*/ 2074 w 10000"/>
              <a:gd name="connsiteY22" fmla="*/ 5212 h 10000"/>
              <a:gd name="connsiteX23" fmla="*/ 2160 w 10000"/>
              <a:gd name="connsiteY23" fmla="*/ 5250 h 10000"/>
              <a:gd name="connsiteX24" fmla="*/ 2245 w 10000"/>
              <a:gd name="connsiteY24" fmla="*/ 5292 h 10000"/>
              <a:gd name="connsiteX25" fmla="*/ 2323 w 10000"/>
              <a:gd name="connsiteY25" fmla="*/ 5335 h 10000"/>
              <a:gd name="connsiteX26" fmla="*/ 2408 w 10000"/>
              <a:gd name="connsiteY26" fmla="*/ 5383 h 10000"/>
              <a:gd name="connsiteX27" fmla="*/ 2486 w 10000"/>
              <a:gd name="connsiteY27" fmla="*/ 5431 h 10000"/>
              <a:gd name="connsiteX28" fmla="*/ 2567 w 10000"/>
              <a:gd name="connsiteY28" fmla="*/ 5479 h 10000"/>
              <a:gd name="connsiteX29" fmla="*/ 2645 w 10000"/>
              <a:gd name="connsiteY29" fmla="*/ 5527 h 10000"/>
              <a:gd name="connsiteX30" fmla="*/ 2724 w 10000"/>
              <a:gd name="connsiteY30" fmla="*/ 5581 h 10000"/>
              <a:gd name="connsiteX31" fmla="*/ 2796 w 10000"/>
              <a:gd name="connsiteY31" fmla="*/ 5634 h 10000"/>
              <a:gd name="connsiteX32" fmla="*/ 2867 w 10000"/>
              <a:gd name="connsiteY32" fmla="*/ 5688 h 10000"/>
              <a:gd name="connsiteX33" fmla="*/ 2940 w 10000"/>
              <a:gd name="connsiteY33" fmla="*/ 5747 h 10000"/>
              <a:gd name="connsiteX34" fmla="*/ 3006 w 10000"/>
              <a:gd name="connsiteY34" fmla="*/ 5805 h 10000"/>
              <a:gd name="connsiteX35" fmla="*/ 3078 w 10000"/>
              <a:gd name="connsiteY35" fmla="*/ 5864 h 10000"/>
              <a:gd name="connsiteX36" fmla="*/ 3143 w 10000"/>
              <a:gd name="connsiteY36" fmla="*/ 5923 h 10000"/>
              <a:gd name="connsiteX37" fmla="*/ 3202 w 10000"/>
              <a:gd name="connsiteY37" fmla="*/ 5987 h 10000"/>
              <a:gd name="connsiteX38" fmla="*/ 3268 w 10000"/>
              <a:gd name="connsiteY38" fmla="*/ 6046 h 10000"/>
              <a:gd name="connsiteX39" fmla="*/ 3327 w 10000"/>
              <a:gd name="connsiteY39" fmla="*/ 6110 h 10000"/>
              <a:gd name="connsiteX40" fmla="*/ 3386 w 10000"/>
              <a:gd name="connsiteY40" fmla="*/ 6174 h 10000"/>
              <a:gd name="connsiteX41" fmla="*/ 3445 w 10000"/>
              <a:gd name="connsiteY41" fmla="*/ 6238 h 10000"/>
              <a:gd name="connsiteX42" fmla="*/ 3497 w 10000"/>
              <a:gd name="connsiteY42" fmla="*/ 6308 h 10000"/>
              <a:gd name="connsiteX43" fmla="*/ 3550 w 10000"/>
              <a:gd name="connsiteY43" fmla="*/ 6377 h 10000"/>
              <a:gd name="connsiteX44" fmla="*/ 3602 w 10000"/>
              <a:gd name="connsiteY44" fmla="*/ 6447 h 10000"/>
              <a:gd name="connsiteX45" fmla="*/ 3656 w 10000"/>
              <a:gd name="connsiteY45" fmla="*/ 6516 h 10000"/>
              <a:gd name="connsiteX46" fmla="*/ 3695 w 10000"/>
              <a:gd name="connsiteY46" fmla="*/ 6591 h 10000"/>
              <a:gd name="connsiteX47" fmla="*/ 3747 w 10000"/>
              <a:gd name="connsiteY47" fmla="*/ 6666 h 10000"/>
              <a:gd name="connsiteX48" fmla="*/ 3786 w 10000"/>
              <a:gd name="connsiteY48" fmla="*/ 6735 h 10000"/>
              <a:gd name="connsiteX49" fmla="*/ 3826 w 10000"/>
              <a:gd name="connsiteY49" fmla="*/ 6810 h 10000"/>
              <a:gd name="connsiteX50" fmla="*/ 3865 w 10000"/>
              <a:gd name="connsiteY50" fmla="*/ 6885 h 10000"/>
              <a:gd name="connsiteX51" fmla="*/ 3898 w 10000"/>
              <a:gd name="connsiteY51" fmla="*/ 6960 h 10000"/>
              <a:gd name="connsiteX52" fmla="*/ 3930 w 10000"/>
              <a:gd name="connsiteY52" fmla="*/ 7040 h 10000"/>
              <a:gd name="connsiteX53" fmla="*/ 3963 w 10000"/>
              <a:gd name="connsiteY53" fmla="*/ 7120 h 10000"/>
              <a:gd name="connsiteX54" fmla="*/ 3996 w 10000"/>
              <a:gd name="connsiteY54" fmla="*/ 7195 h 10000"/>
              <a:gd name="connsiteX55" fmla="*/ 4022 w 10000"/>
              <a:gd name="connsiteY55" fmla="*/ 7275 h 10000"/>
              <a:gd name="connsiteX56" fmla="*/ 4042 w 10000"/>
              <a:gd name="connsiteY56" fmla="*/ 7355 h 10000"/>
              <a:gd name="connsiteX57" fmla="*/ 4069 w 10000"/>
              <a:gd name="connsiteY57" fmla="*/ 7441 h 10000"/>
              <a:gd name="connsiteX58" fmla="*/ 4088 w 10000"/>
              <a:gd name="connsiteY58" fmla="*/ 7521 h 10000"/>
              <a:gd name="connsiteX59" fmla="*/ 4108 w 10000"/>
              <a:gd name="connsiteY59" fmla="*/ 7601 h 10000"/>
              <a:gd name="connsiteX60" fmla="*/ 4121 w 10000"/>
              <a:gd name="connsiteY60" fmla="*/ 7687 h 10000"/>
              <a:gd name="connsiteX61" fmla="*/ 4134 w 10000"/>
              <a:gd name="connsiteY61" fmla="*/ 7772 h 10000"/>
              <a:gd name="connsiteX62" fmla="*/ 4140 w 10000"/>
              <a:gd name="connsiteY62" fmla="*/ 7858 h 10000"/>
              <a:gd name="connsiteX63" fmla="*/ 4147 w 10000"/>
              <a:gd name="connsiteY63" fmla="*/ 7943 h 10000"/>
              <a:gd name="connsiteX64" fmla="*/ 4147 w 10000"/>
              <a:gd name="connsiteY64" fmla="*/ 8029 h 10000"/>
              <a:gd name="connsiteX65" fmla="*/ 4153 w 10000"/>
              <a:gd name="connsiteY65" fmla="*/ 8114 h 10000"/>
              <a:gd name="connsiteX66" fmla="*/ 4147 w 10000"/>
              <a:gd name="connsiteY66" fmla="*/ 8227 h 10000"/>
              <a:gd name="connsiteX67" fmla="*/ 4140 w 10000"/>
              <a:gd name="connsiteY67" fmla="*/ 8343 h 10000"/>
              <a:gd name="connsiteX68" fmla="*/ 6726 w 10000"/>
              <a:gd name="connsiteY68" fmla="*/ 10000 h 10000"/>
              <a:gd name="connsiteX69" fmla="*/ 9850 w 10000"/>
              <a:gd name="connsiteY69" fmla="*/ 9498 h 10000"/>
              <a:gd name="connsiteX70" fmla="*/ 9889 w 10000"/>
              <a:gd name="connsiteY70" fmla="*/ 9332 h 10000"/>
              <a:gd name="connsiteX71" fmla="*/ 9915 w 10000"/>
              <a:gd name="connsiteY71" fmla="*/ 9161 h 10000"/>
              <a:gd name="connsiteX72" fmla="*/ 9941 w 10000"/>
              <a:gd name="connsiteY72" fmla="*/ 8990 h 10000"/>
              <a:gd name="connsiteX73" fmla="*/ 9961 w 10000"/>
              <a:gd name="connsiteY73" fmla="*/ 8813 h 10000"/>
              <a:gd name="connsiteX74" fmla="*/ 9974 w 10000"/>
              <a:gd name="connsiteY74" fmla="*/ 8637 h 10000"/>
              <a:gd name="connsiteX75" fmla="*/ 9987 w 10000"/>
              <a:gd name="connsiteY75" fmla="*/ 8466 h 10000"/>
              <a:gd name="connsiteX76" fmla="*/ 9993 w 10000"/>
              <a:gd name="connsiteY76" fmla="*/ 8291 h 10000"/>
              <a:gd name="connsiteX77" fmla="*/ 10000 w 10000"/>
              <a:gd name="connsiteY77" fmla="*/ 8114 h 10000"/>
              <a:gd name="connsiteX78" fmla="*/ 9993 w 10000"/>
              <a:gd name="connsiteY78" fmla="*/ 7901 h 10000"/>
              <a:gd name="connsiteX79" fmla="*/ 9987 w 10000"/>
              <a:gd name="connsiteY79" fmla="*/ 7697 h 10000"/>
              <a:gd name="connsiteX80" fmla="*/ 9967 w 10000"/>
              <a:gd name="connsiteY80" fmla="*/ 7489 h 10000"/>
              <a:gd name="connsiteX81" fmla="*/ 9948 w 10000"/>
              <a:gd name="connsiteY81" fmla="*/ 7286 h 10000"/>
              <a:gd name="connsiteX82" fmla="*/ 9915 w 10000"/>
              <a:gd name="connsiteY82" fmla="*/ 7077 h 10000"/>
              <a:gd name="connsiteX83" fmla="*/ 9882 w 10000"/>
              <a:gd name="connsiteY83" fmla="*/ 6880 h 10000"/>
              <a:gd name="connsiteX84" fmla="*/ 9843 w 10000"/>
              <a:gd name="connsiteY84" fmla="*/ 6677 h 10000"/>
              <a:gd name="connsiteX85" fmla="*/ 9796 w 10000"/>
              <a:gd name="connsiteY85" fmla="*/ 6479 h 10000"/>
              <a:gd name="connsiteX86" fmla="*/ 9744 w 10000"/>
              <a:gd name="connsiteY86" fmla="*/ 6281 h 10000"/>
              <a:gd name="connsiteX87" fmla="*/ 9685 w 10000"/>
              <a:gd name="connsiteY87" fmla="*/ 6089 h 10000"/>
              <a:gd name="connsiteX88" fmla="*/ 9620 w 10000"/>
              <a:gd name="connsiteY88" fmla="*/ 5891 h 10000"/>
              <a:gd name="connsiteX89" fmla="*/ 9555 w 10000"/>
              <a:gd name="connsiteY89" fmla="*/ 5698 h 10000"/>
              <a:gd name="connsiteX90" fmla="*/ 9475 w 10000"/>
              <a:gd name="connsiteY90" fmla="*/ 5511 h 10000"/>
              <a:gd name="connsiteX91" fmla="*/ 9396 w 10000"/>
              <a:gd name="connsiteY91" fmla="*/ 5324 h 10000"/>
              <a:gd name="connsiteX92" fmla="*/ 9304 w 10000"/>
              <a:gd name="connsiteY92" fmla="*/ 5137 h 10000"/>
              <a:gd name="connsiteX93" fmla="*/ 9213 w 10000"/>
              <a:gd name="connsiteY93" fmla="*/ 4957 h 10000"/>
              <a:gd name="connsiteX94" fmla="*/ 9121 w 10000"/>
              <a:gd name="connsiteY94" fmla="*/ 4775 h 10000"/>
              <a:gd name="connsiteX95" fmla="*/ 9016 w 10000"/>
              <a:gd name="connsiteY95" fmla="*/ 4598 h 10000"/>
              <a:gd name="connsiteX96" fmla="*/ 8911 w 10000"/>
              <a:gd name="connsiteY96" fmla="*/ 4422 h 10000"/>
              <a:gd name="connsiteX97" fmla="*/ 8800 w 10000"/>
              <a:gd name="connsiteY97" fmla="*/ 4246 h 10000"/>
              <a:gd name="connsiteX98" fmla="*/ 8682 w 10000"/>
              <a:gd name="connsiteY98" fmla="*/ 4075 h 10000"/>
              <a:gd name="connsiteX99" fmla="*/ 8557 w 10000"/>
              <a:gd name="connsiteY99" fmla="*/ 3909 h 10000"/>
              <a:gd name="connsiteX100" fmla="*/ 8432 w 10000"/>
              <a:gd name="connsiteY100" fmla="*/ 3743 h 10000"/>
              <a:gd name="connsiteX101" fmla="*/ 8300 w 10000"/>
              <a:gd name="connsiteY101" fmla="*/ 3578 h 10000"/>
              <a:gd name="connsiteX102" fmla="*/ 8162 w 10000"/>
              <a:gd name="connsiteY102" fmla="*/ 3417 h 10000"/>
              <a:gd name="connsiteX103" fmla="*/ 8018 w 10000"/>
              <a:gd name="connsiteY103" fmla="*/ 3262 h 10000"/>
              <a:gd name="connsiteX104" fmla="*/ 7873 w 10000"/>
              <a:gd name="connsiteY104" fmla="*/ 3107 h 10000"/>
              <a:gd name="connsiteX105" fmla="*/ 7723 w 10000"/>
              <a:gd name="connsiteY105" fmla="*/ 2952 h 10000"/>
              <a:gd name="connsiteX106" fmla="*/ 7573 w 10000"/>
              <a:gd name="connsiteY106" fmla="*/ 2808 h 10000"/>
              <a:gd name="connsiteX107" fmla="*/ 7407 w 10000"/>
              <a:gd name="connsiteY107" fmla="*/ 2664 h 10000"/>
              <a:gd name="connsiteX108" fmla="*/ 7250 w 10000"/>
              <a:gd name="connsiteY108" fmla="*/ 2519 h 10000"/>
              <a:gd name="connsiteX109" fmla="*/ 7080 w 10000"/>
              <a:gd name="connsiteY109" fmla="*/ 2375 h 10000"/>
              <a:gd name="connsiteX110" fmla="*/ 6910 w 10000"/>
              <a:gd name="connsiteY110" fmla="*/ 2241 h 10000"/>
              <a:gd name="connsiteX111" fmla="*/ 6740 w 10000"/>
              <a:gd name="connsiteY111" fmla="*/ 2108 h 10000"/>
              <a:gd name="connsiteX112" fmla="*/ 6556 w 10000"/>
              <a:gd name="connsiteY112" fmla="*/ 1980 h 10000"/>
              <a:gd name="connsiteX113" fmla="*/ 6372 w 10000"/>
              <a:gd name="connsiteY113" fmla="*/ 1857 h 10000"/>
              <a:gd name="connsiteX114" fmla="*/ 6188 w 10000"/>
              <a:gd name="connsiteY114" fmla="*/ 1734 h 10000"/>
              <a:gd name="connsiteX115" fmla="*/ 5998 w 10000"/>
              <a:gd name="connsiteY115" fmla="*/ 1617 h 10000"/>
              <a:gd name="connsiteX116" fmla="*/ 5801 w 10000"/>
              <a:gd name="connsiteY116" fmla="*/ 1500 h 10000"/>
              <a:gd name="connsiteX117" fmla="*/ 5605 w 10000"/>
              <a:gd name="connsiteY117" fmla="*/ 1387 h 10000"/>
              <a:gd name="connsiteX118" fmla="*/ 5407 w 10000"/>
              <a:gd name="connsiteY118" fmla="*/ 1280 h 10000"/>
              <a:gd name="connsiteX119" fmla="*/ 5204 w 10000"/>
              <a:gd name="connsiteY119" fmla="*/ 1179 h 10000"/>
              <a:gd name="connsiteX120" fmla="*/ 5001 w 10000"/>
              <a:gd name="connsiteY120" fmla="*/ 1077 h 10000"/>
              <a:gd name="connsiteX121" fmla="*/ 4783 w 10000"/>
              <a:gd name="connsiteY121" fmla="*/ 981 h 10000"/>
              <a:gd name="connsiteX122" fmla="*/ 4574 w 10000"/>
              <a:gd name="connsiteY122" fmla="*/ 890 h 10000"/>
              <a:gd name="connsiteX123" fmla="*/ 4356 w 10000"/>
              <a:gd name="connsiteY123" fmla="*/ 805 h 10000"/>
              <a:gd name="connsiteX124" fmla="*/ 4134 w 10000"/>
              <a:gd name="connsiteY124" fmla="*/ 719 h 10000"/>
              <a:gd name="connsiteX125" fmla="*/ 3917 w 10000"/>
              <a:gd name="connsiteY125" fmla="*/ 639 h 10000"/>
              <a:gd name="connsiteX126" fmla="*/ 3695 w 10000"/>
              <a:gd name="connsiteY126" fmla="*/ 570 h 10000"/>
              <a:gd name="connsiteX127" fmla="*/ 3464 w 10000"/>
              <a:gd name="connsiteY127" fmla="*/ 495 h 10000"/>
              <a:gd name="connsiteX128" fmla="*/ 3234 w 10000"/>
              <a:gd name="connsiteY128" fmla="*/ 431 h 10000"/>
              <a:gd name="connsiteX129" fmla="*/ 2999 w 10000"/>
              <a:gd name="connsiteY129" fmla="*/ 366 h 10000"/>
              <a:gd name="connsiteX130" fmla="*/ 2769 w 10000"/>
              <a:gd name="connsiteY130" fmla="*/ 313 h 10000"/>
              <a:gd name="connsiteX131" fmla="*/ 2528 w 10000"/>
              <a:gd name="connsiteY131" fmla="*/ 260 h 10000"/>
              <a:gd name="connsiteX132" fmla="*/ 2284 w 10000"/>
              <a:gd name="connsiteY132" fmla="*/ 211 h 10000"/>
              <a:gd name="connsiteX133" fmla="*/ 2047 w 10000"/>
              <a:gd name="connsiteY133" fmla="*/ 169 h 10000"/>
              <a:gd name="connsiteX134" fmla="*/ 1806 w 10000"/>
              <a:gd name="connsiteY134" fmla="*/ 131 h 10000"/>
              <a:gd name="connsiteX135" fmla="*/ 1555 w 10000"/>
              <a:gd name="connsiteY135" fmla="*/ 94 h 10000"/>
              <a:gd name="connsiteX136" fmla="*/ 1305 w 10000"/>
              <a:gd name="connsiteY136" fmla="*/ 67 h 10000"/>
              <a:gd name="connsiteX137" fmla="*/ 1057 w 10000"/>
              <a:gd name="connsiteY137" fmla="*/ 46 h 10000"/>
              <a:gd name="connsiteX138" fmla="*/ 807 w 10000"/>
              <a:gd name="connsiteY138" fmla="*/ 30 h 10000"/>
              <a:gd name="connsiteX139" fmla="*/ 551 w 10000"/>
              <a:gd name="connsiteY139" fmla="*/ 14 h 10000"/>
              <a:gd name="connsiteX140" fmla="*/ 295 w 10000"/>
              <a:gd name="connsiteY140" fmla="*/ 8 h 10000"/>
              <a:gd name="connsiteX141" fmla="*/ 39 w 10000"/>
              <a:gd name="connsiteY141" fmla="*/ 3 h 10000"/>
              <a:gd name="connsiteX142" fmla="*/ 0 w 10000"/>
              <a:gd name="connsiteY142" fmla="*/ 0 h 10000"/>
              <a:gd name="connsiteX143" fmla="*/ 1210 w 10000"/>
              <a:gd name="connsiteY143" fmla="*/ 2445 h 10000"/>
              <a:gd name="connsiteX144" fmla="*/ 7 w 10000"/>
              <a:gd name="connsiteY144" fmla="*/ 4770 h 10000"/>
              <a:gd name="connsiteX0" fmla="*/ 7 w 10000"/>
              <a:gd name="connsiteY0" fmla="*/ 4770 h 10000"/>
              <a:gd name="connsiteX1" fmla="*/ 20 w 10000"/>
              <a:gd name="connsiteY1" fmla="*/ 4764 h 10000"/>
              <a:gd name="connsiteX2" fmla="*/ 124 w 10000"/>
              <a:gd name="connsiteY2" fmla="*/ 4764 h 10000"/>
              <a:gd name="connsiteX3" fmla="*/ 230 w 10000"/>
              <a:gd name="connsiteY3" fmla="*/ 4770 h 10000"/>
              <a:gd name="connsiteX4" fmla="*/ 335 w 10000"/>
              <a:gd name="connsiteY4" fmla="*/ 4775 h 10000"/>
              <a:gd name="connsiteX5" fmla="*/ 439 w 10000"/>
              <a:gd name="connsiteY5" fmla="*/ 4780 h 10000"/>
              <a:gd name="connsiteX6" fmla="*/ 545 w 10000"/>
              <a:gd name="connsiteY6" fmla="*/ 4796 h 10000"/>
              <a:gd name="connsiteX7" fmla="*/ 650 w 10000"/>
              <a:gd name="connsiteY7" fmla="*/ 4807 h 10000"/>
              <a:gd name="connsiteX8" fmla="*/ 748 w 10000"/>
              <a:gd name="connsiteY8" fmla="*/ 4818 h 10000"/>
              <a:gd name="connsiteX9" fmla="*/ 846 w 10000"/>
              <a:gd name="connsiteY9" fmla="*/ 4834 h 10000"/>
              <a:gd name="connsiteX10" fmla="*/ 952 w 10000"/>
              <a:gd name="connsiteY10" fmla="*/ 4850 h 10000"/>
              <a:gd name="connsiteX11" fmla="*/ 1050 w 10000"/>
              <a:gd name="connsiteY11" fmla="*/ 4871 h 10000"/>
              <a:gd name="connsiteX12" fmla="*/ 1148 w 10000"/>
              <a:gd name="connsiteY12" fmla="*/ 4892 h 10000"/>
              <a:gd name="connsiteX13" fmla="*/ 1246 w 10000"/>
              <a:gd name="connsiteY13" fmla="*/ 4914 h 10000"/>
              <a:gd name="connsiteX14" fmla="*/ 1339 w 10000"/>
              <a:gd name="connsiteY14" fmla="*/ 4941 h 10000"/>
              <a:gd name="connsiteX15" fmla="*/ 1437 w 10000"/>
              <a:gd name="connsiteY15" fmla="*/ 4967 h 10000"/>
              <a:gd name="connsiteX16" fmla="*/ 1529 w 10000"/>
              <a:gd name="connsiteY16" fmla="*/ 4999 h 10000"/>
              <a:gd name="connsiteX17" fmla="*/ 1621 w 10000"/>
              <a:gd name="connsiteY17" fmla="*/ 5030 h 10000"/>
              <a:gd name="connsiteX18" fmla="*/ 1713 w 10000"/>
              <a:gd name="connsiteY18" fmla="*/ 5062 h 10000"/>
              <a:gd name="connsiteX19" fmla="*/ 1806 w 10000"/>
              <a:gd name="connsiteY19" fmla="*/ 5095 h 10000"/>
              <a:gd name="connsiteX20" fmla="*/ 1897 w 10000"/>
              <a:gd name="connsiteY20" fmla="*/ 5132 h 10000"/>
              <a:gd name="connsiteX21" fmla="*/ 1989 w 10000"/>
              <a:gd name="connsiteY21" fmla="*/ 5169 h 10000"/>
              <a:gd name="connsiteX22" fmla="*/ 2074 w 10000"/>
              <a:gd name="connsiteY22" fmla="*/ 5212 h 10000"/>
              <a:gd name="connsiteX23" fmla="*/ 2160 w 10000"/>
              <a:gd name="connsiteY23" fmla="*/ 5250 h 10000"/>
              <a:gd name="connsiteX24" fmla="*/ 2245 w 10000"/>
              <a:gd name="connsiteY24" fmla="*/ 5292 h 10000"/>
              <a:gd name="connsiteX25" fmla="*/ 2323 w 10000"/>
              <a:gd name="connsiteY25" fmla="*/ 5335 h 10000"/>
              <a:gd name="connsiteX26" fmla="*/ 2408 w 10000"/>
              <a:gd name="connsiteY26" fmla="*/ 5383 h 10000"/>
              <a:gd name="connsiteX27" fmla="*/ 2486 w 10000"/>
              <a:gd name="connsiteY27" fmla="*/ 5431 h 10000"/>
              <a:gd name="connsiteX28" fmla="*/ 2567 w 10000"/>
              <a:gd name="connsiteY28" fmla="*/ 5479 h 10000"/>
              <a:gd name="connsiteX29" fmla="*/ 2645 w 10000"/>
              <a:gd name="connsiteY29" fmla="*/ 5527 h 10000"/>
              <a:gd name="connsiteX30" fmla="*/ 2724 w 10000"/>
              <a:gd name="connsiteY30" fmla="*/ 5581 h 10000"/>
              <a:gd name="connsiteX31" fmla="*/ 2796 w 10000"/>
              <a:gd name="connsiteY31" fmla="*/ 5634 h 10000"/>
              <a:gd name="connsiteX32" fmla="*/ 2867 w 10000"/>
              <a:gd name="connsiteY32" fmla="*/ 5688 h 10000"/>
              <a:gd name="connsiteX33" fmla="*/ 2940 w 10000"/>
              <a:gd name="connsiteY33" fmla="*/ 5747 h 10000"/>
              <a:gd name="connsiteX34" fmla="*/ 3006 w 10000"/>
              <a:gd name="connsiteY34" fmla="*/ 5805 h 10000"/>
              <a:gd name="connsiteX35" fmla="*/ 3078 w 10000"/>
              <a:gd name="connsiteY35" fmla="*/ 5864 h 10000"/>
              <a:gd name="connsiteX36" fmla="*/ 3143 w 10000"/>
              <a:gd name="connsiteY36" fmla="*/ 5923 h 10000"/>
              <a:gd name="connsiteX37" fmla="*/ 3202 w 10000"/>
              <a:gd name="connsiteY37" fmla="*/ 5987 h 10000"/>
              <a:gd name="connsiteX38" fmla="*/ 3268 w 10000"/>
              <a:gd name="connsiteY38" fmla="*/ 6046 h 10000"/>
              <a:gd name="connsiteX39" fmla="*/ 3327 w 10000"/>
              <a:gd name="connsiteY39" fmla="*/ 6110 h 10000"/>
              <a:gd name="connsiteX40" fmla="*/ 3386 w 10000"/>
              <a:gd name="connsiteY40" fmla="*/ 6174 h 10000"/>
              <a:gd name="connsiteX41" fmla="*/ 3445 w 10000"/>
              <a:gd name="connsiteY41" fmla="*/ 6238 h 10000"/>
              <a:gd name="connsiteX42" fmla="*/ 3497 w 10000"/>
              <a:gd name="connsiteY42" fmla="*/ 6308 h 10000"/>
              <a:gd name="connsiteX43" fmla="*/ 3550 w 10000"/>
              <a:gd name="connsiteY43" fmla="*/ 6377 h 10000"/>
              <a:gd name="connsiteX44" fmla="*/ 3602 w 10000"/>
              <a:gd name="connsiteY44" fmla="*/ 6447 h 10000"/>
              <a:gd name="connsiteX45" fmla="*/ 3656 w 10000"/>
              <a:gd name="connsiteY45" fmla="*/ 6516 h 10000"/>
              <a:gd name="connsiteX46" fmla="*/ 3695 w 10000"/>
              <a:gd name="connsiteY46" fmla="*/ 6591 h 10000"/>
              <a:gd name="connsiteX47" fmla="*/ 3747 w 10000"/>
              <a:gd name="connsiteY47" fmla="*/ 6666 h 10000"/>
              <a:gd name="connsiteX48" fmla="*/ 3786 w 10000"/>
              <a:gd name="connsiteY48" fmla="*/ 6735 h 10000"/>
              <a:gd name="connsiteX49" fmla="*/ 3826 w 10000"/>
              <a:gd name="connsiteY49" fmla="*/ 6810 h 10000"/>
              <a:gd name="connsiteX50" fmla="*/ 3865 w 10000"/>
              <a:gd name="connsiteY50" fmla="*/ 6885 h 10000"/>
              <a:gd name="connsiteX51" fmla="*/ 3898 w 10000"/>
              <a:gd name="connsiteY51" fmla="*/ 6960 h 10000"/>
              <a:gd name="connsiteX52" fmla="*/ 3930 w 10000"/>
              <a:gd name="connsiteY52" fmla="*/ 7040 h 10000"/>
              <a:gd name="connsiteX53" fmla="*/ 3963 w 10000"/>
              <a:gd name="connsiteY53" fmla="*/ 7120 h 10000"/>
              <a:gd name="connsiteX54" fmla="*/ 3996 w 10000"/>
              <a:gd name="connsiteY54" fmla="*/ 7195 h 10000"/>
              <a:gd name="connsiteX55" fmla="*/ 4022 w 10000"/>
              <a:gd name="connsiteY55" fmla="*/ 7275 h 10000"/>
              <a:gd name="connsiteX56" fmla="*/ 4042 w 10000"/>
              <a:gd name="connsiteY56" fmla="*/ 7355 h 10000"/>
              <a:gd name="connsiteX57" fmla="*/ 4069 w 10000"/>
              <a:gd name="connsiteY57" fmla="*/ 7441 h 10000"/>
              <a:gd name="connsiteX58" fmla="*/ 4088 w 10000"/>
              <a:gd name="connsiteY58" fmla="*/ 7521 h 10000"/>
              <a:gd name="connsiteX59" fmla="*/ 4108 w 10000"/>
              <a:gd name="connsiteY59" fmla="*/ 7601 h 10000"/>
              <a:gd name="connsiteX60" fmla="*/ 4121 w 10000"/>
              <a:gd name="connsiteY60" fmla="*/ 7687 h 10000"/>
              <a:gd name="connsiteX61" fmla="*/ 4134 w 10000"/>
              <a:gd name="connsiteY61" fmla="*/ 7772 h 10000"/>
              <a:gd name="connsiteX62" fmla="*/ 4140 w 10000"/>
              <a:gd name="connsiteY62" fmla="*/ 7858 h 10000"/>
              <a:gd name="connsiteX63" fmla="*/ 4147 w 10000"/>
              <a:gd name="connsiteY63" fmla="*/ 7943 h 10000"/>
              <a:gd name="connsiteX64" fmla="*/ 4147 w 10000"/>
              <a:gd name="connsiteY64" fmla="*/ 8029 h 10000"/>
              <a:gd name="connsiteX65" fmla="*/ 4153 w 10000"/>
              <a:gd name="connsiteY65" fmla="*/ 8114 h 10000"/>
              <a:gd name="connsiteX66" fmla="*/ 4147 w 10000"/>
              <a:gd name="connsiteY66" fmla="*/ 8227 h 10000"/>
              <a:gd name="connsiteX67" fmla="*/ 6726 w 10000"/>
              <a:gd name="connsiteY67" fmla="*/ 10000 h 10000"/>
              <a:gd name="connsiteX68" fmla="*/ 9850 w 10000"/>
              <a:gd name="connsiteY68" fmla="*/ 9498 h 10000"/>
              <a:gd name="connsiteX69" fmla="*/ 9889 w 10000"/>
              <a:gd name="connsiteY69" fmla="*/ 9332 h 10000"/>
              <a:gd name="connsiteX70" fmla="*/ 9915 w 10000"/>
              <a:gd name="connsiteY70" fmla="*/ 9161 h 10000"/>
              <a:gd name="connsiteX71" fmla="*/ 9941 w 10000"/>
              <a:gd name="connsiteY71" fmla="*/ 8990 h 10000"/>
              <a:gd name="connsiteX72" fmla="*/ 9961 w 10000"/>
              <a:gd name="connsiteY72" fmla="*/ 8813 h 10000"/>
              <a:gd name="connsiteX73" fmla="*/ 9974 w 10000"/>
              <a:gd name="connsiteY73" fmla="*/ 8637 h 10000"/>
              <a:gd name="connsiteX74" fmla="*/ 9987 w 10000"/>
              <a:gd name="connsiteY74" fmla="*/ 8466 h 10000"/>
              <a:gd name="connsiteX75" fmla="*/ 9993 w 10000"/>
              <a:gd name="connsiteY75" fmla="*/ 8291 h 10000"/>
              <a:gd name="connsiteX76" fmla="*/ 10000 w 10000"/>
              <a:gd name="connsiteY76" fmla="*/ 8114 h 10000"/>
              <a:gd name="connsiteX77" fmla="*/ 9993 w 10000"/>
              <a:gd name="connsiteY77" fmla="*/ 7901 h 10000"/>
              <a:gd name="connsiteX78" fmla="*/ 9987 w 10000"/>
              <a:gd name="connsiteY78" fmla="*/ 7697 h 10000"/>
              <a:gd name="connsiteX79" fmla="*/ 9967 w 10000"/>
              <a:gd name="connsiteY79" fmla="*/ 7489 h 10000"/>
              <a:gd name="connsiteX80" fmla="*/ 9948 w 10000"/>
              <a:gd name="connsiteY80" fmla="*/ 7286 h 10000"/>
              <a:gd name="connsiteX81" fmla="*/ 9915 w 10000"/>
              <a:gd name="connsiteY81" fmla="*/ 7077 h 10000"/>
              <a:gd name="connsiteX82" fmla="*/ 9882 w 10000"/>
              <a:gd name="connsiteY82" fmla="*/ 6880 h 10000"/>
              <a:gd name="connsiteX83" fmla="*/ 9843 w 10000"/>
              <a:gd name="connsiteY83" fmla="*/ 6677 h 10000"/>
              <a:gd name="connsiteX84" fmla="*/ 9796 w 10000"/>
              <a:gd name="connsiteY84" fmla="*/ 6479 h 10000"/>
              <a:gd name="connsiteX85" fmla="*/ 9744 w 10000"/>
              <a:gd name="connsiteY85" fmla="*/ 6281 h 10000"/>
              <a:gd name="connsiteX86" fmla="*/ 9685 w 10000"/>
              <a:gd name="connsiteY86" fmla="*/ 6089 h 10000"/>
              <a:gd name="connsiteX87" fmla="*/ 9620 w 10000"/>
              <a:gd name="connsiteY87" fmla="*/ 5891 h 10000"/>
              <a:gd name="connsiteX88" fmla="*/ 9555 w 10000"/>
              <a:gd name="connsiteY88" fmla="*/ 5698 h 10000"/>
              <a:gd name="connsiteX89" fmla="*/ 9475 w 10000"/>
              <a:gd name="connsiteY89" fmla="*/ 5511 h 10000"/>
              <a:gd name="connsiteX90" fmla="*/ 9396 w 10000"/>
              <a:gd name="connsiteY90" fmla="*/ 5324 h 10000"/>
              <a:gd name="connsiteX91" fmla="*/ 9304 w 10000"/>
              <a:gd name="connsiteY91" fmla="*/ 5137 h 10000"/>
              <a:gd name="connsiteX92" fmla="*/ 9213 w 10000"/>
              <a:gd name="connsiteY92" fmla="*/ 4957 h 10000"/>
              <a:gd name="connsiteX93" fmla="*/ 9121 w 10000"/>
              <a:gd name="connsiteY93" fmla="*/ 4775 h 10000"/>
              <a:gd name="connsiteX94" fmla="*/ 9016 w 10000"/>
              <a:gd name="connsiteY94" fmla="*/ 4598 h 10000"/>
              <a:gd name="connsiteX95" fmla="*/ 8911 w 10000"/>
              <a:gd name="connsiteY95" fmla="*/ 4422 h 10000"/>
              <a:gd name="connsiteX96" fmla="*/ 8800 w 10000"/>
              <a:gd name="connsiteY96" fmla="*/ 4246 h 10000"/>
              <a:gd name="connsiteX97" fmla="*/ 8682 w 10000"/>
              <a:gd name="connsiteY97" fmla="*/ 4075 h 10000"/>
              <a:gd name="connsiteX98" fmla="*/ 8557 w 10000"/>
              <a:gd name="connsiteY98" fmla="*/ 3909 h 10000"/>
              <a:gd name="connsiteX99" fmla="*/ 8432 w 10000"/>
              <a:gd name="connsiteY99" fmla="*/ 3743 h 10000"/>
              <a:gd name="connsiteX100" fmla="*/ 8300 w 10000"/>
              <a:gd name="connsiteY100" fmla="*/ 3578 h 10000"/>
              <a:gd name="connsiteX101" fmla="*/ 8162 w 10000"/>
              <a:gd name="connsiteY101" fmla="*/ 3417 h 10000"/>
              <a:gd name="connsiteX102" fmla="*/ 8018 w 10000"/>
              <a:gd name="connsiteY102" fmla="*/ 3262 h 10000"/>
              <a:gd name="connsiteX103" fmla="*/ 7873 w 10000"/>
              <a:gd name="connsiteY103" fmla="*/ 3107 h 10000"/>
              <a:gd name="connsiteX104" fmla="*/ 7723 w 10000"/>
              <a:gd name="connsiteY104" fmla="*/ 2952 h 10000"/>
              <a:gd name="connsiteX105" fmla="*/ 7573 w 10000"/>
              <a:gd name="connsiteY105" fmla="*/ 2808 h 10000"/>
              <a:gd name="connsiteX106" fmla="*/ 7407 w 10000"/>
              <a:gd name="connsiteY106" fmla="*/ 2664 h 10000"/>
              <a:gd name="connsiteX107" fmla="*/ 7250 w 10000"/>
              <a:gd name="connsiteY107" fmla="*/ 2519 h 10000"/>
              <a:gd name="connsiteX108" fmla="*/ 7080 w 10000"/>
              <a:gd name="connsiteY108" fmla="*/ 2375 h 10000"/>
              <a:gd name="connsiteX109" fmla="*/ 6910 w 10000"/>
              <a:gd name="connsiteY109" fmla="*/ 2241 h 10000"/>
              <a:gd name="connsiteX110" fmla="*/ 6740 w 10000"/>
              <a:gd name="connsiteY110" fmla="*/ 2108 h 10000"/>
              <a:gd name="connsiteX111" fmla="*/ 6556 w 10000"/>
              <a:gd name="connsiteY111" fmla="*/ 1980 h 10000"/>
              <a:gd name="connsiteX112" fmla="*/ 6372 w 10000"/>
              <a:gd name="connsiteY112" fmla="*/ 1857 h 10000"/>
              <a:gd name="connsiteX113" fmla="*/ 6188 w 10000"/>
              <a:gd name="connsiteY113" fmla="*/ 1734 h 10000"/>
              <a:gd name="connsiteX114" fmla="*/ 5998 w 10000"/>
              <a:gd name="connsiteY114" fmla="*/ 1617 h 10000"/>
              <a:gd name="connsiteX115" fmla="*/ 5801 w 10000"/>
              <a:gd name="connsiteY115" fmla="*/ 1500 h 10000"/>
              <a:gd name="connsiteX116" fmla="*/ 5605 w 10000"/>
              <a:gd name="connsiteY116" fmla="*/ 1387 h 10000"/>
              <a:gd name="connsiteX117" fmla="*/ 5407 w 10000"/>
              <a:gd name="connsiteY117" fmla="*/ 1280 h 10000"/>
              <a:gd name="connsiteX118" fmla="*/ 5204 w 10000"/>
              <a:gd name="connsiteY118" fmla="*/ 1179 h 10000"/>
              <a:gd name="connsiteX119" fmla="*/ 5001 w 10000"/>
              <a:gd name="connsiteY119" fmla="*/ 1077 h 10000"/>
              <a:gd name="connsiteX120" fmla="*/ 4783 w 10000"/>
              <a:gd name="connsiteY120" fmla="*/ 981 h 10000"/>
              <a:gd name="connsiteX121" fmla="*/ 4574 w 10000"/>
              <a:gd name="connsiteY121" fmla="*/ 890 h 10000"/>
              <a:gd name="connsiteX122" fmla="*/ 4356 w 10000"/>
              <a:gd name="connsiteY122" fmla="*/ 805 h 10000"/>
              <a:gd name="connsiteX123" fmla="*/ 4134 w 10000"/>
              <a:gd name="connsiteY123" fmla="*/ 719 h 10000"/>
              <a:gd name="connsiteX124" fmla="*/ 3917 w 10000"/>
              <a:gd name="connsiteY124" fmla="*/ 639 h 10000"/>
              <a:gd name="connsiteX125" fmla="*/ 3695 w 10000"/>
              <a:gd name="connsiteY125" fmla="*/ 570 h 10000"/>
              <a:gd name="connsiteX126" fmla="*/ 3464 w 10000"/>
              <a:gd name="connsiteY126" fmla="*/ 495 h 10000"/>
              <a:gd name="connsiteX127" fmla="*/ 3234 w 10000"/>
              <a:gd name="connsiteY127" fmla="*/ 431 h 10000"/>
              <a:gd name="connsiteX128" fmla="*/ 2999 w 10000"/>
              <a:gd name="connsiteY128" fmla="*/ 366 h 10000"/>
              <a:gd name="connsiteX129" fmla="*/ 2769 w 10000"/>
              <a:gd name="connsiteY129" fmla="*/ 313 h 10000"/>
              <a:gd name="connsiteX130" fmla="*/ 2528 w 10000"/>
              <a:gd name="connsiteY130" fmla="*/ 260 h 10000"/>
              <a:gd name="connsiteX131" fmla="*/ 2284 w 10000"/>
              <a:gd name="connsiteY131" fmla="*/ 211 h 10000"/>
              <a:gd name="connsiteX132" fmla="*/ 2047 w 10000"/>
              <a:gd name="connsiteY132" fmla="*/ 169 h 10000"/>
              <a:gd name="connsiteX133" fmla="*/ 1806 w 10000"/>
              <a:gd name="connsiteY133" fmla="*/ 131 h 10000"/>
              <a:gd name="connsiteX134" fmla="*/ 1555 w 10000"/>
              <a:gd name="connsiteY134" fmla="*/ 94 h 10000"/>
              <a:gd name="connsiteX135" fmla="*/ 1305 w 10000"/>
              <a:gd name="connsiteY135" fmla="*/ 67 h 10000"/>
              <a:gd name="connsiteX136" fmla="*/ 1057 w 10000"/>
              <a:gd name="connsiteY136" fmla="*/ 46 h 10000"/>
              <a:gd name="connsiteX137" fmla="*/ 807 w 10000"/>
              <a:gd name="connsiteY137" fmla="*/ 30 h 10000"/>
              <a:gd name="connsiteX138" fmla="*/ 551 w 10000"/>
              <a:gd name="connsiteY138" fmla="*/ 14 h 10000"/>
              <a:gd name="connsiteX139" fmla="*/ 295 w 10000"/>
              <a:gd name="connsiteY139" fmla="*/ 8 h 10000"/>
              <a:gd name="connsiteX140" fmla="*/ 39 w 10000"/>
              <a:gd name="connsiteY140" fmla="*/ 3 h 10000"/>
              <a:gd name="connsiteX141" fmla="*/ 0 w 10000"/>
              <a:gd name="connsiteY141" fmla="*/ 0 h 10000"/>
              <a:gd name="connsiteX142" fmla="*/ 1210 w 10000"/>
              <a:gd name="connsiteY142" fmla="*/ 2445 h 10000"/>
              <a:gd name="connsiteX143" fmla="*/ 7 w 10000"/>
              <a:gd name="connsiteY143" fmla="*/ 4770 h 10000"/>
              <a:gd name="connsiteX0" fmla="*/ 7 w 10000"/>
              <a:gd name="connsiteY0" fmla="*/ 4770 h 10000"/>
              <a:gd name="connsiteX1" fmla="*/ 20 w 10000"/>
              <a:gd name="connsiteY1" fmla="*/ 4764 h 10000"/>
              <a:gd name="connsiteX2" fmla="*/ 124 w 10000"/>
              <a:gd name="connsiteY2" fmla="*/ 4764 h 10000"/>
              <a:gd name="connsiteX3" fmla="*/ 230 w 10000"/>
              <a:gd name="connsiteY3" fmla="*/ 4770 h 10000"/>
              <a:gd name="connsiteX4" fmla="*/ 335 w 10000"/>
              <a:gd name="connsiteY4" fmla="*/ 4775 h 10000"/>
              <a:gd name="connsiteX5" fmla="*/ 439 w 10000"/>
              <a:gd name="connsiteY5" fmla="*/ 4780 h 10000"/>
              <a:gd name="connsiteX6" fmla="*/ 545 w 10000"/>
              <a:gd name="connsiteY6" fmla="*/ 4796 h 10000"/>
              <a:gd name="connsiteX7" fmla="*/ 650 w 10000"/>
              <a:gd name="connsiteY7" fmla="*/ 4807 h 10000"/>
              <a:gd name="connsiteX8" fmla="*/ 748 w 10000"/>
              <a:gd name="connsiteY8" fmla="*/ 4818 h 10000"/>
              <a:gd name="connsiteX9" fmla="*/ 846 w 10000"/>
              <a:gd name="connsiteY9" fmla="*/ 4834 h 10000"/>
              <a:gd name="connsiteX10" fmla="*/ 952 w 10000"/>
              <a:gd name="connsiteY10" fmla="*/ 4850 h 10000"/>
              <a:gd name="connsiteX11" fmla="*/ 1050 w 10000"/>
              <a:gd name="connsiteY11" fmla="*/ 4871 h 10000"/>
              <a:gd name="connsiteX12" fmla="*/ 1148 w 10000"/>
              <a:gd name="connsiteY12" fmla="*/ 4892 h 10000"/>
              <a:gd name="connsiteX13" fmla="*/ 1246 w 10000"/>
              <a:gd name="connsiteY13" fmla="*/ 4914 h 10000"/>
              <a:gd name="connsiteX14" fmla="*/ 1339 w 10000"/>
              <a:gd name="connsiteY14" fmla="*/ 4941 h 10000"/>
              <a:gd name="connsiteX15" fmla="*/ 1437 w 10000"/>
              <a:gd name="connsiteY15" fmla="*/ 4967 h 10000"/>
              <a:gd name="connsiteX16" fmla="*/ 1529 w 10000"/>
              <a:gd name="connsiteY16" fmla="*/ 4999 h 10000"/>
              <a:gd name="connsiteX17" fmla="*/ 1621 w 10000"/>
              <a:gd name="connsiteY17" fmla="*/ 5030 h 10000"/>
              <a:gd name="connsiteX18" fmla="*/ 1713 w 10000"/>
              <a:gd name="connsiteY18" fmla="*/ 5062 h 10000"/>
              <a:gd name="connsiteX19" fmla="*/ 1806 w 10000"/>
              <a:gd name="connsiteY19" fmla="*/ 5095 h 10000"/>
              <a:gd name="connsiteX20" fmla="*/ 1897 w 10000"/>
              <a:gd name="connsiteY20" fmla="*/ 5132 h 10000"/>
              <a:gd name="connsiteX21" fmla="*/ 1989 w 10000"/>
              <a:gd name="connsiteY21" fmla="*/ 5169 h 10000"/>
              <a:gd name="connsiteX22" fmla="*/ 2074 w 10000"/>
              <a:gd name="connsiteY22" fmla="*/ 5212 h 10000"/>
              <a:gd name="connsiteX23" fmla="*/ 2160 w 10000"/>
              <a:gd name="connsiteY23" fmla="*/ 5250 h 10000"/>
              <a:gd name="connsiteX24" fmla="*/ 2245 w 10000"/>
              <a:gd name="connsiteY24" fmla="*/ 5292 h 10000"/>
              <a:gd name="connsiteX25" fmla="*/ 2323 w 10000"/>
              <a:gd name="connsiteY25" fmla="*/ 5335 h 10000"/>
              <a:gd name="connsiteX26" fmla="*/ 2408 w 10000"/>
              <a:gd name="connsiteY26" fmla="*/ 5383 h 10000"/>
              <a:gd name="connsiteX27" fmla="*/ 2486 w 10000"/>
              <a:gd name="connsiteY27" fmla="*/ 5431 h 10000"/>
              <a:gd name="connsiteX28" fmla="*/ 2567 w 10000"/>
              <a:gd name="connsiteY28" fmla="*/ 5479 h 10000"/>
              <a:gd name="connsiteX29" fmla="*/ 2645 w 10000"/>
              <a:gd name="connsiteY29" fmla="*/ 5527 h 10000"/>
              <a:gd name="connsiteX30" fmla="*/ 2724 w 10000"/>
              <a:gd name="connsiteY30" fmla="*/ 5581 h 10000"/>
              <a:gd name="connsiteX31" fmla="*/ 2796 w 10000"/>
              <a:gd name="connsiteY31" fmla="*/ 5634 h 10000"/>
              <a:gd name="connsiteX32" fmla="*/ 2867 w 10000"/>
              <a:gd name="connsiteY32" fmla="*/ 5688 h 10000"/>
              <a:gd name="connsiteX33" fmla="*/ 2940 w 10000"/>
              <a:gd name="connsiteY33" fmla="*/ 5747 h 10000"/>
              <a:gd name="connsiteX34" fmla="*/ 3006 w 10000"/>
              <a:gd name="connsiteY34" fmla="*/ 5805 h 10000"/>
              <a:gd name="connsiteX35" fmla="*/ 3078 w 10000"/>
              <a:gd name="connsiteY35" fmla="*/ 5864 h 10000"/>
              <a:gd name="connsiteX36" fmla="*/ 3143 w 10000"/>
              <a:gd name="connsiteY36" fmla="*/ 5923 h 10000"/>
              <a:gd name="connsiteX37" fmla="*/ 3202 w 10000"/>
              <a:gd name="connsiteY37" fmla="*/ 5987 h 10000"/>
              <a:gd name="connsiteX38" fmla="*/ 3268 w 10000"/>
              <a:gd name="connsiteY38" fmla="*/ 6046 h 10000"/>
              <a:gd name="connsiteX39" fmla="*/ 3327 w 10000"/>
              <a:gd name="connsiteY39" fmla="*/ 6110 h 10000"/>
              <a:gd name="connsiteX40" fmla="*/ 3386 w 10000"/>
              <a:gd name="connsiteY40" fmla="*/ 6174 h 10000"/>
              <a:gd name="connsiteX41" fmla="*/ 3445 w 10000"/>
              <a:gd name="connsiteY41" fmla="*/ 6238 h 10000"/>
              <a:gd name="connsiteX42" fmla="*/ 3497 w 10000"/>
              <a:gd name="connsiteY42" fmla="*/ 6308 h 10000"/>
              <a:gd name="connsiteX43" fmla="*/ 3550 w 10000"/>
              <a:gd name="connsiteY43" fmla="*/ 6377 h 10000"/>
              <a:gd name="connsiteX44" fmla="*/ 3602 w 10000"/>
              <a:gd name="connsiteY44" fmla="*/ 6447 h 10000"/>
              <a:gd name="connsiteX45" fmla="*/ 3656 w 10000"/>
              <a:gd name="connsiteY45" fmla="*/ 6516 h 10000"/>
              <a:gd name="connsiteX46" fmla="*/ 3695 w 10000"/>
              <a:gd name="connsiteY46" fmla="*/ 6591 h 10000"/>
              <a:gd name="connsiteX47" fmla="*/ 3747 w 10000"/>
              <a:gd name="connsiteY47" fmla="*/ 6666 h 10000"/>
              <a:gd name="connsiteX48" fmla="*/ 3786 w 10000"/>
              <a:gd name="connsiteY48" fmla="*/ 6735 h 10000"/>
              <a:gd name="connsiteX49" fmla="*/ 3826 w 10000"/>
              <a:gd name="connsiteY49" fmla="*/ 6810 h 10000"/>
              <a:gd name="connsiteX50" fmla="*/ 3865 w 10000"/>
              <a:gd name="connsiteY50" fmla="*/ 6885 h 10000"/>
              <a:gd name="connsiteX51" fmla="*/ 3898 w 10000"/>
              <a:gd name="connsiteY51" fmla="*/ 6960 h 10000"/>
              <a:gd name="connsiteX52" fmla="*/ 3930 w 10000"/>
              <a:gd name="connsiteY52" fmla="*/ 7040 h 10000"/>
              <a:gd name="connsiteX53" fmla="*/ 3963 w 10000"/>
              <a:gd name="connsiteY53" fmla="*/ 7120 h 10000"/>
              <a:gd name="connsiteX54" fmla="*/ 3996 w 10000"/>
              <a:gd name="connsiteY54" fmla="*/ 7195 h 10000"/>
              <a:gd name="connsiteX55" fmla="*/ 4022 w 10000"/>
              <a:gd name="connsiteY55" fmla="*/ 7275 h 10000"/>
              <a:gd name="connsiteX56" fmla="*/ 4042 w 10000"/>
              <a:gd name="connsiteY56" fmla="*/ 7355 h 10000"/>
              <a:gd name="connsiteX57" fmla="*/ 4069 w 10000"/>
              <a:gd name="connsiteY57" fmla="*/ 7441 h 10000"/>
              <a:gd name="connsiteX58" fmla="*/ 4088 w 10000"/>
              <a:gd name="connsiteY58" fmla="*/ 7521 h 10000"/>
              <a:gd name="connsiteX59" fmla="*/ 4108 w 10000"/>
              <a:gd name="connsiteY59" fmla="*/ 7601 h 10000"/>
              <a:gd name="connsiteX60" fmla="*/ 4121 w 10000"/>
              <a:gd name="connsiteY60" fmla="*/ 7687 h 10000"/>
              <a:gd name="connsiteX61" fmla="*/ 4134 w 10000"/>
              <a:gd name="connsiteY61" fmla="*/ 7772 h 10000"/>
              <a:gd name="connsiteX62" fmla="*/ 4140 w 10000"/>
              <a:gd name="connsiteY62" fmla="*/ 7858 h 10000"/>
              <a:gd name="connsiteX63" fmla="*/ 4147 w 10000"/>
              <a:gd name="connsiteY63" fmla="*/ 7943 h 10000"/>
              <a:gd name="connsiteX64" fmla="*/ 4147 w 10000"/>
              <a:gd name="connsiteY64" fmla="*/ 8029 h 10000"/>
              <a:gd name="connsiteX65" fmla="*/ 4153 w 10000"/>
              <a:gd name="connsiteY65" fmla="*/ 8114 h 10000"/>
              <a:gd name="connsiteX66" fmla="*/ 6726 w 10000"/>
              <a:gd name="connsiteY66" fmla="*/ 10000 h 10000"/>
              <a:gd name="connsiteX67" fmla="*/ 9850 w 10000"/>
              <a:gd name="connsiteY67" fmla="*/ 9498 h 10000"/>
              <a:gd name="connsiteX68" fmla="*/ 9889 w 10000"/>
              <a:gd name="connsiteY68" fmla="*/ 9332 h 10000"/>
              <a:gd name="connsiteX69" fmla="*/ 9915 w 10000"/>
              <a:gd name="connsiteY69" fmla="*/ 9161 h 10000"/>
              <a:gd name="connsiteX70" fmla="*/ 9941 w 10000"/>
              <a:gd name="connsiteY70" fmla="*/ 8990 h 10000"/>
              <a:gd name="connsiteX71" fmla="*/ 9961 w 10000"/>
              <a:gd name="connsiteY71" fmla="*/ 8813 h 10000"/>
              <a:gd name="connsiteX72" fmla="*/ 9974 w 10000"/>
              <a:gd name="connsiteY72" fmla="*/ 8637 h 10000"/>
              <a:gd name="connsiteX73" fmla="*/ 9987 w 10000"/>
              <a:gd name="connsiteY73" fmla="*/ 8466 h 10000"/>
              <a:gd name="connsiteX74" fmla="*/ 9993 w 10000"/>
              <a:gd name="connsiteY74" fmla="*/ 8291 h 10000"/>
              <a:gd name="connsiteX75" fmla="*/ 10000 w 10000"/>
              <a:gd name="connsiteY75" fmla="*/ 8114 h 10000"/>
              <a:gd name="connsiteX76" fmla="*/ 9993 w 10000"/>
              <a:gd name="connsiteY76" fmla="*/ 7901 h 10000"/>
              <a:gd name="connsiteX77" fmla="*/ 9987 w 10000"/>
              <a:gd name="connsiteY77" fmla="*/ 7697 h 10000"/>
              <a:gd name="connsiteX78" fmla="*/ 9967 w 10000"/>
              <a:gd name="connsiteY78" fmla="*/ 7489 h 10000"/>
              <a:gd name="connsiteX79" fmla="*/ 9948 w 10000"/>
              <a:gd name="connsiteY79" fmla="*/ 7286 h 10000"/>
              <a:gd name="connsiteX80" fmla="*/ 9915 w 10000"/>
              <a:gd name="connsiteY80" fmla="*/ 7077 h 10000"/>
              <a:gd name="connsiteX81" fmla="*/ 9882 w 10000"/>
              <a:gd name="connsiteY81" fmla="*/ 6880 h 10000"/>
              <a:gd name="connsiteX82" fmla="*/ 9843 w 10000"/>
              <a:gd name="connsiteY82" fmla="*/ 6677 h 10000"/>
              <a:gd name="connsiteX83" fmla="*/ 9796 w 10000"/>
              <a:gd name="connsiteY83" fmla="*/ 6479 h 10000"/>
              <a:gd name="connsiteX84" fmla="*/ 9744 w 10000"/>
              <a:gd name="connsiteY84" fmla="*/ 6281 h 10000"/>
              <a:gd name="connsiteX85" fmla="*/ 9685 w 10000"/>
              <a:gd name="connsiteY85" fmla="*/ 6089 h 10000"/>
              <a:gd name="connsiteX86" fmla="*/ 9620 w 10000"/>
              <a:gd name="connsiteY86" fmla="*/ 5891 h 10000"/>
              <a:gd name="connsiteX87" fmla="*/ 9555 w 10000"/>
              <a:gd name="connsiteY87" fmla="*/ 5698 h 10000"/>
              <a:gd name="connsiteX88" fmla="*/ 9475 w 10000"/>
              <a:gd name="connsiteY88" fmla="*/ 5511 h 10000"/>
              <a:gd name="connsiteX89" fmla="*/ 9396 w 10000"/>
              <a:gd name="connsiteY89" fmla="*/ 5324 h 10000"/>
              <a:gd name="connsiteX90" fmla="*/ 9304 w 10000"/>
              <a:gd name="connsiteY90" fmla="*/ 5137 h 10000"/>
              <a:gd name="connsiteX91" fmla="*/ 9213 w 10000"/>
              <a:gd name="connsiteY91" fmla="*/ 4957 h 10000"/>
              <a:gd name="connsiteX92" fmla="*/ 9121 w 10000"/>
              <a:gd name="connsiteY92" fmla="*/ 4775 h 10000"/>
              <a:gd name="connsiteX93" fmla="*/ 9016 w 10000"/>
              <a:gd name="connsiteY93" fmla="*/ 4598 h 10000"/>
              <a:gd name="connsiteX94" fmla="*/ 8911 w 10000"/>
              <a:gd name="connsiteY94" fmla="*/ 4422 h 10000"/>
              <a:gd name="connsiteX95" fmla="*/ 8800 w 10000"/>
              <a:gd name="connsiteY95" fmla="*/ 4246 h 10000"/>
              <a:gd name="connsiteX96" fmla="*/ 8682 w 10000"/>
              <a:gd name="connsiteY96" fmla="*/ 4075 h 10000"/>
              <a:gd name="connsiteX97" fmla="*/ 8557 w 10000"/>
              <a:gd name="connsiteY97" fmla="*/ 3909 h 10000"/>
              <a:gd name="connsiteX98" fmla="*/ 8432 w 10000"/>
              <a:gd name="connsiteY98" fmla="*/ 3743 h 10000"/>
              <a:gd name="connsiteX99" fmla="*/ 8300 w 10000"/>
              <a:gd name="connsiteY99" fmla="*/ 3578 h 10000"/>
              <a:gd name="connsiteX100" fmla="*/ 8162 w 10000"/>
              <a:gd name="connsiteY100" fmla="*/ 3417 h 10000"/>
              <a:gd name="connsiteX101" fmla="*/ 8018 w 10000"/>
              <a:gd name="connsiteY101" fmla="*/ 3262 h 10000"/>
              <a:gd name="connsiteX102" fmla="*/ 7873 w 10000"/>
              <a:gd name="connsiteY102" fmla="*/ 3107 h 10000"/>
              <a:gd name="connsiteX103" fmla="*/ 7723 w 10000"/>
              <a:gd name="connsiteY103" fmla="*/ 2952 h 10000"/>
              <a:gd name="connsiteX104" fmla="*/ 7573 w 10000"/>
              <a:gd name="connsiteY104" fmla="*/ 2808 h 10000"/>
              <a:gd name="connsiteX105" fmla="*/ 7407 w 10000"/>
              <a:gd name="connsiteY105" fmla="*/ 2664 h 10000"/>
              <a:gd name="connsiteX106" fmla="*/ 7250 w 10000"/>
              <a:gd name="connsiteY106" fmla="*/ 2519 h 10000"/>
              <a:gd name="connsiteX107" fmla="*/ 7080 w 10000"/>
              <a:gd name="connsiteY107" fmla="*/ 2375 h 10000"/>
              <a:gd name="connsiteX108" fmla="*/ 6910 w 10000"/>
              <a:gd name="connsiteY108" fmla="*/ 2241 h 10000"/>
              <a:gd name="connsiteX109" fmla="*/ 6740 w 10000"/>
              <a:gd name="connsiteY109" fmla="*/ 2108 h 10000"/>
              <a:gd name="connsiteX110" fmla="*/ 6556 w 10000"/>
              <a:gd name="connsiteY110" fmla="*/ 1980 h 10000"/>
              <a:gd name="connsiteX111" fmla="*/ 6372 w 10000"/>
              <a:gd name="connsiteY111" fmla="*/ 1857 h 10000"/>
              <a:gd name="connsiteX112" fmla="*/ 6188 w 10000"/>
              <a:gd name="connsiteY112" fmla="*/ 1734 h 10000"/>
              <a:gd name="connsiteX113" fmla="*/ 5998 w 10000"/>
              <a:gd name="connsiteY113" fmla="*/ 1617 h 10000"/>
              <a:gd name="connsiteX114" fmla="*/ 5801 w 10000"/>
              <a:gd name="connsiteY114" fmla="*/ 1500 h 10000"/>
              <a:gd name="connsiteX115" fmla="*/ 5605 w 10000"/>
              <a:gd name="connsiteY115" fmla="*/ 1387 h 10000"/>
              <a:gd name="connsiteX116" fmla="*/ 5407 w 10000"/>
              <a:gd name="connsiteY116" fmla="*/ 1280 h 10000"/>
              <a:gd name="connsiteX117" fmla="*/ 5204 w 10000"/>
              <a:gd name="connsiteY117" fmla="*/ 1179 h 10000"/>
              <a:gd name="connsiteX118" fmla="*/ 5001 w 10000"/>
              <a:gd name="connsiteY118" fmla="*/ 1077 h 10000"/>
              <a:gd name="connsiteX119" fmla="*/ 4783 w 10000"/>
              <a:gd name="connsiteY119" fmla="*/ 981 h 10000"/>
              <a:gd name="connsiteX120" fmla="*/ 4574 w 10000"/>
              <a:gd name="connsiteY120" fmla="*/ 890 h 10000"/>
              <a:gd name="connsiteX121" fmla="*/ 4356 w 10000"/>
              <a:gd name="connsiteY121" fmla="*/ 805 h 10000"/>
              <a:gd name="connsiteX122" fmla="*/ 4134 w 10000"/>
              <a:gd name="connsiteY122" fmla="*/ 719 h 10000"/>
              <a:gd name="connsiteX123" fmla="*/ 3917 w 10000"/>
              <a:gd name="connsiteY123" fmla="*/ 639 h 10000"/>
              <a:gd name="connsiteX124" fmla="*/ 3695 w 10000"/>
              <a:gd name="connsiteY124" fmla="*/ 570 h 10000"/>
              <a:gd name="connsiteX125" fmla="*/ 3464 w 10000"/>
              <a:gd name="connsiteY125" fmla="*/ 495 h 10000"/>
              <a:gd name="connsiteX126" fmla="*/ 3234 w 10000"/>
              <a:gd name="connsiteY126" fmla="*/ 431 h 10000"/>
              <a:gd name="connsiteX127" fmla="*/ 2999 w 10000"/>
              <a:gd name="connsiteY127" fmla="*/ 366 h 10000"/>
              <a:gd name="connsiteX128" fmla="*/ 2769 w 10000"/>
              <a:gd name="connsiteY128" fmla="*/ 313 h 10000"/>
              <a:gd name="connsiteX129" fmla="*/ 2528 w 10000"/>
              <a:gd name="connsiteY129" fmla="*/ 260 h 10000"/>
              <a:gd name="connsiteX130" fmla="*/ 2284 w 10000"/>
              <a:gd name="connsiteY130" fmla="*/ 211 h 10000"/>
              <a:gd name="connsiteX131" fmla="*/ 2047 w 10000"/>
              <a:gd name="connsiteY131" fmla="*/ 169 h 10000"/>
              <a:gd name="connsiteX132" fmla="*/ 1806 w 10000"/>
              <a:gd name="connsiteY132" fmla="*/ 131 h 10000"/>
              <a:gd name="connsiteX133" fmla="*/ 1555 w 10000"/>
              <a:gd name="connsiteY133" fmla="*/ 94 h 10000"/>
              <a:gd name="connsiteX134" fmla="*/ 1305 w 10000"/>
              <a:gd name="connsiteY134" fmla="*/ 67 h 10000"/>
              <a:gd name="connsiteX135" fmla="*/ 1057 w 10000"/>
              <a:gd name="connsiteY135" fmla="*/ 46 h 10000"/>
              <a:gd name="connsiteX136" fmla="*/ 807 w 10000"/>
              <a:gd name="connsiteY136" fmla="*/ 30 h 10000"/>
              <a:gd name="connsiteX137" fmla="*/ 551 w 10000"/>
              <a:gd name="connsiteY137" fmla="*/ 14 h 10000"/>
              <a:gd name="connsiteX138" fmla="*/ 295 w 10000"/>
              <a:gd name="connsiteY138" fmla="*/ 8 h 10000"/>
              <a:gd name="connsiteX139" fmla="*/ 39 w 10000"/>
              <a:gd name="connsiteY139" fmla="*/ 3 h 10000"/>
              <a:gd name="connsiteX140" fmla="*/ 0 w 10000"/>
              <a:gd name="connsiteY140" fmla="*/ 0 h 10000"/>
              <a:gd name="connsiteX141" fmla="*/ 1210 w 10000"/>
              <a:gd name="connsiteY141" fmla="*/ 2445 h 10000"/>
              <a:gd name="connsiteX142" fmla="*/ 7 w 10000"/>
              <a:gd name="connsiteY142" fmla="*/ 4770 h 10000"/>
              <a:gd name="connsiteX0" fmla="*/ 7 w 10000"/>
              <a:gd name="connsiteY0" fmla="*/ 4770 h 10000"/>
              <a:gd name="connsiteX1" fmla="*/ 20 w 10000"/>
              <a:gd name="connsiteY1" fmla="*/ 4764 h 10000"/>
              <a:gd name="connsiteX2" fmla="*/ 124 w 10000"/>
              <a:gd name="connsiteY2" fmla="*/ 4764 h 10000"/>
              <a:gd name="connsiteX3" fmla="*/ 230 w 10000"/>
              <a:gd name="connsiteY3" fmla="*/ 4770 h 10000"/>
              <a:gd name="connsiteX4" fmla="*/ 335 w 10000"/>
              <a:gd name="connsiteY4" fmla="*/ 4775 h 10000"/>
              <a:gd name="connsiteX5" fmla="*/ 439 w 10000"/>
              <a:gd name="connsiteY5" fmla="*/ 4780 h 10000"/>
              <a:gd name="connsiteX6" fmla="*/ 545 w 10000"/>
              <a:gd name="connsiteY6" fmla="*/ 4796 h 10000"/>
              <a:gd name="connsiteX7" fmla="*/ 650 w 10000"/>
              <a:gd name="connsiteY7" fmla="*/ 4807 h 10000"/>
              <a:gd name="connsiteX8" fmla="*/ 748 w 10000"/>
              <a:gd name="connsiteY8" fmla="*/ 4818 h 10000"/>
              <a:gd name="connsiteX9" fmla="*/ 846 w 10000"/>
              <a:gd name="connsiteY9" fmla="*/ 4834 h 10000"/>
              <a:gd name="connsiteX10" fmla="*/ 952 w 10000"/>
              <a:gd name="connsiteY10" fmla="*/ 4850 h 10000"/>
              <a:gd name="connsiteX11" fmla="*/ 1050 w 10000"/>
              <a:gd name="connsiteY11" fmla="*/ 4871 h 10000"/>
              <a:gd name="connsiteX12" fmla="*/ 1148 w 10000"/>
              <a:gd name="connsiteY12" fmla="*/ 4892 h 10000"/>
              <a:gd name="connsiteX13" fmla="*/ 1246 w 10000"/>
              <a:gd name="connsiteY13" fmla="*/ 4914 h 10000"/>
              <a:gd name="connsiteX14" fmla="*/ 1339 w 10000"/>
              <a:gd name="connsiteY14" fmla="*/ 4941 h 10000"/>
              <a:gd name="connsiteX15" fmla="*/ 1437 w 10000"/>
              <a:gd name="connsiteY15" fmla="*/ 4967 h 10000"/>
              <a:gd name="connsiteX16" fmla="*/ 1529 w 10000"/>
              <a:gd name="connsiteY16" fmla="*/ 4999 h 10000"/>
              <a:gd name="connsiteX17" fmla="*/ 1621 w 10000"/>
              <a:gd name="connsiteY17" fmla="*/ 5030 h 10000"/>
              <a:gd name="connsiteX18" fmla="*/ 1713 w 10000"/>
              <a:gd name="connsiteY18" fmla="*/ 5062 h 10000"/>
              <a:gd name="connsiteX19" fmla="*/ 1806 w 10000"/>
              <a:gd name="connsiteY19" fmla="*/ 5095 h 10000"/>
              <a:gd name="connsiteX20" fmla="*/ 1897 w 10000"/>
              <a:gd name="connsiteY20" fmla="*/ 5132 h 10000"/>
              <a:gd name="connsiteX21" fmla="*/ 1989 w 10000"/>
              <a:gd name="connsiteY21" fmla="*/ 5169 h 10000"/>
              <a:gd name="connsiteX22" fmla="*/ 2074 w 10000"/>
              <a:gd name="connsiteY22" fmla="*/ 5212 h 10000"/>
              <a:gd name="connsiteX23" fmla="*/ 2160 w 10000"/>
              <a:gd name="connsiteY23" fmla="*/ 5250 h 10000"/>
              <a:gd name="connsiteX24" fmla="*/ 2245 w 10000"/>
              <a:gd name="connsiteY24" fmla="*/ 5292 h 10000"/>
              <a:gd name="connsiteX25" fmla="*/ 2323 w 10000"/>
              <a:gd name="connsiteY25" fmla="*/ 5335 h 10000"/>
              <a:gd name="connsiteX26" fmla="*/ 2408 w 10000"/>
              <a:gd name="connsiteY26" fmla="*/ 5383 h 10000"/>
              <a:gd name="connsiteX27" fmla="*/ 2486 w 10000"/>
              <a:gd name="connsiteY27" fmla="*/ 5431 h 10000"/>
              <a:gd name="connsiteX28" fmla="*/ 2567 w 10000"/>
              <a:gd name="connsiteY28" fmla="*/ 5479 h 10000"/>
              <a:gd name="connsiteX29" fmla="*/ 2645 w 10000"/>
              <a:gd name="connsiteY29" fmla="*/ 5527 h 10000"/>
              <a:gd name="connsiteX30" fmla="*/ 2724 w 10000"/>
              <a:gd name="connsiteY30" fmla="*/ 5581 h 10000"/>
              <a:gd name="connsiteX31" fmla="*/ 2796 w 10000"/>
              <a:gd name="connsiteY31" fmla="*/ 5634 h 10000"/>
              <a:gd name="connsiteX32" fmla="*/ 2867 w 10000"/>
              <a:gd name="connsiteY32" fmla="*/ 5688 h 10000"/>
              <a:gd name="connsiteX33" fmla="*/ 2940 w 10000"/>
              <a:gd name="connsiteY33" fmla="*/ 5747 h 10000"/>
              <a:gd name="connsiteX34" fmla="*/ 3006 w 10000"/>
              <a:gd name="connsiteY34" fmla="*/ 5805 h 10000"/>
              <a:gd name="connsiteX35" fmla="*/ 3078 w 10000"/>
              <a:gd name="connsiteY35" fmla="*/ 5864 h 10000"/>
              <a:gd name="connsiteX36" fmla="*/ 3143 w 10000"/>
              <a:gd name="connsiteY36" fmla="*/ 5923 h 10000"/>
              <a:gd name="connsiteX37" fmla="*/ 3202 w 10000"/>
              <a:gd name="connsiteY37" fmla="*/ 5987 h 10000"/>
              <a:gd name="connsiteX38" fmla="*/ 3268 w 10000"/>
              <a:gd name="connsiteY38" fmla="*/ 6046 h 10000"/>
              <a:gd name="connsiteX39" fmla="*/ 3327 w 10000"/>
              <a:gd name="connsiteY39" fmla="*/ 6110 h 10000"/>
              <a:gd name="connsiteX40" fmla="*/ 3386 w 10000"/>
              <a:gd name="connsiteY40" fmla="*/ 6174 h 10000"/>
              <a:gd name="connsiteX41" fmla="*/ 3445 w 10000"/>
              <a:gd name="connsiteY41" fmla="*/ 6238 h 10000"/>
              <a:gd name="connsiteX42" fmla="*/ 3497 w 10000"/>
              <a:gd name="connsiteY42" fmla="*/ 6308 h 10000"/>
              <a:gd name="connsiteX43" fmla="*/ 3550 w 10000"/>
              <a:gd name="connsiteY43" fmla="*/ 6377 h 10000"/>
              <a:gd name="connsiteX44" fmla="*/ 3602 w 10000"/>
              <a:gd name="connsiteY44" fmla="*/ 6447 h 10000"/>
              <a:gd name="connsiteX45" fmla="*/ 3656 w 10000"/>
              <a:gd name="connsiteY45" fmla="*/ 6516 h 10000"/>
              <a:gd name="connsiteX46" fmla="*/ 3695 w 10000"/>
              <a:gd name="connsiteY46" fmla="*/ 6591 h 10000"/>
              <a:gd name="connsiteX47" fmla="*/ 3747 w 10000"/>
              <a:gd name="connsiteY47" fmla="*/ 6666 h 10000"/>
              <a:gd name="connsiteX48" fmla="*/ 3786 w 10000"/>
              <a:gd name="connsiteY48" fmla="*/ 6735 h 10000"/>
              <a:gd name="connsiteX49" fmla="*/ 3826 w 10000"/>
              <a:gd name="connsiteY49" fmla="*/ 6810 h 10000"/>
              <a:gd name="connsiteX50" fmla="*/ 3865 w 10000"/>
              <a:gd name="connsiteY50" fmla="*/ 6885 h 10000"/>
              <a:gd name="connsiteX51" fmla="*/ 3898 w 10000"/>
              <a:gd name="connsiteY51" fmla="*/ 6960 h 10000"/>
              <a:gd name="connsiteX52" fmla="*/ 3930 w 10000"/>
              <a:gd name="connsiteY52" fmla="*/ 7040 h 10000"/>
              <a:gd name="connsiteX53" fmla="*/ 3963 w 10000"/>
              <a:gd name="connsiteY53" fmla="*/ 7120 h 10000"/>
              <a:gd name="connsiteX54" fmla="*/ 3996 w 10000"/>
              <a:gd name="connsiteY54" fmla="*/ 7195 h 10000"/>
              <a:gd name="connsiteX55" fmla="*/ 4022 w 10000"/>
              <a:gd name="connsiteY55" fmla="*/ 7275 h 10000"/>
              <a:gd name="connsiteX56" fmla="*/ 4042 w 10000"/>
              <a:gd name="connsiteY56" fmla="*/ 7355 h 10000"/>
              <a:gd name="connsiteX57" fmla="*/ 4069 w 10000"/>
              <a:gd name="connsiteY57" fmla="*/ 7441 h 10000"/>
              <a:gd name="connsiteX58" fmla="*/ 4088 w 10000"/>
              <a:gd name="connsiteY58" fmla="*/ 7521 h 10000"/>
              <a:gd name="connsiteX59" fmla="*/ 4108 w 10000"/>
              <a:gd name="connsiteY59" fmla="*/ 7601 h 10000"/>
              <a:gd name="connsiteX60" fmla="*/ 4121 w 10000"/>
              <a:gd name="connsiteY60" fmla="*/ 7687 h 10000"/>
              <a:gd name="connsiteX61" fmla="*/ 4134 w 10000"/>
              <a:gd name="connsiteY61" fmla="*/ 7772 h 10000"/>
              <a:gd name="connsiteX62" fmla="*/ 4140 w 10000"/>
              <a:gd name="connsiteY62" fmla="*/ 7858 h 10000"/>
              <a:gd name="connsiteX63" fmla="*/ 4147 w 10000"/>
              <a:gd name="connsiteY63" fmla="*/ 7943 h 10000"/>
              <a:gd name="connsiteX64" fmla="*/ 4147 w 10000"/>
              <a:gd name="connsiteY64" fmla="*/ 8029 h 10000"/>
              <a:gd name="connsiteX65" fmla="*/ 6726 w 10000"/>
              <a:gd name="connsiteY65" fmla="*/ 10000 h 10000"/>
              <a:gd name="connsiteX66" fmla="*/ 9850 w 10000"/>
              <a:gd name="connsiteY66" fmla="*/ 9498 h 10000"/>
              <a:gd name="connsiteX67" fmla="*/ 9889 w 10000"/>
              <a:gd name="connsiteY67" fmla="*/ 9332 h 10000"/>
              <a:gd name="connsiteX68" fmla="*/ 9915 w 10000"/>
              <a:gd name="connsiteY68" fmla="*/ 9161 h 10000"/>
              <a:gd name="connsiteX69" fmla="*/ 9941 w 10000"/>
              <a:gd name="connsiteY69" fmla="*/ 8990 h 10000"/>
              <a:gd name="connsiteX70" fmla="*/ 9961 w 10000"/>
              <a:gd name="connsiteY70" fmla="*/ 8813 h 10000"/>
              <a:gd name="connsiteX71" fmla="*/ 9974 w 10000"/>
              <a:gd name="connsiteY71" fmla="*/ 8637 h 10000"/>
              <a:gd name="connsiteX72" fmla="*/ 9987 w 10000"/>
              <a:gd name="connsiteY72" fmla="*/ 8466 h 10000"/>
              <a:gd name="connsiteX73" fmla="*/ 9993 w 10000"/>
              <a:gd name="connsiteY73" fmla="*/ 8291 h 10000"/>
              <a:gd name="connsiteX74" fmla="*/ 10000 w 10000"/>
              <a:gd name="connsiteY74" fmla="*/ 8114 h 10000"/>
              <a:gd name="connsiteX75" fmla="*/ 9993 w 10000"/>
              <a:gd name="connsiteY75" fmla="*/ 7901 h 10000"/>
              <a:gd name="connsiteX76" fmla="*/ 9987 w 10000"/>
              <a:gd name="connsiteY76" fmla="*/ 7697 h 10000"/>
              <a:gd name="connsiteX77" fmla="*/ 9967 w 10000"/>
              <a:gd name="connsiteY77" fmla="*/ 7489 h 10000"/>
              <a:gd name="connsiteX78" fmla="*/ 9948 w 10000"/>
              <a:gd name="connsiteY78" fmla="*/ 7286 h 10000"/>
              <a:gd name="connsiteX79" fmla="*/ 9915 w 10000"/>
              <a:gd name="connsiteY79" fmla="*/ 7077 h 10000"/>
              <a:gd name="connsiteX80" fmla="*/ 9882 w 10000"/>
              <a:gd name="connsiteY80" fmla="*/ 6880 h 10000"/>
              <a:gd name="connsiteX81" fmla="*/ 9843 w 10000"/>
              <a:gd name="connsiteY81" fmla="*/ 6677 h 10000"/>
              <a:gd name="connsiteX82" fmla="*/ 9796 w 10000"/>
              <a:gd name="connsiteY82" fmla="*/ 6479 h 10000"/>
              <a:gd name="connsiteX83" fmla="*/ 9744 w 10000"/>
              <a:gd name="connsiteY83" fmla="*/ 6281 h 10000"/>
              <a:gd name="connsiteX84" fmla="*/ 9685 w 10000"/>
              <a:gd name="connsiteY84" fmla="*/ 6089 h 10000"/>
              <a:gd name="connsiteX85" fmla="*/ 9620 w 10000"/>
              <a:gd name="connsiteY85" fmla="*/ 5891 h 10000"/>
              <a:gd name="connsiteX86" fmla="*/ 9555 w 10000"/>
              <a:gd name="connsiteY86" fmla="*/ 5698 h 10000"/>
              <a:gd name="connsiteX87" fmla="*/ 9475 w 10000"/>
              <a:gd name="connsiteY87" fmla="*/ 5511 h 10000"/>
              <a:gd name="connsiteX88" fmla="*/ 9396 w 10000"/>
              <a:gd name="connsiteY88" fmla="*/ 5324 h 10000"/>
              <a:gd name="connsiteX89" fmla="*/ 9304 w 10000"/>
              <a:gd name="connsiteY89" fmla="*/ 5137 h 10000"/>
              <a:gd name="connsiteX90" fmla="*/ 9213 w 10000"/>
              <a:gd name="connsiteY90" fmla="*/ 4957 h 10000"/>
              <a:gd name="connsiteX91" fmla="*/ 9121 w 10000"/>
              <a:gd name="connsiteY91" fmla="*/ 4775 h 10000"/>
              <a:gd name="connsiteX92" fmla="*/ 9016 w 10000"/>
              <a:gd name="connsiteY92" fmla="*/ 4598 h 10000"/>
              <a:gd name="connsiteX93" fmla="*/ 8911 w 10000"/>
              <a:gd name="connsiteY93" fmla="*/ 4422 h 10000"/>
              <a:gd name="connsiteX94" fmla="*/ 8800 w 10000"/>
              <a:gd name="connsiteY94" fmla="*/ 4246 h 10000"/>
              <a:gd name="connsiteX95" fmla="*/ 8682 w 10000"/>
              <a:gd name="connsiteY95" fmla="*/ 4075 h 10000"/>
              <a:gd name="connsiteX96" fmla="*/ 8557 w 10000"/>
              <a:gd name="connsiteY96" fmla="*/ 3909 h 10000"/>
              <a:gd name="connsiteX97" fmla="*/ 8432 w 10000"/>
              <a:gd name="connsiteY97" fmla="*/ 3743 h 10000"/>
              <a:gd name="connsiteX98" fmla="*/ 8300 w 10000"/>
              <a:gd name="connsiteY98" fmla="*/ 3578 h 10000"/>
              <a:gd name="connsiteX99" fmla="*/ 8162 w 10000"/>
              <a:gd name="connsiteY99" fmla="*/ 3417 h 10000"/>
              <a:gd name="connsiteX100" fmla="*/ 8018 w 10000"/>
              <a:gd name="connsiteY100" fmla="*/ 3262 h 10000"/>
              <a:gd name="connsiteX101" fmla="*/ 7873 w 10000"/>
              <a:gd name="connsiteY101" fmla="*/ 3107 h 10000"/>
              <a:gd name="connsiteX102" fmla="*/ 7723 w 10000"/>
              <a:gd name="connsiteY102" fmla="*/ 2952 h 10000"/>
              <a:gd name="connsiteX103" fmla="*/ 7573 w 10000"/>
              <a:gd name="connsiteY103" fmla="*/ 2808 h 10000"/>
              <a:gd name="connsiteX104" fmla="*/ 7407 w 10000"/>
              <a:gd name="connsiteY104" fmla="*/ 2664 h 10000"/>
              <a:gd name="connsiteX105" fmla="*/ 7250 w 10000"/>
              <a:gd name="connsiteY105" fmla="*/ 2519 h 10000"/>
              <a:gd name="connsiteX106" fmla="*/ 7080 w 10000"/>
              <a:gd name="connsiteY106" fmla="*/ 2375 h 10000"/>
              <a:gd name="connsiteX107" fmla="*/ 6910 w 10000"/>
              <a:gd name="connsiteY107" fmla="*/ 2241 h 10000"/>
              <a:gd name="connsiteX108" fmla="*/ 6740 w 10000"/>
              <a:gd name="connsiteY108" fmla="*/ 2108 h 10000"/>
              <a:gd name="connsiteX109" fmla="*/ 6556 w 10000"/>
              <a:gd name="connsiteY109" fmla="*/ 1980 h 10000"/>
              <a:gd name="connsiteX110" fmla="*/ 6372 w 10000"/>
              <a:gd name="connsiteY110" fmla="*/ 1857 h 10000"/>
              <a:gd name="connsiteX111" fmla="*/ 6188 w 10000"/>
              <a:gd name="connsiteY111" fmla="*/ 1734 h 10000"/>
              <a:gd name="connsiteX112" fmla="*/ 5998 w 10000"/>
              <a:gd name="connsiteY112" fmla="*/ 1617 h 10000"/>
              <a:gd name="connsiteX113" fmla="*/ 5801 w 10000"/>
              <a:gd name="connsiteY113" fmla="*/ 1500 h 10000"/>
              <a:gd name="connsiteX114" fmla="*/ 5605 w 10000"/>
              <a:gd name="connsiteY114" fmla="*/ 1387 h 10000"/>
              <a:gd name="connsiteX115" fmla="*/ 5407 w 10000"/>
              <a:gd name="connsiteY115" fmla="*/ 1280 h 10000"/>
              <a:gd name="connsiteX116" fmla="*/ 5204 w 10000"/>
              <a:gd name="connsiteY116" fmla="*/ 1179 h 10000"/>
              <a:gd name="connsiteX117" fmla="*/ 5001 w 10000"/>
              <a:gd name="connsiteY117" fmla="*/ 1077 h 10000"/>
              <a:gd name="connsiteX118" fmla="*/ 4783 w 10000"/>
              <a:gd name="connsiteY118" fmla="*/ 981 h 10000"/>
              <a:gd name="connsiteX119" fmla="*/ 4574 w 10000"/>
              <a:gd name="connsiteY119" fmla="*/ 890 h 10000"/>
              <a:gd name="connsiteX120" fmla="*/ 4356 w 10000"/>
              <a:gd name="connsiteY120" fmla="*/ 805 h 10000"/>
              <a:gd name="connsiteX121" fmla="*/ 4134 w 10000"/>
              <a:gd name="connsiteY121" fmla="*/ 719 h 10000"/>
              <a:gd name="connsiteX122" fmla="*/ 3917 w 10000"/>
              <a:gd name="connsiteY122" fmla="*/ 639 h 10000"/>
              <a:gd name="connsiteX123" fmla="*/ 3695 w 10000"/>
              <a:gd name="connsiteY123" fmla="*/ 570 h 10000"/>
              <a:gd name="connsiteX124" fmla="*/ 3464 w 10000"/>
              <a:gd name="connsiteY124" fmla="*/ 495 h 10000"/>
              <a:gd name="connsiteX125" fmla="*/ 3234 w 10000"/>
              <a:gd name="connsiteY125" fmla="*/ 431 h 10000"/>
              <a:gd name="connsiteX126" fmla="*/ 2999 w 10000"/>
              <a:gd name="connsiteY126" fmla="*/ 366 h 10000"/>
              <a:gd name="connsiteX127" fmla="*/ 2769 w 10000"/>
              <a:gd name="connsiteY127" fmla="*/ 313 h 10000"/>
              <a:gd name="connsiteX128" fmla="*/ 2528 w 10000"/>
              <a:gd name="connsiteY128" fmla="*/ 260 h 10000"/>
              <a:gd name="connsiteX129" fmla="*/ 2284 w 10000"/>
              <a:gd name="connsiteY129" fmla="*/ 211 h 10000"/>
              <a:gd name="connsiteX130" fmla="*/ 2047 w 10000"/>
              <a:gd name="connsiteY130" fmla="*/ 169 h 10000"/>
              <a:gd name="connsiteX131" fmla="*/ 1806 w 10000"/>
              <a:gd name="connsiteY131" fmla="*/ 131 h 10000"/>
              <a:gd name="connsiteX132" fmla="*/ 1555 w 10000"/>
              <a:gd name="connsiteY132" fmla="*/ 94 h 10000"/>
              <a:gd name="connsiteX133" fmla="*/ 1305 w 10000"/>
              <a:gd name="connsiteY133" fmla="*/ 67 h 10000"/>
              <a:gd name="connsiteX134" fmla="*/ 1057 w 10000"/>
              <a:gd name="connsiteY134" fmla="*/ 46 h 10000"/>
              <a:gd name="connsiteX135" fmla="*/ 807 w 10000"/>
              <a:gd name="connsiteY135" fmla="*/ 30 h 10000"/>
              <a:gd name="connsiteX136" fmla="*/ 551 w 10000"/>
              <a:gd name="connsiteY136" fmla="*/ 14 h 10000"/>
              <a:gd name="connsiteX137" fmla="*/ 295 w 10000"/>
              <a:gd name="connsiteY137" fmla="*/ 8 h 10000"/>
              <a:gd name="connsiteX138" fmla="*/ 39 w 10000"/>
              <a:gd name="connsiteY138" fmla="*/ 3 h 10000"/>
              <a:gd name="connsiteX139" fmla="*/ 0 w 10000"/>
              <a:gd name="connsiteY139" fmla="*/ 0 h 10000"/>
              <a:gd name="connsiteX140" fmla="*/ 1210 w 10000"/>
              <a:gd name="connsiteY140" fmla="*/ 2445 h 10000"/>
              <a:gd name="connsiteX141" fmla="*/ 7 w 10000"/>
              <a:gd name="connsiteY141" fmla="*/ 4770 h 10000"/>
              <a:gd name="connsiteX0" fmla="*/ 7 w 10000"/>
              <a:gd name="connsiteY0" fmla="*/ 4770 h 10000"/>
              <a:gd name="connsiteX1" fmla="*/ 20 w 10000"/>
              <a:gd name="connsiteY1" fmla="*/ 4764 h 10000"/>
              <a:gd name="connsiteX2" fmla="*/ 124 w 10000"/>
              <a:gd name="connsiteY2" fmla="*/ 4764 h 10000"/>
              <a:gd name="connsiteX3" fmla="*/ 230 w 10000"/>
              <a:gd name="connsiteY3" fmla="*/ 4770 h 10000"/>
              <a:gd name="connsiteX4" fmla="*/ 335 w 10000"/>
              <a:gd name="connsiteY4" fmla="*/ 4775 h 10000"/>
              <a:gd name="connsiteX5" fmla="*/ 439 w 10000"/>
              <a:gd name="connsiteY5" fmla="*/ 4780 h 10000"/>
              <a:gd name="connsiteX6" fmla="*/ 545 w 10000"/>
              <a:gd name="connsiteY6" fmla="*/ 4796 h 10000"/>
              <a:gd name="connsiteX7" fmla="*/ 650 w 10000"/>
              <a:gd name="connsiteY7" fmla="*/ 4807 h 10000"/>
              <a:gd name="connsiteX8" fmla="*/ 748 w 10000"/>
              <a:gd name="connsiteY8" fmla="*/ 4818 h 10000"/>
              <a:gd name="connsiteX9" fmla="*/ 846 w 10000"/>
              <a:gd name="connsiteY9" fmla="*/ 4834 h 10000"/>
              <a:gd name="connsiteX10" fmla="*/ 952 w 10000"/>
              <a:gd name="connsiteY10" fmla="*/ 4850 h 10000"/>
              <a:gd name="connsiteX11" fmla="*/ 1050 w 10000"/>
              <a:gd name="connsiteY11" fmla="*/ 4871 h 10000"/>
              <a:gd name="connsiteX12" fmla="*/ 1148 w 10000"/>
              <a:gd name="connsiteY12" fmla="*/ 4892 h 10000"/>
              <a:gd name="connsiteX13" fmla="*/ 1246 w 10000"/>
              <a:gd name="connsiteY13" fmla="*/ 4914 h 10000"/>
              <a:gd name="connsiteX14" fmla="*/ 1339 w 10000"/>
              <a:gd name="connsiteY14" fmla="*/ 4941 h 10000"/>
              <a:gd name="connsiteX15" fmla="*/ 1437 w 10000"/>
              <a:gd name="connsiteY15" fmla="*/ 4967 h 10000"/>
              <a:gd name="connsiteX16" fmla="*/ 1529 w 10000"/>
              <a:gd name="connsiteY16" fmla="*/ 4999 h 10000"/>
              <a:gd name="connsiteX17" fmla="*/ 1621 w 10000"/>
              <a:gd name="connsiteY17" fmla="*/ 5030 h 10000"/>
              <a:gd name="connsiteX18" fmla="*/ 1713 w 10000"/>
              <a:gd name="connsiteY18" fmla="*/ 5062 h 10000"/>
              <a:gd name="connsiteX19" fmla="*/ 1806 w 10000"/>
              <a:gd name="connsiteY19" fmla="*/ 5095 h 10000"/>
              <a:gd name="connsiteX20" fmla="*/ 1897 w 10000"/>
              <a:gd name="connsiteY20" fmla="*/ 5132 h 10000"/>
              <a:gd name="connsiteX21" fmla="*/ 1989 w 10000"/>
              <a:gd name="connsiteY21" fmla="*/ 5169 h 10000"/>
              <a:gd name="connsiteX22" fmla="*/ 2074 w 10000"/>
              <a:gd name="connsiteY22" fmla="*/ 5212 h 10000"/>
              <a:gd name="connsiteX23" fmla="*/ 2160 w 10000"/>
              <a:gd name="connsiteY23" fmla="*/ 5250 h 10000"/>
              <a:gd name="connsiteX24" fmla="*/ 2245 w 10000"/>
              <a:gd name="connsiteY24" fmla="*/ 5292 h 10000"/>
              <a:gd name="connsiteX25" fmla="*/ 2323 w 10000"/>
              <a:gd name="connsiteY25" fmla="*/ 5335 h 10000"/>
              <a:gd name="connsiteX26" fmla="*/ 2408 w 10000"/>
              <a:gd name="connsiteY26" fmla="*/ 5383 h 10000"/>
              <a:gd name="connsiteX27" fmla="*/ 2486 w 10000"/>
              <a:gd name="connsiteY27" fmla="*/ 5431 h 10000"/>
              <a:gd name="connsiteX28" fmla="*/ 2567 w 10000"/>
              <a:gd name="connsiteY28" fmla="*/ 5479 h 10000"/>
              <a:gd name="connsiteX29" fmla="*/ 2645 w 10000"/>
              <a:gd name="connsiteY29" fmla="*/ 5527 h 10000"/>
              <a:gd name="connsiteX30" fmla="*/ 2724 w 10000"/>
              <a:gd name="connsiteY30" fmla="*/ 5581 h 10000"/>
              <a:gd name="connsiteX31" fmla="*/ 2796 w 10000"/>
              <a:gd name="connsiteY31" fmla="*/ 5634 h 10000"/>
              <a:gd name="connsiteX32" fmla="*/ 2867 w 10000"/>
              <a:gd name="connsiteY32" fmla="*/ 5688 h 10000"/>
              <a:gd name="connsiteX33" fmla="*/ 2940 w 10000"/>
              <a:gd name="connsiteY33" fmla="*/ 5747 h 10000"/>
              <a:gd name="connsiteX34" fmla="*/ 3006 w 10000"/>
              <a:gd name="connsiteY34" fmla="*/ 5805 h 10000"/>
              <a:gd name="connsiteX35" fmla="*/ 3078 w 10000"/>
              <a:gd name="connsiteY35" fmla="*/ 5864 h 10000"/>
              <a:gd name="connsiteX36" fmla="*/ 3143 w 10000"/>
              <a:gd name="connsiteY36" fmla="*/ 5923 h 10000"/>
              <a:gd name="connsiteX37" fmla="*/ 3202 w 10000"/>
              <a:gd name="connsiteY37" fmla="*/ 5987 h 10000"/>
              <a:gd name="connsiteX38" fmla="*/ 3268 w 10000"/>
              <a:gd name="connsiteY38" fmla="*/ 6046 h 10000"/>
              <a:gd name="connsiteX39" fmla="*/ 3327 w 10000"/>
              <a:gd name="connsiteY39" fmla="*/ 6110 h 10000"/>
              <a:gd name="connsiteX40" fmla="*/ 3386 w 10000"/>
              <a:gd name="connsiteY40" fmla="*/ 6174 h 10000"/>
              <a:gd name="connsiteX41" fmla="*/ 3445 w 10000"/>
              <a:gd name="connsiteY41" fmla="*/ 6238 h 10000"/>
              <a:gd name="connsiteX42" fmla="*/ 3497 w 10000"/>
              <a:gd name="connsiteY42" fmla="*/ 6308 h 10000"/>
              <a:gd name="connsiteX43" fmla="*/ 3550 w 10000"/>
              <a:gd name="connsiteY43" fmla="*/ 6377 h 10000"/>
              <a:gd name="connsiteX44" fmla="*/ 3602 w 10000"/>
              <a:gd name="connsiteY44" fmla="*/ 6447 h 10000"/>
              <a:gd name="connsiteX45" fmla="*/ 3656 w 10000"/>
              <a:gd name="connsiteY45" fmla="*/ 6516 h 10000"/>
              <a:gd name="connsiteX46" fmla="*/ 3695 w 10000"/>
              <a:gd name="connsiteY46" fmla="*/ 6591 h 10000"/>
              <a:gd name="connsiteX47" fmla="*/ 3747 w 10000"/>
              <a:gd name="connsiteY47" fmla="*/ 6666 h 10000"/>
              <a:gd name="connsiteX48" fmla="*/ 3786 w 10000"/>
              <a:gd name="connsiteY48" fmla="*/ 6735 h 10000"/>
              <a:gd name="connsiteX49" fmla="*/ 3826 w 10000"/>
              <a:gd name="connsiteY49" fmla="*/ 6810 h 10000"/>
              <a:gd name="connsiteX50" fmla="*/ 3865 w 10000"/>
              <a:gd name="connsiteY50" fmla="*/ 6885 h 10000"/>
              <a:gd name="connsiteX51" fmla="*/ 3898 w 10000"/>
              <a:gd name="connsiteY51" fmla="*/ 6960 h 10000"/>
              <a:gd name="connsiteX52" fmla="*/ 3930 w 10000"/>
              <a:gd name="connsiteY52" fmla="*/ 7040 h 10000"/>
              <a:gd name="connsiteX53" fmla="*/ 3963 w 10000"/>
              <a:gd name="connsiteY53" fmla="*/ 7120 h 10000"/>
              <a:gd name="connsiteX54" fmla="*/ 3996 w 10000"/>
              <a:gd name="connsiteY54" fmla="*/ 7195 h 10000"/>
              <a:gd name="connsiteX55" fmla="*/ 4022 w 10000"/>
              <a:gd name="connsiteY55" fmla="*/ 7275 h 10000"/>
              <a:gd name="connsiteX56" fmla="*/ 4042 w 10000"/>
              <a:gd name="connsiteY56" fmla="*/ 7355 h 10000"/>
              <a:gd name="connsiteX57" fmla="*/ 4069 w 10000"/>
              <a:gd name="connsiteY57" fmla="*/ 7441 h 10000"/>
              <a:gd name="connsiteX58" fmla="*/ 4088 w 10000"/>
              <a:gd name="connsiteY58" fmla="*/ 7521 h 10000"/>
              <a:gd name="connsiteX59" fmla="*/ 4108 w 10000"/>
              <a:gd name="connsiteY59" fmla="*/ 7601 h 10000"/>
              <a:gd name="connsiteX60" fmla="*/ 4121 w 10000"/>
              <a:gd name="connsiteY60" fmla="*/ 7687 h 10000"/>
              <a:gd name="connsiteX61" fmla="*/ 4134 w 10000"/>
              <a:gd name="connsiteY61" fmla="*/ 7772 h 10000"/>
              <a:gd name="connsiteX62" fmla="*/ 4140 w 10000"/>
              <a:gd name="connsiteY62" fmla="*/ 7858 h 10000"/>
              <a:gd name="connsiteX63" fmla="*/ 4147 w 10000"/>
              <a:gd name="connsiteY63" fmla="*/ 7943 h 10000"/>
              <a:gd name="connsiteX64" fmla="*/ 4132 w 10000"/>
              <a:gd name="connsiteY64" fmla="*/ 7983 h 10000"/>
              <a:gd name="connsiteX65" fmla="*/ 4147 w 10000"/>
              <a:gd name="connsiteY65" fmla="*/ 8029 h 10000"/>
              <a:gd name="connsiteX66" fmla="*/ 6726 w 10000"/>
              <a:gd name="connsiteY66" fmla="*/ 10000 h 10000"/>
              <a:gd name="connsiteX67" fmla="*/ 9850 w 10000"/>
              <a:gd name="connsiteY67" fmla="*/ 9498 h 10000"/>
              <a:gd name="connsiteX68" fmla="*/ 9889 w 10000"/>
              <a:gd name="connsiteY68" fmla="*/ 9332 h 10000"/>
              <a:gd name="connsiteX69" fmla="*/ 9915 w 10000"/>
              <a:gd name="connsiteY69" fmla="*/ 9161 h 10000"/>
              <a:gd name="connsiteX70" fmla="*/ 9941 w 10000"/>
              <a:gd name="connsiteY70" fmla="*/ 8990 h 10000"/>
              <a:gd name="connsiteX71" fmla="*/ 9961 w 10000"/>
              <a:gd name="connsiteY71" fmla="*/ 8813 h 10000"/>
              <a:gd name="connsiteX72" fmla="*/ 9974 w 10000"/>
              <a:gd name="connsiteY72" fmla="*/ 8637 h 10000"/>
              <a:gd name="connsiteX73" fmla="*/ 9987 w 10000"/>
              <a:gd name="connsiteY73" fmla="*/ 8466 h 10000"/>
              <a:gd name="connsiteX74" fmla="*/ 9993 w 10000"/>
              <a:gd name="connsiteY74" fmla="*/ 8291 h 10000"/>
              <a:gd name="connsiteX75" fmla="*/ 10000 w 10000"/>
              <a:gd name="connsiteY75" fmla="*/ 8114 h 10000"/>
              <a:gd name="connsiteX76" fmla="*/ 9993 w 10000"/>
              <a:gd name="connsiteY76" fmla="*/ 7901 h 10000"/>
              <a:gd name="connsiteX77" fmla="*/ 9987 w 10000"/>
              <a:gd name="connsiteY77" fmla="*/ 7697 h 10000"/>
              <a:gd name="connsiteX78" fmla="*/ 9967 w 10000"/>
              <a:gd name="connsiteY78" fmla="*/ 7489 h 10000"/>
              <a:gd name="connsiteX79" fmla="*/ 9948 w 10000"/>
              <a:gd name="connsiteY79" fmla="*/ 7286 h 10000"/>
              <a:gd name="connsiteX80" fmla="*/ 9915 w 10000"/>
              <a:gd name="connsiteY80" fmla="*/ 7077 h 10000"/>
              <a:gd name="connsiteX81" fmla="*/ 9882 w 10000"/>
              <a:gd name="connsiteY81" fmla="*/ 6880 h 10000"/>
              <a:gd name="connsiteX82" fmla="*/ 9843 w 10000"/>
              <a:gd name="connsiteY82" fmla="*/ 6677 h 10000"/>
              <a:gd name="connsiteX83" fmla="*/ 9796 w 10000"/>
              <a:gd name="connsiteY83" fmla="*/ 6479 h 10000"/>
              <a:gd name="connsiteX84" fmla="*/ 9744 w 10000"/>
              <a:gd name="connsiteY84" fmla="*/ 6281 h 10000"/>
              <a:gd name="connsiteX85" fmla="*/ 9685 w 10000"/>
              <a:gd name="connsiteY85" fmla="*/ 6089 h 10000"/>
              <a:gd name="connsiteX86" fmla="*/ 9620 w 10000"/>
              <a:gd name="connsiteY86" fmla="*/ 5891 h 10000"/>
              <a:gd name="connsiteX87" fmla="*/ 9555 w 10000"/>
              <a:gd name="connsiteY87" fmla="*/ 5698 h 10000"/>
              <a:gd name="connsiteX88" fmla="*/ 9475 w 10000"/>
              <a:gd name="connsiteY88" fmla="*/ 5511 h 10000"/>
              <a:gd name="connsiteX89" fmla="*/ 9396 w 10000"/>
              <a:gd name="connsiteY89" fmla="*/ 5324 h 10000"/>
              <a:gd name="connsiteX90" fmla="*/ 9304 w 10000"/>
              <a:gd name="connsiteY90" fmla="*/ 5137 h 10000"/>
              <a:gd name="connsiteX91" fmla="*/ 9213 w 10000"/>
              <a:gd name="connsiteY91" fmla="*/ 4957 h 10000"/>
              <a:gd name="connsiteX92" fmla="*/ 9121 w 10000"/>
              <a:gd name="connsiteY92" fmla="*/ 4775 h 10000"/>
              <a:gd name="connsiteX93" fmla="*/ 9016 w 10000"/>
              <a:gd name="connsiteY93" fmla="*/ 4598 h 10000"/>
              <a:gd name="connsiteX94" fmla="*/ 8911 w 10000"/>
              <a:gd name="connsiteY94" fmla="*/ 4422 h 10000"/>
              <a:gd name="connsiteX95" fmla="*/ 8800 w 10000"/>
              <a:gd name="connsiteY95" fmla="*/ 4246 h 10000"/>
              <a:gd name="connsiteX96" fmla="*/ 8682 w 10000"/>
              <a:gd name="connsiteY96" fmla="*/ 4075 h 10000"/>
              <a:gd name="connsiteX97" fmla="*/ 8557 w 10000"/>
              <a:gd name="connsiteY97" fmla="*/ 3909 h 10000"/>
              <a:gd name="connsiteX98" fmla="*/ 8432 w 10000"/>
              <a:gd name="connsiteY98" fmla="*/ 3743 h 10000"/>
              <a:gd name="connsiteX99" fmla="*/ 8300 w 10000"/>
              <a:gd name="connsiteY99" fmla="*/ 3578 h 10000"/>
              <a:gd name="connsiteX100" fmla="*/ 8162 w 10000"/>
              <a:gd name="connsiteY100" fmla="*/ 3417 h 10000"/>
              <a:gd name="connsiteX101" fmla="*/ 8018 w 10000"/>
              <a:gd name="connsiteY101" fmla="*/ 3262 h 10000"/>
              <a:gd name="connsiteX102" fmla="*/ 7873 w 10000"/>
              <a:gd name="connsiteY102" fmla="*/ 3107 h 10000"/>
              <a:gd name="connsiteX103" fmla="*/ 7723 w 10000"/>
              <a:gd name="connsiteY103" fmla="*/ 2952 h 10000"/>
              <a:gd name="connsiteX104" fmla="*/ 7573 w 10000"/>
              <a:gd name="connsiteY104" fmla="*/ 2808 h 10000"/>
              <a:gd name="connsiteX105" fmla="*/ 7407 w 10000"/>
              <a:gd name="connsiteY105" fmla="*/ 2664 h 10000"/>
              <a:gd name="connsiteX106" fmla="*/ 7250 w 10000"/>
              <a:gd name="connsiteY106" fmla="*/ 2519 h 10000"/>
              <a:gd name="connsiteX107" fmla="*/ 7080 w 10000"/>
              <a:gd name="connsiteY107" fmla="*/ 2375 h 10000"/>
              <a:gd name="connsiteX108" fmla="*/ 6910 w 10000"/>
              <a:gd name="connsiteY108" fmla="*/ 2241 h 10000"/>
              <a:gd name="connsiteX109" fmla="*/ 6740 w 10000"/>
              <a:gd name="connsiteY109" fmla="*/ 2108 h 10000"/>
              <a:gd name="connsiteX110" fmla="*/ 6556 w 10000"/>
              <a:gd name="connsiteY110" fmla="*/ 1980 h 10000"/>
              <a:gd name="connsiteX111" fmla="*/ 6372 w 10000"/>
              <a:gd name="connsiteY111" fmla="*/ 1857 h 10000"/>
              <a:gd name="connsiteX112" fmla="*/ 6188 w 10000"/>
              <a:gd name="connsiteY112" fmla="*/ 1734 h 10000"/>
              <a:gd name="connsiteX113" fmla="*/ 5998 w 10000"/>
              <a:gd name="connsiteY113" fmla="*/ 1617 h 10000"/>
              <a:gd name="connsiteX114" fmla="*/ 5801 w 10000"/>
              <a:gd name="connsiteY114" fmla="*/ 1500 h 10000"/>
              <a:gd name="connsiteX115" fmla="*/ 5605 w 10000"/>
              <a:gd name="connsiteY115" fmla="*/ 1387 h 10000"/>
              <a:gd name="connsiteX116" fmla="*/ 5407 w 10000"/>
              <a:gd name="connsiteY116" fmla="*/ 1280 h 10000"/>
              <a:gd name="connsiteX117" fmla="*/ 5204 w 10000"/>
              <a:gd name="connsiteY117" fmla="*/ 1179 h 10000"/>
              <a:gd name="connsiteX118" fmla="*/ 5001 w 10000"/>
              <a:gd name="connsiteY118" fmla="*/ 1077 h 10000"/>
              <a:gd name="connsiteX119" fmla="*/ 4783 w 10000"/>
              <a:gd name="connsiteY119" fmla="*/ 981 h 10000"/>
              <a:gd name="connsiteX120" fmla="*/ 4574 w 10000"/>
              <a:gd name="connsiteY120" fmla="*/ 890 h 10000"/>
              <a:gd name="connsiteX121" fmla="*/ 4356 w 10000"/>
              <a:gd name="connsiteY121" fmla="*/ 805 h 10000"/>
              <a:gd name="connsiteX122" fmla="*/ 4134 w 10000"/>
              <a:gd name="connsiteY122" fmla="*/ 719 h 10000"/>
              <a:gd name="connsiteX123" fmla="*/ 3917 w 10000"/>
              <a:gd name="connsiteY123" fmla="*/ 639 h 10000"/>
              <a:gd name="connsiteX124" fmla="*/ 3695 w 10000"/>
              <a:gd name="connsiteY124" fmla="*/ 570 h 10000"/>
              <a:gd name="connsiteX125" fmla="*/ 3464 w 10000"/>
              <a:gd name="connsiteY125" fmla="*/ 495 h 10000"/>
              <a:gd name="connsiteX126" fmla="*/ 3234 w 10000"/>
              <a:gd name="connsiteY126" fmla="*/ 431 h 10000"/>
              <a:gd name="connsiteX127" fmla="*/ 2999 w 10000"/>
              <a:gd name="connsiteY127" fmla="*/ 366 h 10000"/>
              <a:gd name="connsiteX128" fmla="*/ 2769 w 10000"/>
              <a:gd name="connsiteY128" fmla="*/ 313 h 10000"/>
              <a:gd name="connsiteX129" fmla="*/ 2528 w 10000"/>
              <a:gd name="connsiteY129" fmla="*/ 260 h 10000"/>
              <a:gd name="connsiteX130" fmla="*/ 2284 w 10000"/>
              <a:gd name="connsiteY130" fmla="*/ 211 h 10000"/>
              <a:gd name="connsiteX131" fmla="*/ 2047 w 10000"/>
              <a:gd name="connsiteY131" fmla="*/ 169 h 10000"/>
              <a:gd name="connsiteX132" fmla="*/ 1806 w 10000"/>
              <a:gd name="connsiteY132" fmla="*/ 131 h 10000"/>
              <a:gd name="connsiteX133" fmla="*/ 1555 w 10000"/>
              <a:gd name="connsiteY133" fmla="*/ 94 h 10000"/>
              <a:gd name="connsiteX134" fmla="*/ 1305 w 10000"/>
              <a:gd name="connsiteY134" fmla="*/ 67 h 10000"/>
              <a:gd name="connsiteX135" fmla="*/ 1057 w 10000"/>
              <a:gd name="connsiteY135" fmla="*/ 46 h 10000"/>
              <a:gd name="connsiteX136" fmla="*/ 807 w 10000"/>
              <a:gd name="connsiteY136" fmla="*/ 30 h 10000"/>
              <a:gd name="connsiteX137" fmla="*/ 551 w 10000"/>
              <a:gd name="connsiteY137" fmla="*/ 14 h 10000"/>
              <a:gd name="connsiteX138" fmla="*/ 295 w 10000"/>
              <a:gd name="connsiteY138" fmla="*/ 8 h 10000"/>
              <a:gd name="connsiteX139" fmla="*/ 39 w 10000"/>
              <a:gd name="connsiteY139" fmla="*/ 3 h 10000"/>
              <a:gd name="connsiteX140" fmla="*/ 0 w 10000"/>
              <a:gd name="connsiteY140" fmla="*/ 0 h 10000"/>
              <a:gd name="connsiteX141" fmla="*/ 1210 w 10000"/>
              <a:gd name="connsiteY141" fmla="*/ 2445 h 10000"/>
              <a:gd name="connsiteX142" fmla="*/ 7 w 10000"/>
              <a:gd name="connsiteY142" fmla="*/ 4770 h 10000"/>
              <a:gd name="connsiteX0" fmla="*/ 7 w 10000"/>
              <a:gd name="connsiteY0" fmla="*/ 4770 h 10000"/>
              <a:gd name="connsiteX1" fmla="*/ 20 w 10000"/>
              <a:gd name="connsiteY1" fmla="*/ 4764 h 10000"/>
              <a:gd name="connsiteX2" fmla="*/ 124 w 10000"/>
              <a:gd name="connsiteY2" fmla="*/ 4764 h 10000"/>
              <a:gd name="connsiteX3" fmla="*/ 230 w 10000"/>
              <a:gd name="connsiteY3" fmla="*/ 4770 h 10000"/>
              <a:gd name="connsiteX4" fmla="*/ 335 w 10000"/>
              <a:gd name="connsiteY4" fmla="*/ 4775 h 10000"/>
              <a:gd name="connsiteX5" fmla="*/ 439 w 10000"/>
              <a:gd name="connsiteY5" fmla="*/ 4780 h 10000"/>
              <a:gd name="connsiteX6" fmla="*/ 545 w 10000"/>
              <a:gd name="connsiteY6" fmla="*/ 4796 h 10000"/>
              <a:gd name="connsiteX7" fmla="*/ 650 w 10000"/>
              <a:gd name="connsiteY7" fmla="*/ 4807 h 10000"/>
              <a:gd name="connsiteX8" fmla="*/ 748 w 10000"/>
              <a:gd name="connsiteY8" fmla="*/ 4818 h 10000"/>
              <a:gd name="connsiteX9" fmla="*/ 846 w 10000"/>
              <a:gd name="connsiteY9" fmla="*/ 4834 h 10000"/>
              <a:gd name="connsiteX10" fmla="*/ 952 w 10000"/>
              <a:gd name="connsiteY10" fmla="*/ 4850 h 10000"/>
              <a:gd name="connsiteX11" fmla="*/ 1050 w 10000"/>
              <a:gd name="connsiteY11" fmla="*/ 4871 h 10000"/>
              <a:gd name="connsiteX12" fmla="*/ 1148 w 10000"/>
              <a:gd name="connsiteY12" fmla="*/ 4892 h 10000"/>
              <a:gd name="connsiteX13" fmla="*/ 1246 w 10000"/>
              <a:gd name="connsiteY13" fmla="*/ 4914 h 10000"/>
              <a:gd name="connsiteX14" fmla="*/ 1339 w 10000"/>
              <a:gd name="connsiteY14" fmla="*/ 4941 h 10000"/>
              <a:gd name="connsiteX15" fmla="*/ 1437 w 10000"/>
              <a:gd name="connsiteY15" fmla="*/ 4967 h 10000"/>
              <a:gd name="connsiteX16" fmla="*/ 1529 w 10000"/>
              <a:gd name="connsiteY16" fmla="*/ 4999 h 10000"/>
              <a:gd name="connsiteX17" fmla="*/ 1621 w 10000"/>
              <a:gd name="connsiteY17" fmla="*/ 5030 h 10000"/>
              <a:gd name="connsiteX18" fmla="*/ 1713 w 10000"/>
              <a:gd name="connsiteY18" fmla="*/ 5062 h 10000"/>
              <a:gd name="connsiteX19" fmla="*/ 1806 w 10000"/>
              <a:gd name="connsiteY19" fmla="*/ 5095 h 10000"/>
              <a:gd name="connsiteX20" fmla="*/ 1897 w 10000"/>
              <a:gd name="connsiteY20" fmla="*/ 5132 h 10000"/>
              <a:gd name="connsiteX21" fmla="*/ 1989 w 10000"/>
              <a:gd name="connsiteY21" fmla="*/ 5169 h 10000"/>
              <a:gd name="connsiteX22" fmla="*/ 2074 w 10000"/>
              <a:gd name="connsiteY22" fmla="*/ 5212 h 10000"/>
              <a:gd name="connsiteX23" fmla="*/ 2160 w 10000"/>
              <a:gd name="connsiteY23" fmla="*/ 5250 h 10000"/>
              <a:gd name="connsiteX24" fmla="*/ 2245 w 10000"/>
              <a:gd name="connsiteY24" fmla="*/ 5292 h 10000"/>
              <a:gd name="connsiteX25" fmla="*/ 2323 w 10000"/>
              <a:gd name="connsiteY25" fmla="*/ 5335 h 10000"/>
              <a:gd name="connsiteX26" fmla="*/ 2408 w 10000"/>
              <a:gd name="connsiteY26" fmla="*/ 5383 h 10000"/>
              <a:gd name="connsiteX27" fmla="*/ 2486 w 10000"/>
              <a:gd name="connsiteY27" fmla="*/ 5431 h 10000"/>
              <a:gd name="connsiteX28" fmla="*/ 2567 w 10000"/>
              <a:gd name="connsiteY28" fmla="*/ 5479 h 10000"/>
              <a:gd name="connsiteX29" fmla="*/ 2645 w 10000"/>
              <a:gd name="connsiteY29" fmla="*/ 5527 h 10000"/>
              <a:gd name="connsiteX30" fmla="*/ 2724 w 10000"/>
              <a:gd name="connsiteY30" fmla="*/ 5581 h 10000"/>
              <a:gd name="connsiteX31" fmla="*/ 2796 w 10000"/>
              <a:gd name="connsiteY31" fmla="*/ 5634 h 10000"/>
              <a:gd name="connsiteX32" fmla="*/ 2867 w 10000"/>
              <a:gd name="connsiteY32" fmla="*/ 5688 h 10000"/>
              <a:gd name="connsiteX33" fmla="*/ 2940 w 10000"/>
              <a:gd name="connsiteY33" fmla="*/ 5747 h 10000"/>
              <a:gd name="connsiteX34" fmla="*/ 3006 w 10000"/>
              <a:gd name="connsiteY34" fmla="*/ 5805 h 10000"/>
              <a:gd name="connsiteX35" fmla="*/ 3078 w 10000"/>
              <a:gd name="connsiteY35" fmla="*/ 5864 h 10000"/>
              <a:gd name="connsiteX36" fmla="*/ 3143 w 10000"/>
              <a:gd name="connsiteY36" fmla="*/ 5923 h 10000"/>
              <a:gd name="connsiteX37" fmla="*/ 3202 w 10000"/>
              <a:gd name="connsiteY37" fmla="*/ 5987 h 10000"/>
              <a:gd name="connsiteX38" fmla="*/ 3268 w 10000"/>
              <a:gd name="connsiteY38" fmla="*/ 6046 h 10000"/>
              <a:gd name="connsiteX39" fmla="*/ 3327 w 10000"/>
              <a:gd name="connsiteY39" fmla="*/ 6110 h 10000"/>
              <a:gd name="connsiteX40" fmla="*/ 3386 w 10000"/>
              <a:gd name="connsiteY40" fmla="*/ 6174 h 10000"/>
              <a:gd name="connsiteX41" fmla="*/ 3445 w 10000"/>
              <a:gd name="connsiteY41" fmla="*/ 6238 h 10000"/>
              <a:gd name="connsiteX42" fmla="*/ 3497 w 10000"/>
              <a:gd name="connsiteY42" fmla="*/ 6308 h 10000"/>
              <a:gd name="connsiteX43" fmla="*/ 3550 w 10000"/>
              <a:gd name="connsiteY43" fmla="*/ 6377 h 10000"/>
              <a:gd name="connsiteX44" fmla="*/ 3602 w 10000"/>
              <a:gd name="connsiteY44" fmla="*/ 6447 h 10000"/>
              <a:gd name="connsiteX45" fmla="*/ 3656 w 10000"/>
              <a:gd name="connsiteY45" fmla="*/ 6516 h 10000"/>
              <a:gd name="connsiteX46" fmla="*/ 3695 w 10000"/>
              <a:gd name="connsiteY46" fmla="*/ 6591 h 10000"/>
              <a:gd name="connsiteX47" fmla="*/ 3747 w 10000"/>
              <a:gd name="connsiteY47" fmla="*/ 6666 h 10000"/>
              <a:gd name="connsiteX48" fmla="*/ 3786 w 10000"/>
              <a:gd name="connsiteY48" fmla="*/ 6735 h 10000"/>
              <a:gd name="connsiteX49" fmla="*/ 3826 w 10000"/>
              <a:gd name="connsiteY49" fmla="*/ 6810 h 10000"/>
              <a:gd name="connsiteX50" fmla="*/ 3865 w 10000"/>
              <a:gd name="connsiteY50" fmla="*/ 6885 h 10000"/>
              <a:gd name="connsiteX51" fmla="*/ 3898 w 10000"/>
              <a:gd name="connsiteY51" fmla="*/ 6960 h 10000"/>
              <a:gd name="connsiteX52" fmla="*/ 3930 w 10000"/>
              <a:gd name="connsiteY52" fmla="*/ 7040 h 10000"/>
              <a:gd name="connsiteX53" fmla="*/ 3963 w 10000"/>
              <a:gd name="connsiteY53" fmla="*/ 7120 h 10000"/>
              <a:gd name="connsiteX54" fmla="*/ 3996 w 10000"/>
              <a:gd name="connsiteY54" fmla="*/ 7195 h 10000"/>
              <a:gd name="connsiteX55" fmla="*/ 4022 w 10000"/>
              <a:gd name="connsiteY55" fmla="*/ 7275 h 10000"/>
              <a:gd name="connsiteX56" fmla="*/ 4042 w 10000"/>
              <a:gd name="connsiteY56" fmla="*/ 7355 h 10000"/>
              <a:gd name="connsiteX57" fmla="*/ 4069 w 10000"/>
              <a:gd name="connsiteY57" fmla="*/ 7441 h 10000"/>
              <a:gd name="connsiteX58" fmla="*/ 4088 w 10000"/>
              <a:gd name="connsiteY58" fmla="*/ 7521 h 10000"/>
              <a:gd name="connsiteX59" fmla="*/ 4108 w 10000"/>
              <a:gd name="connsiteY59" fmla="*/ 7601 h 10000"/>
              <a:gd name="connsiteX60" fmla="*/ 4121 w 10000"/>
              <a:gd name="connsiteY60" fmla="*/ 7687 h 10000"/>
              <a:gd name="connsiteX61" fmla="*/ 4134 w 10000"/>
              <a:gd name="connsiteY61" fmla="*/ 7772 h 10000"/>
              <a:gd name="connsiteX62" fmla="*/ 4140 w 10000"/>
              <a:gd name="connsiteY62" fmla="*/ 7858 h 10000"/>
              <a:gd name="connsiteX63" fmla="*/ 4147 w 10000"/>
              <a:gd name="connsiteY63" fmla="*/ 7943 h 10000"/>
              <a:gd name="connsiteX64" fmla="*/ 4132 w 10000"/>
              <a:gd name="connsiteY64" fmla="*/ 7983 h 10000"/>
              <a:gd name="connsiteX65" fmla="*/ 6726 w 10000"/>
              <a:gd name="connsiteY65" fmla="*/ 10000 h 10000"/>
              <a:gd name="connsiteX66" fmla="*/ 9850 w 10000"/>
              <a:gd name="connsiteY66" fmla="*/ 9498 h 10000"/>
              <a:gd name="connsiteX67" fmla="*/ 9889 w 10000"/>
              <a:gd name="connsiteY67" fmla="*/ 9332 h 10000"/>
              <a:gd name="connsiteX68" fmla="*/ 9915 w 10000"/>
              <a:gd name="connsiteY68" fmla="*/ 9161 h 10000"/>
              <a:gd name="connsiteX69" fmla="*/ 9941 w 10000"/>
              <a:gd name="connsiteY69" fmla="*/ 8990 h 10000"/>
              <a:gd name="connsiteX70" fmla="*/ 9961 w 10000"/>
              <a:gd name="connsiteY70" fmla="*/ 8813 h 10000"/>
              <a:gd name="connsiteX71" fmla="*/ 9974 w 10000"/>
              <a:gd name="connsiteY71" fmla="*/ 8637 h 10000"/>
              <a:gd name="connsiteX72" fmla="*/ 9987 w 10000"/>
              <a:gd name="connsiteY72" fmla="*/ 8466 h 10000"/>
              <a:gd name="connsiteX73" fmla="*/ 9993 w 10000"/>
              <a:gd name="connsiteY73" fmla="*/ 8291 h 10000"/>
              <a:gd name="connsiteX74" fmla="*/ 10000 w 10000"/>
              <a:gd name="connsiteY74" fmla="*/ 8114 h 10000"/>
              <a:gd name="connsiteX75" fmla="*/ 9993 w 10000"/>
              <a:gd name="connsiteY75" fmla="*/ 7901 h 10000"/>
              <a:gd name="connsiteX76" fmla="*/ 9987 w 10000"/>
              <a:gd name="connsiteY76" fmla="*/ 7697 h 10000"/>
              <a:gd name="connsiteX77" fmla="*/ 9967 w 10000"/>
              <a:gd name="connsiteY77" fmla="*/ 7489 h 10000"/>
              <a:gd name="connsiteX78" fmla="*/ 9948 w 10000"/>
              <a:gd name="connsiteY78" fmla="*/ 7286 h 10000"/>
              <a:gd name="connsiteX79" fmla="*/ 9915 w 10000"/>
              <a:gd name="connsiteY79" fmla="*/ 7077 h 10000"/>
              <a:gd name="connsiteX80" fmla="*/ 9882 w 10000"/>
              <a:gd name="connsiteY80" fmla="*/ 6880 h 10000"/>
              <a:gd name="connsiteX81" fmla="*/ 9843 w 10000"/>
              <a:gd name="connsiteY81" fmla="*/ 6677 h 10000"/>
              <a:gd name="connsiteX82" fmla="*/ 9796 w 10000"/>
              <a:gd name="connsiteY82" fmla="*/ 6479 h 10000"/>
              <a:gd name="connsiteX83" fmla="*/ 9744 w 10000"/>
              <a:gd name="connsiteY83" fmla="*/ 6281 h 10000"/>
              <a:gd name="connsiteX84" fmla="*/ 9685 w 10000"/>
              <a:gd name="connsiteY84" fmla="*/ 6089 h 10000"/>
              <a:gd name="connsiteX85" fmla="*/ 9620 w 10000"/>
              <a:gd name="connsiteY85" fmla="*/ 5891 h 10000"/>
              <a:gd name="connsiteX86" fmla="*/ 9555 w 10000"/>
              <a:gd name="connsiteY86" fmla="*/ 5698 h 10000"/>
              <a:gd name="connsiteX87" fmla="*/ 9475 w 10000"/>
              <a:gd name="connsiteY87" fmla="*/ 5511 h 10000"/>
              <a:gd name="connsiteX88" fmla="*/ 9396 w 10000"/>
              <a:gd name="connsiteY88" fmla="*/ 5324 h 10000"/>
              <a:gd name="connsiteX89" fmla="*/ 9304 w 10000"/>
              <a:gd name="connsiteY89" fmla="*/ 5137 h 10000"/>
              <a:gd name="connsiteX90" fmla="*/ 9213 w 10000"/>
              <a:gd name="connsiteY90" fmla="*/ 4957 h 10000"/>
              <a:gd name="connsiteX91" fmla="*/ 9121 w 10000"/>
              <a:gd name="connsiteY91" fmla="*/ 4775 h 10000"/>
              <a:gd name="connsiteX92" fmla="*/ 9016 w 10000"/>
              <a:gd name="connsiteY92" fmla="*/ 4598 h 10000"/>
              <a:gd name="connsiteX93" fmla="*/ 8911 w 10000"/>
              <a:gd name="connsiteY93" fmla="*/ 4422 h 10000"/>
              <a:gd name="connsiteX94" fmla="*/ 8800 w 10000"/>
              <a:gd name="connsiteY94" fmla="*/ 4246 h 10000"/>
              <a:gd name="connsiteX95" fmla="*/ 8682 w 10000"/>
              <a:gd name="connsiteY95" fmla="*/ 4075 h 10000"/>
              <a:gd name="connsiteX96" fmla="*/ 8557 w 10000"/>
              <a:gd name="connsiteY96" fmla="*/ 3909 h 10000"/>
              <a:gd name="connsiteX97" fmla="*/ 8432 w 10000"/>
              <a:gd name="connsiteY97" fmla="*/ 3743 h 10000"/>
              <a:gd name="connsiteX98" fmla="*/ 8300 w 10000"/>
              <a:gd name="connsiteY98" fmla="*/ 3578 h 10000"/>
              <a:gd name="connsiteX99" fmla="*/ 8162 w 10000"/>
              <a:gd name="connsiteY99" fmla="*/ 3417 h 10000"/>
              <a:gd name="connsiteX100" fmla="*/ 8018 w 10000"/>
              <a:gd name="connsiteY100" fmla="*/ 3262 h 10000"/>
              <a:gd name="connsiteX101" fmla="*/ 7873 w 10000"/>
              <a:gd name="connsiteY101" fmla="*/ 3107 h 10000"/>
              <a:gd name="connsiteX102" fmla="*/ 7723 w 10000"/>
              <a:gd name="connsiteY102" fmla="*/ 2952 h 10000"/>
              <a:gd name="connsiteX103" fmla="*/ 7573 w 10000"/>
              <a:gd name="connsiteY103" fmla="*/ 2808 h 10000"/>
              <a:gd name="connsiteX104" fmla="*/ 7407 w 10000"/>
              <a:gd name="connsiteY104" fmla="*/ 2664 h 10000"/>
              <a:gd name="connsiteX105" fmla="*/ 7250 w 10000"/>
              <a:gd name="connsiteY105" fmla="*/ 2519 h 10000"/>
              <a:gd name="connsiteX106" fmla="*/ 7080 w 10000"/>
              <a:gd name="connsiteY106" fmla="*/ 2375 h 10000"/>
              <a:gd name="connsiteX107" fmla="*/ 6910 w 10000"/>
              <a:gd name="connsiteY107" fmla="*/ 2241 h 10000"/>
              <a:gd name="connsiteX108" fmla="*/ 6740 w 10000"/>
              <a:gd name="connsiteY108" fmla="*/ 2108 h 10000"/>
              <a:gd name="connsiteX109" fmla="*/ 6556 w 10000"/>
              <a:gd name="connsiteY109" fmla="*/ 1980 h 10000"/>
              <a:gd name="connsiteX110" fmla="*/ 6372 w 10000"/>
              <a:gd name="connsiteY110" fmla="*/ 1857 h 10000"/>
              <a:gd name="connsiteX111" fmla="*/ 6188 w 10000"/>
              <a:gd name="connsiteY111" fmla="*/ 1734 h 10000"/>
              <a:gd name="connsiteX112" fmla="*/ 5998 w 10000"/>
              <a:gd name="connsiteY112" fmla="*/ 1617 h 10000"/>
              <a:gd name="connsiteX113" fmla="*/ 5801 w 10000"/>
              <a:gd name="connsiteY113" fmla="*/ 1500 h 10000"/>
              <a:gd name="connsiteX114" fmla="*/ 5605 w 10000"/>
              <a:gd name="connsiteY114" fmla="*/ 1387 h 10000"/>
              <a:gd name="connsiteX115" fmla="*/ 5407 w 10000"/>
              <a:gd name="connsiteY115" fmla="*/ 1280 h 10000"/>
              <a:gd name="connsiteX116" fmla="*/ 5204 w 10000"/>
              <a:gd name="connsiteY116" fmla="*/ 1179 h 10000"/>
              <a:gd name="connsiteX117" fmla="*/ 5001 w 10000"/>
              <a:gd name="connsiteY117" fmla="*/ 1077 h 10000"/>
              <a:gd name="connsiteX118" fmla="*/ 4783 w 10000"/>
              <a:gd name="connsiteY118" fmla="*/ 981 h 10000"/>
              <a:gd name="connsiteX119" fmla="*/ 4574 w 10000"/>
              <a:gd name="connsiteY119" fmla="*/ 890 h 10000"/>
              <a:gd name="connsiteX120" fmla="*/ 4356 w 10000"/>
              <a:gd name="connsiteY120" fmla="*/ 805 h 10000"/>
              <a:gd name="connsiteX121" fmla="*/ 4134 w 10000"/>
              <a:gd name="connsiteY121" fmla="*/ 719 h 10000"/>
              <a:gd name="connsiteX122" fmla="*/ 3917 w 10000"/>
              <a:gd name="connsiteY122" fmla="*/ 639 h 10000"/>
              <a:gd name="connsiteX123" fmla="*/ 3695 w 10000"/>
              <a:gd name="connsiteY123" fmla="*/ 570 h 10000"/>
              <a:gd name="connsiteX124" fmla="*/ 3464 w 10000"/>
              <a:gd name="connsiteY124" fmla="*/ 495 h 10000"/>
              <a:gd name="connsiteX125" fmla="*/ 3234 w 10000"/>
              <a:gd name="connsiteY125" fmla="*/ 431 h 10000"/>
              <a:gd name="connsiteX126" fmla="*/ 2999 w 10000"/>
              <a:gd name="connsiteY126" fmla="*/ 366 h 10000"/>
              <a:gd name="connsiteX127" fmla="*/ 2769 w 10000"/>
              <a:gd name="connsiteY127" fmla="*/ 313 h 10000"/>
              <a:gd name="connsiteX128" fmla="*/ 2528 w 10000"/>
              <a:gd name="connsiteY128" fmla="*/ 260 h 10000"/>
              <a:gd name="connsiteX129" fmla="*/ 2284 w 10000"/>
              <a:gd name="connsiteY129" fmla="*/ 211 h 10000"/>
              <a:gd name="connsiteX130" fmla="*/ 2047 w 10000"/>
              <a:gd name="connsiteY130" fmla="*/ 169 h 10000"/>
              <a:gd name="connsiteX131" fmla="*/ 1806 w 10000"/>
              <a:gd name="connsiteY131" fmla="*/ 131 h 10000"/>
              <a:gd name="connsiteX132" fmla="*/ 1555 w 10000"/>
              <a:gd name="connsiteY132" fmla="*/ 94 h 10000"/>
              <a:gd name="connsiteX133" fmla="*/ 1305 w 10000"/>
              <a:gd name="connsiteY133" fmla="*/ 67 h 10000"/>
              <a:gd name="connsiteX134" fmla="*/ 1057 w 10000"/>
              <a:gd name="connsiteY134" fmla="*/ 46 h 10000"/>
              <a:gd name="connsiteX135" fmla="*/ 807 w 10000"/>
              <a:gd name="connsiteY135" fmla="*/ 30 h 10000"/>
              <a:gd name="connsiteX136" fmla="*/ 551 w 10000"/>
              <a:gd name="connsiteY136" fmla="*/ 14 h 10000"/>
              <a:gd name="connsiteX137" fmla="*/ 295 w 10000"/>
              <a:gd name="connsiteY137" fmla="*/ 8 h 10000"/>
              <a:gd name="connsiteX138" fmla="*/ 39 w 10000"/>
              <a:gd name="connsiteY138" fmla="*/ 3 h 10000"/>
              <a:gd name="connsiteX139" fmla="*/ 0 w 10000"/>
              <a:gd name="connsiteY139" fmla="*/ 0 h 10000"/>
              <a:gd name="connsiteX140" fmla="*/ 1210 w 10000"/>
              <a:gd name="connsiteY140" fmla="*/ 2445 h 10000"/>
              <a:gd name="connsiteX141" fmla="*/ 7 w 10000"/>
              <a:gd name="connsiteY141" fmla="*/ 4770 h 10000"/>
              <a:gd name="connsiteX0" fmla="*/ 7 w 10000"/>
              <a:gd name="connsiteY0" fmla="*/ 4770 h 10000"/>
              <a:gd name="connsiteX1" fmla="*/ 20 w 10000"/>
              <a:gd name="connsiteY1" fmla="*/ 4764 h 10000"/>
              <a:gd name="connsiteX2" fmla="*/ 124 w 10000"/>
              <a:gd name="connsiteY2" fmla="*/ 4764 h 10000"/>
              <a:gd name="connsiteX3" fmla="*/ 230 w 10000"/>
              <a:gd name="connsiteY3" fmla="*/ 4770 h 10000"/>
              <a:gd name="connsiteX4" fmla="*/ 335 w 10000"/>
              <a:gd name="connsiteY4" fmla="*/ 4775 h 10000"/>
              <a:gd name="connsiteX5" fmla="*/ 439 w 10000"/>
              <a:gd name="connsiteY5" fmla="*/ 4780 h 10000"/>
              <a:gd name="connsiteX6" fmla="*/ 545 w 10000"/>
              <a:gd name="connsiteY6" fmla="*/ 4796 h 10000"/>
              <a:gd name="connsiteX7" fmla="*/ 650 w 10000"/>
              <a:gd name="connsiteY7" fmla="*/ 4807 h 10000"/>
              <a:gd name="connsiteX8" fmla="*/ 748 w 10000"/>
              <a:gd name="connsiteY8" fmla="*/ 4818 h 10000"/>
              <a:gd name="connsiteX9" fmla="*/ 846 w 10000"/>
              <a:gd name="connsiteY9" fmla="*/ 4834 h 10000"/>
              <a:gd name="connsiteX10" fmla="*/ 952 w 10000"/>
              <a:gd name="connsiteY10" fmla="*/ 4850 h 10000"/>
              <a:gd name="connsiteX11" fmla="*/ 1050 w 10000"/>
              <a:gd name="connsiteY11" fmla="*/ 4871 h 10000"/>
              <a:gd name="connsiteX12" fmla="*/ 1148 w 10000"/>
              <a:gd name="connsiteY12" fmla="*/ 4892 h 10000"/>
              <a:gd name="connsiteX13" fmla="*/ 1246 w 10000"/>
              <a:gd name="connsiteY13" fmla="*/ 4914 h 10000"/>
              <a:gd name="connsiteX14" fmla="*/ 1339 w 10000"/>
              <a:gd name="connsiteY14" fmla="*/ 4941 h 10000"/>
              <a:gd name="connsiteX15" fmla="*/ 1437 w 10000"/>
              <a:gd name="connsiteY15" fmla="*/ 4967 h 10000"/>
              <a:gd name="connsiteX16" fmla="*/ 1529 w 10000"/>
              <a:gd name="connsiteY16" fmla="*/ 4999 h 10000"/>
              <a:gd name="connsiteX17" fmla="*/ 1621 w 10000"/>
              <a:gd name="connsiteY17" fmla="*/ 5030 h 10000"/>
              <a:gd name="connsiteX18" fmla="*/ 1713 w 10000"/>
              <a:gd name="connsiteY18" fmla="*/ 5062 h 10000"/>
              <a:gd name="connsiteX19" fmla="*/ 1806 w 10000"/>
              <a:gd name="connsiteY19" fmla="*/ 5095 h 10000"/>
              <a:gd name="connsiteX20" fmla="*/ 1897 w 10000"/>
              <a:gd name="connsiteY20" fmla="*/ 5132 h 10000"/>
              <a:gd name="connsiteX21" fmla="*/ 1989 w 10000"/>
              <a:gd name="connsiteY21" fmla="*/ 5169 h 10000"/>
              <a:gd name="connsiteX22" fmla="*/ 2074 w 10000"/>
              <a:gd name="connsiteY22" fmla="*/ 5212 h 10000"/>
              <a:gd name="connsiteX23" fmla="*/ 2160 w 10000"/>
              <a:gd name="connsiteY23" fmla="*/ 5250 h 10000"/>
              <a:gd name="connsiteX24" fmla="*/ 2245 w 10000"/>
              <a:gd name="connsiteY24" fmla="*/ 5292 h 10000"/>
              <a:gd name="connsiteX25" fmla="*/ 2323 w 10000"/>
              <a:gd name="connsiteY25" fmla="*/ 5335 h 10000"/>
              <a:gd name="connsiteX26" fmla="*/ 2408 w 10000"/>
              <a:gd name="connsiteY26" fmla="*/ 5383 h 10000"/>
              <a:gd name="connsiteX27" fmla="*/ 2486 w 10000"/>
              <a:gd name="connsiteY27" fmla="*/ 5431 h 10000"/>
              <a:gd name="connsiteX28" fmla="*/ 2567 w 10000"/>
              <a:gd name="connsiteY28" fmla="*/ 5479 h 10000"/>
              <a:gd name="connsiteX29" fmla="*/ 2645 w 10000"/>
              <a:gd name="connsiteY29" fmla="*/ 5527 h 10000"/>
              <a:gd name="connsiteX30" fmla="*/ 2724 w 10000"/>
              <a:gd name="connsiteY30" fmla="*/ 5581 h 10000"/>
              <a:gd name="connsiteX31" fmla="*/ 2796 w 10000"/>
              <a:gd name="connsiteY31" fmla="*/ 5634 h 10000"/>
              <a:gd name="connsiteX32" fmla="*/ 2867 w 10000"/>
              <a:gd name="connsiteY32" fmla="*/ 5688 h 10000"/>
              <a:gd name="connsiteX33" fmla="*/ 2940 w 10000"/>
              <a:gd name="connsiteY33" fmla="*/ 5747 h 10000"/>
              <a:gd name="connsiteX34" fmla="*/ 3006 w 10000"/>
              <a:gd name="connsiteY34" fmla="*/ 5805 h 10000"/>
              <a:gd name="connsiteX35" fmla="*/ 3078 w 10000"/>
              <a:gd name="connsiteY35" fmla="*/ 5864 h 10000"/>
              <a:gd name="connsiteX36" fmla="*/ 3143 w 10000"/>
              <a:gd name="connsiteY36" fmla="*/ 5923 h 10000"/>
              <a:gd name="connsiteX37" fmla="*/ 3202 w 10000"/>
              <a:gd name="connsiteY37" fmla="*/ 5987 h 10000"/>
              <a:gd name="connsiteX38" fmla="*/ 3268 w 10000"/>
              <a:gd name="connsiteY38" fmla="*/ 6046 h 10000"/>
              <a:gd name="connsiteX39" fmla="*/ 3327 w 10000"/>
              <a:gd name="connsiteY39" fmla="*/ 6110 h 10000"/>
              <a:gd name="connsiteX40" fmla="*/ 3386 w 10000"/>
              <a:gd name="connsiteY40" fmla="*/ 6174 h 10000"/>
              <a:gd name="connsiteX41" fmla="*/ 3445 w 10000"/>
              <a:gd name="connsiteY41" fmla="*/ 6238 h 10000"/>
              <a:gd name="connsiteX42" fmla="*/ 3497 w 10000"/>
              <a:gd name="connsiteY42" fmla="*/ 6308 h 10000"/>
              <a:gd name="connsiteX43" fmla="*/ 3550 w 10000"/>
              <a:gd name="connsiteY43" fmla="*/ 6377 h 10000"/>
              <a:gd name="connsiteX44" fmla="*/ 3602 w 10000"/>
              <a:gd name="connsiteY44" fmla="*/ 6447 h 10000"/>
              <a:gd name="connsiteX45" fmla="*/ 3656 w 10000"/>
              <a:gd name="connsiteY45" fmla="*/ 6516 h 10000"/>
              <a:gd name="connsiteX46" fmla="*/ 3695 w 10000"/>
              <a:gd name="connsiteY46" fmla="*/ 6591 h 10000"/>
              <a:gd name="connsiteX47" fmla="*/ 3747 w 10000"/>
              <a:gd name="connsiteY47" fmla="*/ 6666 h 10000"/>
              <a:gd name="connsiteX48" fmla="*/ 3786 w 10000"/>
              <a:gd name="connsiteY48" fmla="*/ 6735 h 10000"/>
              <a:gd name="connsiteX49" fmla="*/ 3826 w 10000"/>
              <a:gd name="connsiteY49" fmla="*/ 6810 h 10000"/>
              <a:gd name="connsiteX50" fmla="*/ 3865 w 10000"/>
              <a:gd name="connsiteY50" fmla="*/ 6885 h 10000"/>
              <a:gd name="connsiteX51" fmla="*/ 3898 w 10000"/>
              <a:gd name="connsiteY51" fmla="*/ 6960 h 10000"/>
              <a:gd name="connsiteX52" fmla="*/ 3930 w 10000"/>
              <a:gd name="connsiteY52" fmla="*/ 7040 h 10000"/>
              <a:gd name="connsiteX53" fmla="*/ 3963 w 10000"/>
              <a:gd name="connsiteY53" fmla="*/ 7120 h 10000"/>
              <a:gd name="connsiteX54" fmla="*/ 3996 w 10000"/>
              <a:gd name="connsiteY54" fmla="*/ 7195 h 10000"/>
              <a:gd name="connsiteX55" fmla="*/ 4022 w 10000"/>
              <a:gd name="connsiteY55" fmla="*/ 7275 h 10000"/>
              <a:gd name="connsiteX56" fmla="*/ 4042 w 10000"/>
              <a:gd name="connsiteY56" fmla="*/ 7355 h 10000"/>
              <a:gd name="connsiteX57" fmla="*/ 4069 w 10000"/>
              <a:gd name="connsiteY57" fmla="*/ 7441 h 10000"/>
              <a:gd name="connsiteX58" fmla="*/ 4088 w 10000"/>
              <a:gd name="connsiteY58" fmla="*/ 7521 h 10000"/>
              <a:gd name="connsiteX59" fmla="*/ 4108 w 10000"/>
              <a:gd name="connsiteY59" fmla="*/ 7601 h 10000"/>
              <a:gd name="connsiteX60" fmla="*/ 4121 w 10000"/>
              <a:gd name="connsiteY60" fmla="*/ 7687 h 10000"/>
              <a:gd name="connsiteX61" fmla="*/ 4134 w 10000"/>
              <a:gd name="connsiteY61" fmla="*/ 7772 h 10000"/>
              <a:gd name="connsiteX62" fmla="*/ 4140 w 10000"/>
              <a:gd name="connsiteY62" fmla="*/ 7858 h 10000"/>
              <a:gd name="connsiteX63" fmla="*/ 4147 w 10000"/>
              <a:gd name="connsiteY63" fmla="*/ 7943 h 10000"/>
              <a:gd name="connsiteX64" fmla="*/ 6726 w 10000"/>
              <a:gd name="connsiteY64" fmla="*/ 10000 h 10000"/>
              <a:gd name="connsiteX65" fmla="*/ 9850 w 10000"/>
              <a:gd name="connsiteY65" fmla="*/ 9498 h 10000"/>
              <a:gd name="connsiteX66" fmla="*/ 9889 w 10000"/>
              <a:gd name="connsiteY66" fmla="*/ 9332 h 10000"/>
              <a:gd name="connsiteX67" fmla="*/ 9915 w 10000"/>
              <a:gd name="connsiteY67" fmla="*/ 9161 h 10000"/>
              <a:gd name="connsiteX68" fmla="*/ 9941 w 10000"/>
              <a:gd name="connsiteY68" fmla="*/ 8990 h 10000"/>
              <a:gd name="connsiteX69" fmla="*/ 9961 w 10000"/>
              <a:gd name="connsiteY69" fmla="*/ 8813 h 10000"/>
              <a:gd name="connsiteX70" fmla="*/ 9974 w 10000"/>
              <a:gd name="connsiteY70" fmla="*/ 8637 h 10000"/>
              <a:gd name="connsiteX71" fmla="*/ 9987 w 10000"/>
              <a:gd name="connsiteY71" fmla="*/ 8466 h 10000"/>
              <a:gd name="connsiteX72" fmla="*/ 9993 w 10000"/>
              <a:gd name="connsiteY72" fmla="*/ 8291 h 10000"/>
              <a:gd name="connsiteX73" fmla="*/ 10000 w 10000"/>
              <a:gd name="connsiteY73" fmla="*/ 8114 h 10000"/>
              <a:gd name="connsiteX74" fmla="*/ 9993 w 10000"/>
              <a:gd name="connsiteY74" fmla="*/ 7901 h 10000"/>
              <a:gd name="connsiteX75" fmla="*/ 9987 w 10000"/>
              <a:gd name="connsiteY75" fmla="*/ 7697 h 10000"/>
              <a:gd name="connsiteX76" fmla="*/ 9967 w 10000"/>
              <a:gd name="connsiteY76" fmla="*/ 7489 h 10000"/>
              <a:gd name="connsiteX77" fmla="*/ 9948 w 10000"/>
              <a:gd name="connsiteY77" fmla="*/ 7286 h 10000"/>
              <a:gd name="connsiteX78" fmla="*/ 9915 w 10000"/>
              <a:gd name="connsiteY78" fmla="*/ 7077 h 10000"/>
              <a:gd name="connsiteX79" fmla="*/ 9882 w 10000"/>
              <a:gd name="connsiteY79" fmla="*/ 6880 h 10000"/>
              <a:gd name="connsiteX80" fmla="*/ 9843 w 10000"/>
              <a:gd name="connsiteY80" fmla="*/ 6677 h 10000"/>
              <a:gd name="connsiteX81" fmla="*/ 9796 w 10000"/>
              <a:gd name="connsiteY81" fmla="*/ 6479 h 10000"/>
              <a:gd name="connsiteX82" fmla="*/ 9744 w 10000"/>
              <a:gd name="connsiteY82" fmla="*/ 6281 h 10000"/>
              <a:gd name="connsiteX83" fmla="*/ 9685 w 10000"/>
              <a:gd name="connsiteY83" fmla="*/ 6089 h 10000"/>
              <a:gd name="connsiteX84" fmla="*/ 9620 w 10000"/>
              <a:gd name="connsiteY84" fmla="*/ 5891 h 10000"/>
              <a:gd name="connsiteX85" fmla="*/ 9555 w 10000"/>
              <a:gd name="connsiteY85" fmla="*/ 5698 h 10000"/>
              <a:gd name="connsiteX86" fmla="*/ 9475 w 10000"/>
              <a:gd name="connsiteY86" fmla="*/ 5511 h 10000"/>
              <a:gd name="connsiteX87" fmla="*/ 9396 w 10000"/>
              <a:gd name="connsiteY87" fmla="*/ 5324 h 10000"/>
              <a:gd name="connsiteX88" fmla="*/ 9304 w 10000"/>
              <a:gd name="connsiteY88" fmla="*/ 5137 h 10000"/>
              <a:gd name="connsiteX89" fmla="*/ 9213 w 10000"/>
              <a:gd name="connsiteY89" fmla="*/ 4957 h 10000"/>
              <a:gd name="connsiteX90" fmla="*/ 9121 w 10000"/>
              <a:gd name="connsiteY90" fmla="*/ 4775 h 10000"/>
              <a:gd name="connsiteX91" fmla="*/ 9016 w 10000"/>
              <a:gd name="connsiteY91" fmla="*/ 4598 h 10000"/>
              <a:gd name="connsiteX92" fmla="*/ 8911 w 10000"/>
              <a:gd name="connsiteY92" fmla="*/ 4422 h 10000"/>
              <a:gd name="connsiteX93" fmla="*/ 8800 w 10000"/>
              <a:gd name="connsiteY93" fmla="*/ 4246 h 10000"/>
              <a:gd name="connsiteX94" fmla="*/ 8682 w 10000"/>
              <a:gd name="connsiteY94" fmla="*/ 4075 h 10000"/>
              <a:gd name="connsiteX95" fmla="*/ 8557 w 10000"/>
              <a:gd name="connsiteY95" fmla="*/ 3909 h 10000"/>
              <a:gd name="connsiteX96" fmla="*/ 8432 w 10000"/>
              <a:gd name="connsiteY96" fmla="*/ 3743 h 10000"/>
              <a:gd name="connsiteX97" fmla="*/ 8300 w 10000"/>
              <a:gd name="connsiteY97" fmla="*/ 3578 h 10000"/>
              <a:gd name="connsiteX98" fmla="*/ 8162 w 10000"/>
              <a:gd name="connsiteY98" fmla="*/ 3417 h 10000"/>
              <a:gd name="connsiteX99" fmla="*/ 8018 w 10000"/>
              <a:gd name="connsiteY99" fmla="*/ 3262 h 10000"/>
              <a:gd name="connsiteX100" fmla="*/ 7873 w 10000"/>
              <a:gd name="connsiteY100" fmla="*/ 3107 h 10000"/>
              <a:gd name="connsiteX101" fmla="*/ 7723 w 10000"/>
              <a:gd name="connsiteY101" fmla="*/ 2952 h 10000"/>
              <a:gd name="connsiteX102" fmla="*/ 7573 w 10000"/>
              <a:gd name="connsiteY102" fmla="*/ 2808 h 10000"/>
              <a:gd name="connsiteX103" fmla="*/ 7407 w 10000"/>
              <a:gd name="connsiteY103" fmla="*/ 2664 h 10000"/>
              <a:gd name="connsiteX104" fmla="*/ 7250 w 10000"/>
              <a:gd name="connsiteY104" fmla="*/ 2519 h 10000"/>
              <a:gd name="connsiteX105" fmla="*/ 7080 w 10000"/>
              <a:gd name="connsiteY105" fmla="*/ 2375 h 10000"/>
              <a:gd name="connsiteX106" fmla="*/ 6910 w 10000"/>
              <a:gd name="connsiteY106" fmla="*/ 2241 h 10000"/>
              <a:gd name="connsiteX107" fmla="*/ 6740 w 10000"/>
              <a:gd name="connsiteY107" fmla="*/ 2108 h 10000"/>
              <a:gd name="connsiteX108" fmla="*/ 6556 w 10000"/>
              <a:gd name="connsiteY108" fmla="*/ 1980 h 10000"/>
              <a:gd name="connsiteX109" fmla="*/ 6372 w 10000"/>
              <a:gd name="connsiteY109" fmla="*/ 1857 h 10000"/>
              <a:gd name="connsiteX110" fmla="*/ 6188 w 10000"/>
              <a:gd name="connsiteY110" fmla="*/ 1734 h 10000"/>
              <a:gd name="connsiteX111" fmla="*/ 5998 w 10000"/>
              <a:gd name="connsiteY111" fmla="*/ 1617 h 10000"/>
              <a:gd name="connsiteX112" fmla="*/ 5801 w 10000"/>
              <a:gd name="connsiteY112" fmla="*/ 1500 h 10000"/>
              <a:gd name="connsiteX113" fmla="*/ 5605 w 10000"/>
              <a:gd name="connsiteY113" fmla="*/ 1387 h 10000"/>
              <a:gd name="connsiteX114" fmla="*/ 5407 w 10000"/>
              <a:gd name="connsiteY114" fmla="*/ 1280 h 10000"/>
              <a:gd name="connsiteX115" fmla="*/ 5204 w 10000"/>
              <a:gd name="connsiteY115" fmla="*/ 1179 h 10000"/>
              <a:gd name="connsiteX116" fmla="*/ 5001 w 10000"/>
              <a:gd name="connsiteY116" fmla="*/ 1077 h 10000"/>
              <a:gd name="connsiteX117" fmla="*/ 4783 w 10000"/>
              <a:gd name="connsiteY117" fmla="*/ 981 h 10000"/>
              <a:gd name="connsiteX118" fmla="*/ 4574 w 10000"/>
              <a:gd name="connsiteY118" fmla="*/ 890 h 10000"/>
              <a:gd name="connsiteX119" fmla="*/ 4356 w 10000"/>
              <a:gd name="connsiteY119" fmla="*/ 805 h 10000"/>
              <a:gd name="connsiteX120" fmla="*/ 4134 w 10000"/>
              <a:gd name="connsiteY120" fmla="*/ 719 h 10000"/>
              <a:gd name="connsiteX121" fmla="*/ 3917 w 10000"/>
              <a:gd name="connsiteY121" fmla="*/ 639 h 10000"/>
              <a:gd name="connsiteX122" fmla="*/ 3695 w 10000"/>
              <a:gd name="connsiteY122" fmla="*/ 570 h 10000"/>
              <a:gd name="connsiteX123" fmla="*/ 3464 w 10000"/>
              <a:gd name="connsiteY123" fmla="*/ 495 h 10000"/>
              <a:gd name="connsiteX124" fmla="*/ 3234 w 10000"/>
              <a:gd name="connsiteY124" fmla="*/ 431 h 10000"/>
              <a:gd name="connsiteX125" fmla="*/ 2999 w 10000"/>
              <a:gd name="connsiteY125" fmla="*/ 366 h 10000"/>
              <a:gd name="connsiteX126" fmla="*/ 2769 w 10000"/>
              <a:gd name="connsiteY126" fmla="*/ 313 h 10000"/>
              <a:gd name="connsiteX127" fmla="*/ 2528 w 10000"/>
              <a:gd name="connsiteY127" fmla="*/ 260 h 10000"/>
              <a:gd name="connsiteX128" fmla="*/ 2284 w 10000"/>
              <a:gd name="connsiteY128" fmla="*/ 211 h 10000"/>
              <a:gd name="connsiteX129" fmla="*/ 2047 w 10000"/>
              <a:gd name="connsiteY129" fmla="*/ 169 h 10000"/>
              <a:gd name="connsiteX130" fmla="*/ 1806 w 10000"/>
              <a:gd name="connsiteY130" fmla="*/ 131 h 10000"/>
              <a:gd name="connsiteX131" fmla="*/ 1555 w 10000"/>
              <a:gd name="connsiteY131" fmla="*/ 94 h 10000"/>
              <a:gd name="connsiteX132" fmla="*/ 1305 w 10000"/>
              <a:gd name="connsiteY132" fmla="*/ 67 h 10000"/>
              <a:gd name="connsiteX133" fmla="*/ 1057 w 10000"/>
              <a:gd name="connsiteY133" fmla="*/ 46 h 10000"/>
              <a:gd name="connsiteX134" fmla="*/ 807 w 10000"/>
              <a:gd name="connsiteY134" fmla="*/ 30 h 10000"/>
              <a:gd name="connsiteX135" fmla="*/ 551 w 10000"/>
              <a:gd name="connsiteY135" fmla="*/ 14 h 10000"/>
              <a:gd name="connsiteX136" fmla="*/ 295 w 10000"/>
              <a:gd name="connsiteY136" fmla="*/ 8 h 10000"/>
              <a:gd name="connsiteX137" fmla="*/ 39 w 10000"/>
              <a:gd name="connsiteY137" fmla="*/ 3 h 10000"/>
              <a:gd name="connsiteX138" fmla="*/ 0 w 10000"/>
              <a:gd name="connsiteY138" fmla="*/ 0 h 10000"/>
              <a:gd name="connsiteX139" fmla="*/ 1210 w 10000"/>
              <a:gd name="connsiteY139" fmla="*/ 2445 h 10000"/>
              <a:gd name="connsiteX140" fmla="*/ 7 w 10000"/>
              <a:gd name="connsiteY140" fmla="*/ 4770 h 10000"/>
              <a:gd name="connsiteX0" fmla="*/ 7 w 10000"/>
              <a:gd name="connsiteY0" fmla="*/ 4770 h 10000"/>
              <a:gd name="connsiteX1" fmla="*/ 20 w 10000"/>
              <a:gd name="connsiteY1" fmla="*/ 4764 h 10000"/>
              <a:gd name="connsiteX2" fmla="*/ 124 w 10000"/>
              <a:gd name="connsiteY2" fmla="*/ 4764 h 10000"/>
              <a:gd name="connsiteX3" fmla="*/ 230 w 10000"/>
              <a:gd name="connsiteY3" fmla="*/ 4770 h 10000"/>
              <a:gd name="connsiteX4" fmla="*/ 335 w 10000"/>
              <a:gd name="connsiteY4" fmla="*/ 4775 h 10000"/>
              <a:gd name="connsiteX5" fmla="*/ 439 w 10000"/>
              <a:gd name="connsiteY5" fmla="*/ 4780 h 10000"/>
              <a:gd name="connsiteX6" fmla="*/ 545 w 10000"/>
              <a:gd name="connsiteY6" fmla="*/ 4796 h 10000"/>
              <a:gd name="connsiteX7" fmla="*/ 650 w 10000"/>
              <a:gd name="connsiteY7" fmla="*/ 4807 h 10000"/>
              <a:gd name="connsiteX8" fmla="*/ 748 w 10000"/>
              <a:gd name="connsiteY8" fmla="*/ 4818 h 10000"/>
              <a:gd name="connsiteX9" fmla="*/ 846 w 10000"/>
              <a:gd name="connsiteY9" fmla="*/ 4834 h 10000"/>
              <a:gd name="connsiteX10" fmla="*/ 952 w 10000"/>
              <a:gd name="connsiteY10" fmla="*/ 4850 h 10000"/>
              <a:gd name="connsiteX11" fmla="*/ 1050 w 10000"/>
              <a:gd name="connsiteY11" fmla="*/ 4871 h 10000"/>
              <a:gd name="connsiteX12" fmla="*/ 1148 w 10000"/>
              <a:gd name="connsiteY12" fmla="*/ 4892 h 10000"/>
              <a:gd name="connsiteX13" fmla="*/ 1246 w 10000"/>
              <a:gd name="connsiteY13" fmla="*/ 4914 h 10000"/>
              <a:gd name="connsiteX14" fmla="*/ 1339 w 10000"/>
              <a:gd name="connsiteY14" fmla="*/ 4941 h 10000"/>
              <a:gd name="connsiteX15" fmla="*/ 1437 w 10000"/>
              <a:gd name="connsiteY15" fmla="*/ 4967 h 10000"/>
              <a:gd name="connsiteX16" fmla="*/ 1529 w 10000"/>
              <a:gd name="connsiteY16" fmla="*/ 4999 h 10000"/>
              <a:gd name="connsiteX17" fmla="*/ 1621 w 10000"/>
              <a:gd name="connsiteY17" fmla="*/ 5030 h 10000"/>
              <a:gd name="connsiteX18" fmla="*/ 1713 w 10000"/>
              <a:gd name="connsiteY18" fmla="*/ 5062 h 10000"/>
              <a:gd name="connsiteX19" fmla="*/ 1806 w 10000"/>
              <a:gd name="connsiteY19" fmla="*/ 5095 h 10000"/>
              <a:gd name="connsiteX20" fmla="*/ 1897 w 10000"/>
              <a:gd name="connsiteY20" fmla="*/ 5132 h 10000"/>
              <a:gd name="connsiteX21" fmla="*/ 1989 w 10000"/>
              <a:gd name="connsiteY21" fmla="*/ 5169 h 10000"/>
              <a:gd name="connsiteX22" fmla="*/ 2074 w 10000"/>
              <a:gd name="connsiteY22" fmla="*/ 5212 h 10000"/>
              <a:gd name="connsiteX23" fmla="*/ 2160 w 10000"/>
              <a:gd name="connsiteY23" fmla="*/ 5250 h 10000"/>
              <a:gd name="connsiteX24" fmla="*/ 2245 w 10000"/>
              <a:gd name="connsiteY24" fmla="*/ 5292 h 10000"/>
              <a:gd name="connsiteX25" fmla="*/ 2323 w 10000"/>
              <a:gd name="connsiteY25" fmla="*/ 5335 h 10000"/>
              <a:gd name="connsiteX26" fmla="*/ 2408 w 10000"/>
              <a:gd name="connsiteY26" fmla="*/ 5383 h 10000"/>
              <a:gd name="connsiteX27" fmla="*/ 2486 w 10000"/>
              <a:gd name="connsiteY27" fmla="*/ 5431 h 10000"/>
              <a:gd name="connsiteX28" fmla="*/ 2567 w 10000"/>
              <a:gd name="connsiteY28" fmla="*/ 5479 h 10000"/>
              <a:gd name="connsiteX29" fmla="*/ 2645 w 10000"/>
              <a:gd name="connsiteY29" fmla="*/ 5527 h 10000"/>
              <a:gd name="connsiteX30" fmla="*/ 2724 w 10000"/>
              <a:gd name="connsiteY30" fmla="*/ 5581 h 10000"/>
              <a:gd name="connsiteX31" fmla="*/ 2796 w 10000"/>
              <a:gd name="connsiteY31" fmla="*/ 5634 h 10000"/>
              <a:gd name="connsiteX32" fmla="*/ 2867 w 10000"/>
              <a:gd name="connsiteY32" fmla="*/ 5688 h 10000"/>
              <a:gd name="connsiteX33" fmla="*/ 2940 w 10000"/>
              <a:gd name="connsiteY33" fmla="*/ 5747 h 10000"/>
              <a:gd name="connsiteX34" fmla="*/ 3006 w 10000"/>
              <a:gd name="connsiteY34" fmla="*/ 5805 h 10000"/>
              <a:gd name="connsiteX35" fmla="*/ 3078 w 10000"/>
              <a:gd name="connsiteY35" fmla="*/ 5864 h 10000"/>
              <a:gd name="connsiteX36" fmla="*/ 3143 w 10000"/>
              <a:gd name="connsiteY36" fmla="*/ 5923 h 10000"/>
              <a:gd name="connsiteX37" fmla="*/ 3202 w 10000"/>
              <a:gd name="connsiteY37" fmla="*/ 5987 h 10000"/>
              <a:gd name="connsiteX38" fmla="*/ 3268 w 10000"/>
              <a:gd name="connsiteY38" fmla="*/ 6046 h 10000"/>
              <a:gd name="connsiteX39" fmla="*/ 3327 w 10000"/>
              <a:gd name="connsiteY39" fmla="*/ 6110 h 10000"/>
              <a:gd name="connsiteX40" fmla="*/ 3386 w 10000"/>
              <a:gd name="connsiteY40" fmla="*/ 6174 h 10000"/>
              <a:gd name="connsiteX41" fmla="*/ 3445 w 10000"/>
              <a:gd name="connsiteY41" fmla="*/ 6238 h 10000"/>
              <a:gd name="connsiteX42" fmla="*/ 3497 w 10000"/>
              <a:gd name="connsiteY42" fmla="*/ 6308 h 10000"/>
              <a:gd name="connsiteX43" fmla="*/ 3550 w 10000"/>
              <a:gd name="connsiteY43" fmla="*/ 6377 h 10000"/>
              <a:gd name="connsiteX44" fmla="*/ 3602 w 10000"/>
              <a:gd name="connsiteY44" fmla="*/ 6447 h 10000"/>
              <a:gd name="connsiteX45" fmla="*/ 3656 w 10000"/>
              <a:gd name="connsiteY45" fmla="*/ 6516 h 10000"/>
              <a:gd name="connsiteX46" fmla="*/ 3695 w 10000"/>
              <a:gd name="connsiteY46" fmla="*/ 6591 h 10000"/>
              <a:gd name="connsiteX47" fmla="*/ 3747 w 10000"/>
              <a:gd name="connsiteY47" fmla="*/ 6666 h 10000"/>
              <a:gd name="connsiteX48" fmla="*/ 3786 w 10000"/>
              <a:gd name="connsiteY48" fmla="*/ 6735 h 10000"/>
              <a:gd name="connsiteX49" fmla="*/ 3826 w 10000"/>
              <a:gd name="connsiteY49" fmla="*/ 6810 h 10000"/>
              <a:gd name="connsiteX50" fmla="*/ 3865 w 10000"/>
              <a:gd name="connsiteY50" fmla="*/ 6885 h 10000"/>
              <a:gd name="connsiteX51" fmla="*/ 3898 w 10000"/>
              <a:gd name="connsiteY51" fmla="*/ 6960 h 10000"/>
              <a:gd name="connsiteX52" fmla="*/ 3930 w 10000"/>
              <a:gd name="connsiteY52" fmla="*/ 7040 h 10000"/>
              <a:gd name="connsiteX53" fmla="*/ 3963 w 10000"/>
              <a:gd name="connsiteY53" fmla="*/ 7120 h 10000"/>
              <a:gd name="connsiteX54" fmla="*/ 3996 w 10000"/>
              <a:gd name="connsiteY54" fmla="*/ 7195 h 10000"/>
              <a:gd name="connsiteX55" fmla="*/ 4022 w 10000"/>
              <a:gd name="connsiteY55" fmla="*/ 7275 h 10000"/>
              <a:gd name="connsiteX56" fmla="*/ 4042 w 10000"/>
              <a:gd name="connsiteY56" fmla="*/ 7355 h 10000"/>
              <a:gd name="connsiteX57" fmla="*/ 4069 w 10000"/>
              <a:gd name="connsiteY57" fmla="*/ 7441 h 10000"/>
              <a:gd name="connsiteX58" fmla="*/ 4088 w 10000"/>
              <a:gd name="connsiteY58" fmla="*/ 7521 h 10000"/>
              <a:gd name="connsiteX59" fmla="*/ 4108 w 10000"/>
              <a:gd name="connsiteY59" fmla="*/ 7601 h 10000"/>
              <a:gd name="connsiteX60" fmla="*/ 4121 w 10000"/>
              <a:gd name="connsiteY60" fmla="*/ 7687 h 10000"/>
              <a:gd name="connsiteX61" fmla="*/ 4134 w 10000"/>
              <a:gd name="connsiteY61" fmla="*/ 7772 h 10000"/>
              <a:gd name="connsiteX62" fmla="*/ 4140 w 10000"/>
              <a:gd name="connsiteY62" fmla="*/ 7858 h 10000"/>
              <a:gd name="connsiteX63" fmla="*/ 6726 w 10000"/>
              <a:gd name="connsiteY63" fmla="*/ 10000 h 10000"/>
              <a:gd name="connsiteX64" fmla="*/ 9850 w 10000"/>
              <a:gd name="connsiteY64" fmla="*/ 9498 h 10000"/>
              <a:gd name="connsiteX65" fmla="*/ 9889 w 10000"/>
              <a:gd name="connsiteY65" fmla="*/ 9332 h 10000"/>
              <a:gd name="connsiteX66" fmla="*/ 9915 w 10000"/>
              <a:gd name="connsiteY66" fmla="*/ 9161 h 10000"/>
              <a:gd name="connsiteX67" fmla="*/ 9941 w 10000"/>
              <a:gd name="connsiteY67" fmla="*/ 8990 h 10000"/>
              <a:gd name="connsiteX68" fmla="*/ 9961 w 10000"/>
              <a:gd name="connsiteY68" fmla="*/ 8813 h 10000"/>
              <a:gd name="connsiteX69" fmla="*/ 9974 w 10000"/>
              <a:gd name="connsiteY69" fmla="*/ 8637 h 10000"/>
              <a:gd name="connsiteX70" fmla="*/ 9987 w 10000"/>
              <a:gd name="connsiteY70" fmla="*/ 8466 h 10000"/>
              <a:gd name="connsiteX71" fmla="*/ 9993 w 10000"/>
              <a:gd name="connsiteY71" fmla="*/ 8291 h 10000"/>
              <a:gd name="connsiteX72" fmla="*/ 10000 w 10000"/>
              <a:gd name="connsiteY72" fmla="*/ 8114 h 10000"/>
              <a:gd name="connsiteX73" fmla="*/ 9993 w 10000"/>
              <a:gd name="connsiteY73" fmla="*/ 7901 h 10000"/>
              <a:gd name="connsiteX74" fmla="*/ 9987 w 10000"/>
              <a:gd name="connsiteY74" fmla="*/ 7697 h 10000"/>
              <a:gd name="connsiteX75" fmla="*/ 9967 w 10000"/>
              <a:gd name="connsiteY75" fmla="*/ 7489 h 10000"/>
              <a:gd name="connsiteX76" fmla="*/ 9948 w 10000"/>
              <a:gd name="connsiteY76" fmla="*/ 7286 h 10000"/>
              <a:gd name="connsiteX77" fmla="*/ 9915 w 10000"/>
              <a:gd name="connsiteY77" fmla="*/ 7077 h 10000"/>
              <a:gd name="connsiteX78" fmla="*/ 9882 w 10000"/>
              <a:gd name="connsiteY78" fmla="*/ 6880 h 10000"/>
              <a:gd name="connsiteX79" fmla="*/ 9843 w 10000"/>
              <a:gd name="connsiteY79" fmla="*/ 6677 h 10000"/>
              <a:gd name="connsiteX80" fmla="*/ 9796 w 10000"/>
              <a:gd name="connsiteY80" fmla="*/ 6479 h 10000"/>
              <a:gd name="connsiteX81" fmla="*/ 9744 w 10000"/>
              <a:gd name="connsiteY81" fmla="*/ 6281 h 10000"/>
              <a:gd name="connsiteX82" fmla="*/ 9685 w 10000"/>
              <a:gd name="connsiteY82" fmla="*/ 6089 h 10000"/>
              <a:gd name="connsiteX83" fmla="*/ 9620 w 10000"/>
              <a:gd name="connsiteY83" fmla="*/ 5891 h 10000"/>
              <a:gd name="connsiteX84" fmla="*/ 9555 w 10000"/>
              <a:gd name="connsiteY84" fmla="*/ 5698 h 10000"/>
              <a:gd name="connsiteX85" fmla="*/ 9475 w 10000"/>
              <a:gd name="connsiteY85" fmla="*/ 5511 h 10000"/>
              <a:gd name="connsiteX86" fmla="*/ 9396 w 10000"/>
              <a:gd name="connsiteY86" fmla="*/ 5324 h 10000"/>
              <a:gd name="connsiteX87" fmla="*/ 9304 w 10000"/>
              <a:gd name="connsiteY87" fmla="*/ 5137 h 10000"/>
              <a:gd name="connsiteX88" fmla="*/ 9213 w 10000"/>
              <a:gd name="connsiteY88" fmla="*/ 4957 h 10000"/>
              <a:gd name="connsiteX89" fmla="*/ 9121 w 10000"/>
              <a:gd name="connsiteY89" fmla="*/ 4775 h 10000"/>
              <a:gd name="connsiteX90" fmla="*/ 9016 w 10000"/>
              <a:gd name="connsiteY90" fmla="*/ 4598 h 10000"/>
              <a:gd name="connsiteX91" fmla="*/ 8911 w 10000"/>
              <a:gd name="connsiteY91" fmla="*/ 4422 h 10000"/>
              <a:gd name="connsiteX92" fmla="*/ 8800 w 10000"/>
              <a:gd name="connsiteY92" fmla="*/ 4246 h 10000"/>
              <a:gd name="connsiteX93" fmla="*/ 8682 w 10000"/>
              <a:gd name="connsiteY93" fmla="*/ 4075 h 10000"/>
              <a:gd name="connsiteX94" fmla="*/ 8557 w 10000"/>
              <a:gd name="connsiteY94" fmla="*/ 3909 h 10000"/>
              <a:gd name="connsiteX95" fmla="*/ 8432 w 10000"/>
              <a:gd name="connsiteY95" fmla="*/ 3743 h 10000"/>
              <a:gd name="connsiteX96" fmla="*/ 8300 w 10000"/>
              <a:gd name="connsiteY96" fmla="*/ 3578 h 10000"/>
              <a:gd name="connsiteX97" fmla="*/ 8162 w 10000"/>
              <a:gd name="connsiteY97" fmla="*/ 3417 h 10000"/>
              <a:gd name="connsiteX98" fmla="*/ 8018 w 10000"/>
              <a:gd name="connsiteY98" fmla="*/ 3262 h 10000"/>
              <a:gd name="connsiteX99" fmla="*/ 7873 w 10000"/>
              <a:gd name="connsiteY99" fmla="*/ 3107 h 10000"/>
              <a:gd name="connsiteX100" fmla="*/ 7723 w 10000"/>
              <a:gd name="connsiteY100" fmla="*/ 2952 h 10000"/>
              <a:gd name="connsiteX101" fmla="*/ 7573 w 10000"/>
              <a:gd name="connsiteY101" fmla="*/ 2808 h 10000"/>
              <a:gd name="connsiteX102" fmla="*/ 7407 w 10000"/>
              <a:gd name="connsiteY102" fmla="*/ 2664 h 10000"/>
              <a:gd name="connsiteX103" fmla="*/ 7250 w 10000"/>
              <a:gd name="connsiteY103" fmla="*/ 2519 h 10000"/>
              <a:gd name="connsiteX104" fmla="*/ 7080 w 10000"/>
              <a:gd name="connsiteY104" fmla="*/ 2375 h 10000"/>
              <a:gd name="connsiteX105" fmla="*/ 6910 w 10000"/>
              <a:gd name="connsiteY105" fmla="*/ 2241 h 10000"/>
              <a:gd name="connsiteX106" fmla="*/ 6740 w 10000"/>
              <a:gd name="connsiteY106" fmla="*/ 2108 h 10000"/>
              <a:gd name="connsiteX107" fmla="*/ 6556 w 10000"/>
              <a:gd name="connsiteY107" fmla="*/ 1980 h 10000"/>
              <a:gd name="connsiteX108" fmla="*/ 6372 w 10000"/>
              <a:gd name="connsiteY108" fmla="*/ 1857 h 10000"/>
              <a:gd name="connsiteX109" fmla="*/ 6188 w 10000"/>
              <a:gd name="connsiteY109" fmla="*/ 1734 h 10000"/>
              <a:gd name="connsiteX110" fmla="*/ 5998 w 10000"/>
              <a:gd name="connsiteY110" fmla="*/ 1617 h 10000"/>
              <a:gd name="connsiteX111" fmla="*/ 5801 w 10000"/>
              <a:gd name="connsiteY111" fmla="*/ 1500 h 10000"/>
              <a:gd name="connsiteX112" fmla="*/ 5605 w 10000"/>
              <a:gd name="connsiteY112" fmla="*/ 1387 h 10000"/>
              <a:gd name="connsiteX113" fmla="*/ 5407 w 10000"/>
              <a:gd name="connsiteY113" fmla="*/ 1280 h 10000"/>
              <a:gd name="connsiteX114" fmla="*/ 5204 w 10000"/>
              <a:gd name="connsiteY114" fmla="*/ 1179 h 10000"/>
              <a:gd name="connsiteX115" fmla="*/ 5001 w 10000"/>
              <a:gd name="connsiteY115" fmla="*/ 1077 h 10000"/>
              <a:gd name="connsiteX116" fmla="*/ 4783 w 10000"/>
              <a:gd name="connsiteY116" fmla="*/ 981 h 10000"/>
              <a:gd name="connsiteX117" fmla="*/ 4574 w 10000"/>
              <a:gd name="connsiteY117" fmla="*/ 890 h 10000"/>
              <a:gd name="connsiteX118" fmla="*/ 4356 w 10000"/>
              <a:gd name="connsiteY118" fmla="*/ 805 h 10000"/>
              <a:gd name="connsiteX119" fmla="*/ 4134 w 10000"/>
              <a:gd name="connsiteY119" fmla="*/ 719 h 10000"/>
              <a:gd name="connsiteX120" fmla="*/ 3917 w 10000"/>
              <a:gd name="connsiteY120" fmla="*/ 639 h 10000"/>
              <a:gd name="connsiteX121" fmla="*/ 3695 w 10000"/>
              <a:gd name="connsiteY121" fmla="*/ 570 h 10000"/>
              <a:gd name="connsiteX122" fmla="*/ 3464 w 10000"/>
              <a:gd name="connsiteY122" fmla="*/ 495 h 10000"/>
              <a:gd name="connsiteX123" fmla="*/ 3234 w 10000"/>
              <a:gd name="connsiteY123" fmla="*/ 431 h 10000"/>
              <a:gd name="connsiteX124" fmla="*/ 2999 w 10000"/>
              <a:gd name="connsiteY124" fmla="*/ 366 h 10000"/>
              <a:gd name="connsiteX125" fmla="*/ 2769 w 10000"/>
              <a:gd name="connsiteY125" fmla="*/ 313 h 10000"/>
              <a:gd name="connsiteX126" fmla="*/ 2528 w 10000"/>
              <a:gd name="connsiteY126" fmla="*/ 260 h 10000"/>
              <a:gd name="connsiteX127" fmla="*/ 2284 w 10000"/>
              <a:gd name="connsiteY127" fmla="*/ 211 h 10000"/>
              <a:gd name="connsiteX128" fmla="*/ 2047 w 10000"/>
              <a:gd name="connsiteY128" fmla="*/ 169 h 10000"/>
              <a:gd name="connsiteX129" fmla="*/ 1806 w 10000"/>
              <a:gd name="connsiteY129" fmla="*/ 131 h 10000"/>
              <a:gd name="connsiteX130" fmla="*/ 1555 w 10000"/>
              <a:gd name="connsiteY130" fmla="*/ 94 h 10000"/>
              <a:gd name="connsiteX131" fmla="*/ 1305 w 10000"/>
              <a:gd name="connsiteY131" fmla="*/ 67 h 10000"/>
              <a:gd name="connsiteX132" fmla="*/ 1057 w 10000"/>
              <a:gd name="connsiteY132" fmla="*/ 46 h 10000"/>
              <a:gd name="connsiteX133" fmla="*/ 807 w 10000"/>
              <a:gd name="connsiteY133" fmla="*/ 30 h 10000"/>
              <a:gd name="connsiteX134" fmla="*/ 551 w 10000"/>
              <a:gd name="connsiteY134" fmla="*/ 14 h 10000"/>
              <a:gd name="connsiteX135" fmla="*/ 295 w 10000"/>
              <a:gd name="connsiteY135" fmla="*/ 8 h 10000"/>
              <a:gd name="connsiteX136" fmla="*/ 39 w 10000"/>
              <a:gd name="connsiteY136" fmla="*/ 3 h 10000"/>
              <a:gd name="connsiteX137" fmla="*/ 0 w 10000"/>
              <a:gd name="connsiteY137" fmla="*/ 0 h 10000"/>
              <a:gd name="connsiteX138" fmla="*/ 1210 w 10000"/>
              <a:gd name="connsiteY138" fmla="*/ 2445 h 10000"/>
              <a:gd name="connsiteX139" fmla="*/ 7 w 10000"/>
              <a:gd name="connsiteY139" fmla="*/ 4770 h 10000"/>
              <a:gd name="connsiteX0" fmla="*/ 7 w 10000"/>
              <a:gd name="connsiteY0" fmla="*/ 4770 h 10000"/>
              <a:gd name="connsiteX1" fmla="*/ 20 w 10000"/>
              <a:gd name="connsiteY1" fmla="*/ 4764 h 10000"/>
              <a:gd name="connsiteX2" fmla="*/ 124 w 10000"/>
              <a:gd name="connsiteY2" fmla="*/ 4764 h 10000"/>
              <a:gd name="connsiteX3" fmla="*/ 230 w 10000"/>
              <a:gd name="connsiteY3" fmla="*/ 4770 h 10000"/>
              <a:gd name="connsiteX4" fmla="*/ 335 w 10000"/>
              <a:gd name="connsiteY4" fmla="*/ 4775 h 10000"/>
              <a:gd name="connsiteX5" fmla="*/ 439 w 10000"/>
              <a:gd name="connsiteY5" fmla="*/ 4780 h 10000"/>
              <a:gd name="connsiteX6" fmla="*/ 545 w 10000"/>
              <a:gd name="connsiteY6" fmla="*/ 4796 h 10000"/>
              <a:gd name="connsiteX7" fmla="*/ 650 w 10000"/>
              <a:gd name="connsiteY7" fmla="*/ 4807 h 10000"/>
              <a:gd name="connsiteX8" fmla="*/ 748 w 10000"/>
              <a:gd name="connsiteY8" fmla="*/ 4818 h 10000"/>
              <a:gd name="connsiteX9" fmla="*/ 846 w 10000"/>
              <a:gd name="connsiteY9" fmla="*/ 4834 h 10000"/>
              <a:gd name="connsiteX10" fmla="*/ 952 w 10000"/>
              <a:gd name="connsiteY10" fmla="*/ 4850 h 10000"/>
              <a:gd name="connsiteX11" fmla="*/ 1050 w 10000"/>
              <a:gd name="connsiteY11" fmla="*/ 4871 h 10000"/>
              <a:gd name="connsiteX12" fmla="*/ 1148 w 10000"/>
              <a:gd name="connsiteY12" fmla="*/ 4892 h 10000"/>
              <a:gd name="connsiteX13" fmla="*/ 1246 w 10000"/>
              <a:gd name="connsiteY13" fmla="*/ 4914 h 10000"/>
              <a:gd name="connsiteX14" fmla="*/ 1339 w 10000"/>
              <a:gd name="connsiteY14" fmla="*/ 4941 h 10000"/>
              <a:gd name="connsiteX15" fmla="*/ 1437 w 10000"/>
              <a:gd name="connsiteY15" fmla="*/ 4967 h 10000"/>
              <a:gd name="connsiteX16" fmla="*/ 1529 w 10000"/>
              <a:gd name="connsiteY16" fmla="*/ 4999 h 10000"/>
              <a:gd name="connsiteX17" fmla="*/ 1621 w 10000"/>
              <a:gd name="connsiteY17" fmla="*/ 5030 h 10000"/>
              <a:gd name="connsiteX18" fmla="*/ 1713 w 10000"/>
              <a:gd name="connsiteY18" fmla="*/ 5062 h 10000"/>
              <a:gd name="connsiteX19" fmla="*/ 1806 w 10000"/>
              <a:gd name="connsiteY19" fmla="*/ 5095 h 10000"/>
              <a:gd name="connsiteX20" fmla="*/ 1897 w 10000"/>
              <a:gd name="connsiteY20" fmla="*/ 5132 h 10000"/>
              <a:gd name="connsiteX21" fmla="*/ 1989 w 10000"/>
              <a:gd name="connsiteY21" fmla="*/ 5169 h 10000"/>
              <a:gd name="connsiteX22" fmla="*/ 2074 w 10000"/>
              <a:gd name="connsiteY22" fmla="*/ 5212 h 10000"/>
              <a:gd name="connsiteX23" fmla="*/ 2160 w 10000"/>
              <a:gd name="connsiteY23" fmla="*/ 5250 h 10000"/>
              <a:gd name="connsiteX24" fmla="*/ 2245 w 10000"/>
              <a:gd name="connsiteY24" fmla="*/ 5292 h 10000"/>
              <a:gd name="connsiteX25" fmla="*/ 2323 w 10000"/>
              <a:gd name="connsiteY25" fmla="*/ 5335 h 10000"/>
              <a:gd name="connsiteX26" fmla="*/ 2408 w 10000"/>
              <a:gd name="connsiteY26" fmla="*/ 5383 h 10000"/>
              <a:gd name="connsiteX27" fmla="*/ 2486 w 10000"/>
              <a:gd name="connsiteY27" fmla="*/ 5431 h 10000"/>
              <a:gd name="connsiteX28" fmla="*/ 2567 w 10000"/>
              <a:gd name="connsiteY28" fmla="*/ 5479 h 10000"/>
              <a:gd name="connsiteX29" fmla="*/ 2645 w 10000"/>
              <a:gd name="connsiteY29" fmla="*/ 5527 h 10000"/>
              <a:gd name="connsiteX30" fmla="*/ 2724 w 10000"/>
              <a:gd name="connsiteY30" fmla="*/ 5581 h 10000"/>
              <a:gd name="connsiteX31" fmla="*/ 2796 w 10000"/>
              <a:gd name="connsiteY31" fmla="*/ 5634 h 10000"/>
              <a:gd name="connsiteX32" fmla="*/ 2867 w 10000"/>
              <a:gd name="connsiteY32" fmla="*/ 5688 h 10000"/>
              <a:gd name="connsiteX33" fmla="*/ 2940 w 10000"/>
              <a:gd name="connsiteY33" fmla="*/ 5747 h 10000"/>
              <a:gd name="connsiteX34" fmla="*/ 3006 w 10000"/>
              <a:gd name="connsiteY34" fmla="*/ 5805 h 10000"/>
              <a:gd name="connsiteX35" fmla="*/ 3078 w 10000"/>
              <a:gd name="connsiteY35" fmla="*/ 5864 h 10000"/>
              <a:gd name="connsiteX36" fmla="*/ 3143 w 10000"/>
              <a:gd name="connsiteY36" fmla="*/ 5923 h 10000"/>
              <a:gd name="connsiteX37" fmla="*/ 3202 w 10000"/>
              <a:gd name="connsiteY37" fmla="*/ 5987 h 10000"/>
              <a:gd name="connsiteX38" fmla="*/ 3268 w 10000"/>
              <a:gd name="connsiteY38" fmla="*/ 6046 h 10000"/>
              <a:gd name="connsiteX39" fmla="*/ 3327 w 10000"/>
              <a:gd name="connsiteY39" fmla="*/ 6110 h 10000"/>
              <a:gd name="connsiteX40" fmla="*/ 3386 w 10000"/>
              <a:gd name="connsiteY40" fmla="*/ 6174 h 10000"/>
              <a:gd name="connsiteX41" fmla="*/ 3445 w 10000"/>
              <a:gd name="connsiteY41" fmla="*/ 6238 h 10000"/>
              <a:gd name="connsiteX42" fmla="*/ 3497 w 10000"/>
              <a:gd name="connsiteY42" fmla="*/ 6308 h 10000"/>
              <a:gd name="connsiteX43" fmla="*/ 3550 w 10000"/>
              <a:gd name="connsiteY43" fmla="*/ 6377 h 10000"/>
              <a:gd name="connsiteX44" fmla="*/ 3602 w 10000"/>
              <a:gd name="connsiteY44" fmla="*/ 6447 h 10000"/>
              <a:gd name="connsiteX45" fmla="*/ 3656 w 10000"/>
              <a:gd name="connsiteY45" fmla="*/ 6516 h 10000"/>
              <a:gd name="connsiteX46" fmla="*/ 3695 w 10000"/>
              <a:gd name="connsiteY46" fmla="*/ 6591 h 10000"/>
              <a:gd name="connsiteX47" fmla="*/ 3747 w 10000"/>
              <a:gd name="connsiteY47" fmla="*/ 6666 h 10000"/>
              <a:gd name="connsiteX48" fmla="*/ 3786 w 10000"/>
              <a:gd name="connsiteY48" fmla="*/ 6735 h 10000"/>
              <a:gd name="connsiteX49" fmla="*/ 3826 w 10000"/>
              <a:gd name="connsiteY49" fmla="*/ 6810 h 10000"/>
              <a:gd name="connsiteX50" fmla="*/ 3865 w 10000"/>
              <a:gd name="connsiteY50" fmla="*/ 6885 h 10000"/>
              <a:gd name="connsiteX51" fmla="*/ 3898 w 10000"/>
              <a:gd name="connsiteY51" fmla="*/ 6960 h 10000"/>
              <a:gd name="connsiteX52" fmla="*/ 3930 w 10000"/>
              <a:gd name="connsiteY52" fmla="*/ 7040 h 10000"/>
              <a:gd name="connsiteX53" fmla="*/ 3963 w 10000"/>
              <a:gd name="connsiteY53" fmla="*/ 7120 h 10000"/>
              <a:gd name="connsiteX54" fmla="*/ 3996 w 10000"/>
              <a:gd name="connsiteY54" fmla="*/ 7195 h 10000"/>
              <a:gd name="connsiteX55" fmla="*/ 4022 w 10000"/>
              <a:gd name="connsiteY55" fmla="*/ 7275 h 10000"/>
              <a:gd name="connsiteX56" fmla="*/ 4042 w 10000"/>
              <a:gd name="connsiteY56" fmla="*/ 7355 h 10000"/>
              <a:gd name="connsiteX57" fmla="*/ 4069 w 10000"/>
              <a:gd name="connsiteY57" fmla="*/ 7441 h 10000"/>
              <a:gd name="connsiteX58" fmla="*/ 4088 w 10000"/>
              <a:gd name="connsiteY58" fmla="*/ 7521 h 10000"/>
              <a:gd name="connsiteX59" fmla="*/ 4108 w 10000"/>
              <a:gd name="connsiteY59" fmla="*/ 7601 h 10000"/>
              <a:gd name="connsiteX60" fmla="*/ 4121 w 10000"/>
              <a:gd name="connsiteY60" fmla="*/ 7687 h 10000"/>
              <a:gd name="connsiteX61" fmla="*/ 4134 w 10000"/>
              <a:gd name="connsiteY61" fmla="*/ 7772 h 10000"/>
              <a:gd name="connsiteX62" fmla="*/ 6726 w 10000"/>
              <a:gd name="connsiteY62" fmla="*/ 10000 h 10000"/>
              <a:gd name="connsiteX63" fmla="*/ 9850 w 10000"/>
              <a:gd name="connsiteY63" fmla="*/ 9498 h 10000"/>
              <a:gd name="connsiteX64" fmla="*/ 9889 w 10000"/>
              <a:gd name="connsiteY64" fmla="*/ 9332 h 10000"/>
              <a:gd name="connsiteX65" fmla="*/ 9915 w 10000"/>
              <a:gd name="connsiteY65" fmla="*/ 9161 h 10000"/>
              <a:gd name="connsiteX66" fmla="*/ 9941 w 10000"/>
              <a:gd name="connsiteY66" fmla="*/ 8990 h 10000"/>
              <a:gd name="connsiteX67" fmla="*/ 9961 w 10000"/>
              <a:gd name="connsiteY67" fmla="*/ 8813 h 10000"/>
              <a:gd name="connsiteX68" fmla="*/ 9974 w 10000"/>
              <a:gd name="connsiteY68" fmla="*/ 8637 h 10000"/>
              <a:gd name="connsiteX69" fmla="*/ 9987 w 10000"/>
              <a:gd name="connsiteY69" fmla="*/ 8466 h 10000"/>
              <a:gd name="connsiteX70" fmla="*/ 9993 w 10000"/>
              <a:gd name="connsiteY70" fmla="*/ 8291 h 10000"/>
              <a:gd name="connsiteX71" fmla="*/ 10000 w 10000"/>
              <a:gd name="connsiteY71" fmla="*/ 8114 h 10000"/>
              <a:gd name="connsiteX72" fmla="*/ 9993 w 10000"/>
              <a:gd name="connsiteY72" fmla="*/ 7901 h 10000"/>
              <a:gd name="connsiteX73" fmla="*/ 9987 w 10000"/>
              <a:gd name="connsiteY73" fmla="*/ 7697 h 10000"/>
              <a:gd name="connsiteX74" fmla="*/ 9967 w 10000"/>
              <a:gd name="connsiteY74" fmla="*/ 7489 h 10000"/>
              <a:gd name="connsiteX75" fmla="*/ 9948 w 10000"/>
              <a:gd name="connsiteY75" fmla="*/ 7286 h 10000"/>
              <a:gd name="connsiteX76" fmla="*/ 9915 w 10000"/>
              <a:gd name="connsiteY76" fmla="*/ 7077 h 10000"/>
              <a:gd name="connsiteX77" fmla="*/ 9882 w 10000"/>
              <a:gd name="connsiteY77" fmla="*/ 6880 h 10000"/>
              <a:gd name="connsiteX78" fmla="*/ 9843 w 10000"/>
              <a:gd name="connsiteY78" fmla="*/ 6677 h 10000"/>
              <a:gd name="connsiteX79" fmla="*/ 9796 w 10000"/>
              <a:gd name="connsiteY79" fmla="*/ 6479 h 10000"/>
              <a:gd name="connsiteX80" fmla="*/ 9744 w 10000"/>
              <a:gd name="connsiteY80" fmla="*/ 6281 h 10000"/>
              <a:gd name="connsiteX81" fmla="*/ 9685 w 10000"/>
              <a:gd name="connsiteY81" fmla="*/ 6089 h 10000"/>
              <a:gd name="connsiteX82" fmla="*/ 9620 w 10000"/>
              <a:gd name="connsiteY82" fmla="*/ 5891 h 10000"/>
              <a:gd name="connsiteX83" fmla="*/ 9555 w 10000"/>
              <a:gd name="connsiteY83" fmla="*/ 5698 h 10000"/>
              <a:gd name="connsiteX84" fmla="*/ 9475 w 10000"/>
              <a:gd name="connsiteY84" fmla="*/ 5511 h 10000"/>
              <a:gd name="connsiteX85" fmla="*/ 9396 w 10000"/>
              <a:gd name="connsiteY85" fmla="*/ 5324 h 10000"/>
              <a:gd name="connsiteX86" fmla="*/ 9304 w 10000"/>
              <a:gd name="connsiteY86" fmla="*/ 5137 h 10000"/>
              <a:gd name="connsiteX87" fmla="*/ 9213 w 10000"/>
              <a:gd name="connsiteY87" fmla="*/ 4957 h 10000"/>
              <a:gd name="connsiteX88" fmla="*/ 9121 w 10000"/>
              <a:gd name="connsiteY88" fmla="*/ 4775 h 10000"/>
              <a:gd name="connsiteX89" fmla="*/ 9016 w 10000"/>
              <a:gd name="connsiteY89" fmla="*/ 4598 h 10000"/>
              <a:gd name="connsiteX90" fmla="*/ 8911 w 10000"/>
              <a:gd name="connsiteY90" fmla="*/ 4422 h 10000"/>
              <a:gd name="connsiteX91" fmla="*/ 8800 w 10000"/>
              <a:gd name="connsiteY91" fmla="*/ 4246 h 10000"/>
              <a:gd name="connsiteX92" fmla="*/ 8682 w 10000"/>
              <a:gd name="connsiteY92" fmla="*/ 4075 h 10000"/>
              <a:gd name="connsiteX93" fmla="*/ 8557 w 10000"/>
              <a:gd name="connsiteY93" fmla="*/ 3909 h 10000"/>
              <a:gd name="connsiteX94" fmla="*/ 8432 w 10000"/>
              <a:gd name="connsiteY94" fmla="*/ 3743 h 10000"/>
              <a:gd name="connsiteX95" fmla="*/ 8300 w 10000"/>
              <a:gd name="connsiteY95" fmla="*/ 3578 h 10000"/>
              <a:gd name="connsiteX96" fmla="*/ 8162 w 10000"/>
              <a:gd name="connsiteY96" fmla="*/ 3417 h 10000"/>
              <a:gd name="connsiteX97" fmla="*/ 8018 w 10000"/>
              <a:gd name="connsiteY97" fmla="*/ 3262 h 10000"/>
              <a:gd name="connsiteX98" fmla="*/ 7873 w 10000"/>
              <a:gd name="connsiteY98" fmla="*/ 3107 h 10000"/>
              <a:gd name="connsiteX99" fmla="*/ 7723 w 10000"/>
              <a:gd name="connsiteY99" fmla="*/ 2952 h 10000"/>
              <a:gd name="connsiteX100" fmla="*/ 7573 w 10000"/>
              <a:gd name="connsiteY100" fmla="*/ 2808 h 10000"/>
              <a:gd name="connsiteX101" fmla="*/ 7407 w 10000"/>
              <a:gd name="connsiteY101" fmla="*/ 2664 h 10000"/>
              <a:gd name="connsiteX102" fmla="*/ 7250 w 10000"/>
              <a:gd name="connsiteY102" fmla="*/ 2519 h 10000"/>
              <a:gd name="connsiteX103" fmla="*/ 7080 w 10000"/>
              <a:gd name="connsiteY103" fmla="*/ 2375 h 10000"/>
              <a:gd name="connsiteX104" fmla="*/ 6910 w 10000"/>
              <a:gd name="connsiteY104" fmla="*/ 2241 h 10000"/>
              <a:gd name="connsiteX105" fmla="*/ 6740 w 10000"/>
              <a:gd name="connsiteY105" fmla="*/ 2108 h 10000"/>
              <a:gd name="connsiteX106" fmla="*/ 6556 w 10000"/>
              <a:gd name="connsiteY106" fmla="*/ 1980 h 10000"/>
              <a:gd name="connsiteX107" fmla="*/ 6372 w 10000"/>
              <a:gd name="connsiteY107" fmla="*/ 1857 h 10000"/>
              <a:gd name="connsiteX108" fmla="*/ 6188 w 10000"/>
              <a:gd name="connsiteY108" fmla="*/ 1734 h 10000"/>
              <a:gd name="connsiteX109" fmla="*/ 5998 w 10000"/>
              <a:gd name="connsiteY109" fmla="*/ 1617 h 10000"/>
              <a:gd name="connsiteX110" fmla="*/ 5801 w 10000"/>
              <a:gd name="connsiteY110" fmla="*/ 1500 h 10000"/>
              <a:gd name="connsiteX111" fmla="*/ 5605 w 10000"/>
              <a:gd name="connsiteY111" fmla="*/ 1387 h 10000"/>
              <a:gd name="connsiteX112" fmla="*/ 5407 w 10000"/>
              <a:gd name="connsiteY112" fmla="*/ 1280 h 10000"/>
              <a:gd name="connsiteX113" fmla="*/ 5204 w 10000"/>
              <a:gd name="connsiteY113" fmla="*/ 1179 h 10000"/>
              <a:gd name="connsiteX114" fmla="*/ 5001 w 10000"/>
              <a:gd name="connsiteY114" fmla="*/ 1077 h 10000"/>
              <a:gd name="connsiteX115" fmla="*/ 4783 w 10000"/>
              <a:gd name="connsiteY115" fmla="*/ 981 h 10000"/>
              <a:gd name="connsiteX116" fmla="*/ 4574 w 10000"/>
              <a:gd name="connsiteY116" fmla="*/ 890 h 10000"/>
              <a:gd name="connsiteX117" fmla="*/ 4356 w 10000"/>
              <a:gd name="connsiteY117" fmla="*/ 805 h 10000"/>
              <a:gd name="connsiteX118" fmla="*/ 4134 w 10000"/>
              <a:gd name="connsiteY118" fmla="*/ 719 h 10000"/>
              <a:gd name="connsiteX119" fmla="*/ 3917 w 10000"/>
              <a:gd name="connsiteY119" fmla="*/ 639 h 10000"/>
              <a:gd name="connsiteX120" fmla="*/ 3695 w 10000"/>
              <a:gd name="connsiteY120" fmla="*/ 570 h 10000"/>
              <a:gd name="connsiteX121" fmla="*/ 3464 w 10000"/>
              <a:gd name="connsiteY121" fmla="*/ 495 h 10000"/>
              <a:gd name="connsiteX122" fmla="*/ 3234 w 10000"/>
              <a:gd name="connsiteY122" fmla="*/ 431 h 10000"/>
              <a:gd name="connsiteX123" fmla="*/ 2999 w 10000"/>
              <a:gd name="connsiteY123" fmla="*/ 366 h 10000"/>
              <a:gd name="connsiteX124" fmla="*/ 2769 w 10000"/>
              <a:gd name="connsiteY124" fmla="*/ 313 h 10000"/>
              <a:gd name="connsiteX125" fmla="*/ 2528 w 10000"/>
              <a:gd name="connsiteY125" fmla="*/ 260 h 10000"/>
              <a:gd name="connsiteX126" fmla="*/ 2284 w 10000"/>
              <a:gd name="connsiteY126" fmla="*/ 211 h 10000"/>
              <a:gd name="connsiteX127" fmla="*/ 2047 w 10000"/>
              <a:gd name="connsiteY127" fmla="*/ 169 h 10000"/>
              <a:gd name="connsiteX128" fmla="*/ 1806 w 10000"/>
              <a:gd name="connsiteY128" fmla="*/ 131 h 10000"/>
              <a:gd name="connsiteX129" fmla="*/ 1555 w 10000"/>
              <a:gd name="connsiteY129" fmla="*/ 94 h 10000"/>
              <a:gd name="connsiteX130" fmla="*/ 1305 w 10000"/>
              <a:gd name="connsiteY130" fmla="*/ 67 h 10000"/>
              <a:gd name="connsiteX131" fmla="*/ 1057 w 10000"/>
              <a:gd name="connsiteY131" fmla="*/ 46 h 10000"/>
              <a:gd name="connsiteX132" fmla="*/ 807 w 10000"/>
              <a:gd name="connsiteY132" fmla="*/ 30 h 10000"/>
              <a:gd name="connsiteX133" fmla="*/ 551 w 10000"/>
              <a:gd name="connsiteY133" fmla="*/ 14 h 10000"/>
              <a:gd name="connsiteX134" fmla="*/ 295 w 10000"/>
              <a:gd name="connsiteY134" fmla="*/ 8 h 10000"/>
              <a:gd name="connsiteX135" fmla="*/ 39 w 10000"/>
              <a:gd name="connsiteY135" fmla="*/ 3 h 10000"/>
              <a:gd name="connsiteX136" fmla="*/ 0 w 10000"/>
              <a:gd name="connsiteY136" fmla="*/ 0 h 10000"/>
              <a:gd name="connsiteX137" fmla="*/ 1210 w 10000"/>
              <a:gd name="connsiteY137" fmla="*/ 2445 h 10000"/>
              <a:gd name="connsiteX138" fmla="*/ 7 w 10000"/>
              <a:gd name="connsiteY138" fmla="*/ 4770 h 10000"/>
              <a:gd name="connsiteX0" fmla="*/ 7 w 10000"/>
              <a:gd name="connsiteY0" fmla="*/ 4770 h 10000"/>
              <a:gd name="connsiteX1" fmla="*/ 20 w 10000"/>
              <a:gd name="connsiteY1" fmla="*/ 4764 h 10000"/>
              <a:gd name="connsiteX2" fmla="*/ 124 w 10000"/>
              <a:gd name="connsiteY2" fmla="*/ 4764 h 10000"/>
              <a:gd name="connsiteX3" fmla="*/ 230 w 10000"/>
              <a:gd name="connsiteY3" fmla="*/ 4770 h 10000"/>
              <a:gd name="connsiteX4" fmla="*/ 335 w 10000"/>
              <a:gd name="connsiteY4" fmla="*/ 4775 h 10000"/>
              <a:gd name="connsiteX5" fmla="*/ 439 w 10000"/>
              <a:gd name="connsiteY5" fmla="*/ 4780 h 10000"/>
              <a:gd name="connsiteX6" fmla="*/ 545 w 10000"/>
              <a:gd name="connsiteY6" fmla="*/ 4796 h 10000"/>
              <a:gd name="connsiteX7" fmla="*/ 650 w 10000"/>
              <a:gd name="connsiteY7" fmla="*/ 4807 h 10000"/>
              <a:gd name="connsiteX8" fmla="*/ 748 w 10000"/>
              <a:gd name="connsiteY8" fmla="*/ 4818 h 10000"/>
              <a:gd name="connsiteX9" fmla="*/ 846 w 10000"/>
              <a:gd name="connsiteY9" fmla="*/ 4834 h 10000"/>
              <a:gd name="connsiteX10" fmla="*/ 952 w 10000"/>
              <a:gd name="connsiteY10" fmla="*/ 4850 h 10000"/>
              <a:gd name="connsiteX11" fmla="*/ 1050 w 10000"/>
              <a:gd name="connsiteY11" fmla="*/ 4871 h 10000"/>
              <a:gd name="connsiteX12" fmla="*/ 1148 w 10000"/>
              <a:gd name="connsiteY12" fmla="*/ 4892 h 10000"/>
              <a:gd name="connsiteX13" fmla="*/ 1246 w 10000"/>
              <a:gd name="connsiteY13" fmla="*/ 4914 h 10000"/>
              <a:gd name="connsiteX14" fmla="*/ 1339 w 10000"/>
              <a:gd name="connsiteY14" fmla="*/ 4941 h 10000"/>
              <a:gd name="connsiteX15" fmla="*/ 1437 w 10000"/>
              <a:gd name="connsiteY15" fmla="*/ 4967 h 10000"/>
              <a:gd name="connsiteX16" fmla="*/ 1529 w 10000"/>
              <a:gd name="connsiteY16" fmla="*/ 4999 h 10000"/>
              <a:gd name="connsiteX17" fmla="*/ 1621 w 10000"/>
              <a:gd name="connsiteY17" fmla="*/ 5030 h 10000"/>
              <a:gd name="connsiteX18" fmla="*/ 1713 w 10000"/>
              <a:gd name="connsiteY18" fmla="*/ 5062 h 10000"/>
              <a:gd name="connsiteX19" fmla="*/ 1806 w 10000"/>
              <a:gd name="connsiteY19" fmla="*/ 5095 h 10000"/>
              <a:gd name="connsiteX20" fmla="*/ 1897 w 10000"/>
              <a:gd name="connsiteY20" fmla="*/ 5132 h 10000"/>
              <a:gd name="connsiteX21" fmla="*/ 1989 w 10000"/>
              <a:gd name="connsiteY21" fmla="*/ 5169 h 10000"/>
              <a:gd name="connsiteX22" fmla="*/ 2074 w 10000"/>
              <a:gd name="connsiteY22" fmla="*/ 5212 h 10000"/>
              <a:gd name="connsiteX23" fmla="*/ 2160 w 10000"/>
              <a:gd name="connsiteY23" fmla="*/ 5250 h 10000"/>
              <a:gd name="connsiteX24" fmla="*/ 2245 w 10000"/>
              <a:gd name="connsiteY24" fmla="*/ 5292 h 10000"/>
              <a:gd name="connsiteX25" fmla="*/ 2323 w 10000"/>
              <a:gd name="connsiteY25" fmla="*/ 5335 h 10000"/>
              <a:gd name="connsiteX26" fmla="*/ 2408 w 10000"/>
              <a:gd name="connsiteY26" fmla="*/ 5383 h 10000"/>
              <a:gd name="connsiteX27" fmla="*/ 2486 w 10000"/>
              <a:gd name="connsiteY27" fmla="*/ 5431 h 10000"/>
              <a:gd name="connsiteX28" fmla="*/ 2567 w 10000"/>
              <a:gd name="connsiteY28" fmla="*/ 5479 h 10000"/>
              <a:gd name="connsiteX29" fmla="*/ 2645 w 10000"/>
              <a:gd name="connsiteY29" fmla="*/ 5527 h 10000"/>
              <a:gd name="connsiteX30" fmla="*/ 2724 w 10000"/>
              <a:gd name="connsiteY30" fmla="*/ 5581 h 10000"/>
              <a:gd name="connsiteX31" fmla="*/ 2796 w 10000"/>
              <a:gd name="connsiteY31" fmla="*/ 5634 h 10000"/>
              <a:gd name="connsiteX32" fmla="*/ 2867 w 10000"/>
              <a:gd name="connsiteY32" fmla="*/ 5688 h 10000"/>
              <a:gd name="connsiteX33" fmla="*/ 2940 w 10000"/>
              <a:gd name="connsiteY33" fmla="*/ 5747 h 10000"/>
              <a:gd name="connsiteX34" fmla="*/ 3006 w 10000"/>
              <a:gd name="connsiteY34" fmla="*/ 5805 h 10000"/>
              <a:gd name="connsiteX35" fmla="*/ 3078 w 10000"/>
              <a:gd name="connsiteY35" fmla="*/ 5864 h 10000"/>
              <a:gd name="connsiteX36" fmla="*/ 3143 w 10000"/>
              <a:gd name="connsiteY36" fmla="*/ 5923 h 10000"/>
              <a:gd name="connsiteX37" fmla="*/ 3202 w 10000"/>
              <a:gd name="connsiteY37" fmla="*/ 5987 h 10000"/>
              <a:gd name="connsiteX38" fmla="*/ 3268 w 10000"/>
              <a:gd name="connsiteY38" fmla="*/ 6046 h 10000"/>
              <a:gd name="connsiteX39" fmla="*/ 3327 w 10000"/>
              <a:gd name="connsiteY39" fmla="*/ 6110 h 10000"/>
              <a:gd name="connsiteX40" fmla="*/ 3386 w 10000"/>
              <a:gd name="connsiteY40" fmla="*/ 6174 h 10000"/>
              <a:gd name="connsiteX41" fmla="*/ 3445 w 10000"/>
              <a:gd name="connsiteY41" fmla="*/ 6238 h 10000"/>
              <a:gd name="connsiteX42" fmla="*/ 3497 w 10000"/>
              <a:gd name="connsiteY42" fmla="*/ 6308 h 10000"/>
              <a:gd name="connsiteX43" fmla="*/ 3550 w 10000"/>
              <a:gd name="connsiteY43" fmla="*/ 6377 h 10000"/>
              <a:gd name="connsiteX44" fmla="*/ 3602 w 10000"/>
              <a:gd name="connsiteY44" fmla="*/ 6447 h 10000"/>
              <a:gd name="connsiteX45" fmla="*/ 3656 w 10000"/>
              <a:gd name="connsiteY45" fmla="*/ 6516 h 10000"/>
              <a:gd name="connsiteX46" fmla="*/ 3695 w 10000"/>
              <a:gd name="connsiteY46" fmla="*/ 6591 h 10000"/>
              <a:gd name="connsiteX47" fmla="*/ 3747 w 10000"/>
              <a:gd name="connsiteY47" fmla="*/ 6666 h 10000"/>
              <a:gd name="connsiteX48" fmla="*/ 3786 w 10000"/>
              <a:gd name="connsiteY48" fmla="*/ 6735 h 10000"/>
              <a:gd name="connsiteX49" fmla="*/ 3826 w 10000"/>
              <a:gd name="connsiteY49" fmla="*/ 6810 h 10000"/>
              <a:gd name="connsiteX50" fmla="*/ 3865 w 10000"/>
              <a:gd name="connsiteY50" fmla="*/ 6885 h 10000"/>
              <a:gd name="connsiteX51" fmla="*/ 3898 w 10000"/>
              <a:gd name="connsiteY51" fmla="*/ 6960 h 10000"/>
              <a:gd name="connsiteX52" fmla="*/ 3930 w 10000"/>
              <a:gd name="connsiteY52" fmla="*/ 7040 h 10000"/>
              <a:gd name="connsiteX53" fmla="*/ 3963 w 10000"/>
              <a:gd name="connsiteY53" fmla="*/ 7120 h 10000"/>
              <a:gd name="connsiteX54" fmla="*/ 3996 w 10000"/>
              <a:gd name="connsiteY54" fmla="*/ 7195 h 10000"/>
              <a:gd name="connsiteX55" fmla="*/ 4022 w 10000"/>
              <a:gd name="connsiteY55" fmla="*/ 7275 h 10000"/>
              <a:gd name="connsiteX56" fmla="*/ 4042 w 10000"/>
              <a:gd name="connsiteY56" fmla="*/ 7355 h 10000"/>
              <a:gd name="connsiteX57" fmla="*/ 4069 w 10000"/>
              <a:gd name="connsiteY57" fmla="*/ 7441 h 10000"/>
              <a:gd name="connsiteX58" fmla="*/ 4088 w 10000"/>
              <a:gd name="connsiteY58" fmla="*/ 7521 h 10000"/>
              <a:gd name="connsiteX59" fmla="*/ 4108 w 10000"/>
              <a:gd name="connsiteY59" fmla="*/ 7601 h 10000"/>
              <a:gd name="connsiteX60" fmla="*/ 4121 w 10000"/>
              <a:gd name="connsiteY60" fmla="*/ 7687 h 10000"/>
              <a:gd name="connsiteX61" fmla="*/ 6726 w 10000"/>
              <a:gd name="connsiteY61" fmla="*/ 10000 h 10000"/>
              <a:gd name="connsiteX62" fmla="*/ 9850 w 10000"/>
              <a:gd name="connsiteY62" fmla="*/ 9498 h 10000"/>
              <a:gd name="connsiteX63" fmla="*/ 9889 w 10000"/>
              <a:gd name="connsiteY63" fmla="*/ 9332 h 10000"/>
              <a:gd name="connsiteX64" fmla="*/ 9915 w 10000"/>
              <a:gd name="connsiteY64" fmla="*/ 9161 h 10000"/>
              <a:gd name="connsiteX65" fmla="*/ 9941 w 10000"/>
              <a:gd name="connsiteY65" fmla="*/ 8990 h 10000"/>
              <a:gd name="connsiteX66" fmla="*/ 9961 w 10000"/>
              <a:gd name="connsiteY66" fmla="*/ 8813 h 10000"/>
              <a:gd name="connsiteX67" fmla="*/ 9974 w 10000"/>
              <a:gd name="connsiteY67" fmla="*/ 8637 h 10000"/>
              <a:gd name="connsiteX68" fmla="*/ 9987 w 10000"/>
              <a:gd name="connsiteY68" fmla="*/ 8466 h 10000"/>
              <a:gd name="connsiteX69" fmla="*/ 9993 w 10000"/>
              <a:gd name="connsiteY69" fmla="*/ 8291 h 10000"/>
              <a:gd name="connsiteX70" fmla="*/ 10000 w 10000"/>
              <a:gd name="connsiteY70" fmla="*/ 8114 h 10000"/>
              <a:gd name="connsiteX71" fmla="*/ 9993 w 10000"/>
              <a:gd name="connsiteY71" fmla="*/ 7901 h 10000"/>
              <a:gd name="connsiteX72" fmla="*/ 9987 w 10000"/>
              <a:gd name="connsiteY72" fmla="*/ 7697 h 10000"/>
              <a:gd name="connsiteX73" fmla="*/ 9967 w 10000"/>
              <a:gd name="connsiteY73" fmla="*/ 7489 h 10000"/>
              <a:gd name="connsiteX74" fmla="*/ 9948 w 10000"/>
              <a:gd name="connsiteY74" fmla="*/ 7286 h 10000"/>
              <a:gd name="connsiteX75" fmla="*/ 9915 w 10000"/>
              <a:gd name="connsiteY75" fmla="*/ 7077 h 10000"/>
              <a:gd name="connsiteX76" fmla="*/ 9882 w 10000"/>
              <a:gd name="connsiteY76" fmla="*/ 6880 h 10000"/>
              <a:gd name="connsiteX77" fmla="*/ 9843 w 10000"/>
              <a:gd name="connsiteY77" fmla="*/ 6677 h 10000"/>
              <a:gd name="connsiteX78" fmla="*/ 9796 w 10000"/>
              <a:gd name="connsiteY78" fmla="*/ 6479 h 10000"/>
              <a:gd name="connsiteX79" fmla="*/ 9744 w 10000"/>
              <a:gd name="connsiteY79" fmla="*/ 6281 h 10000"/>
              <a:gd name="connsiteX80" fmla="*/ 9685 w 10000"/>
              <a:gd name="connsiteY80" fmla="*/ 6089 h 10000"/>
              <a:gd name="connsiteX81" fmla="*/ 9620 w 10000"/>
              <a:gd name="connsiteY81" fmla="*/ 5891 h 10000"/>
              <a:gd name="connsiteX82" fmla="*/ 9555 w 10000"/>
              <a:gd name="connsiteY82" fmla="*/ 5698 h 10000"/>
              <a:gd name="connsiteX83" fmla="*/ 9475 w 10000"/>
              <a:gd name="connsiteY83" fmla="*/ 5511 h 10000"/>
              <a:gd name="connsiteX84" fmla="*/ 9396 w 10000"/>
              <a:gd name="connsiteY84" fmla="*/ 5324 h 10000"/>
              <a:gd name="connsiteX85" fmla="*/ 9304 w 10000"/>
              <a:gd name="connsiteY85" fmla="*/ 5137 h 10000"/>
              <a:gd name="connsiteX86" fmla="*/ 9213 w 10000"/>
              <a:gd name="connsiteY86" fmla="*/ 4957 h 10000"/>
              <a:gd name="connsiteX87" fmla="*/ 9121 w 10000"/>
              <a:gd name="connsiteY87" fmla="*/ 4775 h 10000"/>
              <a:gd name="connsiteX88" fmla="*/ 9016 w 10000"/>
              <a:gd name="connsiteY88" fmla="*/ 4598 h 10000"/>
              <a:gd name="connsiteX89" fmla="*/ 8911 w 10000"/>
              <a:gd name="connsiteY89" fmla="*/ 4422 h 10000"/>
              <a:gd name="connsiteX90" fmla="*/ 8800 w 10000"/>
              <a:gd name="connsiteY90" fmla="*/ 4246 h 10000"/>
              <a:gd name="connsiteX91" fmla="*/ 8682 w 10000"/>
              <a:gd name="connsiteY91" fmla="*/ 4075 h 10000"/>
              <a:gd name="connsiteX92" fmla="*/ 8557 w 10000"/>
              <a:gd name="connsiteY92" fmla="*/ 3909 h 10000"/>
              <a:gd name="connsiteX93" fmla="*/ 8432 w 10000"/>
              <a:gd name="connsiteY93" fmla="*/ 3743 h 10000"/>
              <a:gd name="connsiteX94" fmla="*/ 8300 w 10000"/>
              <a:gd name="connsiteY94" fmla="*/ 3578 h 10000"/>
              <a:gd name="connsiteX95" fmla="*/ 8162 w 10000"/>
              <a:gd name="connsiteY95" fmla="*/ 3417 h 10000"/>
              <a:gd name="connsiteX96" fmla="*/ 8018 w 10000"/>
              <a:gd name="connsiteY96" fmla="*/ 3262 h 10000"/>
              <a:gd name="connsiteX97" fmla="*/ 7873 w 10000"/>
              <a:gd name="connsiteY97" fmla="*/ 3107 h 10000"/>
              <a:gd name="connsiteX98" fmla="*/ 7723 w 10000"/>
              <a:gd name="connsiteY98" fmla="*/ 2952 h 10000"/>
              <a:gd name="connsiteX99" fmla="*/ 7573 w 10000"/>
              <a:gd name="connsiteY99" fmla="*/ 2808 h 10000"/>
              <a:gd name="connsiteX100" fmla="*/ 7407 w 10000"/>
              <a:gd name="connsiteY100" fmla="*/ 2664 h 10000"/>
              <a:gd name="connsiteX101" fmla="*/ 7250 w 10000"/>
              <a:gd name="connsiteY101" fmla="*/ 2519 h 10000"/>
              <a:gd name="connsiteX102" fmla="*/ 7080 w 10000"/>
              <a:gd name="connsiteY102" fmla="*/ 2375 h 10000"/>
              <a:gd name="connsiteX103" fmla="*/ 6910 w 10000"/>
              <a:gd name="connsiteY103" fmla="*/ 2241 h 10000"/>
              <a:gd name="connsiteX104" fmla="*/ 6740 w 10000"/>
              <a:gd name="connsiteY104" fmla="*/ 2108 h 10000"/>
              <a:gd name="connsiteX105" fmla="*/ 6556 w 10000"/>
              <a:gd name="connsiteY105" fmla="*/ 1980 h 10000"/>
              <a:gd name="connsiteX106" fmla="*/ 6372 w 10000"/>
              <a:gd name="connsiteY106" fmla="*/ 1857 h 10000"/>
              <a:gd name="connsiteX107" fmla="*/ 6188 w 10000"/>
              <a:gd name="connsiteY107" fmla="*/ 1734 h 10000"/>
              <a:gd name="connsiteX108" fmla="*/ 5998 w 10000"/>
              <a:gd name="connsiteY108" fmla="*/ 1617 h 10000"/>
              <a:gd name="connsiteX109" fmla="*/ 5801 w 10000"/>
              <a:gd name="connsiteY109" fmla="*/ 1500 h 10000"/>
              <a:gd name="connsiteX110" fmla="*/ 5605 w 10000"/>
              <a:gd name="connsiteY110" fmla="*/ 1387 h 10000"/>
              <a:gd name="connsiteX111" fmla="*/ 5407 w 10000"/>
              <a:gd name="connsiteY111" fmla="*/ 1280 h 10000"/>
              <a:gd name="connsiteX112" fmla="*/ 5204 w 10000"/>
              <a:gd name="connsiteY112" fmla="*/ 1179 h 10000"/>
              <a:gd name="connsiteX113" fmla="*/ 5001 w 10000"/>
              <a:gd name="connsiteY113" fmla="*/ 1077 h 10000"/>
              <a:gd name="connsiteX114" fmla="*/ 4783 w 10000"/>
              <a:gd name="connsiteY114" fmla="*/ 981 h 10000"/>
              <a:gd name="connsiteX115" fmla="*/ 4574 w 10000"/>
              <a:gd name="connsiteY115" fmla="*/ 890 h 10000"/>
              <a:gd name="connsiteX116" fmla="*/ 4356 w 10000"/>
              <a:gd name="connsiteY116" fmla="*/ 805 h 10000"/>
              <a:gd name="connsiteX117" fmla="*/ 4134 w 10000"/>
              <a:gd name="connsiteY117" fmla="*/ 719 h 10000"/>
              <a:gd name="connsiteX118" fmla="*/ 3917 w 10000"/>
              <a:gd name="connsiteY118" fmla="*/ 639 h 10000"/>
              <a:gd name="connsiteX119" fmla="*/ 3695 w 10000"/>
              <a:gd name="connsiteY119" fmla="*/ 570 h 10000"/>
              <a:gd name="connsiteX120" fmla="*/ 3464 w 10000"/>
              <a:gd name="connsiteY120" fmla="*/ 495 h 10000"/>
              <a:gd name="connsiteX121" fmla="*/ 3234 w 10000"/>
              <a:gd name="connsiteY121" fmla="*/ 431 h 10000"/>
              <a:gd name="connsiteX122" fmla="*/ 2999 w 10000"/>
              <a:gd name="connsiteY122" fmla="*/ 366 h 10000"/>
              <a:gd name="connsiteX123" fmla="*/ 2769 w 10000"/>
              <a:gd name="connsiteY123" fmla="*/ 313 h 10000"/>
              <a:gd name="connsiteX124" fmla="*/ 2528 w 10000"/>
              <a:gd name="connsiteY124" fmla="*/ 260 h 10000"/>
              <a:gd name="connsiteX125" fmla="*/ 2284 w 10000"/>
              <a:gd name="connsiteY125" fmla="*/ 211 h 10000"/>
              <a:gd name="connsiteX126" fmla="*/ 2047 w 10000"/>
              <a:gd name="connsiteY126" fmla="*/ 169 h 10000"/>
              <a:gd name="connsiteX127" fmla="*/ 1806 w 10000"/>
              <a:gd name="connsiteY127" fmla="*/ 131 h 10000"/>
              <a:gd name="connsiteX128" fmla="*/ 1555 w 10000"/>
              <a:gd name="connsiteY128" fmla="*/ 94 h 10000"/>
              <a:gd name="connsiteX129" fmla="*/ 1305 w 10000"/>
              <a:gd name="connsiteY129" fmla="*/ 67 h 10000"/>
              <a:gd name="connsiteX130" fmla="*/ 1057 w 10000"/>
              <a:gd name="connsiteY130" fmla="*/ 46 h 10000"/>
              <a:gd name="connsiteX131" fmla="*/ 807 w 10000"/>
              <a:gd name="connsiteY131" fmla="*/ 30 h 10000"/>
              <a:gd name="connsiteX132" fmla="*/ 551 w 10000"/>
              <a:gd name="connsiteY132" fmla="*/ 14 h 10000"/>
              <a:gd name="connsiteX133" fmla="*/ 295 w 10000"/>
              <a:gd name="connsiteY133" fmla="*/ 8 h 10000"/>
              <a:gd name="connsiteX134" fmla="*/ 39 w 10000"/>
              <a:gd name="connsiteY134" fmla="*/ 3 h 10000"/>
              <a:gd name="connsiteX135" fmla="*/ 0 w 10000"/>
              <a:gd name="connsiteY135" fmla="*/ 0 h 10000"/>
              <a:gd name="connsiteX136" fmla="*/ 1210 w 10000"/>
              <a:gd name="connsiteY136" fmla="*/ 2445 h 10000"/>
              <a:gd name="connsiteX137" fmla="*/ 7 w 10000"/>
              <a:gd name="connsiteY137" fmla="*/ 4770 h 10000"/>
              <a:gd name="connsiteX0" fmla="*/ 7 w 10000"/>
              <a:gd name="connsiteY0" fmla="*/ 4770 h 10000"/>
              <a:gd name="connsiteX1" fmla="*/ 20 w 10000"/>
              <a:gd name="connsiteY1" fmla="*/ 4764 h 10000"/>
              <a:gd name="connsiteX2" fmla="*/ 124 w 10000"/>
              <a:gd name="connsiteY2" fmla="*/ 4764 h 10000"/>
              <a:gd name="connsiteX3" fmla="*/ 230 w 10000"/>
              <a:gd name="connsiteY3" fmla="*/ 4770 h 10000"/>
              <a:gd name="connsiteX4" fmla="*/ 335 w 10000"/>
              <a:gd name="connsiteY4" fmla="*/ 4775 h 10000"/>
              <a:gd name="connsiteX5" fmla="*/ 439 w 10000"/>
              <a:gd name="connsiteY5" fmla="*/ 4780 h 10000"/>
              <a:gd name="connsiteX6" fmla="*/ 545 w 10000"/>
              <a:gd name="connsiteY6" fmla="*/ 4796 h 10000"/>
              <a:gd name="connsiteX7" fmla="*/ 650 w 10000"/>
              <a:gd name="connsiteY7" fmla="*/ 4807 h 10000"/>
              <a:gd name="connsiteX8" fmla="*/ 748 w 10000"/>
              <a:gd name="connsiteY8" fmla="*/ 4818 h 10000"/>
              <a:gd name="connsiteX9" fmla="*/ 846 w 10000"/>
              <a:gd name="connsiteY9" fmla="*/ 4834 h 10000"/>
              <a:gd name="connsiteX10" fmla="*/ 952 w 10000"/>
              <a:gd name="connsiteY10" fmla="*/ 4850 h 10000"/>
              <a:gd name="connsiteX11" fmla="*/ 1050 w 10000"/>
              <a:gd name="connsiteY11" fmla="*/ 4871 h 10000"/>
              <a:gd name="connsiteX12" fmla="*/ 1148 w 10000"/>
              <a:gd name="connsiteY12" fmla="*/ 4892 h 10000"/>
              <a:gd name="connsiteX13" fmla="*/ 1246 w 10000"/>
              <a:gd name="connsiteY13" fmla="*/ 4914 h 10000"/>
              <a:gd name="connsiteX14" fmla="*/ 1339 w 10000"/>
              <a:gd name="connsiteY14" fmla="*/ 4941 h 10000"/>
              <a:gd name="connsiteX15" fmla="*/ 1437 w 10000"/>
              <a:gd name="connsiteY15" fmla="*/ 4967 h 10000"/>
              <a:gd name="connsiteX16" fmla="*/ 1529 w 10000"/>
              <a:gd name="connsiteY16" fmla="*/ 4999 h 10000"/>
              <a:gd name="connsiteX17" fmla="*/ 1621 w 10000"/>
              <a:gd name="connsiteY17" fmla="*/ 5030 h 10000"/>
              <a:gd name="connsiteX18" fmla="*/ 1713 w 10000"/>
              <a:gd name="connsiteY18" fmla="*/ 5062 h 10000"/>
              <a:gd name="connsiteX19" fmla="*/ 1806 w 10000"/>
              <a:gd name="connsiteY19" fmla="*/ 5095 h 10000"/>
              <a:gd name="connsiteX20" fmla="*/ 1897 w 10000"/>
              <a:gd name="connsiteY20" fmla="*/ 5132 h 10000"/>
              <a:gd name="connsiteX21" fmla="*/ 1989 w 10000"/>
              <a:gd name="connsiteY21" fmla="*/ 5169 h 10000"/>
              <a:gd name="connsiteX22" fmla="*/ 2074 w 10000"/>
              <a:gd name="connsiteY22" fmla="*/ 5212 h 10000"/>
              <a:gd name="connsiteX23" fmla="*/ 2160 w 10000"/>
              <a:gd name="connsiteY23" fmla="*/ 5250 h 10000"/>
              <a:gd name="connsiteX24" fmla="*/ 2245 w 10000"/>
              <a:gd name="connsiteY24" fmla="*/ 5292 h 10000"/>
              <a:gd name="connsiteX25" fmla="*/ 2323 w 10000"/>
              <a:gd name="connsiteY25" fmla="*/ 5335 h 10000"/>
              <a:gd name="connsiteX26" fmla="*/ 2408 w 10000"/>
              <a:gd name="connsiteY26" fmla="*/ 5383 h 10000"/>
              <a:gd name="connsiteX27" fmla="*/ 2486 w 10000"/>
              <a:gd name="connsiteY27" fmla="*/ 5431 h 10000"/>
              <a:gd name="connsiteX28" fmla="*/ 2567 w 10000"/>
              <a:gd name="connsiteY28" fmla="*/ 5479 h 10000"/>
              <a:gd name="connsiteX29" fmla="*/ 2645 w 10000"/>
              <a:gd name="connsiteY29" fmla="*/ 5527 h 10000"/>
              <a:gd name="connsiteX30" fmla="*/ 2724 w 10000"/>
              <a:gd name="connsiteY30" fmla="*/ 5581 h 10000"/>
              <a:gd name="connsiteX31" fmla="*/ 2796 w 10000"/>
              <a:gd name="connsiteY31" fmla="*/ 5634 h 10000"/>
              <a:gd name="connsiteX32" fmla="*/ 2867 w 10000"/>
              <a:gd name="connsiteY32" fmla="*/ 5688 h 10000"/>
              <a:gd name="connsiteX33" fmla="*/ 2940 w 10000"/>
              <a:gd name="connsiteY33" fmla="*/ 5747 h 10000"/>
              <a:gd name="connsiteX34" fmla="*/ 3006 w 10000"/>
              <a:gd name="connsiteY34" fmla="*/ 5805 h 10000"/>
              <a:gd name="connsiteX35" fmla="*/ 3078 w 10000"/>
              <a:gd name="connsiteY35" fmla="*/ 5864 h 10000"/>
              <a:gd name="connsiteX36" fmla="*/ 3143 w 10000"/>
              <a:gd name="connsiteY36" fmla="*/ 5923 h 10000"/>
              <a:gd name="connsiteX37" fmla="*/ 3202 w 10000"/>
              <a:gd name="connsiteY37" fmla="*/ 5987 h 10000"/>
              <a:gd name="connsiteX38" fmla="*/ 3268 w 10000"/>
              <a:gd name="connsiteY38" fmla="*/ 6046 h 10000"/>
              <a:gd name="connsiteX39" fmla="*/ 3327 w 10000"/>
              <a:gd name="connsiteY39" fmla="*/ 6110 h 10000"/>
              <a:gd name="connsiteX40" fmla="*/ 3386 w 10000"/>
              <a:gd name="connsiteY40" fmla="*/ 6174 h 10000"/>
              <a:gd name="connsiteX41" fmla="*/ 3445 w 10000"/>
              <a:gd name="connsiteY41" fmla="*/ 6238 h 10000"/>
              <a:gd name="connsiteX42" fmla="*/ 3497 w 10000"/>
              <a:gd name="connsiteY42" fmla="*/ 6308 h 10000"/>
              <a:gd name="connsiteX43" fmla="*/ 3550 w 10000"/>
              <a:gd name="connsiteY43" fmla="*/ 6377 h 10000"/>
              <a:gd name="connsiteX44" fmla="*/ 3602 w 10000"/>
              <a:gd name="connsiteY44" fmla="*/ 6447 h 10000"/>
              <a:gd name="connsiteX45" fmla="*/ 3656 w 10000"/>
              <a:gd name="connsiteY45" fmla="*/ 6516 h 10000"/>
              <a:gd name="connsiteX46" fmla="*/ 3695 w 10000"/>
              <a:gd name="connsiteY46" fmla="*/ 6591 h 10000"/>
              <a:gd name="connsiteX47" fmla="*/ 3747 w 10000"/>
              <a:gd name="connsiteY47" fmla="*/ 6666 h 10000"/>
              <a:gd name="connsiteX48" fmla="*/ 3786 w 10000"/>
              <a:gd name="connsiteY48" fmla="*/ 6735 h 10000"/>
              <a:gd name="connsiteX49" fmla="*/ 3826 w 10000"/>
              <a:gd name="connsiteY49" fmla="*/ 6810 h 10000"/>
              <a:gd name="connsiteX50" fmla="*/ 3865 w 10000"/>
              <a:gd name="connsiteY50" fmla="*/ 6885 h 10000"/>
              <a:gd name="connsiteX51" fmla="*/ 3898 w 10000"/>
              <a:gd name="connsiteY51" fmla="*/ 6960 h 10000"/>
              <a:gd name="connsiteX52" fmla="*/ 3930 w 10000"/>
              <a:gd name="connsiteY52" fmla="*/ 7040 h 10000"/>
              <a:gd name="connsiteX53" fmla="*/ 3963 w 10000"/>
              <a:gd name="connsiteY53" fmla="*/ 7120 h 10000"/>
              <a:gd name="connsiteX54" fmla="*/ 3996 w 10000"/>
              <a:gd name="connsiteY54" fmla="*/ 7195 h 10000"/>
              <a:gd name="connsiteX55" fmla="*/ 4022 w 10000"/>
              <a:gd name="connsiteY55" fmla="*/ 7275 h 10000"/>
              <a:gd name="connsiteX56" fmla="*/ 4042 w 10000"/>
              <a:gd name="connsiteY56" fmla="*/ 7355 h 10000"/>
              <a:gd name="connsiteX57" fmla="*/ 4069 w 10000"/>
              <a:gd name="connsiteY57" fmla="*/ 7441 h 10000"/>
              <a:gd name="connsiteX58" fmla="*/ 4088 w 10000"/>
              <a:gd name="connsiteY58" fmla="*/ 7521 h 10000"/>
              <a:gd name="connsiteX59" fmla="*/ 4108 w 10000"/>
              <a:gd name="connsiteY59" fmla="*/ 7601 h 10000"/>
              <a:gd name="connsiteX60" fmla="*/ 6726 w 10000"/>
              <a:gd name="connsiteY60" fmla="*/ 10000 h 10000"/>
              <a:gd name="connsiteX61" fmla="*/ 9850 w 10000"/>
              <a:gd name="connsiteY61" fmla="*/ 9498 h 10000"/>
              <a:gd name="connsiteX62" fmla="*/ 9889 w 10000"/>
              <a:gd name="connsiteY62" fmla="*/ 9332 h 10000"/>
              <a:gd name="connsiteX63" fmla="*/ 9915 w 10000"/>
              <a:gd name="connsiteY63" fmla="*/ 9161 h 10000"/>
              <a:gd name="connsiteX64" fmla="*/ 9941 w 10000"/>
              <a:gd name="connsiteY64" fmla="*/ 8990 h 10000"/>
              <a:gd name="connsiteX65" fmla="*/ 9961 w 10000"/>
              <a:gd name="connsiteY65" fmla="*/ 8813 h 10000"/>
              <a:gd name="connsiteX66" fmla="*/ 9974 w 10000"/>
              <a:gd name="connsiteY66" fmla="*/ 8637 h 10000"/>
              <a:gd name="connsiteX67" fmla="*/ 9987 w 10000"/>
              <a:gd name="connsiteY67" fmla="*/ 8466 h 10000"/>
              <a:gd name="connsiteX68" fmla="*/ 9993 w 10000"/>
              <a:gd name="connsiteY68" fmla="*/ 8291 h 10000"/>
              <a:gd name="connsiteX69" fmla="*/ 10000 w 10000"/>
              <a:gd name="connsiteY69" fmla="*/ 8114 h 10000"/>
              <a:gd name="connsiteX70" fmla="*/ 9993 w 10000"/>
              <a:gd name="connsiteY70" fmla="*/ 7901 h 10000"/>
              <a:gd name="connsiteX71" fmla="*/ 9987 w 10000"/>
              <a:gd name="connsiteY71" fmla="*/ 7697 h 10000"/>
              <a:gd name="connsiteX72" fmla="*/ 9967 w 10000"/>
              <a:gd name="connsiteY72" fmla="*/ 7489 h 10000"/>
              <a:gd name="connsiteX73" fmla="*/ 9948 w 10000"/>
              <a:gd name="connsiteY73" fmla="*/ 7286 h 10000"/>
              <a:gd name="connsiteX74" fmla="*/ 9915 w 10000"/>
              <a:gd name="connsiteY74" fmla="*/ 7077 h 10000"/>
              <a:gd name="connsiteX75" fmla="*/ 9882 w 10000"/>
              <a:gd name="connsiteY75" fmla="*/ 6880 h 10000"/>
              <a:gd name="connsiteX76" fmla="*/ 9843 w 10000"/>
              <a:gd name="connsiteY76" fmla="*/ 6677 h 10000"/>
              <a:gd name="connsiteX77" fmla="*/ 9796 w 10000"/>
              <a:gd name="connsiteY77" fmla="*/ 6479 h 10000"/>
              <a:gd name="connsiteX78" fmla="*/ 9744 w 10000"/>
              <a:gd name="connsiteY78" fmla="*/ 6281 h 10000"/>
              <a:gd name="connsiteX79" fmla="*/ 9685 w 10000"/>
              <a:gd name="connsiteY79" fmla="*/ 6089 h 10000"/>
              <a:gd name="connsiteX80" fmla="*/ 9620 w 10000"/>
              <a:gd name="connsiteY80" fmla="*/ 5891 h 10000"/>
              <a:gd name="connsiteX81" fmla="*/ 9555 w 10000"/>
              <a:gd name="connsiteY81" fmla="*/ 5698 h 10000"/>
              <a:gd name="connsiteX82" fmla="*/ 9475 w 10000"/>
              <a:gd name="connsiteY82" fmla="*/ 5511 h 10000"/>
              <a:gd name="connsiteX83" fmla="*/ 9396 w 10000"/>
              <a:gd name="connsiteY83" fmla="*/ 5324 h 10000"/>
              <a:gd name="connsiteX84" fmla="*/ 9304 w 10000"/>
              <a:gd name="connsiteY84" fmla="*/ 5137 h 10000"/>
              <a:gd name="connsiteX85" fmla="*/ 9213 w 10000"/>
              <a:gd name="connsiteY85" fmla="*/ 4957 h 10000"/>
              <a:gd name="connsiteX86" fmla="*/ 9121 w 10000"/>
              <a:gd name="connsiteY86" fmla="*/ 4775 h 10000"/>
              <a:gd name="connsiteX87" fmla="*/ 9016 w 10000"/>
              <a:gd name="connsiteY87" fmla="*/ 4598 h 10000"/>
              <a:gd name="connsiteX88" fmla="*/ 8911 w 10000"/>
              <a:gd name="connsiteY88" fmla="*/ 4422 h 10000"/>
              <a:gd name="connsiteX89" fmla="*/ 8800 w 10000"/>
              <a:gd name="connsiteY89" fmla="*/ 4246 h 10000"/>
              <a:gd name="connsiteX90" fmla="*/ 8682 w 10000"/>
              <a:gd name="connsiteY90" fmla="*/ 4075 h 10000"/>
              <a:gd name="connsiteX91" fmla="*/ 8557 w 10000"/>
              <a:gd name="connsiteY91" fmla="*/ 3909 h 10000"/>
              <a:gd name="connsiteX92" fmla="*/ 8432 w 10000"/>
              <a:gd name="connsiteY92" fmla="*/ 3743 h 10000"/>
              <a:gd name="connsiteX93" fmla="*/ 8300 w 10000"/>
              <a:gd name="connsiteY93" fmla="*/ 3578 h 10000"/>
              <a:gd name="connsiteX94" fmla="*/ 8162 w 10000"/>
              <a:gd name="connsiteY94" fmla="*/ 3417 h 10000"/>
              <a:gd name="connsiteX95" fmla="*/ 8018 w 10000"/>
              <a:gd name="connsiteY95" fmla="*/ 3262 h 10000"/>
              <a:gd name="connsiteX96" fmla="*/ 7873 w 10000"/>
              <a:gd name="connsiteY96" fmla="*/ 3107 h 10000"/>
              <a:gd name="connsiteX97" fmla="*/ 7723 w 10000"/>
              <a:gd name="connsiteY97" fmla="*/ 2952 h 10000"/>
              <a:gd name="connsiteX98" fmla="*/ 7573 w 10000"/>
              <a:gd name="connsiteY98" fmla="*/ 2808 h 10000"/>
              <a:gd name="connsiteX99" fmla="*/ 7407 w 10000"/>
              <a:gd name="connsiteY99" fmla="*/ 2664 h 10000"/>
              <a:gd name="connsiteX100" fmla="*/ 7250 w 10000"/>
              <a:gd name="connsiteY100" fmla="*/ 2519 h 10000"/>
              <a:gd name="connsiteX101" fmla="*/ 7080 w 10000"/>
              <a:gd name="connsiteY101" fmla="*/ 2375 h 10000"/>
              <a:gd name="connsiteX102" fmla="*/ 6910 w 10000"/>
              <a:gd name="connsiteY102" fmla="*/ 2241 h 10000"/>
              <a:gd name="connsiteX103" fmla="*/ 6740 w 10000"/>
              <a:gd name="connsiteY103" fmla="*/ 2108 h 10000"/>
              <a:gd name="connsiteX104" fmla="*/ 6556 w 10000"/>
              <a:gd name="connsiteY104" fmla="*/ 1980 h 10000"/>
              <a:gd name="connsiteX105" fmla="*/ 6372 w 10000"/>
              <a:gd name="connsiteY105" fmla="*/ 1857 h 10000"/>
              <a:gd name="connsiteX106" fmla="*/ 6188 w 10000"/>
              <a:gd name="connsiteY106" fmla="*/ 1734 h 10000"/>
              <a:gd name="connsiteX107" fmla="*/ 5998 w 10000"/>
              <a:gd name="connsiteY107" fmla="*/ 1617 h 10000"/>
              <a:gd name="connsiteX108" fmla="*/ 5801 w 10000"/>
              <a:gd name="connsiteY108" fmla="*/ 1500 h 10000"/>
              <a:gd name="connsiteX109" fmla="*/ 5605 w 10000"/>
              <a:gd name="connsiteY109" fmla="*/ 1387 h 10000"/>
              <a:gd name="connsiteX110" fmla="*/ 5407 w 10000"/>
              <a:gd name="connsiteY110" fmla="*/ 1280 h 10000"/>
              <a:gd name="connsiteX111" fmla="*/ 5204 w 10000"/>
              <a:gd name="connsiteY111" fmla="*/ 1179 h 10000"/>
              <a:gd name="connsiteX112" fmla="*/ 5001 w 10000"/>
              <a:gd name="connsiteY112" fmla="*/ 1077 h 10000"/>
              <a:gd name="connsiteX113" fmla="*/ 4783 w 10000"/>
              <a:gd name="connsiteY113" fmla="*/ 981 h 10000"/>
              <a:gd name="connsiteX114" fmla="*/ 4574 w 10000"/>
              <a:gd name="connsiteY114" fmla="*/ 890 h 10000"/>
              <a:gd name="connsiteX115" fmla="*/ 4356 w 10000"/>
              <a:gd name="connsiteY115" fmla="*/ 805 h 10000"/>
              <a:gd name="connsiteX116" fmla="*/ 4134 w 10000"/>
              <a:gd name="connsiteY116" fmla="*/ 719 h 10000"/>
              <a:gd name="connsiteX117" fmla="*/ 3917 w 10000"/>
              <a:gd name="connsiteY117" fmla="*/ 639 h 10000"/>
              <a:gd name="connsiteX118" fmla="*/ 3695 w 10000"/>
              <a:gd name="connsiteY118" fmla="*/ 570 h 10000"/>
              <a:gd name="connsiteX119" fmla="*/ 3464 w 10000"/>
              <a:gd name="connsiteY119" fmla="*/ 495 h 10000"/>
              <a:gd name="connsiteX120" fmla="*/ 3234 w 10000"/>
              <a:gd name="connsiteY120" fmla="*/ 431 h 10000"/>
              <a:gd name="connsiteX121" fmla="*/ 2999 w 10000"/>
              <a:gd name="connsiteY121" fmla="*/ 366 h 10000"/>
              <a:gd name="connsiteX122" fmla="*/ 2769 w 10000"/>
              <a:gd name="connsiteY122" fmla="*/ 313 h 10000"/>
              <a:gd name="connsiteX123" fmla="*/ 2528 w 10000"/>
              <a:gd name="connsiteY123" fmla="*/ 260 h 10000"/>
              <a:gd name="connsiteX124" fmla="*/ 2284 w 10000"/>
              <a:gd name="connsiteY124" fmla="*/ 211 h 10000"/>
              <a:gd name="connsiteX125" fmla="*/ 2047 w 10000"/>
              <a:gd name="connsiteY125" fmla="*/ 169 h 10000"/>
              <a:gd name="connsiteX126" fmla="*/ 1806 w 10000"/>
              <a:gd name="connsiteY126" fmla="*/ 131 h 10000"/>
              <a:gd name="connsiteX127" fmla="*/ 1555 w 10000"/>
              <a:gd name="connsiteY127" fmla="*/ 94 h 10000"/>
              <a:gd name="connsiteX128" fmla="*/ 1305 w 10000"/>
              <a:gd name="connsiteY128" fmla="*/ 67 h 10000"/>
              <a:gd name="connsiteX129" fmla="*/ 1057 w 10000"/>
              <a:gd name="connsiteY129" fmla="*/ 46 h 10000"/>
              <a:gd name="connsiteX130" fmla="*/ 807 w 10000"/>
              <a:gd name="connsiteY130" fmla="*/ 30 h 10000"/>
              <a:gd name="connsiteX131" fmla="*/ 551 w 10000"/>
              <a:gd name="connsiteY131" fmla="*/ 14 h 10000"/>
              <a:gd name="connsiteX132" fmla="*/ 295 w 10000"/>
              <a:gd name="connsiteY132" fmla="*/ 8 h 10000"/>
              <a:gd name="connsiteX133" fmla="*/ 39 w 10000"/>
              <a:gd name="connsiteY133" fmla="*/ 3 h 10000"/>
              <a:gd name="connsiteX134" fmla="*/ 0 w 10000"/>
              <a:gd name="connsiteY134" fmla="*/ 0 h 10000"/>
              <a:gd name="connsiteX135" fmla="*/ 1210 w 10000"/>
              <a:gd name="connsiteY135" fmla="*/ 2445 h 10000"/>
              <a:gd name="connsiteX136" fmla="*/ 7 w 10000"/>
              <a:gd name="connsiteY136" fmla="*/ 4770 h 10000"/>
              <a:gd name="connsiteX0" fmla="*/ 7 w 10000"/>
              <a:gd name="connsiteY0" fmla="*/ 4770 h 9498"/>
              <a:gd name="connsiteX1" fmla="*/ 20 w 10000"/>
              <a:gd name="connsiteY1" fmla="*/ 4764 h 9498"/>
              <a:gd name="connsiteX2" fmla="*/ 124 w 10000"/>
              <a:gd name="connsiteY2" fmla="*/ 4764 h 9498"/>
              <a:gd name="connsiteX3" fmla="*/ 230 w 10000"/>
              <a:gd name="connsiteY3" fmla="*/ 4770 h 9498"/>
              <a:gd name="connsiteX4" fmla="*/ 335 w 10000"/>
              <a:gd name="connsiteY4" fmla="*/ 4775 h 9498"/>
              <a:gd name="connsiteX5" fmla="*/ 439 w 10000"/>
              <a:gd name="connsiteY5" fmla="*/ 4780 h 9498"/>
              <a:gd name="connsiteX6" fmla="*/ 545 w 10000"/>
              <a:gd name="connsiteY6" fmla="*/ 4796 h 9498"/>
              <a:gd name="connsiteX7" fmla="*/ 650 w 10000"/>
              <a:gd name="connsiteY7" fmla="*/ 4807 h 9498"/>
              <a:gd name="connsiteX8" fmla="*/ 748 w 10000"/>
              <a:gd name="connsiteY8" fmla="*/ 4818 h 9498"/>
              <a:gd name="connsiteX9" fmla="*/ 846 w 10000"/>
              <a:gd name="connsiteY9" fmla="*/ 4834 h 9498"/>
              <a:gd name="connsiteX10" fmla="*/ 952 w 10000"/>
              <a:gd name="connsiteY10" fmla="*/ 4850 h 9498"/>
              <a:gd name="connsiteX11" fmla="*/ 1050 w 10000"/>
              <a:gd name="connsiteY11" fmla="*/ 4871 h 9498"/>
              <a:gd name="connsiteX12" fmla="*/ 1148 w 10000"/>
              <a:gd name="connsiteY12" fmla="*/ 4892 h 9498"/>
              <a:gd name="connsiteX13" fmla="*/ 1246 w 10000"/>
              <a:gd name="connsiteY13" fmla="*/ 4914 h 9498"/>
              <a:gd name="connsiteX14" fmla="*/ 1339 w 10000"/>
              <a:gd name="connsiteY14" fmla="*/ 4941 h 9498"/>
              <a:gd name="connsiteX15" fmla="*/ 1437 w 10000"/>
              <a:gd name="connsiteY15" fmla="*/ 4967 h 9498"/>
              <a:gd name="connsiteX16" fmla="*/ 1529 w 10000"/>
              <a:gd name="connsiteY16" fmla="*/ 4999 h 9498"/>
              <a:gd name="connsiteX17" fmla="*/ 1621 w 10000"/>
              <a:gd name="connsiteY17" fmla="*/ 5030 h 9498"/>
              <a:gd name="connsiteX18" fmla="*/ 1713 w 10000"/>
              <a:gd name="connsiteY18" fmla="*/ 5062 h 9498"/>
              <a:gd name="connsiteX19" fmla="*/ 1806 w 10000"/>
              <a:gd name="connsiteY19" fmla="*/ 5095 h 9498"/>
              <a:gd name="connsiteX20" fmla="*/ 1897 w 10000"/>
              <a:gd name="connsiteY20" fmla="*/ 5132 h 9498"/>
              <a:gd name="connsiteX21" fmla="*/ 1989 w 10000"/>
              <a:gd name="connsiteY21" fmla="*/ 5169 h 9498"/>
              <a:gd name="connsiteX22" fmla="*/ 2074 w 10000"/>
              <a:gd name="connsiteY22" fmla="*/ 5212 h 9498"/>
              <a:gd name="connsiteX23" fmla="*/ 2160 w 10000"/>
              <a:gd name="connsiteY23" fmla="*/ 5250 h 9498"/>
              <a:gd name="connsiteX24" fmla="*/ 2245 w 10000"/>
              <a:gd name="connsiteY24" fmla="*/ 5292 h 9498"/>
              <a:gd name="connsiteX25" fmla="*/ 2323 w 10000"/>
              <a:gd name="connsiteY25" fmla="*/ 5335 h 9498"/>
              <a:gd name="connsiteX26" fmla="*/ 2408 w 10000"/>
              <a:gd name="connsiteY26" fmla="*/ 5383 h 9498"/>
              <a:gd name="connsiteX27" fmla="*/ 2486 w 10000"/>
              <a:gd name="connsiteY27" fmla="*/ 5431 h 9498"/>
              <a:gd name="connsiteX28" fmla="*/ 2567 w 10000"/>
              <a:gd name="connsiteY28" fmla="*/ 5479 h 9498"/>
              <a:gd name="connsiteX29" fmla="*/ 2645 w 10000"/>
              <a:gd name="connsiteY29" fmla="*/ 5527 h 9498"/>
              <a:gd name="connsiteX30" fmla="*/ 2724 w 10000"/>
              <a:gd name="connsiteY30" fmla="*/ 5581 h 9498"/>
              <a:gd name="connsiteX31" fmla="*/ 2796 w 10000"/>
              <a:gd name="connsiteY31" fmla="*/ 5634 h 9498"/>
              <a:gd name="connsiteX32" fmla="*/ 2867 w 10000"/>
              <a:gd name="connsiteY32" fmla="*/ 5688 h 9498"/>
              <a:gd name="connsiteX33" fmla="*/ 2940 w 10000"/>
              <a:gd name="connsiteY33" fmla="*/ 5747 h 9498"/>
              <a:gd name="connsiteX34" fmla="*/ 3006 w 10000"/>
              <a:gd name="connsiteY34" fmla="*/ 5805 h 9498"/>
              <a:gd name="connsiteX35" fmla="*/ 3078 w 10000"/>
              <a:gd name="connsiteY35" fmla="*/ 5864 h 9498"/>
              <a:gd name="connsiteX36" fmla="*/ 3143 w 10000"/>
              <a:gd name="connsiteY36" fmla="*/ 5923 h 9498"/>
              <a:gd name="connsiteX37" fmla="*/ 3202 w 10000"/>
              <a:gd name="connsiteY37" fmla="*/ 5987 h 9498"/>
              <a:gd name="connsiteX38" fmla="*/ 3268 w 10000"/>
              <a:gd name="connsiteY38" fmla="*/ 6046 h 9498"/>
              <a:gd name="connsiteX39" fmla="*/ 3327 w 10000"/>
              <a:gd name="connsiteY39" fmla="*/ 6110 h 9498"/>
              <a:gd name="connsiteX40" fmla="*/ 3386 w 10000"/>
              <a:gd name="connsiteY40" fmla="*/ 6174 h 9498"/>
              <a:gd name="connsiteX41" fmla="*/ 3445 w 10000"/>
              <a:gd name="connsiteY41" fmla="*/ 6238 h 9498"/>
              <a:gd name="connsiteX42" fmla="*/ 3497 w 10000"/>
              <a:gd name="connsiteY42" fmla="*/ 6308 h 9498"/>
              <a:gd name="connsiteX43" fmla="*/ 3550 w 10000"/>
              <a:gd name="connsiteY43" fmla="*/ 6377 h 9498"/>
              <a:gd name="connsiteX44" fmla="*/ 3602 w 10000"/>
              <a:gd name="connsiteY44" fmla="*/ 6447 h 9498"/>
              <a:gd name="connsiteX45" fmla="*/ 3656 w 10000"/>
              <a:gd name="connsiteY45" fmla="*/ 6516 h 9498"/>
              <a:gd name="connsiteX46" fmla="*/ 3695 w 10000"/>
              <a:gd name="connsiteY46" fmla="*/ 6591 h 9498"/>
              <a:gd name="connsiteX47" fmla="*/ 3747 w 10000"/>
              <a:gd name="connsiteY47" fmla="*/ 6666 h 9498"/>
              <a:gd name="connsiteX48" fmla="*/ 3786 w 10000"/>
              <a:gd name="connsiteY48" fmla="*/ 6735 h 9498"/>
              <a:gd name="connsiteX49" fmla="*/ 3826 w 10000"/>
              <a:gd name="connsiteY49" fmla="*/ 6810 h 9498"/>
              <a:gd name="connsiteX50" fmla="*/ 3865 w 10000"/>
              <a:gd name="connsiteY50" fmla="*/ 6885 h 9498"/>
              <a:gd name="connsiteX51" fmla="*/ 3898 w 10000"/>
              <a:gd name="connsiteY51" fmla="*/ 6960 h 9498"/>
              <a:gd name="connsiteX52" fmla="*/ 3930 w 10000"/>
              <a:gd name="connsiteY52" fmla="*/ 7040 h 9498"/>
              <a:gd name="connsiteX53" fmla="*/ 3963 w 10000"/>
              <a:gd name="connsiteY53" fmla="*/ 7120 h 9498"/>
              <a:gd name="connsiteX54" fmla="*/ 3996 w 10000"/>
              <a:gd name="connsiteY54" fmla="*/ 7195 h 9498"/>
              <a:gd name="connsiteX55" fmla="*/ 4022 w 10000"/>
              <a:gd name="connsiteY55" fmla="*/ 7275 h 9498"/>
              <a:gd name="connsiteX56" fmla="*/ 4042 w 10000"/>
              <a:gd name="connsiteY56" fmla="*/ 7355 h 9498"/>
              <a:gd name="connsiteX57" fmla="*/ 4069 w 10000"/>
              <a:gd name="connsiteY57" fmla="*/ 7441 h 9498"/>
              <a:gd name="connsiteX58" fmla="*/ 4088 w 10000"/>
              <a:gd name="connsiteY58" fmla="*/ 7521 h 9498"/>
              <a:gd name="connsiteX59" fmla="*/ 4108 w 10000"/>
              <a:gd name="connsiteY59" fmla="*/ 7601 h 9498"/>
              <a:gd name="connsiteX60" fmla="*/ 7213 w 10000"/>
              <a:gd name="connsiteY60" fmla="*/ 7881 h 9498"/>
              <a:gd name="connsiteX61" fmla="*/ 9850 w 10000"/>
              <a:gd name="connsiteY61" fmla="*/ 9498 h 9498"/>
              <a:gd name="connsiteX62" fmla="*/ 9889 w 10000"/>
              <a:gd name="connsiteY62" fmla="*/ 9332 h 9498"/>
              <a:gd name="connsiteX63" fmla="*/ 9915 w 10000"/>
              <a:gd name="connsiteY63" fmla="*/ 9161 h 9498"/>
              <a:gd name="connsiteX64" fmla="*/ 9941 w 10000"/>
              <a:gd name="connsiteY64" fmla="*/ 8990 h 9498"/>
              <a:gd name="connsiteX65" fmla="*/ 9961 w 10000"/>
              <a:gd name="connsiteY65" fmla="*/ 8813 h 9498"/>
              <a:gd name="connsiteX66" fmla="*/ 9974 w 10000"/>
              <a:gd name="connsiteY66" fmla="*/ 8637 h 9498"/>
              <a:gd name="connsiteX67" fmla="*/ 9987 w 10000"/>
              <a:gd name="connsiteY67" fmla="*/ 8466 h 9498"/>
              <a:gd name="connsiteX68" fmla="*/ 9993 w 10000"/>
              <a:gd name="connsiteY68" fmla="*/ 8291 h 9498"/>
              <a:gd name="connsiteX69" fmla="*/ 10000 w 10000"/>
              <a:gd name="connsiteY69" fmla="*/ 8114 h 9498"/>
              <a:gd name="connsiteX70" fmla="*/ 9993 w 10000"/>
              <a:gd name="connsiteY70" fmla="*/ 7901 h 9498"/>
              <a:gd name="connsiteX71" fmla="*/ 9987 w 10000"/>
              <a:gd name="connsiteY71" fmla="*/ 7697 h 9498"/>
              <a:gd name="connsiteX72" fmla="*/ 9967 w 10000"/>
              <a:gd name="connsiteY72" fmla="*/ 7489 h 9498"/>
              <a:gd name="connsiteX73" fmla="*/ 9948 w 10000"/>
              <a:gd name="connsiteY73" fmla="*/ 7286 h 9498"/>
              <a:gd name="connsiteX74" fmla="*/ 9915 w 10000"/>
              <a:gd name="connsiteY74" fmla="*/ 7077 h 9498"/>
              <a:gd name="connsiteX75" fmla="*/ 9882 w 10000"/>
              <a:gd name="connsiteY75" fmla="*/ 6880 h 9498"/>
              <a:gd name="connsiteX76" fmla="*/ 9843 w 10000"/>
              <a:gd name="connsiteY76" fmla="*/ 6677 h 9498"/>
              <a:gd name="connsiteX77" fmla="*/ 9796 w 10000"/>
              <a:gd name="connsiteY77" fmla="*/ 6479 h 9498"/>
              <a:gd name="connsiteX78" fmla="*/ 9744 w 10000"/>
              <a:gd name="connsiteY78" fmla="*/ 6281 h 9498"/>
              <a:gd name="connsiteX79" fmla="*/ 9685 w 10000"/>
              <a:gd name="connsiteY79" fmla="*/ 6089 h 9498"/>
              <a:gd name="connsiteX80" fmla="*/ 9620 w 10000"/>
              <a:gd name="connsiteY80" fmla="*/ 5891 h 9498"/>
              <a:gd name="connsiteX81" fmla="*/ 9555 w 10000"/>
              <a:gd name="connsiteY81" fmla="*/ 5698 h 9498"/>
              <a:gd name="connsiteX82" fmla="*/ 9475 w 10000"/>
              <a:gd name="connsiteY82" fmla="*/ 5511 h 9498"/>
              <a:gd name="connsiteX83" fmla="*/ 9396 w 10000"/>
              <a:gd name="connsiteY83" fmla="*/ 5324 h 9498"/>
              <a:gd name="connsiteX84" fmla="*/ 9304 w 10000"/>
              <a:gd name="connsiteY84" fmla="*/ 5137 h 9498"/>
              <a:gd name="connsiteX85" fmla="*/ 9213 w 10000"/>
              <a:gd name="connsiteY85" fmla="*/ 4957 h 9498"/>
              <a:gd name="connsiteX86" fmla="*/ 9121 w 10000"/>
              <a:gd name="connsiteY86" fmla="*/ 4775 h 9498"/>
              <a:gd name="connsiteX87" fmla="*/ 9016 w 10000"/>
              <a:gd name="connsiteY87" fmla="*/ 4598 h 9498"/>
              <a:gd name="connsiteX88" fmla="*/ 8911 w 10000"/>
              <a:gd name="connsiteY88" fmla="*/ 4422 h 9498"/>
              <a:gd name="connsiteX89" fmla="*/ 8800 w 10000"/>
              <a:gd name="connsiteY89" fmla="*/ 4246 h 9498"/>
              <a:gd name="connsiteX90" fmla="*/ 8682 w 10000"/>
              <a:gd name="connsiteY90" fmla="*/ 4075 h 9498"/>
              <a:gd name="connsiteX91" fmla="*/ 8557 w 10000"/>
              <a:gd name="connsiteY91" fmla="*/ 3909 h 9498"/>
              <a:gd name="connsiteX92" fmla="*/ 8432 w 10000"/>
              <a:gd name="connsiteY92" fmla="*/ 3743 h 9498"/>
              <a:gd name="connsiteX93" fmla="*/ 8300 w 10000"/>
              <a:gd name="connsiteY93" fmla="*/ 3578 h 9498"/>
              <a:gd name="connsiteX94" fmla="*/ 8162 w 10000"/>
              <a:gd name="connsiteY94" fmla="*/ 3417 h 9498"/>
              <a:gd name="connsiteX95" fmla="*/ 8018 w 10000"/>
              <a:gd name="connsiteY95" fmla="*/ 3262 h 9498"/>
              <a:gd name="connsiteX96" fmla="*/ 7873 w 10000"/>
              <a:gd name="connsiteY96" fmla="*/ 3107 h 9498"/>
              <a:gd name="connsiteX97" fmla="*/ 7723 w 10000"/>
              <a:gd name="connsiteY97" fmla="*/ 2952 h 9498"/>
              <a:gd name="connsiteX98" fmla="*/ 7573 w 10000"/>
              <a:gd name="connsiteY98" fmla="*/ 2808 h 9498"/>
              <a:gd name="connsiteX99" fmla="*/ 7407 w 10000"/>
              <a:gd name="connsiteY99" fmla="*/ 2664 h 9498"/>
              <a:gd name="connsiteX100" fmla="*/ 7250 w 10000"/>
              <a:gd name="connsiteY100" fmla="*/ 2519 h 9498"/>
              <a:gd name="connsiteX101" fmla="*/ 7080 w 10000"/>
              <a:gd name="connsiteY101" fmla="*/ 2375 h 9498"/>
              <a:gd name="connsiteX102" fmla="*/ 6910 w 10000"/>
              <a:gd name="connsiteY102" fmla="*/ 2241 h 9498"/>
              <a:gd name="connsiteX103" fmla="*/ 6740 w 10000"/>
              <a:gd name="connsiteY103" fmla="*/ 2108 h 9498"/>
              <a:gd name="connsiteX104" fmla="*/ 6556 w 10000"/>
              <a:gd name="connsiteY104" fmla="*/ 1980 h 9498"/>
              <a:gd name="connsiteX105" fmla="*/ 6372 w 10000"/>
              <a:gd name="connsiteY105" fmla="*/ 1857 h 9498"/>
              <a:gd name="connsiteX106" fmla="*/ 6188 w 10000"/>
              <a:gd name="connsiteY106" fmla="*/ 1734 h 9498"/>
              <a:gd name="connsiteX107" fmla="*/ 5998 w 10000"/>
              <a:gd name="connsiteY107" fmla="*/ 1617 h 9498"/>
              <a:gd name="connsiteX108" fmla="*/ 5801 w 10000"/>
              <a:gd name="connsiteY108" fmla="*/ 1500 h 9498"/>
              <a:gd name="connsiteX109" fmla="*/ 5605 w 10000"/>
              <a:gd name="connsiteY109" fmla="*/ 1387 h 9498"/>
              <a:gd name="connsiteX110" fmla="*/ 5407 w 10000"/>
              <a:gd name="connsiteY110" fmla="*/ 1280 h 9498"/>
              <a:gd name="connsiteX111" fmla="*/ 5204 w 10000"/>
              <a:gd name="connsiteY111" fmla="*/ 1179 h 9498"/>
              <a:gd name="connsiteX112" fmla="*/ 5001 w 10000"/>
              <a:gd name="connsiteY112" fmla="*/ 1077 h 9498"/>
              <a:gd name="connsiteX113" fmla="*/ 4783 w 10000"/>
              <a:gd name="connsiteY113" fmla="*/ 981 h 9498"/>
              <a:gd name="connsiteX114" fmla="*/ 4574 w 10000"/>
              <a:gd name="connsiteY114" fmla="*/ 890 h 9498"/>
              <a:gd name="connsiteX115" fmla="*/ 4356 w 10000"/>
              <a:gd name="connsiteY115" fmla="*/ 805 h 9498"/>
              <a:gd name="connsiteX116" fmla="*/ 4134 w 10000"/>
              <a:gd name="connsiteY116" fmla="*/ 719 h 9498"/>
              <a:gd name="connsiteX117" fmla="*/ 3917 w 10000"/>
              <a:gd name="connsiteY117" fmla="*/ 639 h 9498"/>
              <a:gd name="connsiteX118" fmla="*/ 3695 w 10000"/>
              <a:gd name="connsiteY118" fmla="*/ 570 h 9498"/>
              <a:gd name="connsiteX119" fmla="*/ 3464 w 10000"/>
              <a:gd name="connsiteY119" fmla="*/ 495 h 9498"/>
              <a:gd name="connsiteX120" fmla="*/ 3234 w 10000"/>
              <a:gd name="connsiteY120" fmla="*/ 431 h 9498"/>
              <a:gd name="connsiteX121" fmla="*/ 2999 w 10000"/>
              <a:gd name="connsiteY121" fmla="*/ 366 h 9498"/>
              <a:gd name="connsiteX122" fmla="*/ 2769 w 10000"/>
              <a:gd name="connsiteY122" fmla="*/ 313 h 9498"/>
              <a:gd name="connsiteX123" fmla="*/ 2528 w 10000"/>
              <a:gd name="connsiteY123" fmla="*/ 260 h 9498"/>
              <a:gd name="connsiteX124" fmla="*/ 2284 w 10000"/>
              <a:gd name="connsiteY124" fmla="*/ 211 h 9498"/>
              <a:gd name="connsiteX125" fmla="*/ 2047 w 10000"/>
              <a:gd name="connsiteY125" fmla="*/ 169 h 9498"/>
              <a:gd name="connsiteX126" fmla="*/ 1806 w 10000"/>
              <a:gd name="connsiteY126" fmla="*/ 131 h 9498"/>
              <a:gd name="connsiteX127" fmla="*/ 1555 w 10000"/>
              <a:gd name="connsiteY127" fmla="*/ 94 h 9498"/>
              <a:gd name="connsiteX128" fmla="*/ 1305 w 10000"/>
              <a:gd name="connsiteY128" fmla="*/ 67 h 9498"/>
              <a:gd name="connsiteX129" fmla="*/ 1057 w 10000"/>
              <a:gd name="connsiteY129" fmla="*/ 46 h 9498"/>
              <a:gd name="connsiteX130" fmla="*/ 807 w 10000"/>
              <a:gd name="connsiteY130" fmla="*/ 30 h 9498"/>
              <a:gd name="connsiteX131" fmla="*/ 551 w 10000"/>
              <a:gd name="connsiteY131" fmla="*/ 14 h 9498"/>
              <a:gd name="connsiteX132" fmla="*/ 295 w 10000"/>
              <a:gd name="connsiteY132" fmla="*/ 8 h 9498"/>
              <a:gd name="connsiteX133" fmla="*/ 39 w 10000"/>
              <a:gd name="connsiteY133" fmla="*/ 3 h 9498"/>
              <a:gd name="connsiteX134" fmla="*/ 0 w 10000"/>
              <a:gd name="connsiteY134" fmla="*/ 0 h 9498"/>
              <a:gd name="connsiteX135" fmla="*/ 1210 w 10000"/>
              <a:gd name="connsiteY135" fmla="*/ 2445 h 9498"/>
              <a:gd name="connsiteX136" fmla="*/ 7 w 10000"/>
              <a:gd name="connsiteY136" fmla="*/ 4770 h 9498"/>
              <a:gd name="connsiteX0" fmla="*/ 7 w 10000"/>
              <a:gd name="connsiteY0" fmla="*/ 5022 h 10000"/>
              <a:gd name="connsiteX1" fmla="*/ 20 w 10000"/>
              <a:gd name="connsiteY1" fmla="*/ 5016 h 10000"/>
              <a:gd name="connsiteX2" fmla="*/ 124 w 10000"/>
              <a:gd name="connsiteY2" fmla="*/ 5016 h 10000"/>
              <a:gd name="connsiteX3" fmla="*/ 230 w 10000"/>
              <a:gd name="connsiteY3" fmla="*/ 5022 h 10000"/>
              <a:gd name="connsiteX4" fmla="*/ 335 w 10000"/>
              <a:gd name="connsiteY4" fmla="*/ 5027 h 10000"/>
              <a:gd name="connsiteX5" fmla="*/ 439 w 10000"/>
              <a:gd name="connsiteY5" fmla="*/ 5033 h 10000"/>
              <a:gd name="connsiteX6" fmla="*/ 545 w 10000"/>
              <a:gd name="connsiteY6" fmla="*/ 5049 h 10000"/>
              <a:gd name="connsiteX7" fmla="*/ 650 w 10000"/>
              <a:gd name="connsiteY7" fmla="*/ 5061 h 10000"/>
              <a:gd name="connsiteX8" fmla="*/ 748 w 10000"/>
              <a:gd name="connsiteY8" fmla="*/ 5073 h 10000"/>
              <a:gd name="connsiteX9" fmla="*/ 846 w 10000"/>
              <a:gd name="connsiteY9" fmla="*/ 5089 h 10000"/>
              <a:gd name="connsiteX10" fmla="*/ 952 w 10000"/>
              <a:gd name="connsiteY10" fmla="*/ 5106 h 10000"/>
              <a:gd name="connsiteX11" fmla="*/ 1050 w 10000"/>
              <a:gd name="connsiteY11" fmla="*/ 5128 h 10000"/>
              <a:gd name="connsiteX12" fmla="*/ 1148 w 10000"/>
              <a:gd name="connsiteY12" fmla="*/ 5151 h 10000"/>
              <a:gd name="connsiteX13" fmla="*/ 1246 w 10000"/>
              <a:gd name="connsiteY13" fmla="*/ 5174 h 10000"/>
              <a:gd name="connsiteX14" fmla="*/ 1339 w 10000"/>
              <a:gd name="connsiteY14" fmla="*/ 5202 h 10000"/>
              <a:gd name="connsiteX15" fmla="*/ 1437 w 10000"/>
              <a:gd name="connsiteY15" fmla="*/ 5230 h 10000"/>
              <a:gd name="connsiteX16" fmla="*/ 1529 w 10000"/>
              <a:gd name="connsiteY16" fmla="*/ 5263 h 10000"/>
              <a:gd name="connsiteX17" fmla="*/ 1621 w 10000"/>
              <a:gd name="connsiteY17" fmla="*/ 5296 h 10000"/>
              <a:gd name="connsiteX18" fmla="*/ 1713 w 10000"/>
              <a:gd name="connsiteY18" fmla="*/ 5330 h 10000"/>
              <a:gd name="connsiteX19" fmla="*/ 1806 w 10000"/>
              <a:gd name="connsiteY19" fmla="*/ 5364 h 10000"/>
              <a:gd name="connsiteX20" fmla="*/ 1897 w 10000"/>
              <a:gd name="connsiteY20" fmla="*/ 5403 h 10000"/>
              <a:gd name="connsiteX21" fmla="*/ 1989 w 10000"/>
              <a:gd name="connsiteY21" fmla="*/ 5442 h 10000"/>
              <a:gd name="connsiteX22" fmla="*/ 2074 w 10000"/>
              <a:gd name="connsiteY22" fmla="*/ 5487 h 10000"/>
              <a:gd name="connsiteX23" fmla="*/ 2160 w 10000"/>
              <a:gd name="connsiteY23" fmla="*/ 5527 h 10000"/>
              <a:gd name="connsiteX24" fmla="*/ 2245 w 10000"/>
              <a:gd name="connsiteY24" fmla="*/ 5572 h 10000"/>
              <a:gd name="connsiteX25" fmla="*/ 2323 w 10000"/>
              <a:gd name="connsiteY25" fmla="*/ 5617 h 10000"/>
              <a:gd name="connsiteX26" fmla="*/ 2408 w 10000"/>
              <a:gd name="connsiteY26" fmla="*/ 5668 h 10000"/>
              <a:gd name="connsiteX27" fmla="*/ 2486 w 10000"/>
              <a:gd name="connsiteY27" fmla="*/ 5718 h 10000"/>
              <a:gd name="connsiteX28" fmla="*/ 2567 w 10000"/>
              <a:gd name="connsiteY28" fmla="*/ 5769 h 10000"/>
              <a:gd name="connsiteX29" fmla="*/ 2645 w 10000"/>
              <a:gd name="connsiteY29" fmla="*/ 5819 h 10000"/>
              <a:gd name="connsiteX30" fmla="*/ 2724 w 10000"/>
              <a:gd name="connsiteY30" fmla="*/ 5876 h 10000"/>
              <a:gd name="connsiteX31" fmla="*/ 2796 w 10000"/>
              <a:gd name="connsiteY31" fmla="*/ 5932 h 10000"/>
              <a:gd name="connsiteX32" fmla="*/ 2867 w 10000"/>
              <a:gd name="connsiteY32" fmla="*/ 5989 h 10000"/>
              <a:gd name="connsiteX33" fmla="*/ 2940 w 10000"/>
              <a:gd name="connsiteY33" fmla="*/ 6051 h 10000"/>
              <a:gd name="connsiteX34" fmla="*/ 3006 w 10000"/>
              <a:gd name="connsiteY34" fmla="*/ 6112 h 10000"/>
              <a:gd name="connsiteX35" fmla="*/ 3078 w 10000"/>
              <a:gd name="connsiteY35" fmla="*/ 6174 h 10000"/>
              <a:gd name="connsiteX36" fmla="*/ 3143 w 10000"/>
              <a:gd name="connsiteY36" fmla="*/ 6236 h 10000"/>
              <a:gd name="connsiteX37" fmla="*/ 3202 w 10000"/>
              <a:gd name="connsiteY37" fmla="*/ 6303 h 10000"/>
              <a:gd name="connsiteX38" fmla="*/ 3268 w 10000"/>
              <a:gd name="connsiteY38" fmla="*/ 6366 h 10000"/>
              <a:gd name="connsiteX39" fmla="*/ 3327 w 10000"/>
              <a:gd name="connsiteY39" fmla="*/ 6433 h 10000"/>
              <a:gd name="connsiteX40" fmla="*/ 3386 w 10000"/>
              <a:gd name="connsiteY40" fmla="*/ 6500 h 10000"/>
              <a:gd name="connsiteX41" fmla="*/ 3445 w 10000"/>
              <a:gd name="connsiteY41" fmla="*/ 6568 h 10000"/>
              <a:gd name="connsiteX42" fmla="*/ 3497 w 10000"/>
              <a:gd name="connsiteY42" fmla="*/ 6641 h 10000"/>
              <a:gd name="connsiteX43" fmla="*/ 3550 w 10000"/>
              <a:gd name="connsiteY43" fmla="*/ 6714 h 10000"/>
              <a:gd name="connsiteX44" fmla="*/ 3602 w 10000"/>
              <a:gd name="connsiteY44" fmla="*/ 6788 h 10000"/>
              <a:gd name="connsiteX45" fmla="*/ 3656 w 10000"/>
              <a:gd name="connsiteY45" fmla="*/ 6860 h 10000"/>
              <a:gd name="connsiteX46" fmla="*/ 3695 w 10000"/>
              <a:gd name="connsiteY46" fmla="*/ 6939 h 10000"/>
              <a:gd name="connsiteX47" fmla="*/ 3747 w 10000"/>
              <a:gd name="connsiteY47" fmla="*/ 7018 h 10000"/>
              <a:gd name="connsiteX48" fmla="*/ 3786 w 10000"/>
              <a:gd name="connsiteY48" fmla="*/ 7091 h 10000"/>
              <a:gd name="connsiteX49" fmla="*/ 3826 w 10000"/>
              <a:gd name="connsiteY49" fmla="*/ 7170 h 10000"/>
              <a:gd name="connsiteX50" fmla="*/ 3865 w 10000"/>
              <a:gd name="connsiteY50" fmla="*/ 7249 h 10000"/>
              <a:gd name="connsiteX51" fmla="*/ 3898 w 10000"/>
              <a:gd name="connsiteY51" fmla="*/ 7328 h 10000"/>
              <a:gd name="connsiteX52" fmla="*/ 3930 w 10000"/>
              <a:gd name="connsiteY52" fmla="*/ 7412 h 10000"/>
              <a:gd name="connsiteX53" fmla="*/ 3963 w 10000"/>
              <a:gd name="connsiteY53" fmla="*/ 7496 h 10000"/>
              <a:gd name="connsiteX54" fmla="*/ 3996 w 10000"/>
              <a:gd name="connsiteY54" fmla="*/ 7575 h 10000"/>
              <a:gd name="connsiteX55" fmla="*/ 4022 w 10000"/>
              <a:gd name="connsiteY55" fmla="*/ 7660 h 10000"/>
              <a:gd name="connsiteX56" fmla="*/ 4042 w 10000"/>
              <a:gd name="connsiteY56" fmla="*/ 7744 h 10000"/>
              <a:gd name="connsiteX57" fmla="*/ 4069 w 10000"/>
              <a:gd name="connsiteY57" fmla="*/ 7834 h 10000"/>
              <a:gd name="connsiteX58" fmla="*/ 4088 w 10000"/>
              <a:gd name="connsiteY58" fmla="*/ 7919 h 10000"/>
              <a:gd name="connsiteX59" fmla="*/ 4108 w 10000"/>
              <a:gd name="connsiteY59" fmla="*/ 8003 h 10000"/>
              <a:gd name="connsiteX60" fmla="*/ 7213 w 10000"/>
              <a:gd name="connsiteY60" fmla="*/ 8298 h 10000"/>
              <a:gd name="connsiteX61" fmla="*/ 9850 w 10000"/>
              <a:gd name="connsiteY61" fmla="*/ 10000 h 10000"/>
              <a:gd name="connsiteX62" fmla="*/ 9889 w 10000"/>
              <a:gd name="connsiteY62" fmla="*/ 9825 h 10000"/>
              <a:gd name="connsiteX63" fmla="*/ 9915 w 10000"/>
              <a:gd name="connsiteY63" fmla="*/ 9645 h 10000"/>
              <a:gd name="connsiteX64" fmla="*/ 9941 w 10000"/>
              <a:gd name="connsiteY64" fmla="*/ 9465 h 10000"/>
              <a:gd name="connsiteX65" fmla="*/ 9961 w 10000"/>
              <a:gd name="connsiteY65" fmla="*/ 9279 h 10000"/>
              <a:gd name="connsiteX66" fmla="*/ 9974 w 10000"/>
              <a:gd name="connsiteY66" fmla="*/ 9093 h 10000"/>
              <a:gd name="connsiteX67" fmla="*/ 9987 w 10000"/>
              <a:gd name="connsiteY67" fmla="*/ 8913 h 10000"/>
              <a:gd name="connsiteX68" fmla="*/ 9993 w 10000"/>
              <a:gd name="connsiteY68" fmla="*/ 8729 h 10000"/>
              <a:gd name="connsiteX69" fmla="*/ 10000 w 10000"/>
              <a:gd name="connsiteY69" fmla="*/ 8543 h 10000"/>
              <a:gd name="connsiteX70" fmla="*/ 9993 w 10000"/>
              <a:gd name="connsiteY70" fmla="*/ 8319 h 10000"/>
              <a:gd name="connsiteX71" fmla="*/ 9987 w 10000"/>
              <a:gd name="connsiteY71" fmla="*/ 8104 h 10000"/>
              <a:gd name="connsiteX72" fmla="*/ 9967 w 10000"/>
              <a:gd name="connsiteY72" fmla="*/ 7885 h 10000"/>
              <a:gd name="connsiteX73" fmla="*/ 9948 w 10000"/>
              <a:gd name="connsiteY73" fmla="*/ 7671 h 10000"/>
              <a:gd name="connsiteX74" fmla="*/ 9915 w 10000"/>
              <a:gd name="connsiteY74" fmla="*/ 7451 h 10000"/>
              <a:gd name="connsiteX75" fmla="*/ 9882 w 10000"/>
              <a:gd name="connsiteY75" fmla="*/ 7244 h 10000"/>
              <a:gd name="connsiteX76" fmla="*/ 9843 w 10000"/>
              <a:gd name="connsiteY76" fmla="*/ 7030 h 10000"/>
              <a:gd name="connsiteX77" fmla="*/ 9796 w 10000"/>
              <a:gd name="connsiteY77" fmla="*/ 6821 h 10000"/>
              <a:gd name="connsiteX78" fmla="*/ 9744 w 10000"/>
              <a:gd name="connsiteY78" fmla="*/ 6613 h 10000"/>
              <a:gd name="connsiteX79" fmla="*/ 9685 w 10000"/>
              <a:gd name="connsiteY79" fmla="*/ 6411 h 10000"/>
              <a:gd name="connsiteX80" fmla="*/ 9620 w 10000"/>
              <a:gd name="connsiteY80" fmla="*/ 6202 h 10000"/>
              <a:gd name="connsiteX81" fmla="*/ 9555 w 10000"/>
              <a:gd name="connsiteY81" fmla="*/ 5999 h 10000"/>
              <a:gd name="connsiteX82" fmla="*/ 9475 w 10000"/>
              <a:gd name="connsiteY82" fmla="*/ 5802 h 10000"/>
              <a:gd name="connsiteX83" fmla="*/ 9396 w 10000"/>
              <a:gd name="connsiteY83" fmla="*/ 5605 h 10000"/>
              <a:gd name="connsiteX84" fmla="*/ 9304 w 10000"/>
              <a:gd name="connsiteY84" fmla="*/ 5409 h 10000"/>
              <a:gd name="connsiteX85" fmla="*/ 9213 w 10000"/>
              <a:gd name="connsiteY85" fmla="*/ 5219 h 10000"/>
              <a:gd name="connsiteX86" fmla="*/ 9121 w 10000"/>
              <a:gd name="connsiteY86" fmla="*/ 5027 h 10000"/>
              <a:gd name="connsiteX87" fmla="*/ 9016 w 10000"/>
              <a:gd name="connsiteY87" fmla="*/ 4841 h 10000"/>
              <a:gd name="connsiteX88" fmla="*/ 8911 w 10000"/>
              <a:gd name="connsiteY88" fmla="*/ 4656 h 10000"/>
              <a:gd name="connsiteX89" fmla="*/ 8800 w 10000"/>
              <a:gd name="connsiteY89" fmla="*/ 4470 h 10000"/>
              <a:gd name="connsiteX90" fmla="*/ 8682 w 10000"/>
              <a:gd name="connsiteY90" fmla="*/ 4290 h 10000"/>
              <a:gd name="connsiteX91" fmla="*/ 8557 w 10000"/>
              <a:gd name="connsiteY91" fmla="*/ 4116 h 10000"/>
              <a:gd name="connsiteX92" fmla="*/ 8432 w 10000"/>
              <a:gd name="connsiteY92" fmla="*/ 3941 h 10000"/>
              <a:gd name="connsiteX93" fmla="*/ 8300 w 10000"/>
              <a:gd name="connsiteY93" fmla="*/ 3767 h 10000"/>
              <a:gd name="connsiteX94" fmla="*/ 8162 w 10000"/>
              <a:gd name="connsiteY94" fmla="*/ 3598 h 10000"/>
              <a:gd name="connsiteX95" fmla="*/ 8018 w 10000"/>
              <a:gd name="connsiteY95" fmla="*/ 3434 h 10000"/>
              <a:gd name="connsiteX96" fmla="*/ 7873 w 10000"/>
              <a:gd name="connsiteY96" fmla="*/ 3271 h 10000"/>
              <a:gd name="connsiteX97" fmla="*/ 7723 w 10000"/>
              <a:gd name="connsiteY97" fmla="*/ 3108 h 10000"/>
              <a:gd name="connsiteX98" fmla="*/ 7573 w 10000"/>
              <a:gd name="connsiteY98" fmla="*/ 2956 h 10000"/>
              <a:gd name="connsiteX99" fmla="*/ 7407 w 10000"/>
              <a:gd name="connsiteY99" fmla="*/ 2805 h 10000"/>
              <a:gd name="connsiteX100" fmla="*/ 7250 w 10000"/>
              <a:gd name="connsiteY100" fmla="*/ 2652 h 10000"/>
              <a:gd name="connsiteX101" fmla="*/ 7080 w 10000"/>
              <a:gd name="connsiteY101" fmla="*/ 2501 h 10000"/>
              <a:gd name="connsiteX102" fmla="*/ 6910 w 10000"/>
              <a:gd name="connsiteY102" fmla="*/ 2359 h 10000"/>
              <a:gd name="connsiteX103" fmla="*/ 6740 w 10000"/>
              <a:gd name="connsiteY103" fmla="*/ 2219 h 10000"/>
              <a:gd name="connsiteX104" fmla="*/ 6556 w 10000"/>
              <a:gd name="connsiteY104" fmla="*/ 2085 h 10000"/>
              <a:gd name="connsiteX105" fmla="*/ 6372 w 10000"/>
              <a:gd name="connsiteY105" fmla="*/ 1955 h 10000"/>
              <a:gd name="connsiteX106" fmla="*/ 6188 w 10000"/>
              <a:gd name="connsiteY106" fmla="*/ 1826 h 10000"/>
              <a:gd name="connsiteX107" fmla="*/ 5998 w 10000"/>
              <a:gd name="connsiteY107" fmla="*/ 1702 h 10000"/>
              <a:gd name="connsiteX108" fmla="*/ 5801 w 10000"/>
              <a:gd name="connsiteY108" fmla="*/ 1579 h 10000"/>
              <a:gd name="connsiteX109" fmla="*/ 5605 w 10000"/>
              <a:gd name="connsiteY109" fmla="*/ 1460 h 10000"/>
              <a:gd name="connsiteX110" fmla="*/ 5407 w 10000"/>
              <a:gd name="connsiteY110" fmla="*/ 1348 h 10000"/>
              <a:gd name="connsiteX111" fmla="*/ 5204 w 10000"/>
              <a:gd name="connsiteY111" fmla="*/ 1241 h 10000"/>
              <a:gd name="connsiteX112" fmla="*/ 5001 w 10000"/>
              <a:gd name="connsiteY112" fmla="*/ 1134 h 10000"/>
              <a:gd name="connsiteX113" fmla="*/ 4783 w 10000"/>
              <a:gd name="connsiteY113" fmla="*/ 1033 h 10000"/>
              <a:gd name="connsiteX114" fmla="*/ 4574 w 10000"/>
              <a:gd name="connsiteY114" fmla="*/ 937 h 10000"/>
              <a:gd name="connsiteX115" fmla="*/ 4356 w 10000"/>
              <a:gd name="connsiteY115" fmla="*/ 848 h 10000"/>
              <a:gd name="connsiteX116" fmla="*/ 4134 w 10000"/>
              <a:gd name="connsiteY116" fmla="*/ 757 h 10000"/>
              <a:gd name="connsiteX117" fmla="*/ 3917 w 10000"/>
              <a:gd name="connsiteY117" fmla="*/ 673 h 10000"/>
              <a:gd name="connsiteX118" fmla="*/ 3695 w 10000"/>
              <a:gd name="connsiteY118" fmla="*/ 600 h 10000"/>
              <a:gd name="connsiteX119" fmla="*/ 3464 w 10000"/>
              <a:gd name="connsiteY119" fmla="*/ 521 h 10000"/>
              <a:gd name="connsiteX120" fmla="*/ 3234 w 10000"/>
              <a:gd name="connsiteY120" fmla="*/ 454 h 10000"/>
              <a:gd name="connsiteX121" fmla="*/ 2999 w 10000"/>
              <a:gd name="connsiteY121" fmla="*/ 385 h 10000"/>
              <a:gd name="connsiteX122" fmla="*/ 2769 w 10000"/>
              <a:gd name="connsiteY122" fmla="*/ 330 h 10000"/>
              <a:gd name="connsiteX123" fmla="*/ 2528 w 10000"/>
              <a:gd name="connsiteY123" fmla="*/ 274 h 10000"/>
              <a:gd name="connsiteX124" fmla="*/ 2284 w 10000"/>
              <a:gd name="connsiteY124" fmla="*/ 222 h 10000"/>
              <a:gd name="connsiteX125" fmla="*/ 2047 w 10000"/>
              <a:gd name="connsiteY125" fmla="*/ 178 h 10000"/>
              <a:gd name="connsiteX126" fmla="*/ 1806 w 10000"/>
              <a:gd name="connsiteY126" fmla="*/ 138 h 10000"/>
              <a:gd name="connsiteX127" fmla="*/ 1555 w 10000"/>
              <a:gd name="connsiteY127" fmla="*/ 99 h 10000"/>
              <a:gd name="connsiteX128" fmla="*/ 1305 w 10000"/>
              <a:gd name="connsiteY128" fmla="*/ 71 h 10000"/>
              <a:gd name="connsiteX129" fmla="*/ 1057 w 10000"/>
              <a:gd name="connsiteY129" fmla="*/ 48 h 10000"/>
              <a:gd name="connsiteX130" fmla="*/ 807 w 10000"/>
              <a:gd name="connsiteY130" fmla="*/ 32 h 10000"/>
              <a:gd name="connsiteX131" fmla="*/ 551 w 10000"/>
              <a:gd name="connsiteY131" fmla="*/ 15 h 10000"/>
              <a:gd name="connsiteX132" fmla="*/ 295 w 10000"/>
              <a:gd name="connsiteY132" fmla="*/ 8 h 10000"/>
              <a:gd name="connsiteX133" fmla="*/ 39 w 10000"/>
              <a:gd name="connsiteY133" fmla="*/ 3 h 10000"/>
              <a:gd name="connsiteX134" fmla="*/ 0 w 10000"/>
              <a:gd name="connsiteY134" fmla="*/ 0 h 10000"/>
              <a:gd name="connsiteX135" fmla="*/ 1210 w 10000"/>
              <a:gd name="connsiteY135" fmla="*/ 2574 h 10000"/>
              <a:gd name="connsiteX136" fmla="*/ 7 w 10000"/>
              <a:gd name="connsiteY136" fmla="*/ 5022 h 10000"/>
              <a:gd name="connsiteX0" fmla="*/ 7 w 10000"/>
              <a:gd name="connsiteY0" fmla="*/ 5022 h 9825"/>
              <a:gd name="connsiteX1" fmla="*/ 20 w 10000"/>
              <a:gd name="connsiteY1" fmla="*/ 5016 h 9825"/>
              <a:gd name="connsiteX2" fmla="*/ 124 w 10000"/>
              <a:gd name="connsiteY2" fmla="*/ 5016 h 9825"/>
              <a:gd name="connsiteX3" fmla="*/ 230 w 10000"/>
              <a:gd name="connsiteY3" fmla="*/ 5022 h 9825"/>
              <a:gd name="connsiteX4" fmla="*/ 335 w 10000"/>
              <a:gd name="connsiteY4" fmla="*/ 5027 h 9825"/>
              <a:gd name="connsiteX5" fmla="*/ 439 w 10000"/>
              <a:gd name="connsiteY5" fmla="*/ 5033 h 9825"/>
              <a:gd name="connsiteX6" fmla="*/ 545 w 10000"/>
              <a:gd name="connsiteY6" fmla="*/ 5049 h 9825"/>
              <a:gd name="connsiteX7" fmla="*/ 650 w 10000"/>
              <a:gd name="connsiteY7" fmla="*/ 5061 h 9825"/>
              <a:gd name="connsiteX8" fmla="*/ 748 w 10000"/>
              <a:gd name="connsiteY8" fmla="*/ 5073 h 9825"/>
              <a:gd name="connsiteX9" fmla="*/ 846 w 10000"/>
              <a:gd name="connsiteY9" fmla="*/ 5089 h 9825"/>
              <a:gd name="connsiteX10" fmla="*/ 952 w 10000"/>
              <a:gd name="connsiteY10" fmla="*/ 5106 h 9825"/>
              <a:gd name="connsiteX11" fmla="*/ 1050 w 10000"/>
              <a:gd name="connsiteY11" fmla="*/ 5128 h 9825"/>
              <a:gd name="connsiteX12" fmla="*/ 1148 w 10000"/>
              <a:gd name="connsiteY12" fmla="*/ 5151 h 9825"/>
              <a:gd name="connsiteX13" fmla="*/ 1246 w 10000"/>
              <a:gd name="connsiteY13" fmla="*/ 5174 h 9825"/>
              <a:gd name="connsiteX14" fmla="*/ 1339 w 10000"/>
              <a:gd name="connsiteY14" fmla="*/ 5202 h 9825"/>
              <a:gd name="connsiteX15" fmla="*/ 1437 w 10000"/>
              <a:gd name="connsiteY15" fmla="*/ 5230 h 9825"/>
              <a:gd name="connsiteX16" fmla="*/ 1529 w 10000"/>
              <a:gd name="connsiteY16" fmla="*/ 5263 h 9825"/>
              <a:gd name="connsiteX17" fmla="*/ 1621 w 10000"/>
              <a:gd name="connsiteY17" fmla="*/ 5296 h 9825"/>
              <a:gd name="connsiteX18" fmla="*/ 1713 w 10000"/>
              <a:gd name="connsiteY18" fmla="*/ 5330 h 9825"/>
              <a:gd name="connsiteX19" fmla="*/ 1806 w 10000"/>
              <a:gd name="connsiteY19" fmla="*/ 5364 h 9825"/>
              <a:gd name="connsiteX20" fmla="*/ 1897 w 10000"/>
              <a:gd name="connsiteY20" fmla="*/ 5403 h 9825"/>
              <a:gd name="connsiteX21" fmla="*/ 1989 w 10000"/>
              <a:gd name="connsiteY21" fmla="*/ 5442 h 9825"/>
              <a:gd name="connsiteX22" fmla="*/ 2074 w 10000"/>
              <a:gd name="connsiteY22" fmla="*/ 5487 h 9825"/>
              <a:gd name="connsiteX23" fmla="*/ 2160 w 10000"/>
              <a:gd name="connsiteY23" fmla="*/ 5527 h 9825"/>
              <a:gd name="connsiteX24" fmla="*/ 2245 w 10000"/>
              <a:gd name="connsiteY24" fmla="*/ 5572 h 9825"/>
              <a:gd name="connsiteX25" fmla="*/ 2323 w 10000"/>
              <a:gd name="connsiteY25" fmla="*/ 5617 h 9825"/>
              <a:gd name="connsiteX26" fmla="*/ 2408 w 10000"/>
              <a:gd name="connsiteY26" fmla="*/ 5668 h 9825"/>
              <a:gd name="connsiteX27" fmla="*/ 2486 w 10000"/>
              <a:gd name="connsiteY27" fmla="*/ 5718 h 9825"/>
              <a:gd name="connsiteX28" fmla="*/ 2567 w 10000"/>
              <a:gd name="connsiteY28" fmla="*/ 5769 h 9825"/>
              <a:gd name="connsiteX29" fmla="*/ 2645 w 10000"/>
              <a:gd name="connsiteY29" fmla="*/ 5819 h 9825"/>
              <a:gd name="connsiteX30" fmla="*/ 2724 w 10000"/>
              <a:gd name="connsiteY30" fmla="*/ 5876 h 9825"/>
              <a:gd name="connsiteX31" fmla="*/ 2796 w 10000"/>
              <a:gd name="connsiteY31" fmla="*/ 5932 h 9825"/>
              <a:gd name="connsiteX32" fmla="*/ 2867 w 10000"/>
              <a:gd name="connsiteY32" fmla="*/ 5989 h 9825"/>
              <a:gd name="connsiteX33" fmla="*/ 2940 w 10000"/>
              <a:gd name="connsiteY33" fmla="*/ 6051 h 9825"/>
              <a:gd name="connsiteX34" fmla="*/ 3006 w 10000"/>
              <a:gd name="connsiteY34" fmla="*/ 6112 h 9825"/>
              <a:gd name="connsiteX35" fmla="*/ 3078 w 10000"/>
              <a:gd name="connsiteY35" fmla="*/ 6174 h 9825"/>
              <a:gd name="connsiteX36" fmla="*/ 3143 w 10000"/>
              <a:gd name="connsiteY36" fmla="*/ 6236 h 9825"/>
              <a:gd name="connsiteX37" fmla="*/ 3202 w 10000"/>
              <a:gd name="connsiteY37" fmla="*/ 6303 h 9825"/>
              <a:gd name="connsiteX38" fmla="*/ 3268 w 10000"/>
              <a:gd name="connsiteY38" fmla="*/ 6366 h 9825"/>
              <a:gd name="connsiteX39" fmla="*/ 3327 w 10000"/>
              <a:gd name="connsiteY39" fmla="*/ 6433 h 9825"/>
              <a:gd name="connsiteX40" fmla="*/ 3386 w 10000"/>
              <a:gd name="connsiteY40" fmla="*/ 6500 h 9825"/>
              <a:gd name="connsiteX41" fmla="*/ 3445 w 10000"/>
              <a:gd name="connsiteY41" fmla="*/ 6568 h 9825"/>
              <a:gd name="connsiteX42" fmla="*/ 3497 w 10000"/>
              <a:gd name="connsiteY42" fmla="*/ 6641 h 9825"/>
              <a:gd name="connsiteX43" fmla="*/ 3550 w 10000"/>
              <a:gd name="connsiteY43" fmla="*/ 6714 h 9825"/>
              <a:gd name="connsiteX44" fmla="*/ 3602 w 10000"/>
              <a:gd name="connsiteY44" fmla="*/ 6788 h 9825"/>
              <a:gd name="connsiteX45" fmla="*/ 3656 w 10000"/>
              <a:gd name="connsiteY45" fmla="*/ 6860 h 9825"/>
              <a:gd name="connsiteX46" fmla="*/ 3695 w 10000"/>
              <a:gd name="connsiteY46" fmla="*/ 6939 h 9825"/>
              <a:gd name="connsiteX47" fmla="*/ 3747 w 10000"/>
              <a:gd name="connsiteY47" fmla="*/ 7018 h 9825"/>
              <a:gd name="connsiteX48" fmla="*/ 3786 w 10000"/>
              <a:gd name="connsiteY48" fmla="*/ 7091 h 9825"/>
              <a:gd name="connsiteX49" fmla="*/ 3826 w 10000"/>
              <a:gd name="connsiteY49" fmla="*/ 7170 h 9825"/>
              <a:gd name="connsiteX50" fmla="*/ 3865 w 10000"/>
              <a:gd name="connsiteY50" fmla="*/ 7249 h 9825"/>
              <a:gd name="connsiteX51" fmla="*/ 3898 w 10000"/>
              <a:gd name="connsiteY51" fmla="*/ 7328 h 9825"/>
              <a:gd name="connsiteX52" fmla="*/ 3930 w 10000"/>
              <a:gd name="connsiteY52" fmla="*/ 7412 h 9825"/>
              <a:gd name="connsiteX53" fmla="*/ 3963 w 10000"/>
              <a:gd name="connsiteY53" fmla="*/ 7496 h 9825"/>
              <a:gd name="connsiteX54" fmla="*/ 3996 w 10000"/>
              <a:gd name="connsiteY54" fmla="*/ 7575 h 9825"/>
              <a:gd name="connsiteX55" fmla="*/ 4022 w 10000"/>
              <a:gd name="connsiteY55" fmla="*/ 7660 h 9825"/>
              <a:gd name="connsiteX56" fmla="*/ 4042 w 10000"/>
              <a:gd name="connsiteY56" fmla="*/ 7744 h 9825"/>
              <a:gd name="connsiteX57" fmla="*/ 4069 w 10000"/>
              <a:gd name="connsiteY57" fmla="*/ 7834 h 9825"/>
              <a:gd name="connsiteX58" fmla="*/ 4088 w 10000"/>
              <a:gd name="connsiteY58" fmla="*/ 7919 h 9825"/>
              <a:gd name="connsiteX59" fmla="*/ 4108 w 10000"/>
              <a:gd name="connsiteY59" fmla="*/ 8003 h 9825"/>
              <a:gd name="connsiteX60" fmla="*/ 7213 w 10000"/>
              <a:gd name="connsiteY60" fmla="*/ 8298 h 9825"/>
              <a:gd name="connsiteX61" fmla="*/ 9889 w 10000"/>
              <a:gd name="connsiteY61" fmla="*/ 9825 h 9825"/>
              <a:gd name="connsiteX62" fmla="*/ 9915 w 10000"/>
              <a:gd name="connsiteY62" fmla="*/ 9645 h 9825"/>
              <a:gd name="connsiteX63" fmla="*/ 9941 w 10000"/>
              <a:gd name="connsiteY63" fmla="*/ 9465 h 9825"/>
              <a:gd name="connsiteX64" fmla="*/ 9961 w 10000"/>
              <a:gd name="connsiteY64" fmla="*/ 9279 h 9825"/>
              <a:gd name="connsiteX65" fmla="*/ 9974 w 10000"/>
              <a:gd name="connsiteY65" fmla="*/ 9093 h 9825"/>
              <a:gd name="connsiteX66" fmla="*/ 9987 w 10000"/>
              <a:gd name="connsiteY66" fmla="*/ 8913 h 9825"/>
              <a:gd name="connsiteX67" fmla="*/ 9993 w 10000"/>
              <a:gd name="connsiteY67" fmla="*/ 8729 h 9825"/>
              <a:gd name="connsiteX68" fmla="*/ 10000 w 10000"/>
              <a:gd name="connsiteY68" fmla="*/ 8543 h 9825"/>
              <a:gd name="connsiteX69" fmla="*/ 9993 w 10000"/>
              <a:gd name="connsiteY69" fmla="*/ 8319 h 9825"/>
              <a:gd name="connsiteX70" fmla="*/ 9987 w 10000"/>
              <a:gd name="connsiteY70" fmla="*/ 8104 h 9825"/>
              <a:gd name="connsiteX71" fmla="*/ 9967 w 10000"/>
              <a:gd name="connsiteY71" fmla="*/ 7885 h 9825"/>
              <a:gd name="connsiteX72" fmla="*/ 9948 w 10000"/>
              <a:gd name="connsiteY72" fmla="*/ 7671 h 9825"/>
              <a:gd name="connsiteX73" fmla="*/ 9915 w 10000"/>
              <a:gd name="connsiteY73" fmla="*/ 7451 h 9825"/>
              <a:gd name="connsiteX74" fmla="*/ 9882 w 10000"/>
              <a:gd name="connsiteY74" fmla="*/ 7244 h 9825"/>
              <a:gd name="connsiteX75" fmla="*/ 9843 w 10000"/>
              <a:gd name="connsiteY75" fmla="*/ 7030 h 9825"/>
              <a:gd name="connsiteX76" fmla="*/ 9796 w 10000"/>
              <a:gd name="connsiteY76" fmla="*/ 6821 h 9825"/>
              <a:gd name="connsiteX77" fmla="*/ 9744 w 10000"/>
              <a:gd name="connsiteY77" fmla="*/ 6613 h 9825"/>
              <a:gd name="connsiteX78" fmla="*/ 9685 w 10000"/>
              <a:gd name="connsiteY78" fmla="*/ 6411 h 9825"/>
              <a:gd name="connsiteX79" fmla="*/ 9620 w 10000"/>
              <a:gd name="connsiteY79" fmla="*/ 6202 h 9825"/>
              <a:gd name="connsiteX80" fmla="*/ 9555 w 10000"/>
              <a:gd name="connsiteY80" fmla="*/ 5999 h 9825"/>
              <a:gd name="connsiteX81" fmla="*/ 9475 w 10000"/>
              <a:gd name="connsiteY81" fmla="*/ 5802 h 9825"/>
              <a:gd name="connsiteX82" fmla="*/ 9396 w 10000"/>
              <a:gd name="connsiteY82" fmla="*/ 5605 h 9825"/>
              <a:gd name="connsiteX83" fmla="*/ 9304 w 10000"/>
              <a:gd name="connsiteY83" fmla="*/ 5409 h 9825"/>
              <a:gd name="connsiteX84" fmla="*/ 9213 w 10000"/>
              <a:gd name="connsiteY84" fmla="*/ 5219 h 9825"/>
              <a:gd name="connsiteX85" fmla="*/ 9121 w 10000"/>
              <a:gd name="connsiteY85" fmla="*/ 5027 h 9825"/>
              <a:gd name="connsiteX86" fmla="*/ 9016 w 10000"/>
              <a:gd name="connsiteY86" fmla="*/ 4841 h 9825"/>
              <a:gd name="connsiteX87" fmla="*/ 8911 w 10000"/>
              <a:gd name="connsiteY87" fmla="*/ 4656 h 9825"/>
              <a:gd name="connsiteX88" fmla="*/ 8800 w 10000"/>
              <a:gd name="connsiteY88" fmla="*/ 4470 h 9825"/>
              <a:gd name="connsiteX89" fmla="*/ 8682 w 10000"/>
              <a:gd name="connsiteY89" fmla="*/ 4290 h 9825"/>
              <a:gd name="connsiteX90" fmla="*/ 8557 w 10000"/>
              <a:gd name="connsiteY90" fmla="*/ 4116 h 9825"/>
              <a:gd name="connsiteX91" fmla="*/ 8432 w 10000"/>
              <a:gd name="connsiteY91" fmla="*/ 3941 h 9825"/>
              <a:gd name="connsiteX92" fmla="*/ 8300 w 10000"/>
              <a:gd name="connsiteY92" fmla="*/ 3767 h 9825"/>
              <a:gd name="connsiteX93" fmla="*/ 8162 w 10000"/>
              <a:gd name="connsiteY93" fmla="*/ 3598 h 9825"/>
              <a:gd name="connsiteX94" fmla="*/ 8018 w 10000"/>
              <a:gd name="connsiteY94" fmla="*/ 3434 h 9825"/>
              <a:gd name="connsiteX95" fmla="*/ 7873 w 10000"/>
              <a:gd name="connsiteY95" fmla="*/ 3271 h 9825"/>
              <a:gd name="connsiteX96" fmla="*/ 7723 w 10000"/>
              <a:gd name="connsiteY96" fmla="*/ 3108 h 9825"/>
              <a:gd name="connsiteX97" fmla="*/ 7573 w 10000"/>
              <a:gd name="connsiteY97" fmla="*/ 2956 h 9825"/>
              <a:gd name="connsiteX98" fmla="*/ 7407 w 10000"/>
              <a:gd name="connsiteY98" fmla="*/ 2805 h 9825"/>
              <a:gd name="connsiteX99" fmla="*/ 7250 w 10000"/>
              <a:gd name="connsiteY99" fmla="*/ 2652 h 9825"/>
              <a:gd name="connsiteX100" fmla="*/ 7080 w 10000"/>
              <a:gd name="connsiteY100" fmla="*/ 2501 h 9825"/>
              <a:gd name="connsiteX101" fmla="*/ 6910 w 10000"/>
              <a:gd name="connsiteY101" fmla="*/ 2359 h 9825"/>
              <a:gd name="connsiteX102" fmla="*/ 6740 w 10000"/>
              <a:gd name="connsiteY102" fmla="*/ 2219 h 9825"/>
              <a:gd name="connsiteX103" fmla="*/ 6556 w 10000"/>
              <a:gd name="connsiteY103" fmla="*/ 2085 h 9825"/>
              <a:gd name="connsiteX104" fmla="*/ 6372 w 10000"/>
              <a:gd name="connsiteY104" fmla="*/ 1955 h 9825"/>
              <a:gd name="connsiteX105" fmla="*/ 6188 w 10000"/>
              <a:gd name="connsiteY105" fmla="*/ 1826 h 9825"/>
              <a:gd name="connsiteX106" fmla="*/ 5998 w 10000"/>
              <a:gd name="connsiteY106" fmla="*/ 1702 h 9825"/>
              <a:gd name="connsiteX107" fmla="*/ 5801 w 10000"/>
              <a:gd name="connsiteY107" fmla="*/ 1579 h 9825"/>
              <a:gd name="connsiteX108" fmla="*/ 5605 w 10000"/>
              <a:gd name="connsiteY108" fmla="*/ 1460 h 9825"/>
              <a:gd name="connsiteX109" fmla="*/ 5407 w 10000"/>
              <a:gd name="connsiteY109" fmla="*/ 1348 h 9825"/>
              <a:gd name="connsiteX110" fmla="*/ 5204 w 10000"/>
              <a:gd name="connsiteY110" fmla="*/ 1241 h 9825"/>
              <a:gd name="connsiteX111" fmla="*/ 5001 w 10000"/>
              <a:gd name="connsiteY111" fmla="*/ 1134 h 9825"/>
              <a:gd name="connsiteX112" fmla="*/ 4783 w 10000"/>
              <a:gd name="connsiteY112" fmla="*/ 1033 h 9825"/>
              <a:gd name="connsiteX113" fmla="*/ 4574 w 10000"/>
              <a:gd name="connsiteY113" fmla="*/ 937 h 9825"/>
              <a:gd name="connsiteX114" fmla="*/ 4356 w 10000"/>
              <a:gd name="connsiteY114" fmla="*/ 848 h 9825"/>
              <a:gd name="connsiteX115" fmla="*/ 4134 w 10000"/>
              <a:gd name="connsiteY115" fmla="*/ 757 h 9825"/>
              <a:gd name="connsiteX116" fmla="*/ 3917 w 10000"/>
              <a:gd name="connsiteY116" fmla="*/ 673 h 9825"/>
              <a:gd name="connsiteX117" fmla="*/ 3695 w 10000"/>
              <a:gd name="connsiteY117" fmla="*/ 600 h 9825"/>
              <a:gd name="connsiteX118" fmla="*/ 3464 w 10000"/>
              <a:gd name="connsiteY118" fmla="*/ 521 h 9825"/>
              <a:gd name="connsiteX119" fmla="*/ 3234 w 10000"/>
              <a:gd name="connsiteY119" fmla="*/ 454 h 9825"/>
              <a:gd name="connsiteX120" fmla="*/ 2999 w 10000"/>
              <a:gd name="connsiteY120" fmla="*/ 385 h 9825"/>
              <a:gd name="connsiteX121" fmla="*/ 2769 w 10000"/>
              <a:gd name="connsiteY121" fmla="*/ 330 h 9825"/>
              <a:gd name="connsiteX122" fmla="*/ 2528 w 10000"/>
              <a:gd name="connsiteY122" fmla="*/ 274 h 9825"/>
              <a:gd name="connsiteX123" fmla="*/ 2284 w 10000"/>
              <a:gd name="connsiteY123" fmla="*/ 222 h 9825"/>
              <a:gd name="connsiteX124" fmla="*/ 2047 w 10000"/>
              <a:gd name="connsiteY124" fmla="*/ 178 h 9825"/>
              <a:gd name="connsiteX125" fmla="*/ 1806 w 10000"/>
              <a:gd name="connsiteY125" fmla="*/ 138 h 9825"/>
              <a:gd name="connsiteX126" fmla="*/ 1555 w 10000"/>
              <a:gd name="connsiteY126" fmla="*/ 99 h 9825"/>
              <a:gd name="connsiteX127" fmla="*/ 1305 w 10000"/>
              <a:gd name="connsiteY127" fmla="*/ 71 h 9825"/>
              <a:gd name="connsiteX128" fmla="*/ 1057 w 10000"/>
              <a:gd name="connsiteY128" fmla="*/ 48 h 9825"/>
              <a:gd name="connsiteX129" fmla="*/ 807 w 10000"/>
              <a:gd name="connsiteY129" fmla="*/ 32 h 9825"/>
              <a:gd name="connsiteX130" fmla="*/ 551 w 10000"/>
              <a:gd name="connsiteY130" fmla="*/ 15 h 9825"/>
              <a:gd name="connsiteX131" fmla="*/ 295 w 10000"/>
              <a:gd name="connsiteY131" fmla="*/ 8 h 9825"/>
              <a:gd name="connsiteX132" fmla="*/ 39 w 10000"/>
              <a:gd name="connsiteY132" fmla="*/ 3 h 9825"/>
              <a:gd name="connsiteX133" fmla="*/ 0 w 10000"/>
              <a:gd name="connsiteY133" fmla="*/ 0 h 9825"/>
              <a:gd name="connsiteX134" fmla="*/ 1210 w 10000"/>
              <a:gd name="connsiteY134" fmla="*/ 2574 h 9825"/>
              <a:gd name="connsiteX135" fmla="*/ 7 w 10000"/>
              <a:gd name="connsiteY135" fmla="*/ 5022 h 9825"/>
              <a:gd name="connsiteX0" fmla="*/ 7 w 10000"/>
              <a:gd name="connsiteY0" fmla="*/ 5111 h 9817"/>
              <a:gd name="connsiteX1" fmla="*/ 20 w 10000"/>
              <a:gd name="connsiteY1" fmla="*/ 5105 h 9817"/>
              <a:gd name="connsiteX2" fmla="*/ 124 w 10000"/>
              <a:gd name="connsiteY2" fmla="*/ 5105 h 9817"/>
              <a:gd name="connsiteX3" fmla="*/ 230 w 10000"/>
              <a:gd name="connsiteY3" fmla="*/ 5111 h 9817"/>
              <a:gd name="connsiteX4" fmla="*/ 335 w 10000"/>
              <a:gd name="connsiteY4" fmla="*/ 5117 h 9817"/>
              <a:gd name="connsiteX5" fmla="*/ 439 w 10000"/>
              <a:gd name="connsiteY5" fmla="*/ 5123 h 9817"/>
              <a:gd name="connsiteX6" fmla="*/ 545 w 10000"/>
              <a:gd name="connsiteY6" fmla="*/ 5139 h 9817"/>
              <a:gd name="connsiteX7" fmla="*/ 650 w 10000"/>
              <a:gd name="connsiteY7" fmla="*/ 5151 h 9817"/>
              <a:gd name="connsiteX8" fmla="*/ 748 w 10000"/>
              <a:gd name="connsiteY8" fmla="*/ 5163 h 9817"/>
              <a:gd name="connsiteX9" fmla="*/ 846 w 10000"/>
              <a:gd name="connsiteY9" fmla="*/ 5180 h 9817"/>
              <a:gd name="connsiteX10" fmla="*/ 952 w 10000"/>
              <a:gd name="connsiteY10" fmla="*/ 5197 h 9817"/>
              <a:gd name="connsiteX11" fmla="*/ 1050 w 10000"/>
              <a:gd name="connsiteY11" fmla="*/ 5219 h 9817"/>
              <a:gd name="connsiteX12" fmla="*/ 1148 w 10000"/>
              <a:gd name="connsiteY12" fmla="*/ 5243 h 9817"/>
              <a:gd name="connsiteX13" fmla="*/ 1246 w 10000"/>
              <a:gd name="connsiteY13" fmla="*/ 5266 h 9817"/>
              <a:gd name="connsiteX14" fmla="*/ 1339 w 10000"/>
              <a:gd name="connsiteY14" fmla="*/ 5295 h 9817"/>
              <a:gd name="connsiteX15" fmla="*/ 1437 w 10000"/>
              <a:gd name="connsiteY15" fmla="*/ 5323 h 9817"/>
              <a:gd name="connsiteX16" fmla="*/ 1529 w 10000"/>
              <a:gd name="connsiteY16" fmla="*/ 5357 h 9817"/>
              <a:gd name="connsiteX17" fmla="*/ 1621 w 10000"/>
              <a:gd name="connsiteY17" fmla="*/ 5390 h 9817"/>
              <a:gd name="connsiteX18" fmla="*/ 1713 w 10000"/>
              <a:gd name="connsiteY18" fmla="*/ 5425 h 9817"/>
              <a:gd name="connsiteX19" fmla="*/ 1806 w 10000"/>
              <a:gd name="connsiteY19" fmla="*/ 5460 h 9817"/>
              <a:gd name="connsiteX20" fmla="*/ 1897 w 10000"/>
              <a:gd name="connsiteY20" fmla="*/ 5499 h 9817"/>
              <a:gd name="connsiteX21" fmla="*/ 1989 w 10000"/>
              <a:gd name="connsiteY21" fmla="*/ 5539 h 9817"/>
              <a:gd name="connsiteX22" fmla="*/ 2074 w 10000"/>
              <a:gd name="connsiteY22" fmla="*/ 5585 h 9817"/>
              <a:gd name="connsiteX23" fmla="*/ 2160 w 10000"/>
              <a:gd name="connsiteY23" fmla="*/ 5625 h 9817"/>
              <a:gd name="connsiteX24" fmla="*/ 2245 w 10000"/>
              <a:gd name="connsiteY24" fmla="*/ 5671 h 9817"/>
              <a:gd name="connsiteX25" fmla="*/ 2323 w 10000"/>
              <a:gd name="connsiteY25" fmla="*/ 5717 h 9817"/>
              <a:gd name="connsiteX26" fmla="*/ 2408 w 10000"/>
              <a:gd name="connsiteY26" fmla="*/ 5769 h 9817"/>
              <a:gd name="connsiteX27" fmla="*/ 2486 w 10000"/>
              <a:gd name="connsiteY27" fmla="*/ 5820 h 9817"/>
              <a:gd name="connsiteX28" fmla="*/ 2567 w 10000"/>
              <a:gd name="connsiteY28" fmla="*/ 5872 h 9817"/>
              <a:gd name="connsiteX29" fmla="*/ 2645 w 10000"/>
              <a:gd name="connsiteY29" fmla="*/ 5923 h 9817"/>
              <a:gd name="connsiteX30" fmla="*/ 2724 w 10000"/>
              <a:gd name="connsiteY30" fmla="*/ 5981 h 9817"/>
              <a:gd name="connsiteX31" fmla="*/ 2796 w 10000"/>
              <a:gd name="connsiteY31" fmla="*/ 6038 h 9817"/>
              <a:gd name="connsiteX32" fmla="*/ 2867 w 10000"/>
              <a:gd name="connsiteY32" fmla="*/ 6096 h 9817"/>
              <a:gd name="connsiteX33" fmla="*/ 2940 w 10000"/>
              <a:gd name="connsiteY33" fmla="*/ 6159 h 9817"/>
              <a:gd name="connsiteX34" fmla="*/ 3006 w 10000"/>
              <a:gd name="connsiteY34" fmla="*/ 6221 h 9817"/>
              <a:gd name="connsiteX35" fmla="*/ 3078 w 10000"/>
              <a:gd name="connsiteY35" fmla="*/ 6284 h 9817"/>
              <a:gd name="connsiteX36" fmla="*/ 3143 w 10000"/>
              <a:gd name="connsiteY36" fmla="*/ 6347 h 9817"/>
              <a:gd name="connsiteX37" fmla="*/ 3202 w 10000"/>
              <a:gd name="connsiteY37" fmla="*/ 6415 h 9817"/>
              <a:gd name="connsiteX38" fmla="*/ 3268 w 10000"/>
              <a:gd name="connsiteY38" fmla="*/ 6479 h 9817"/>
              <a:gd name="connsiteX39" fmla="*/ 3327 w 10000"/>
              <a:gd name="connsiteY39" fmla="*/ 6548 h 9817"/>
              <a:gd name="connsiteX40" fmla="*/ 3386 w 10000"/>
              <a:gd name="connsiteY40" fmla="*/ 6616 h 9817"/>
              <a:gd name="connsiteX41" fmla="*/ 3445 w 10000"/>
              <a:gd name="connsiteY41" fmla="*/ 6685 h 9817"/>
              <a:gd name="connsiteX42" fmla="*/ 3497 w 10000"/>
              <a:gd name="connsiteY42" fmla="*/ 6759 h 9817"/>
              <a:gd name="connsiteX43" fmla="*/ 3550 w 10000"/>
              <a:gd name="connsiteY43" fmla="*/ 6834 h 9817"/>
              <a:gd name="connsiteX44" fmla="*/ 3602 w 10000"/>
              <a:gd name="connsiteY44" fmla="*/ 6909 h 9817"/>
              <a:gd name="connsiteX45" fmla="*/ 3656 w 10000"/>
              <a:gd name="connsiteY45" fmla="*/ 6982 h 9817"/>
              <a:gd name="connsiteX46" fmla="*/ 3695 w 10000"/>
              <a:gd name="connsiteY46" fmla="*/ 7063 h 9817"/>
              <a:gd name="connsiteX47" fmla="*/ 3747 w 10000"/>
              <a:gd name="connsiteY47" fmla="*/ 7143 h 9817"/>
              <a:gd name="connsiteX48" fmla="*/ 3786 w 10000"/>
              <a:gd name="connsiteY48" fmla="*/ 7217 h 9817"/>
              <a:gd name="connsiteX49" fmla="*/ 3826 w 10000"/>
              <a:gd name="connsiteY49" fmla="*/ 7298 h 9817"/>
              <a:gd name="connsiteX50" fmla="*/ 3865 w 10000"/>
              <a:gd name="connsiteY50" fmla="*/ 7378 h 9817"/>
              <a:gd name="connsiteX51" fmla="*/ 3898 w 10000"/>
              <a:gd name="connsiteY51" fmla="*/ 7459 h 9817"/>
              <a:gd name="connsiteX52" fmla="*/ 3930 w 10000"/>
              <a:gd name="connsiteY52" fmla="*/ 7544 h 9817"/>
              <a:gd name="connsiteX53" fmla="*/ 3963 w 10000"/>
              <a:gd name="connsiteY53" fmla="*/ 7630 h 9817"/>
              <a:gd name="connsiteX54" fmla="*/ 3996 w 10000"/>
              <a:gd name="connsiteY54" fmla="*/ 7710 h 9817"/>
              <a:gd name="connsiteX55" fmla="*/ 4022 w 10000"/>
              <a:gd name="connsiteY55" fmla="*/ 7796 h 9817"/>
              <a:gd name="connsiteX56" fmla="*/ 4042 w 10000"/>
              <a:gd name="connsiteY56" fmla="*/ 7882 h 9817"/>
              <a:gd name="connsiteX57" fmla="*/ 4069 w 10000"/>
              <a:gd name="connsiteY57" fmla="*/ 7974 h 9817"/>
              <a:gd name="connsiteX58" fmla="*/ 4088 w 10000"/>
              <a:gd name="connsiteY58" fmla="*/ 8060 h 9817"/>
              <a:gd name="connsiteX59" fmla="*/ 4108 w 10000"/>
              <a:gd name="connsiteY59" fmla="*/ 8146 h 9817"/>
              <a:gd name="connsiteX60" fmla="*/ 7213 w 10000"/>
              <a:gd name="connsiteY60" fmla="*/ 8446 h 9817"/>
              <a:gd name="connsiteX61" fmla="*/ 9915 w 10000"/>
              <a:gd name="connsiteY61" fmla="*/ 9817 h 9817"/>
              <a:gd name="connsiteX62" fmla="*/ 9941 w 10000"/>
              <a:gd name="connsiteY62" fmla="*/ 9634 h 9817"/>
              <a:gd name="connsiteX63" fmla="*/ 9961 w 10000"/>
              <a:gd name="connsiteY63" fmla="*/ 9444 h 9817"/>
              <a:gd name="connsiteX64" fmla="*/ 9974 w 10000"/>
              <a:gd name="connsiteY64" fmla="*/ 9255 h 9817"/>
              <a:gd name="connsiteX65" fmla="*/ 9987 w 10000"/>
              <a:gd name="connsiteY65" fmla="*/ 9072 h 9817"/>
              <a:gd name="connsiteX66" fmla="*/ 9993 w 10000"/>
              <a:gd name="connsiteY66" fmla="*/ 8884 h 9817"/>
              <a:gd name="connsiteX67" fmla="*/ 10000 w 10000"/>
              <a:gd name="connsiteY67" fmla="*/ 8695 h 9817"/>
              <a:gd name="connsiteX68" fmla="*/ 9993 w 10000"/>
              <a:gd name="connsiteY68" fmla="*/ 8467 h 9817"/>
              <a:gd name="connsiteX69" fmla="*/ 9987 w 10000"/>
              <a:gd name="connsiteY69" fmla="*/ 8248 h 9817"/>
              <a:gd name="connsiteX70" fmla="*/ 9967 w 10000"/>
              <a:gd name="connsiteY70" fmla="*/ 8025 h 9817"/>
              <a:gd name="connsiteX71" fmla="*/ 9948 w 10000"/>
              <a:gd name="connsiteY71" fmla="*/ 7808 h 9817"/>
              <a:gd name="connsiteX72" fmla="*/ 9915 w 10000"/>
              <a:gd name="connsiteY72" fmla="*/ 7584 h 9817"/>
              <a:gd name="connsiteX73" fmla="*/ 9882 w 10000"/>
              <a:gd name="connsiteY73" fmla="*/ 7373 h 9817"/>
              <a:gd name="connsiteX74" fmla="*/ 9843 w 10000"/>
              <a:gd name="connsiteY74" fmla="*/ 7155 h 9817"/>
              <a:gd name="connsiteX75" fmla="*/ 9796 w 10000"/>
              <a:gd name="connsiteY75" fmla="*/ 6942 h 9817"/>
              <a:gd name="connsiteX76" fmla="*/ 9744 w 10000"/>
              <a:gd name="connsiteY76" fmla="*/ 6731 h 9817"/>
              <a:gd name="connsiteX77" fmla="*/ 9685 w 10000"/>
              <a:gd name="connsiteY77" fmla="*/ 6525 h 9817"/>
              <a:gd name="connsiteX78" fmla="*/ 9620 w 10000"/>
              <a:gd name="connsiteY78" fmla="*/ 6312 h 9817"/>
              <a:gd name="connsiteX79" fmla="*/ 9555 w 10000"/>
              <a:gd name="connsiteY79" fmla="*/ 6106 h 9817"/>
              <a:gd name="connsiteX80" fmla="*/ 9475 w 10000"/>
              <a:gd name="connsiteY80" fmla="*/ 5905 h 9817"/>
              <a:gd name="connsiteX81" fmla="*/ 9396 w 10000"/>
              <a:gd name="connsiteY81" fmla="*/ 5705 h 9817"/>
              <a:gd name="connsiteX82" fmla="*/ 9304 w 10000"/>
              <a:gd name="connsiteY82" fmla="*/ 5505 h 9817"/>
              <a:gd name="connsiteX83" fmla="*/ 9213 w 10000"/>
              <a:gd name="connsiteY83" fmla="*/ 5312 h 9817"/>
              <a:gd name="connsiteX84" fmla="*/ 9121 w 10000"/>
              <a:gd name="connsiteY84" fmla="*/ 5117 h 9817"/>
              <a:gd name="connsiteX85" fmla="*/ 9016 w 10000"/>
              <a:gd name="connsiteY85" fmla="*/ 4927 h 9817"/>
              <a:gd name="connsiteX86" fmla="*/ 8911 w 10000"/>
              <a:gd name="connsiteY86" fmla="*/ 4739 h 9817"/>
              <a:gd name="connsiteX87" fmla="*/ 8800 w 10000"/>
              <a:gd name="connsiteY87" fmla="*/ 4550 h 9817"/>
              <a:gd name="connsiteX88" fmla="*/ 8682 w 10000"/>
              <a:gd name="connsiteY88" fmla="*/ 4366 h 9817"/>
              <a:gd name="connsiteX89" fmla="*/ 8557 w 10000"/>
              <a:gd name="connsiteY89" fmla="*/ 4189 h 9817"/>
              <a:gd name="connsiteX90" fmla="*/ 8432 w 10000"/>
              <a:gd name="connsiteY90" fmla="*/ 4011 h 9817"/>
              <a:gd name="connsiteX91" fmla="*/ 8300 w 10000"/>
              <a:gd name="connsiteY91" fmla="*/ 3834 h 9817"/>
              <a:gd name="connsiteX92" fmla="*/ 8162 w 10000"/>
              <a:gd name="connsiteY92" fmla="*/ 3662 h 9817"/>
              <a:gd name="connsiteX93" fmla="*/ 8018 w 10000"/>
              <a:gd name="connsiteY93" fmla="*/ 3495 h 9817"/>
              <a:gd name="connsiteX94" fmla="*/ 7873 w 10000"/>
              <a:gd name="connsiteY94" fmla="*/ 3329 h 9817"/>
              <a:gd name="connsiteX95" fmla="*/ 7723 w 10000"/>
              <a:gd name="connsiteY95" fmla="*/ 3163 h 9817"/>
              <a:gd name="connsiteX96" fmla="*/ 7573 w 10000"/>
              <a:gd name="connsiteY96" fmla="*/ 3009 h 9817"/>
              <a:gd name="connsiteX97" fmla="*/ 7407 w 10000"/>
              <a:gd name="connsiteY97" fmla="*/ 2855 h 9817"/>
              <a:gd name="connsiteX98" fmla="*/ 7250 w 10000"/>
              <a:gd name="connsiteY98" fmla="*/ 2699 h 9817"/>
              <a:gd name="connsiteX99" fmla="*/ 7080 w 10000"/>
              <a:gd name="connsiteY99" fmla="*/ 2546 h 9817"/>
              <a:gd name="connsiteX100" fmla="*/ 6910 w 10000"/>
              <a:gd name="connsiteY100" fmla="*/ 2401 h 9817"/>
              <a:gd name="connsiteX101" fmla="*/ 6740 w 10000"/>
              <a:gd name="connsiteY101" fmla="*/ 2259 h 9817"/>
              <a:gd name="connsiteX102" fmla="*/ 6556 w 10000"/>
              <a:gd name="connsiteY102" fmla="*/ 2122 h 9817"/>
              <a:gd name="connsiteX103" fmla="*/ 6372 w 10000"/>
              <a:gd name="connsiteY103" fmla="*/ 1990 h 9817"/>
              <a:gd name="connsiteX104" fmla="*/ 6188 w 10000"/>
              <a:gd name="connsiteY104" fmla="*/ 1859 h 9817"/>
              <a:gd name="connsiteX105" fmla="*/ 5998 w 10000"/>
              <a:gd name="connsiteY105" fmla="*/ 1732 h 9817"/>
              <a:gd name="connsiteX106" fmla="*/ 5801 w 10000"/>
              <a:gd name="connsiteY106" fmla="*/ 1607 h 9817"/>
              <a:gd name="connsiteX107" fmla="*/ 5605 w 10000"/>
              <a:gd name="connsiteY107" fmla="*/ 1486 h 9817"/>
              <a:gd name="connsiteX108" fmla="*/ 5407 w 10000"/>
              <a:gd name="connsiteY108" fmla="*/ 1372 h 9817"/>
              <a:gd name="connsiteX109" fmla="*/ 5204 w 10000"/>
              <a:gd name="connsiteY109" fmla="*/ 1263 h 9817"/>
              <a:gd name="connsiteX110" fmla="*/ 5001 w 10000"/>
              <a:gd name="connsiteY110" fmla="*/ 1154 h 9817"/>
              <a:gd name="connsiteX111" fmla="*/ 4783 w 10000"/>
              <a:gd name="connsiteY111" fmla="*/ 1051 h 9817"/>
              <a:gd name="connsiteX112" fmla="*/ 4574 w 10000"/>
              <a:gd name="connsiteY112" fmla="*/ 954 h 9817"/>
              <a:gd name="connsiteX113" fmla="*/ 4356 w 10000"/>
              <a:gd name="connsiteY113" fmla="*/ 863 h 9817"/>
              <a:gd name="connsiteX114" fmla="*/ 4134 w 10000"/>
              <a:gd name="connsiteY114" fmla="*/ 770 h 9817"/>
              <a:gd name="connsiteX115" fmla="*/ 3917 w 10000"/>
              <a:gd name="connsiteY115" fmla="*/ 685 h 9817"/>
              <a:gd name="connsiteX116" fmla="*/ 3695 w 10000"/>
              <a:gd name="connsiteY116" fmla="*/ 611 h 9817"/>
              <a:gd name="connsiteX117" fmla="*/ 3464 w 10000"/>
              <a:gd name="connsiteY117" fmla="*/ 530 h 9817"/>
              <a:gd name="connsiteX118" fmla="*/ 3234 w 10000"/>
              <a:gd name="connsiteY118" fmla="*/ 462 h 9817"/>
              <a:gd name="connsiteX119" fmla="*/ 2999 w 10000"/>
              <a:gd name="connsiteY119" fmla="*/ 392 h 9817"/>
              <a:gd name="connsiteX120" fmla="*/ 2769 w 10000"/>
              <a:gd name="connsiteY120" fmla="*/ 336 h 9817"/>
              <a:gd name="connsiteX121" fmla="*/ 2528 w 10000"/>
              <a:gd name="connsiteY121" fmla="*/ 279 h 9817"/>
              <a:gd name="connsiteX122" fmla="*/ 2284 w 10000"/>
              <a:gd name="connsiteY122" fmla="*/ 226 h 9817"/>
              <a:gd name="connsiteX123" fmla="*/ 2047 w 10000"/>
              <a:gd name="connsiteY123" fmla="*/ 181 h 9817"/>
              <a:gd name="connsiteX124" fmla="*/ 1806 w 10000"/>
              <a:gd name="connsiteY124" fmla="*/ 140 h 9817"/>
              <a:gd name="connsiteX125" fmla="*/ 1555 w 10000"/>
              <a:gd name="connsiteY125" fmla="*/ 101 h 9817"/>
              <a:gd name="connsiteX126" fmla="*/ 1305 w 10000"/>
              <a:gd name="connsiteY126" fmla="*/ 72 h 9817"/>
              <a:gd name="connsiteX127" fmla="*/ 1057 w 10000"/>
              <a:gd name="connsiteY127" fmla="*/ 49 h 9817"/>
              <a:gd name="connsiteX128" fmla="*/ 807 w 10000"/>
              <a:gd name="connsiteY128" fmla="*/ 33 h 9817"/>
              <a:gd name="connsiteX129" fmla="*/ 551 w 10000"/>
              <a:gd name="connsiteY129" fmla="*/ 15 h 9817"/>
              <a:gd name="connsiteX130" fmla="*/ 295 w 10000"/>
              <a:gd name="connsiteY130" fmla="*/ 8 h 9817"/>
              <a:gd name="connsiteX131" fmla="*/ 39 w 10000"/>
              <a:gd name="connsiteY131" fmla="*/ 3 h 9817"/>
              <a:gd name="connsiteX132" fmla="*/ 0 w 10000"/>
              <a:gd name="connsiteY132" fmla="*/ 0 h 9817"/>
              <a:gd name="connsiteX133" fmla="*/ 1210 w 10000"/>
              <a:gd name="connsiteY133" fmla="*/ 2620 h 9817"/>
              <a:gd name="connsiteX134" fmla="*/ 7 w 10000"/>
              <a:gd name="connsiteY134" fmla="*/ 5111 h 9817"/>
              <a:gd name="connsiteX0" fmla="*/ 7 w 10000"/>
              <a:gd name="connsiteY0" fmla="*/ 5206 h 9814"/>
              <a:gd name="connsiteX1" fmla="*/ 20 w 10000"/>
              <a:gd name="connsiteY1" fmla="*/ 5200 h 9814"/>
              <a:gd name="connsiteX2" fmla="*/ 124 w 10000"/>
              <a:gd name="connsiteY2" fmla="*/ 5200 h 9814"/>
              <a:gd name="connsiteX3" fmla="*/ 230 w 10000"/>
              <a:gd name="connsiteY3" fmla="*/ 5206 h 9814"/>
              <a:gd name="connsiteX4" fmla="*/ 335 w 10000"/>
              <a:gd name="connsiteY4" fmla="*/ 5212 h 9814"/>
              <a:gd name="connsiteX5" fmla="*/ 439 w 10000"/>
              <a:gd name="connsiteY5" fmla="*/ 5218 h 9814"/>
              <a:gd name="connsiteX6" fmla="*/ 545 w 10000"/>
              <a:gd name="connsiteY6" fmla="*/ 5235 h 9814"/>
              <a:gd name="connsiteX7" fmla="*/ 650 w 10000"/>
              <a:gd name="connsiteY7" fmla="*/ 5247 h 9814"/>
              <a:gd name="connsiteX8" fmla="*/ 748 w 10000"/>
              <a:gd name="connsiteY8" fmla="*/ 5259 h 9814"/>
              <a:gd name="connsiteX9" fmla="*/ 846 w 10000"/>
              <a:gd name="connsiteY9" fmla="*/ 5277 h 9814"/>
              <a:gd name="connsiteX10" fmla="*/ 952 w 10000"/>
              <a:gd name="connsiteY10" fmla="*/ 5294 h 9814"/>
              <a:gd name="connsiteX11" fmla="*/ 1050 w 10000"/>
              <a:gd name="connsiteY11" fmla="*/ 5316 h 9814"/>
              <a:gd name="connsiteX12" fmla="*/ 1148 w 10000"/>
              <a:gd name="connsiteY12" fmla="*/ 5341 h 9814"/>
              <a:gd name="connsiteX13" fmla="*/ 1246 w 10000"/>
              <a:gd name="connsiteY13" fmla="*/ 5364 h 9814"/>
              <a:gd name="connsiteX14" fmla="*/ 1339 w 10000"/>
              <a:gd name="connsiteY14" fmla="*/ 5394 h 9814"/>
              <a:gd name="connsiteX15" fmla="*/ 1437 w 10000"/>
              <a:gd name="connsiteY15" fmla="*/ 5422 h 9814"/>
              <a:gd name="connsiteX16" fmla="*/ 1529 w 10000"/>
              <a:gd name="connsiteY16" fmla="*/ 5457 h 9814"/>
              <a:gd name="connsiteX17" fmla="*/ 1621 w 10000"/>
              <a:gd name="connsiteY17" fmla="*/ 5490 h 9814"/>
              <a:gd name="connsiteX18" fmla="*/ 1713 w 10000"/>
              <a:gd name="connsiteY18" fmla="*/ 5526 h 9814"/>
              <a:gd name="connsiteX19" fmla="*/ 1806 w 10000"/>
              <a:gd name="connsiteY19" fmla="*/ 5562 h 9814"/>
              <a:gd name="connsiteX20" fmla="*/ 1897 w 10000"/>
              <a:gd name="connsiteY20" fmla="*/ 5602 h 9814"/>
              <a:gd name="connsiteX21" fmla="*/ 1989 w 10000"/>
              <a:gd name="connsiteY21" fmla="*/ 5642 h 9814"/>
              <a:gd name="connsiteX22" fmla="*/ 2074 w 10000"/>
              <a:gd name="connsiteY22" fmla="*/ 5689 h 9814"/>
              <a:gd name="connsiteX23" fmla="*/ 2160 w 10000"/>
              <a:gd name="connsiteY23" fmla="*/ 5730 h 9814"/>
              <a:gd name="connsiteX24" fmla="*/ 2245 w 10000"/>
              <a:gd name="connsiteY24" fmla="*/ 5777 h 9814"/>
              <a:gd name="connsiteX25" fmla="*/ 2323 w 10000"/>
              <a:gd name="connsiteY25" fmla="*/ 5824 h 9814"/>
              <a:gd name="connsiteX26" fmla="*/ 2408 w 10000"/>
              <a:gd name="connsiteY26" fmla="*/ 5877 h 9814"/>
              <a:gd name="connsiteX27" fmla="*/ 2486 w 10000"/>
              <a:gd name="connsiteY27" fmla="*/ 5928 h 9814"/>
              <a:gd name="connsiteX28" fmla="*/ 2567 w 10000"/>
              <a:gd name="connsiteY28" fmla="*/ 5981 h 9814"/>
              <a:gd name="connsiteX29" fmla="*/ 2645 w 10000"/>
              <a:gd name="connsiteY29" fmla="*/ 6033 h 9814"/>
              <a:gd name="connsiteX30" fmla="*/ 2724 w 10000"/>
              <a:gd name="connsiteY30" fmla="*/ 6092 h 9814"/>
              <a:gd name="connsiteX31" fmla="*/ 2796 w 10000"/>
              <a:gd name="connsiteY31" fmla="*/ 6151 h 9814"/>
              <a:gd name="connsiteX32" fmla="*/ 2867 w 10000"/>
              <a:gd name="connsiteY32" fmla="*/ 6210 h 9814"/>
              <a:gd name="connsiteX33" fmla="*/ 2940 w 10000"/>
              <a:gd name="connsiteY33" fmla="*/ 6274 h 9814"/>
              <a:gd name="connsiteX34" fmla="*/ 3006 w 10000"/>
              <a:gd name="connsiteY34" fmla="*/ 6337 h 9814"/>
              <a:gd name="connsiteX35" fmla="*/ 3078 w 10000"/>
              <a:gd name="connsiteY35" fmla="*/ 6401 h 9814"/>
              <a:gd name="connsiteX36" fmla="*/ 3143 w 10000"/>
              <a:gd name="connsiteY36" fmla="*/ 6465 h 9814"/>
              <a:gd name="connsiteX37" fmla="*/ 3202 w 10000"/>
              <a:gd name="connsiteY37" fmla="*/ 6535 h 9814"/>
              <a:gd name="connsiteX38" fmla="*/ 3268 w 10000"/>
              <a:gd name="connsiteY38" fmla="*/ 6600 h 9814"/>
              <a:gd name="connsiteX39" fmla="*/ 3327 w 10000"/>
              <a:gd name="connsiteY39" fmla="*/ 6670 h 9814"/>
              <a:gd name="connsiteX40" fmla="*/ 3386 w 10000"/>
              <a:gd name="connsiteY40" fmla="*/ 6739 h 9814"/>
              <a:gd name="connsiteX41" fmla="*/ 3445 w 10000"/>
              <a:gd name="connsiteY41" fmla="*/ 6810 h 9814"/>
              <a:gd name="connsiteX42" fmla="*/ 3497 w 10000"/>
              <a:gd name="connsiteY42" fmla="*/ 6885 h 9814"/>
              <a:gd name="connsiteX43" fmla="*/ 3550 w 10000"/>
              <a:gd name="connsiteY43" fmla="*/ 6961 h 9814"/>
              <a:gd name="connsiteX44" fmla="*/ 3602 w 10000"/>
              <a:gd name="connsiteY44" fmla="*/ 7038 h 9814"/>
              <a:gd name="connsiteX45" fmla="*/ 3656 w 10000"/>
              <a:gd name="connsiteY45" fmla="*/ 7112 h 9814"/>
              <a:gd name="connsiteX46" fmla="*/ 3695 w 10000"/>
              <a:gd name="connsiteY46" fmla="*/ 7195 h 9814"/>
              <a:gd name="connsiteX47" fmla="*/ 3747 w 10000"/>
              <a:gd name="connsiteY47" fmla="*/ 7276 h 9814"/>
              <a:gd name="connsiteX48" fmla="*/ 3786 w 10000"/>
              <a:gd name="connsiteY48" fmla="*/ 7352 h 9814"/>
              <a:gd name="connsiteX49" fmla="*/ 3826 w 10000"/>
              <a:gd name="connsiteY49" fmla="*/ 7434 h 9814"/>
              <a:gd name="connsiteX50" fmla="*/ 3865 w 10000"/>
              <a:gd name="connsiteY50" fmla="*/ 7516 h 9814"/>
              <a:gd name="connsiteX51" fmla="*/ 3898 w 10000"/>
              <a:gd name="connsiteY51" fmla="*/ 7598 h 9814"/>
              <a:gd name="connsiteX52" fmla="*/ 3930 w 10000"/>
              <a:gd name="connsiteY52" fmla="*/ 7685 h 9814"/>
              <a:gd name="connsiteX53" fmla="*/ 3963 w 10000"/>
              <a:gd name="connsiteY53" fmla="*/ 7772 h 9814"/>
              <a:gd name="connsiteX54" fmla="*/ 3996 w 10000"/>
              <a:gd name="connsiteY54" fmla="*/ 7854 h 9814"/>
              <a:gd name="connsiteX55" fmla="*/ 4022 w 10000"/>
              <a:gd name="connsiteY55" fmla="*/ 7941 h 9814"/>
              <a:gd name="connsiteX56" fmla="*/ 4042 w 10000"/>
              <a:gd name="connsiteY56" fmla="*/ 8029 h 9814"/>
              <a:gd name="connsiteX57" fmla="*/ 4069 w 10000"/>
              <a:gd name="connsiteY57" fmla="*/ 8123 h 9814"/>
              <a:gd name="connsiteX58" fmla="*/ 4088 w 10000"/>
              <a:gd name="connsiteY58" fmla="*/ 8210 h 9814"/>
              <a:gd name="connsiteX59" fmla="*/ 4108 w 10000"/>
              <a:gd name="connsiteY59" fmla="*/ 8298 h 9814"/>
              <a:gd name="connsiteX60" fmla="*/ 7213 w 10000"/>
              <a:gd name="connsiteY60" fmla="*/ 8603 h 9814"/>
              <a:gd name="connsiteX61" fmla="*/ 9941 w 10000"/>
              <a:gd name="connsiteY61" fmla="*/ 9814 h 9814"/>
              <a:gd name="connsiteX62" fmla="*/ 9961 w 10000"/>
              <a:gd name="connsiteY62" fmla="*/ 9620 h 9814"/>
              <a:gd name="connsiteX63" fmla="*/ 9974 w 10000"/>
              <a:gd name="connsiteY63" fmla="*/ 9428 h 9814"/>
              <a:gd name="connsiteX64" fmla="*/ 9987 w 10000"/>
              <a:gd name="connsiteY64" fmla="*/ 9241 h 9814"/>
              <a:gd name="connsiteX65" fmla="*/ 9993 w 10000"/>
              <a:gd name="connsiteY65" fmla="*/ 9050 h 9814"/>
              <a:gd name="connsiteX66" fmla="*/ 10000 w 10000"/>
              <a:gd name="connsiteY66" fmla="*/ 8857 h 9814"/>
              <a:gd name="connsiteX67" fmla="*/ 9993 w 10000"/>
              <a:gd name="connsiteY67" fmla="*/ 8625 h 9814"/>
              <a:gd name="connsiteX68" fmla="*/ 9987 w 10000"/>
              <a:gd name="connsiteY68" fmla="*/ 8402 h 9814"/>
              <a:gd name="connsiteX69" fmla="*/ 9967 w 10000"/>
              <a:gd name="connsiteY69" fmla="*/ 8175 h 9814"/>
              <a:gd name="connsiteX70" fmla="*/ 9948 w 10000"/>
              <a:gd name="connsiteY70" fmla="*/ 7954 h 9814"/>
              <a:gd name="connsiteX71" fmla="*/ 9915 w 10000"/>
              <a:gd name="connsiteY71" fmla="*/ 7725 h 9814"/>
              <a:gd name="connsiteX72" fmla="*/ 9882 w 10000"/>
              <a:gd name="connsiteY72" fmla="*/ 7510 h 9814"/>
              <a:gd name="connsiteX73" fmla="*/ 9843 w 10000"/>
              <a:gd name="connsiteY73" fmla="*/ 7288 h 9814"/>
              <a:gd name="connsiteX74" fmla="*/ 9796 w 10000"/>
              <a:gd name="connsiteY74" fmla="*/ 7071 h 9814"/>
              <a:gd name="connsiteX75" fmla="*/ 9744 w 10000"/>
              <a:gd name="connsiteY75" fmla="*/ 6856 h 9814"/>
              <a:gd name="connsiteX76" fmla="*/ 9685 w 10000"/>
              <a:gd name="connsiteY76" fmla="*/ 6647 h 9814"/>
              <a:gd name="connsiteX77" fmla="*/ 9620 w 10000"/>
              <a:gd name="connsiteY77" fmla="*/ 6430 h 9814"/>
              <a:gd name="connsiteX78" fmla="*/ 9555 w 10000"/>
              <a:gd name="connsiteY78" fmla="*/ 6220 h 9814"/>
              <a:gd name="connsiteX79" fmla="*/ 9475 w 10000"/>
              <a:gd name="connsiteY79" fmla="*/ 6015 h 9814"/>
              <a:gd name="connsiteX80" fmla="*/ 9396 w 10000"/>
              <a:gd name="connsiteY80" fmla="*/ 5811 h 9814"/>
              <a:gd name="connsiteX81" fmla="*/ 9304 w 10000"/>
              <a:gd name="connsiteY81" fmla="*/ 5608 h 9814"/>
              <a:gd name="connsiteX82" fmla="*/ 9213 w 10000"/>
              <a:gd name="connsiteY82" fmla="*/ 5411 h 9814"/>
              <a:gd name="connsiteX83" fmla="*/ 9121 w 10000"/>
              <a:gd name="connsiteY83" fmla="*/ 5212 h 9814"/>
              <a:gd name="connsiteX84" fmla="*/ 9016 w 10000"/>
              <a:gd name="connsiteY84" fmla="*/ 5019 h 9814"/>
              <a:gd name="connsiteX85" fmla="*/ 8911 w 10000"/>
              <a:gd name="connsiteY85" fmla="*/ 4827 h 9814"/>
              <a:gd name="connsiteX86" fmla="*/ 8800 w 10000"/>
              <a:gd name="connsiteY86" fmla="*/ 4635 h 9814"/>
              <a:gd name="connsiteX87" fmla="*/ 8682 w 10000"/>
              <a:gd name="connsiteY87" fmla="*/ 4447 h 9814"/>
              <a:gd name="connsiteX88" fmla="*/ 8557 w 10000"/>
              <a:gd name="connsiteY88" fmla="*/ 4267 h 9814"/>
              <a:gd name="connsiteX89" fmla="*/ 8432 w 10000"/>
              <a:gd name="connsiteY89" fmla="*/ 4086 h 9814"/>
              <a:gd name="connsiteX90" fmla="*/ 8300 w 10000"/>
              <a:gd name="connsiteY90" fmla="*/ 3905 h 9814"/>
              <a:gd name="connsiteX91" fmla="*/ 8162 w 10000"/>
              <a:gd name="connsiteY91" fmla="*/ 3730 h 9814"/>
              <a:gd name="connsiteX92" fmla="*/ 8018 w 10000"/>
              <a:gd name="connsiteY92" fmla="*/ 3560 h 9814"/>
              <a:gd name="connsiteX93" fmla="*/ 7873 w 10000"/>
              <a:gd name="connsiteY93" fmla="*/ 3391 h 9814"/>
              <a:gd name="connsiteX94" fmla="*/ 7723 w 10000"/>
              <a:gd name="connsiteY94" fmla="*/ 3222 h 9814"/>
              <a:gd name="connsiteX95" fmla="*/ 7573 w 10000"/>
              <a:gd name="connsiteY95" fmla="*/ 3065 h 9814"/>
              <a:gd name="connsiteX96" fmla="*/ 7407 w 10000"/>
              <a:gd name="connsiteY96" fmla="*/ 2908 h 9814"/>
              <a:gd name="connsiteX97" fmla="*/ 7250 w 10000"/>
              <a:gd name="connsiteY97" fmla="*/ 2749 h 9814"/>
              <a:gd name="connsiteX98" fmla="*/ 7080 w 10000"/>
              <a:gd name="connsiteY98" fmla="*/ 2593 h 9814"/>
              <a:gd name="connsiteX99" fmla="*/ 6910 w 10000"/>
              <a:gd name="connsiteY99" fmla="*/ 2446 h 9814"/>
              <a:gd name="connsiteX100" fmla="*/ 6740 w 10000"/>
              <a:gd name="connsiteY100" fmla="*/ 2301 h 9814"/>
              <a:gd name="connsiteX101" fmla="*/ 6556 w 10000"/>
              <a:gd name="connsiteY101" fmla="*/ 2162 h 9814"/>
              <a:gd name="connsiteX102" fmla="*/ 6372 w 10000"/>
              <a:gd name="connsiteY102" fmla="*/ 2027 h 9814"/>
              <a:gd name="connsiteX103" fmla="*/ 6188 w 10000"/>
              <a:gd name="connsiteY103" fmla="*/ 1894 h 9814"/>
              <a:gd name="connsiteX104" fmla="*/ 5998 w 10000"/>
              <a:gd name="connsiteY104" fmla="*/ 1764 h 9814"/>
              <a:gd name="connsiteX105" fmla="*/ 5801 w 10000"/>
              <a:gd name="connsiteY105" fmla="*/ 1637 h 9814"/>
              <a:gd name="connsiteX106" fmla="*/ 5605 w 10000"/>
              <a:gd name="connsiteY106" fmla="*/ 1514 h 9814"/>
              <a:gd name="connsiteX107" fmla="*/ 5407 w 10000"/>
              <a:gd name="connsiteY107" fmla="*/ 1398 h 9814"/>
              <a:gd name="connsiteX108" fmla="*/ 5204 w 10000"/>
              <a:gd name="connsiteY108" fmla="*/ 1287 h 9814"/>
              <a:gd name="connsiteX109" fmla="*/ 5001 w 10000"/>
              <a:gd name="connsiteY109" fmla="*/ 1176 h 9814"/>
              <a:gd name="connsiteX110" fmla="*/ 4783 w 10000"/>
              <a:gd name="connsiteY110" fmla="*/ 1071 h 9814"/>
              <a:gd name="connsiteX111" fmla="*/ 4574 w 10000"/>
              <a:gd name="connsiteY111" fmla="*/ 972 h 9814"/>
              <a:gd name="connsiteX112" fmla="*/ 4356 w 10000"/>
              <a:gd name="connsiteY112" fmla="*/ 879 h 9814"/>
              <a:gd name="connsiteX113" fmla="*/ 4134 w 10000"/>
              <a:gd name="connsiteY113" fmla="*/ 784 h 9814"/>
              <a:gd name="connsiteX114" fmla="*/ 3917 w 10000"/>
              <a:gd name="connsiteY114" fmla="*/ 698 h 9814"/>
              <a:gd name="connsiteX115" fmla="*/ 3695 w 10000"/>
              <a:gd name="connsiteY115" fmla="*/ 622 h 9814"/>
              <a:gd name="connsiteX116" fmla="*/ 3464 w 10000"/>
              <a:gd name="connsiteY116" fmla="*/ 540 h 9814"/>
              <a:gd name="connsiteX117" fmla="*/ 3234 w 10000"/>
              <a:gd name="connsiteY117" fmla="*/ 471 h 9814"/>
              <a:gd name="connsiteX118" fmla="*/ 2999 w 10000"/>
              <a:gd name="connsiteY118" fmla="*/ 399 h 9814"/>
              <a:gd name="connsiteX119" fmla="*/ 2769 w 10000"/>
              <a:gd name="connsiteY119" fmla="*/ 342 h 9814"/>
              <a:gd name="connsiteX120" fmla="*/ 2528 w 10000"/>
              <a:gd name="connsiteY120" fmla="*/ 284 h 9814"/>
              <a:gd name="connsiteX121" fmla="*/ 2284 w 10000"/>
              <a:gd name="connsiteY121" fmla="*/ 230 h 9814"/>
              <a:gd name="connsiteX122" fmla="*/ 2047 w 10000"/>
              <a:gd name="connsiteY122" fmla="*/ 184 h 9814"/>
              <a:gd name="connsiteX123" fmla="*/ 1806 w 10000"/>
              <a:gd name="connsiteY123" fmla="*/ 143 h 9814"/>
              <a:gd name="connsiteX124" fmla="*/ 1555 w 10000"/>
              <a:gd name="connsiteY124" fmla="*/ 103 h 9814"/>
              <a:gd name="connsiteX125" fmla="*/ 1305 w 10000"/>
              <a:gd name="connsiteY125" fmla="*/ 73 h 9814"/>
              <a:gd name="connsiteX126" fmla="*/ 1057 w 10000"/>
              <a:gd name="connsiteY126" fmla="*/ 50 h 9814"/>
              <a:gd name="connsiteX127" fmla="*/ 807 w 10000"/>
              <a:gd name="connsiteY127" fmla="*/ 34 h 9814"/>
              <a:gd name="connsiteX128" fmla="*/ 551 w 10000"/>
              <a:gd name="connsiteY128" fmla="*/ 15 h 9814"/>
              <a:gd name="connsiteX129" fmla="*/ 295 w 10000"/>
              <a:gd name="connsiteY129" fmla="*/ 8 h 9814"/>
              <a:gd name="connsiteX130" fmla="*/ 39 w 10000"/>
              <a:gd name="connsiteY130" fmla="*/ 3 h 9814"/>
              <a:gd name="connsiteX131" fmla="*/ 0 w 10000"/>
              <a:gd name="connsiteY131" fmla="*/ 0 h 9814"/>
              <a:gd name="connsiteX132" fmla="*/ 1210 w 10000"/>
              <a:gd name="connsiteY132" fmla="*/ 2669 h 9814"/>
              <a:gd name="connsiteX133" fmla="*/ 7 w 10000"/>
              <a:gd name="connsiteY133" fmla="*/ 5206 h 9814"/>
              <a:gd name="connsiteX0" fmla="*/ 7 w 10000"/>
              <a:gd name="connsiteY0" fmla="*/ 5305 h 9802"/>
              <a:gd name="connsiteX1" fmla="*/ 20 w 10000"/>
              <a:gd name="connsiteY1" fmla="*/ 5299 h 9802"/>
              <a:gd name="connsiteX2" fmla="*/ 124 w 10000"/>
              <a:gd name="connsiteY2" fmla="*/ 5299 h 9802"/>
              <a:gd name="connsiteX3" fmla="*/ 230 w 10000"/>
              <a:gd name="connsiteY3" fmla="*/ 5305 h 9802"/>
              <a:gd name="connsiteX4" fmla="*/ 335 w 10000"/>
              <a:gd name="connsiteY4" fmla="*/ 5311 h 9802"/>
              <a:gd name="connsiteX5" fmla="*/ 439 w 10000"/>
              <a:gd name="connsiteY5" fmla="*/ 5317 h 9802"/>
              <a:gd name="connsiteX6" fmla="*/ 545 w 10000"/>
              <a:gd name="connsiteY6" fmla="*/ 5334 h 9802"/>
              <a:gd name="connsiteX7" fmla="*/ 650 w 10000"/>
              <a:gd name="connsiteY7" fmla="*/ 5346 h 9802"/>
              <a:gd name="connsiteX8" fmla="*/ 748 w 10000"/>
              <a:gd name="connsiteY8" fmla="*/ 5359 h 9802"/>
              <a:gd name="connsiteX9" fmla="*/ 846 w 10000"/>
              <a:gd name="connsiteY9" fmla="*/ 5377 h 9802"/>
              <a:gd name="connsiteX10" fmla="*/ 952 w 10000"/>
              <a:gd name="connsiteY10" fmla="*/ 5394 h 9802"/>
              <a:gd name="connsiteX11" fmla="*/ 1050 w 10000"/>
              <a:gd name="connsiteY11" fmla="*/ 5417 h 9802"/>
              <a:gd name="connsiteX12" fmla="*/ 1148 w 10000"/>
              <a:gd name="connsiteY12" fmla="*/ 5442 h 9802"/>
              <a:gd name="connsiteX13" fmla="*/ 1246 w 10000"/>
              <a:gd name="connsiteY13" fmla="*/ 5466 h 9802"/>
              <a:gd name="connsiteX14" fmla="*/ 1339 w 10000"/>
              <a:gd name="connsiteY14" fmla="*/ 5496 h 9802"/>
              <a:gd name="connsiteX15" fmla="*/ 1437 w 10000"/>
              <a:gd name="connsiteY15" fmla="*/ 5525 h 9802"/>
              <a:gd name="connsiteX16" fmla="*/ 1529 w 10000"/>
              <a:gd name="connsiteY16" fmla="*/ 5560 h 9802"/>
              <a:gd name="connsiteX17" fmla="*/ 1621 w 10000"/>
              <a:gd name="connsiteY17" fmla="*/ 5594 h 9802"/>
              <a:gd name="connsiteX18" fmla="*/ 1713 w 10000"/>
              <a:gd name="connsiteY18" fmla="*/ 5631 h 9802"/>
              <a:gd name="connsiteX19" fmla="*/ 1806 w 10000"/>
              <a:gd name="connsiteY19" fmla="*/ 5667 h 9802"/>
              <a:gd name="connsiteX20" fmla="*/ 1897 w 10000"/>
              <a:gd name="connsiteY20" fmla="*/ 5708 h 9802"/>
              <a:gd name="connsiteX21" fmla="*/ 1989 w 10000"/>
              <a:gd name="connsiteY21" fmla="*/ 5749 h 9802"/>
              <a:gd name="connsiteX22" fmla="*/ 2074 w 10000"/>
              <a:gd name="connsiteY22" fmla="*/ 5797 h 9802"/>
              <a:gd name="connsiteX23" fmla="*/ 2160 w 10000"/>
              <a:gd name="connsiteY23" fmla="*/ 5839 h 9802"/>
              <a:gd name="connsiteX24" fmla="*/ 2245 w 10000"/>
              <a:gd name="connsiteY24" fmla="*/ 5886 h 9802"/>
              <a:gd name="connsiteX25" fmla="*/ 2323 w 10000"/>
              <a:gd name="connsiteY25" fmla="*/ 5934 h 9802"/>
              <a:gd name="connsiteX26" fmla="*/ 2408 w 10000"/>
              <a:gd name="connsiteY26" fmla="*/ 5988 h 9802"/>
              <a:gd name="connsiteX27" fmla="*/ 2486 w 10000"/>
              <a:gd name="connsiteY27" fmla="*/ 6040 h 9802"/>
              <a:gd name="connsiteX28" fmla="*/ 2567 w 10000"/>
              <a:gd name="connsiteY28" fmla="*/ 6094 h 9802"/>
              <a:gd name="connsiteX29" fmla="*/ 2645 w 10000"/>
              <a:gd name="connsiteY29" fmla="*/ 6147 h 9802"/>
              <a:gd name="connsiteX30" fmla="*/ 2724 w 10000"/>
              <a:gd name="connsiteY30" fmla="*/ 6207 h 9802"/>
              <a:gd name="connsiteX31" fmla="*/ 2796 w 10000"/>
              <a:gd name="connsiteY31" fmla="*/ 6268 h 9802"/>
              <a:gd name="connsiteX32" fmla="*/ 2867 w 10000"/>
              <a:gd name="connsiteY32" fmla="*/ 6328 h 9802"/>
              <a:gd name="connsiteX33" fmla="*/ 2940 w 10000"/>
              <a:gd name="connsiteY33" fmla="*/ 6393 h 9802"/>
              <a:gd name="connsiteX34" fmla="*/ 3006 w 10000"/>
              <a:gd name="connsiteY34" fmla="*/ 6457 h 9802"/>
              <a:gd name="connsiteX35" fmla="*/ 3078 w 10000"/>
              <a:gd name="connsiteY35" fmla="*/ 6522 h 9802"/>
              <a:gd name="connsiteX36" fmla="*/ 3143 w 10000"/>
              <a:gd name="connsiteY36" fmla="*/ 6588 h 9802"/>
              <a:gd name="connsiteX37" fmla="*/ 3202 w 10000"/>
              <a:gd name="connsiteY37" fmla="*/ 6659 h 9802"/>
              <a:gd name="connsiteX38" fmla="*/ 3268 w 10000"/>
              <a:gd name="connsiteY38" fmla="*/ 6725 h 9802"/>
              <a:gd name="connsiteX39" fmla="*/ 3327 w 10000"/>
              <a:gd name="connsiteY39" fmla="*/ 6796 h 9802"/>
              <a:gd name="connsiteX40" fmla="*/ 3386 w 10000"/>
              <a:gd name="connsiteY40" fmla="*/ 6867 h 9802"/>
              <a:gd name="connsiteX41" fmla="*/ 3445 w 10000"/>
              <a:gd name="connsiteY41" fmla="*/ 6939 h 9802"/>
              <a:gd name="connsiteX42" fmla="*/ 3497 w 10000"/>
              <a:gd name="connsiteY42" fmla="*/ 7015 h 9802"/>
              <a:gd name="connsiteX43" fmla="*/ 3550 w 10000"/>
              <a:gd name="connsiteY43" fmla="*/ 7093 h 9802"/>
              <a:gd name="connsiteX44" fmla="*/ 3602 w 10000"/>
              <a:gd name="connsiteY44" fmla="*/ 7171 h 9802"/>
              <a:gd name="connsiteX45" fmla="*/ 3656 w 10000"/>
              <a:gd name="connsiteY45" fmla="*/ 7247 h 9802"/>
              <a:gd name="connsiteX46" fmla="*/ 3695 w 10000"/>
              <a:gd name="connsiteY46" fmla="*/ 7331 h 9802"/>
              <a:gd name="connsiteX47" fmla="*/ 3747 w 10000"/>
              <a:gd name="connsiteY47" fmla="*/ 7414 h 9802"/>
              <a:gd name="connsiteX48" fmla="*/ 3786 w 10000"/>
              <a:gd name="connsiteY48" fmla="*/ 7491 h 9802"/>
              <a:gd name="connsiteX49" fmla="*/ 3826 w 10000"/>
              <a:gd name="connsiteY49" fmla="*/ 7575 h 9802"/>
              <a:gd name="connsiteX50" fmla="*/ 3865 w 10000"/>
              <a:gd name="connsiteY50" fmla="*/ 7658 h 9802"/>
              <a:gd name="connsiteX51" fmla="*/ 3898 w 10000"/>
              <a:gd name="connsiteY51" fmla="*/ 7742 h 9802"/>
              <a:gd name="connsiteX52" fmla="*/ 3930 w 10000"/>
              <a:gd name="connsiteY52" fmla="*/ 7831 h 9802"/>
              <a:gd name="connsiteX53" fmla="*/ 3963 w 10000"/>
              <a:gd name="connsiteY53" fmla="*/ 7919 h 9802"/>
              <a:gd name="connsiteX54" fmla="*/ 3996 w 10000"/>
              <a:gd name="connsiteY54" fmla="*/ 8003 h 9802"/>
              <a:gd name="connsiteX55" fmla="*/ 4022 w 10000"/>
              <a:gd name="connsiteY55" fmla="*/ 8092 h 9802"/>
              <a:gd name="connsiteX56" fmla="*/ 4042 w 10000"/>
              <a:gd name="connsiteY56" fmla="*/ 8181 h 9802"/>
              <a:gd name="connsiteX57" fmla="*/ 4069 w 10000"/>
              <a:gd name="connsiteY57" fmla="*/ 8277 h 9802"/>
              <a:gd name="connsiteX58" fmla="*/ 4088 w 10000"/>
              <a:gd name="connsiteY58" fmla="*/ 8366 h 9802"/>
              <a:gd name="connsiteX59" fmla="*/ 4108 w 10000"/>
              <a:gd name="connsiteY59" fmla="*/ 8455 h 9802"/>
              <a:gd name="connsiteX60" fmla="*/ 7213 w 10000"/>
              <a:gd name="connsiteY60" fmla="*/ 8766 h 9802"/>
              <a:gd name="connsiteX61" fmla="*/ 9961 w 10000"/>
              <a:gd name="connsiteY61" fmla="*/ 9802 h 9802"/>
              <a:gd name="connsiteX62" fmla="*/ 9974 w 10000"/>
              <a:gd name="connsiteY62" fmla="*/ 9607 h 9802"/>
              <a:gd name="connsiteX63" fmla="*/ 9987 w 10000"/>
              <a:gd name="connsiteY63" fmla="*/ 9416 h 9802"/>
              <a:gd name="connsiteX64" fmla="*/ 9993 w 10000"/>
              <a:gd name="connsiteY64" fmla="*/ 9222 h 9802"/>
              <a:gd name="connsiteX65" fmla="*/ 10000 w 10000"/>
              <a:gd name="connsiteY65" fmla="*/ 9025 h 9802"/>
              <a:gd name="connsiteX66" fmla="*/ 9993 w 10000"/>
              <a:gd name="connsiteY66" fmla="*/ 8788 h 9802"/>
              <a:gd name="connsiteX67" fmla="*/ 9987 w 10000"/>
              <a:gd name="connsiteY67" fmla="*/ 8561 h 9802"/>
              <a:gd name="connsiteX68" fmla="*/ 9967 w 10000"/>
              <a:gd name="connsiteY68" fmla="*/ 8330 h 9802"/>
              <a:gd name="connsiteX69" fmla="*/ 9948 w 10000"/>
              <a:gd name="connsiteY69" fmla="*/ 8105 h 9802"/>
              <a:gd name="connsiteX70" fmla="*/ 9915 w 10000"/>
              <a:gd name="connsiteY70" fmla="*/ 7871 h 9802"/>
              <a:gd name="connsiteX71" fmla="*/ 9882 w 10000"/>
              <a:gd name="connsiteY71" fmla="*/ 7652 h 9802"/>
              <a:gd name="connsiteX72" fmla="*/ 9843 w 10000"/>
              <a:gd name="connsiteY72" fmla="*/ 7426 h 9802"/>
              <a:gd name="connsiteX73" fmla="*/ 9796 w 10000"/>
              <a:gd name="connsiteY73" fmla="*/ 7205 h 9802"/>
              <a:gd name="connsiteX74" fmla="*/ 9744 w 10000"/>
              <a:gd name="connsiteY74" fmla="*/ 6986 h 9802"/>
              <a:gd name="connsiteX75" fmla="*/ 9685 w 10000"/>
              <a:gd name="connsiteY75" fmla="*/ 6773 h 9802"/>
              <a:gd name="connsiteX76" fmla="*/ 9620 w 10000"/>
              <a:gd name="connsiteY76" fmla="*/ 6552 h 9802"/>
              <a:gd name="connsiteX77" fmla="*/ 9555 w 10000"/>
              <a:gd name="connsiteY77" fmla="*/ 6338 h 9802"/>
              <a:gd name="connsiteX78" fmla="*/ 9475 w 10000"/>
              <a:gd name="connsiteY78" fmla="*/ 6129 h 9802"/>
              <a:gd name="connsiteX79" fmla="*/ 9396 w 10000"/>
              <a:gd name="connsiteY79" fmla="*/ 5921 h 9802"/>
              <a:gd name="connsiteX80" fmla="*/ 9304 w 10000"/>
              <a:gd name="connsiteY80" fmla="*/ 5714 h 9802"/>
              <a:gd name="connsiteX81" fmla="*/ 9213 w 10000"/>
              <a:gd name="connsiteY81" fmla="*/ 5514 h 9802"/>
              <a:gd name="connsiteX82" fmla="*/ 9121 w 10000"/>
              <a:gd name="connsiteY82" fmla="*/ 5311 h 9802"/>
              <a:gd name="connsiteX83" fmla="*/ 9016 w 10000"/>
              <a:gd name="connsiteY83" fmla="*/ 5114 h 9802"/>
              <a:gd name="connsiteX84" fmla="*/ 8911 w 10000"/>
              <a:gd name="connsiteY84" fmla="*/ 4918 h 9802"/>
              <a:gd name="connsiteX85" fmla="*/ 8800 w 10000"/>
              <a:gd name="connsiteY85" fmla="*/ 4723 h 9802"/>
              <a:gd name="connsiteX86" fmla="*/ 8682 w 10000"/>
              <a:gd name="connsiteY86" fmla="*/ 4531 h 9802"/>
              <a:gd name="connsiteX87" fmla="*/ 8557 w 10000"/>
              <a:gd name="connsiteY87" fmla="*/ 4348 h 9802"/>
              <a:gd name="connsiteX88" fmla="*/ 8432 w 10000"/>
              <a:gd name="connsiteY88" fmla="*/ 4163 h 9802"/>
              <a:gd name="connsiteX89" fmla="*/ 8300 w 10000"/>
              <a:gd name="connsiteY89" fmla="*/ 3979 h 9802"/>
              <a:gd name="connsiteX90" fmla="*/ 8162 w 10000"/>
              <a:gd name="connsiteY90" fmla="*/ 3801 h 9802"/>
              <a:gd name="connsiteX91" fmla="*/ 8018 w 10000"/>
              <a:gd name="connsiteY91" fmla="*/ 3627 h 9802"/>
              <a:gd name="connsiteX92" fmla="*/ 7873 w 10000"/>
              <a:gd name="connsiteY92" fmla="*/ 3455 h 9802"/>
              <a:gd name="connsiteX93" fmla="*/ 7723 w 10000"/>
              <a:gd name="connsiteY93" fmla="*/ 3283 h 9802"/>
              <a:gd name="connsiteX94" fmla="*/ 7573 w 10000"/>
              <a:gd name="connsiteY94" fmla="*/ 3123 h 9802"/>
              <a:gd name="connsiteX95" fmla="*/ 7407 w 10000"/>
              <a:gd name="connsiteY95" fmla="*/ 2963 h 9802"/>
              <a:gd name="connsiteX96" fmla="*/ 7250 w 10000"/>
              <a:gd name="connsiteY96" fmla="*/ 2801 h 9802"/>
              <a:gd name="connsiteX97" fmla="*/ 7080 w 10000"/>
              <a:gd name="connsiteY97" fmla="*/ 2642 h 9802"/>
              <a:gd name="connsiteX98" fmla="*/ 6910 w 10000"/>
              <a:gd name="connsiteY98" fmla="*/ 2492 h 9802"/>
              <a:gd name="connsiteX99" fmla="*/ 6740 w 10000"/>
              <a:gd name="connsiteY99" fmla="*/ 2345 h 9802"/>
              <a:gd name="connsiteX100" fmla="*/ 6556 w 10000"/>
              <a:gd name="connsiteY100" fmla="*/ 2203 h 9802"/>
              <a:gd name="connsiteX101" fmla="*/ 6372 w 10000"/>
              <a:gd name="connsiteY101" fmla="*/ 2065 h 9802"/>
              <a:gd name="connsiteX102" fmla="*/ 6188 w 10000"/>
              <a:gd name="connsiteY102" fmla="*/ 1930 h 9802"/>
              <a:gd name="connsiteX103" fmla="*/ 5998 w 10000"/>
              <a:gd name="connsiteY103" fmla="*/ 1797 h 9802"/>
              <a:gd name="connsiteX104" fmla="*/ 5801 w 10000"/>
              <a:gd name="connsiteY104" fmla="*/ 1668 h 9802"/>
              <a:gd name="connsiteX105" fmla="*/ 5605 w 10000"/>
              <a:gd name="connsiteY105" fmla="*/ 1543 h 9802"/>
              <a:gd name="connsiteX106" fmla="*/ 5407 w 10000"/>
              <a:gd name="connsiteY106" fmla="*/ 1424 h 9802"/>
              <a:gd name="connsiteX107" fmla="*/ 5204 w 10000"/>
              <a:gd name="connsiteY107" fmla="*/ 1311 h 9802"/>
              <a:gd name="connsiteX108" fmla="*/ 5001 w 10000"/>
              <a:gd name="connsiteY108" fmla="*/ 1198 h 9802"/>
              <a:gd name="connsiteX109" fmla="*/ 4783 w 10000"/>
              <a:gd name="connsiteY109" fmla="*/ 1091 h 9802"/>
              <a:gd name="connsiteX110" fmla="*/ 4574 w 10000"/>
              <a:gd name="connsiteY110" fmla="*/ 990 h 9802"/>
              <a:gd name="connsiteX111" fmla="*/ 4356 w 10000"/>
              <a:gd name="connsiteY111" fmla="*/ 896 h 9802"/>
              <a:gd name="connsiteX112" fmla="*/ 4134 w 10000"/>
              <a:gd name="connsiteY112" fmla="*/ 799 h 9802"/>
              <a:gd name="connsiteX113" fmla="*/ 3917 w 10000"/>
              <a:gd name="connsiteY113" fmla="*/ 711 h 9802"/>
              <a:gd name="connsiteX114" fmla="*/ 3695 w 10000"/>
              <a:gd name="connsiteY114" fmla="*/ 634 h 9802"/>
              <a:gd name="connsiteX115" fmla="*/ 3464 w 10000"/>
              <a:gd name="connsiteY115" fmla="*/ 550 h 9802"/>
              <a:gd name="connsiteX116" fmla="*/ 3234 w 10000"/>
              <a:gd name="connsiteY116" fmla="*/ 480 h 9802"/>
              <a:gd name="connsiteX117" fmla="*/ 2999 w 10000"/>
              <a:gd name="connsiteY117" fmla="*/ 407 h 9802"/>
              <a:gd name="connsiteX118" fmla="*/ 2769 w 10000"/>
              <a:gd name="connsiteY118" fmla="*/ 348 h 9802"/>
              <a:gd name="connsiteX119" fmla="*/ 2528 w 10000"/>
              <a:gd name="connsiteY119" fmla="*/ 289 h 9802"/>
              <a:gd name="connsiteX120" fmla="*/ 2284 w 10000"/>
              <a:gd name="connsiteY120" fmla="*/ 234 h 9802"/>
              <a:gd name="connsiteX121" fmla="*/ 2047 w 10000"/>
              <a:gd name="connsiteY121" fmla="*/ 187 h 9802"/>
              <a:gd name="connsiteX122" fmla="*/ 1806 w 10000"/>
              <a:gd name="connsiteY122" fmla="*/ 146 h 9802"/>
              <a:gd name="connsiteX123" fmla="*/ 1555 w 10000"/>
              <a:gd name="connsiteY123" fmla="*/ 105 h 9802"/>
              <a:gd name="connsiteX124" fmla="*/ 1305 w 10000"/>
              <a:gd name="connsiteY124" fmla="*/ 74 h 9802"/>
              <a:gd name="connsiteX125" fmla="*/ 1057 w 10000"/>
              <a:gd name="connsiteY125" fmla="*/ 51 h 9802"/>
              <a:gd name="connsiteX126" fmla="*/ 807 w 10000"/>
              <a:gd name="connsiteY126" fmla="*/ 35 h 9802"/>
              <a:gd name="connsiteX127" fmla="*/ 551 w 10000"/>
              <a:gd name="connsiteY127" fmla="*/ 15 h 9802"/>
              <a:gd name="connsiteX128" fmla="*/ 295 w 10000"/>
              <a:gd name="connsiteY128" fmla="*/ 8 h 9802"/>
              <a:gd name="connsiteX129" fmla="*/ 39 w 10000"/>
              <a:gd name="connsiteY129" fmla="*/ 3 h 9802"/>
              <a:gd name="connsiteX130" fmla="*/ 0 w 10000"/>
              <a:gd name="connsiteY130" fmla="*/ 0 h 9802"/>
              <a:gd name="connsiteX131" fmla="*/ 1210 w 10000"/>
              <a:gd name="connsiteY131" fmla="*/ 2720 h 9802"/>
              <a:gd name="connsiteX132" fmla="*/ 7 w 10000"/>
              <a:gd name="connsiteY132" fmla="*/ 5305 h 9802"/>
              <a:gd name="connsiteX0" fmla="*/ 7 w 10000"/>
              <a:gd name="connsiteY0" fmla="*/ 5412 h 9801"/>
              <a:gd name="connsiteX1" fmla="*/ 20 w 10000"/>
              <a:gd name="connsiteY1" fmla="*/ 5406 h 9801"/>
              <a:gd name="connsiteX2" fmla="*/ 124 w 10000"/>
              <a:gd name="connsiteY2" fmla="*/ 5406 h 9801"/>
              <a:gd name="connsiteX3" fmla="*/ 230 w 10000"/>
              <a:gd name="connsiteY3" fmla="*/ 5412 h 9801"/>
              <a:gd name="connsiteX4" fmla="*/ 335 w 10000"/>
              <a:gd name="connsiteY4" fmla="*/ 5418 h 9801"/>
              <a:gd name="connsiteX5" fmla="*/ 439 w 10000"/>
              <a:gd name="connsiteY5" fmla="*/ 5424 h 9801"/>
              <a:gd name="connsiteX6" fmla="*/ 545 w 10000"/>
              <a:gd name="connsiteY6" fmla="*/ 5442 h 9801"/>
              <a:gd name="connsiteX7" fmla="*/ 650 w 10000"/>
              <a:gd name="connsiteY7" fmla="*/ 5454 h 9801"/>
              <a:gd name="connsiteX8" fmla="*/ 748 w 10000"/>
              <a:gd name="connsiteY8" fmla="*/ 5467 h 9801"/>
              <a:gd name="connsiteX9" fmla="*/ 846 w 10000"/>
              <a:gd name="connsiteY9" fmla="*/ 5486 h 9801"/>
              <a:gd name="connsiteX10" fmla="*/ 952 w 10000"/>
              <a:gd name="connsiteY10" fmla="*/ 5503 h 9801"/>
              <a:gd name="connsiteX11" fmla="*/ 1050 w 10000"/>
              <a:gd name="connsiteY11" fmla="*/ 5526 h 9801"/>
              <a:gd name="connsiteX12" fmla="*/ 1148 w 10000"/>
              <a:gd name="connsiteY12" fmla="*/ 5552 h 9801"/>
              <a:gd name="connsiteX13" fmla="*/ 1246 w 10000"/>
              <a:gd name="connsiteY13" fmla="*/ 5576 h 9801"/>
              <a:gd name="connsiteX14" fmla="*/ 1339 w 10000"/>
              <a:gd name="connsiteY14" fmla="*/ 5607 h 9801"/>
              <a:gd name="connsiteX15" fmla="*/ 1437 w 10000"/>
              <a:gd name="connsiteY15" fmla="*/ 5637 h 9801"/>
              <a:gd name="connsiteX16" fmla="*/ 1529 w 10000"/>
              <a:gd name="connsiteY16" fmla="*/ 5672 h 9801"/>
              <a:gd name="connsiteX17" fmla="*/ 1621 w 10000"/>
              <a:gd name="connsiteY17" fmla="*/ 5707 h 9801"/>
              <a:gd name="connsiteX18" fmla="*/ 1713 w 10000"/>
              <a:gd name="connsiteY18" fmla="*/ 5745 h 9801"/>
              <a:gd name="connsiteX19" fmla="*/ 1806 w 10000"/>
              <a:gd name="connsiteY19" fmla="*/ 5781 h 9801"/>
              <a:gd name="connsiteX20" fmla="*/ 1897 w 10000"/>
              <a:gd name="connsiteY20" fmla="*/ 5823 h 9801"/>
              <a:gd name="connsiteX21" fmla="*/ 1989 w 10000"/>
              <a:gd name="connsiteY21" fmla="*/ 5865 h 9801"/>
              <a:gd name="connsiteX22" fmla="*/ 2074 w 10000"/>
              <a:gd name="connsiteY22" fmla="*/ 5914 h 9801"/>
              <a:gd name="connsiteX23" fmla="*/ 2160 w 10000"/>
              <a:gd name="connsiteY23" fmla="*/ 5957 h 9801"/>
              <a:gd name="connsiteX24" fmla="*/ 2245 w 10000"/>
              <a:gd name="connsiteY24" fmla="*/ 6005 h 9801"/>
              <a:gd name="connsiteX25" fmla="*/ 2323 w 10000"/>
              <a:gd name="connsiteY25" fmla="*/ 6054 h 9801"/>
              <a:gd name="connsiteX26" fmla="*/ 2408 w 10000"/>
              <a:gd name="connsiteY26" fmla="*/ 6109 h 9801"/>
              <a:gd name="connsiteX27" fmla="*/ 2486 w 10000"/>
              <a:gd name="connsiteY27" fmla="*/ 6162 h 9801"/>
              <a:gd name="connsiteX28" fmla="*/ 2567 w 10000"/>
              <a:gd name="connsiteY28" fmla="*/ 6217 h 9801"/>
              <a:gd name="connsiteX29" fmla="*/ 2645 w 10000"/>
              <a:gd name="connsiteY29" fmla="*/ 6271 h 9801"/>
              <a:gd name="connsiteX30" fmla="*/ 2724 w 10000"/>
              <a:gd name="connsiteY30" fmla="*/ 6332 h 9801"/>
              <a:gd name="connsiteX31" fmla="*/ 2796 w 10000"/>
              <a:gd name="connsiteY31" fmla="*/ 6395 h 9801"/>
              <a:gd name="connsiteX32" fmla="*/ 2867 w 10000"/>
              <a:gd name="connsiteY32" fmla="*/ 6456 h 9801"/>
              <a:gd name="connsiteX33" fmla="*/ 2940 w 10000"/>
              <a:gd name="connsiteY33" fmla="*/ 6522 h 9801"/>
              <a:gd name="connsiteX34" fmla="*/ 3006 w 10000"/>
              <a:gd name="connsiteY34" fmla="*/ 6587 h 9801"/>
              <a:gd name="connsiteX35" fmla="*/ 3078 w 10000"/>
              <a:gd name="connsiteY35" fmla="*/ 6654 h 9801"/>
              <a:gd name="connsiteX36" fmla="*/ 3143 w 10000"/>
              <a:gd name="connsiteY36" fmla="*/ 6721 h 9801"/>
              <a:gd name="connsiteX37" fmla="*/ 3202 w 10000"/>
              <a:gd name="connsiteY37" fmla="*/ 6794 h 9801"/>
              <a:gd name="connsiteX38" fmla="*/ 3268 w 10000"/>
              <a:gd name="connsiteY38" fmla="*/ 6861 h 9801"/>
              <a:gd name="connsiteX39" fmla="*/ 3327 w 10000"/>
              <a:gd name="connsiteY39" fmla="*/ 6933 h 9801"/>
              <a:gd name="connsiteX40" fmla="*/ 3386 w 10000"/>
              <a:gd name="connsiteY40" fmla="*/ 7006 h 9801"/>
              <a:gd name="connsiteX41" fmla="*/ 3445 w 10000"/>
              <a:gd name="connsiteY41" fmla="*/ 7079 h 9801"/>
              <a:gd name="connsiteX42" fmla="*/ 3497 w 10000"/>
              <a:gd name="connsiteY42" fmla="*/ 7157 h 9801"/>
              <a:gd name="connsiteX43" fmla="*/ 3550 w 10000"/>
              <a:gd name="connsiteY43" fmla="*/ 7236 h 9801"/>
              <a:gd name="connsiteX44" fmla="*/ 3602 w 10000"/>
              <a:gd name="connsiteY44" fmla="*/ 7316 h 9801"/>
              <a:gd name="connsiteX45" fmla="*/ 3656 w 10000"/>
              <a:gd name="connsiteY45" fmla="*/ 7393 h 9801"/>
              <a:gd name="connsiteX46" fmla="*/ 3695 w 10000"/>
              <a:gd name="connsiteY46" fmla="*/ 7479 h 9801"/>
              <a:gd name="connsiteX47" fmla="*/ 3747 w 10000"/>
              <a:gd name="connsiteY47" fmla="*/ 7564 h 9801"/>
              <a:gd name="connsiteX48" fmla="*/ 3786 w 10000"/>
              <a:gd name="connsiteY48" fmla="*/ 7642 h 9801"/>
              <a:gd name="connsiteX49" fmla="*/ 3826 w 10000"/>
              <a:gd name="connsiteY49" fmla="*/ 7728 h 9801"/>
              <a:gd name="connsiteX50" fmla="*/ 3865 w 10000"/>
              <a:gd name="connsiteY50" fmla="*/ 7813 h 9801"/>
              <a:gd name="connsiteX51" fmla="*/ 3898 w 10000"/>
              <a:gd name="connsiteY51" fmla="*/ 7898 h 9801"/>
              <a:gd name="connsiteX52" fmla="*/ 3930 w 10000"/>
              <a:gd name="connsiteY52" fmla="*/ 7989 h 9801"/>
              <a:gd name="connsiteX53" fmla="*/ 3963 w 10000"/>
              <a:gd name="connsiteY53" fmla="*/ 8079 h 9801"/>
              <a:gd name="connsiteX54" fmla="*/ 3996 w 10000"/>
              <a:gd name="connsiteY54" fmla="*/ 8165 h 9801"/>
              <a:gd name="connsiteX55" fmla="*/ 4022 w 10000"/>
              <a:gd name="connsiteY55" fmla="*/ 8255 h 9801"/>
              <a:gd name="connsiteX56" fmla="*/ 4042 w 10000"/>
              <a:gd name="connsiteY56" fmla="*/ 8346 h 9801"/>
              <a:gd name="connsiteX57" fmla="*/ 4069 w 10000"/>
              <a:gd name="connsiteY57" fmla="*/ 8444 h 9801"/>
              <a:gd name="connsiteX58" fmla="*/ 4088 w 10000"/>
              <a:gd name="connsiteY58" fmla="*/ 8535 h 9801"/>
              <a:gd name="connsiteX59" fmla="*/ 4108 w 10000"/>
              <a:gd name="connsiteY59" fmla="*/ 8626 h 9801"/>
              <a:gd name="connsiteX60" fmla="*/ 7213 w 10000"/>
              <a:gd name="connsiteY60" fmla="*/ 8943 h 9801"/>
              <a:gd name="connsiteX61" fmla="*/ 9974 w 10000"/>
              <a:gd name="connsiteY61" fmla="*/ 9801 h 9801"/>
              <a:gd name="connsiteX62" fmla="*/ 9987 w 10000"/>
              <a:gd name="connsiteY62" fmla="*/ 9606 h 9801"/>
              <a:gd name="connsiteX63" fmla="*/ 9993 w 10000"/>
              <a:gd name="connsiteY63" fmla="*/ 9408 h 9801"/>
              <a:gd name="connsiteX64" fmla="*/ 10000 w 10000"/>
              <a:gd name="connsiteY64" fmla="*/ 9207 h 9801"/>
              <a:gd name="connsiteX65" fmla="*/ 9993 w 10000"/>
              <a:gd name="connsiteY65" fmla="*/ 8966 h 9801"/>
              <a:gd name="connsiteX66" fmla="*/ 9987 w 10000"/>
              <a:gd name="connsiteY66" fmla="*/ 8734 h 9801"/>
              <a:gd name="connsiteX67" fmla="*/ 9967 w 10000"/>
              <a:gd name="connsiteY67" fmla="*/ 8498 h 9801"/>
              <a:gd name="connsiteX68" fmla="*/ 9948 w 10000"/>
              <a:gd name="connsiteY68" fmla="*/ 8269 h 9801"/>
              <a:gd name="connsiteX69" fmla="*/ 9915 w 10000"/>
              <a:gd name="connsiteY69" fmla="*/ 8030 h 9801"/>
              <a:gd name="connsiteX70" fmla="*/ 9882 w 10000"/>
              <a:gd name="connsiteY70" fmla="*/ 7807 h 9801"/>
              <a:gd name="connsiteX71" fmla="*/ 9843 w 10000"/>
              <a:gd name="connsiteY71" fmla="*/ 7576 h 9801"/>
              <a:gd name="connsiteX72" fmla="*/ 9796 w 10000"/>
              <a:gd name="connsiteY72" fmla="*/ 7351 h 9801"/>
              <a:gd name="connsiteX73" fmla="*/ 9744 w 10000"/>
              <a:gd name="connsiteY73" fmla="*/ 7127 h 9801"/>
              <a:gd name="connsiteX74" fmla="*/ 9685 w 10000"/>
              <a:gd name="connsiteY74" fmla="*/ 6910 h 9801"/>
              <a:gd name="connsiteX75" fmla="*/ 9620 w 10000"/>
              <a:gd name="connsiteY75" fmla="*/ 6684 h 9801"/>
              <a:gd name="connsiteX76" fmla="*/ 9555 w 10000"/>
              <a:gd name="connsiteY76" fmla="*/ 6466 h 9801"/>
              <a:gd name="connsiteX77" fmla="*/ 9475 w 10000"/>
              <a:gd name="connsiteY77" fmla="*/ 6253 h 9801"/>
              <a:gd name="connsiteX78" fmla="*/ 9396 w 10000"/>
              <a:gd name="connsiteY78" fmla="*/ 6041 h 9801"/>
              <a:gd name="connsiteX79" fmla="*/ 9304 w 10000"/>
              <a:gd name="connsiteY79" fmla="*/ 5829 h 9801"/>
              <a:gd name="connsiteX80" fmla="*/ 9213 w 10000"/>
              <a:gd name="connsiteY80" fmla="*/ 5625 h 9801"/>
              <a:gd name="connsiteX81" fmla="*/ 9121 w 10000"/>
              <a:gd name="connsiteY81" fmla="*/ 5418 h 9801"/>
              <a:gd name="connsiteX82" fmla="*/ 9016 w 10000"/>
              <a:gd name="connsiteY82" fmla="*/ 5217 h 9801"/>
              <a:gd name="connsiteX83" fmla="*/ 8911 w 10000"/>
              <a:gd name="connsiteY83" fmla="*/ 5017 h 9801"/>
              <a:gd name="connsiteX84" fmla="*/ 8800 w 10000"/>
              <a:gd name="connsiteY84" fmla="*/ 4818 h 9801"/>
              <a:gd name="connsiteX85" fmla="*/ 8682 w 10000"/>
              <a:gd name="connsiteY85" fmla="*/ 4623 h 9801"/>
              <a:gd name="connsiteX86" fmla="*/ 8557 w 10000"/>
              <a:gd name="connsiteY86" fmla="*/ 4436 h 9801"/>
              <a:gd name="connsiteX87" fmla="*/ 8432 w 10000"/>
              <a:gd name="connsiteY87" fmla="*/ 4247 h 9801"/>
              <a:gd name="connsiteX88" fmla="*/ 8300 w 10000"/>
              <a:gd name="connsiteY88" fmla="*/ 4059 h 9801"/>
              <a:gd name="connsiteX89" fmla="*/ 8162 w 10000"/>
              <a:gd name="connsiteY89" fmla="*/ 3878 h 9801"/>
              <a:gd name="connsiteX90" fmla="*/ 8018 w 10000"/>
              <a:gd name="connsiteY90" fmla="*/ 3700 h 9801"/>
              <a:gd name="connsiteX91" fmla="*/ 7873 w 10000"/>
              <a:gd name="connsiteY91" fmla="*/ 3525 h 9801"/>
              <a:gd name="connsiteX92" fmla="*/ 7723 w 10000"/>
              <a:gd name="connsiteY92" fmla="*/ 3349 h 9801"/>
              <a:gd name="connsiteX93" fmla="*/ 7573 w 10000"/>
              <a:gd name="connsiteY93" fmla="*/ 3186 h 9801"/>
              <a:gd name="connsiteX94" fmla="*/ 7407 w 10000"/>
              <a:gd name="connsiteY94" fmla="*/ 3023 h 9801"/>
              <a:gd name="connsiteX95" fmla="*/ 7250 w 10000"/>
              <a:gd name="connsiteY95" fmla="*/ 2858 h 9801"/>
              <a:gd name="connsiteX96" fmla="*/ 7080 w 10000"/>
              <a:gd name="connsiteY96" fmla="*/ 2695 h 9801"/>
              <a:gd name="connsiteX97" fmla="*/ 6910 w 10000"/>
              <a:gd name="connsiteY97" fmla="*/ 2542 h 9801"/>
              <a:gd name="connsiteX98" fmla="*/ 6740 w 10000"/>
              <a:gd name="connsiteY98" fmla="*/ 2392 h 9801"/>
              <a:gd name="connsiteX99" fmla="*/ 6556 w 10000"/>
              <a:gd name="connsiteY99" fmla="*/ 2248 h 9801"/>
              <a:gd name="connsiteX100" fmla="*/ 6372 w 10000"/>
              <a:gd name="connsiteY100" fmla="*/ 2107 h 9801"/>
              <a:gd name="connsiteX101" fmla="*/ 6188 w 10000"/>
              <a:gd name="connsiteY101" fmla="*/ 1969 h 9801"/>
              <a:gd name="connsiteX102" fmla="*/ 5998 w 10000"/>
              <a:gd name="connsiteY102" fmla="*/ 1833 h 9801"/>
              <a:gd name="connsiteX103" fmla="*/ 5801 w 10000"/>
              <a:gd name="connsiteY103" fmla="*/ 1702 h 9801"/>
              <a:gd name="connsiteX104" fmla="*/ 5605 w 10000"/>
              <a:gd name="connsiteY104" fmla="*/ 1574 h 9801"/>
              <a:gd name="connsiteX105" fmla="*/ 5407 w 10000"/>
              <a:gd name="connsiteY105" fmla="*/ 1453 h 9801"/>
              <a:gd name="connsiteX106" fmla="*/ 5204 w 10000"/>
              <a:gd name="connsiteY106" fmla="*/ 1337 h 9801"/>
              <a:gd name="connsiteX107" fmla="*/ 5001 w 10000"/>
              <a:gd name="connsiteY107" fmla="*/ 1222 h 9801"/>
              <a:gd name="connsiteX108" fmla="*/ 4783 w 10000"/>
              <a:gd name="connsiteY108" fmla="*/ 1113 h 9801"/>
              <a:gd name="connsiteX109" fmla="*/ 4574 w 10000"/>
              <a:gd name="connsiteY109" fmla="*/ 1010 h 9801"/>
              <a:gd name="connsiteX110" fmla="*/ 4356 w 10000"/>
              <a:gd name="connsiteY110" fmla="*/ 914 h 9801"/>
              <a:gd name="connsiteX111" fmla="*/ 4134 w 10000"/>
              <a:gd name="connsiteY111" fmla="*/ 815 h 9801"/>
              <a:gd name="connsiteX112" fmla="*/ 3917 w 10000"/>
              <a:gd name="connsiteY112" fmla="*/ 725 h 9801"/>
              <a:gd name="connsiteX113" fmla="*/ 3695 w 10000"/>
              <a:gd name="connsiteY113" fmla="*/ 647 h 9801"/>
              <a:gd name="connsiteX114" fmla="*/ 3464 w 10000"/>
              <a:gd name="connsiteY114" fmla="*/ 561 h 9801"/>
              <a:gd name="connsiteX115" fmla="*/ 3234 w 10000"/>
              <a:gd name="connsiteY115" fmla="*/ 490 h 9801"/>
              <a:gd name="connsiteX116" fmla="*/ 2999 w 10000"/>
              <a:gd name="connsiteY116" fmla="*/ 415 h 9801"/>
              <a:gd name="connsiteX117" fmla="*/ 2769 w 10000"/>
              <a:gd name="connsiteY117" fmla="*/ 355 h 9801"/>
              <a:gd name="connsiteX118" fmla="*/ 2528 w 10000"/>
              <a:gd name="connsiteY118" fmla="*/ 295 h 9801"/>
              <a:gd name="connsiteX119" fmla="*/ 2284 w 10000"/>
              <a:gd name="connsiteY119" fmla="*/ 239 h 9801"/>
              <a:gd name="connsiteX120" fmla="*/ 2047 w 10000"/>
              <a:gd name="connsiteY120" fmla="*/ 191 h 9801"/>
              <a:gd name="connsiteX121" fmla="*/ 1806 w 10000"/>
              <a:gd name="connsiteY121" fmla="*/ 149 h 9801"/>
              <a:gd name="connsiteX122" fmla="*/ 1555 w 10000"/>
              <a:gd name="connsiteY122" fmla="*/ 107 h 9801"/>
              <a:gd name="connsiteX123" fmla="*/ 1305 w 10000"/>
              <a:gd name="connsiteY123" fmla="*/ 75 h 9801"/>
              <a:gd name="connsiteX124" fmla="*/ 1057 w 10000"/>
              <a:gd name="connsiteY124" fmla="*/ 52 h 9801"/>
              <a:gd name="connsiteX125" fmla="*/ 807 w 10000"/>
              <a:gd name="connsiteY125" fmla="*/ 36 h 9801"/>
              <a:gd name="connsiteX126" fmla="*/ 551 w 10000"/>
              <a:gd name="connsiteY126" fmla="*/ 15 h 9801"/>
              <a:gd name="connsiteX127" fmla="*/ 295 w 10000"/>
              <a:gd name="connsiteY127" fmla="*/ 8 h 9801"/>
              <a:gd name="connsiteX128" fmla="*/ 39 w 10000"/>
              <a:gd name="connsiteY128" fmla="*/ 3 h 9801"/>
              <a:gd name="connsiteX129" fmla="*/ 0 w 10000"/>
              <a:gd name="connsiteY129" fmla="*/ 0 h 9801"/>
              <a:gd name="connsiteX130" fmla="*/ 1210 w 10000"/>
              <a:gd name="connsiteY130" fmla="*/ 2775 h 9801"/>
              <a:gd name="connsiteX131" fmla="*/ 7 w 10000"/>
              <a:gd name="connsiteY131" fmla="*/ 5412 h 9801"/>
              <a:gd name="connsiteX0" fmla="*/ 7 w 10000"/>
              <a:gd name="connsiteY0" fmla="*/ 5522 h 9801"/>
              <a:gd name="connsiteX1" fmla="*/ 20 w 10000"/>
              <a:gd name="connsiteY1" fmla="*/ 5516 h 9801"/>
              <a:gd name="connsiteX2" fmla="*/ 124 w 10000"/>
              <a:gd name="connsiteY2" fmla="*/ 5516 h 9801"/>
              <a:gd name="connsiteX3" fmla="*/ 230 w 10000"/>
              <a:gd name="connsiteY3" fmla="*/ 5522 h 9801"/>
              <a:gd name="connsiteX4" fmla="*/ 335 w 10000"/>
              <a:gd name="connsiteY4" fmla="*/ 5528 h 9801"/>
              <a:gd name="connsiteX5" fmla="*/ 439 w 10000"/>
              <a:gd name="connsiteY5" fmla="*/ 5534 h 9801"/>
              <a:gd name="connsiteX6" fmla="*/ 545 w 10000"/>
              <a:gd name="connsiteY6" fmla="*/ 5552 h 9801"/>
              <a:gd name="connsiteX7" fmla="*/ 650 w 10000"/>
              <a:gd name="connsiteY7" fmla="*/ 5565 h 9801"/>
              <a:gd name="connsiteX8" fmla="*/ 748 w 10000"/>
              <a:gd name="connsiteY8" fmla="*/ 5578 h 9801"/>
              <a:gd name="connsiteX9" fmla="*/ 846 w 10000"/>
              <a:gd name="connsiteY9" fmla="*/ 5597 h 9801"/>
              <a:gd name="connsiteX10" fmla="*/ 952 w 10000"/>
              <a:gd name="connsiteY10" fmla="*/ 5615 h 9801"/>
              <a:gd name="connsiteX11" fmla="*/ 1050 w 10000"/>
              <a:gd name="connsiteY11" fmla="*/ 5638 h 9801"/>
              <a:gd name="connsiteX12" fmla="*/ 1148 w 10000"/>
              <a:gd name="connsiteY12" fmla="*/ 5665 h 9801"/>
              <a:gd name="connsiteX13" fmla="*/ 1246 w 10000"/>
              <a:gd name="connsiteY13" fmla="*/ 5689 h 9801"/>
              <a:gd name="connsiteX14" fmla="*/ 1339 w 10000"/>
              <a:gd name="connsiteY14" fmla="*/ 5721 h 9801"/>
              <a:gd name="connsiteX15" fmla="*/ 1437 w 10000"/>
              <a:gd name="connsiteY15" fmla="*/ 5751 h 9801"/>
              <a:gd name="connsiteX16" fmla="*/ 1529 w 10000"/>
              <a:gd name="connsiteY16" fmla="*/ 5787 h 9801"/>
              <a:gd name="connsiteX17" fmla="*/ 1621 w 10000"/>
              <a:gd name="connsiteY17" fmla="*/ 5823 h 9801"/>
              <a:gd name="connsiteX18" fmla="*/ 1713 w 10000"/>
              <a:gd name="connsiteY18" fmla="*/ 5862 h 9801"/>
              <a:gd name="connsiteX19" fmla="*/ 1806 w 10000"/>
              <a:gd name="connsiteY19" fmla="*/ 5898 h 9801"/>
              <a:gd name="connsiteX20" fmla="*/ 1897 w 10000"/>
              <a:gd name="connsiteY20" fmla="*/ 5941 h 9801"/>
              <a:gd name="connsiteX21" fmla="*/ 1989 w 10000"/>
              <a:gd name="connsiteY21" fmla="*/ 5984 h 9801"/>
              <a:gd name="connsiteX22" fmla="*/ 2074 w 10000"/>
              <a:gd name="connsiteY22" fmla="*/ 6034 h 9801"/>
              <a:gd name="connsiteX23" fmla="*/ 2160 w 10000"/>
              <a:gd name="connsiteY23" fmla="*/ 6078 h 9801"/>
              <a:gd name="connsiteX24" fmla="*/ 2245 w 10000"/>
              <a:gd name="connsiteY24" fmla="*/ 6127 h 9801"/>
              <a:gd name="connsiteX25" fmla="*/ 2323 w 10000"/>
              <a:gd name="connsiteY25" fmla="*/ 6177 h 9801"/>
              <a:gd name="connsiteX26" fmla="*/ 2408 w 10000"/>
              <a:gd name="connsiteY26" fmla="*/ 6233 h 9801"/>
              <a:gd name="connsiteX27" fmla="*/ 2486 w 10000"/>
              <a:gd name="connsiteY27" fmla="*/ 6287 h 9801"/>
              <a:gd name="connsiteX28" fmla="*/ 2567 w 10000"/>
              <a:gd name="connsiteY28" fmla="*/ 6343 h 9801"/>
              <a:gd name="connsiteX29" fmla="*/ 2645 w 10000"/>
              <a:gd name="connsiteY29" fmla="*/ 6398 h 9801"/>
              <a:gd name="connsiteX30" fmla="*/ 2724 w 10000"/>
              <a:gd name="connsiteY30" fmla="*/ 6461 h 9801"/>
              <a:gd name="connsiteX31" fmla="*/ 2796 w 10000"/>
              <a:gd name="connsiteY31" fmla="*/ 6525 h 9801"/>
              <a:gd name="connsiteX32" fmla="*/ 2867 w 10000"/>
              <a:gd name="connsiteY32" fmla="*/ 6587 h 9801"/>
              <a:gd name="connsiteX33" fmla="*/ 2940 w 10000"/>
              <a:gd name="connsiteY33" fmla="*/ 6654 h 9801"/>
              <a:gd name="connsiteX34" fmla="*/ 3006 w 10000"/>
              <a:gd name="connsiteY34" fmla="*/ 6721 h 9801"/>
              <a:gd name="connsiteX35" fmla="*/ 3078 w 10000"/>
              <a:gd name="connsiteY35" fmla="*/ 6789 h 9801"/>
              <a:gd name="connsiteX36" fmla="*/ 3143 w 10000"/>
              <a:gd name="connsiteY36" fmla="*/ 6857 h 9801"/>
              <a:gd name="connsiteX37" fmla="*/ 3202 w 10000"/>
              <a:gd name="connsiteY37" fmla="*/ 6932 h 9801"/>
              <a:gd name="connsiteX38" fmla="*/ 3268 w 10000"/>
              <a:gd name="connsiteY38" fmla="*/ 7000 h 9801"/>
              <a:gd name="connsiteX39" fmla="*/ 3327 w 10000"/>
              <a:gd name="connsiteY39" fmla="*/ 7074 h 9801"/>
              <a:gd name="connsiteX40" fmla="*/ 3386 w 10000"/>
              <a:gd name="connsiteY40" fmla="*/ 7148 h 9801"/>
              <a:gd name="connsiteX41" fmla="*/ 3445 w 10000"/>
              <a:gd name="connsiteY41" fmla="*/ 7223 h 9801"/>
              <a:gd name="connsiteX42" fmla="*/ 3497 w 10000"/>
              <a:gd name="connsiteY42" fmla="*/ 7302 h 9801"/>
              <a:gd name="connsiteX43" fmla="*/ 3550 w 10000"/>
              <a:gd name="connsiteY43" fmla="*/ 7383 h 9801"/>
              <a:gd name="connsiteX44" fmla="*/ 3602 w 10000"/>
              <a:gd name="connsiteY44" fmla="*/ 7465 h 9801"/>
              <a:gd name="connsiteX45" fmla="*/ 3656 w 10000"/>
              <a:gd name="connsiteY45" fmla="*/ 7543 h 9801"/>
              <a:gd name="connsiteX46" fmla="*/ 3695 w 10000"/>
              <a:gd name="connsiteY46" fmla="*/ 7631 h 9801"/>
              <a:gd name="connsiteX47" fmla="*/ 3747 w 10000"/>
              <a:gd name="connsiteY47" fmla="*/ 7718 h 9801"/>
              <a:gd name="connsiteX48" fmla="*/ 3786 w 10000"/>
              <a:gd name="connsiteY48" fmla="*/ 7797 h 9801"/>
              <a:gd name="connsiteX49" fmla="*/ 3826 w 10000"/>
              <a:gd name="connsiteY49" fmla="*/ 7885 h 9801"/>
              <a:gd name="connsiteX50" fmla="*/ 3865 w 10000"/>
              <a:gd name="connsiteY50" fmla="*/ 7972 h 9801"/>
              <a:gd name="connsiteX51" fmla="*/ 3898 w 10000"/>
              <a:gd name="connsiteY51" fmla="*/ 8058 h 9801"/>
              <a:gd name="connsiteX52" fmla="*/ 3930 w 10000"/>
              <a:gd name="connsiteY52" fmla="*/ 8151 h 9801"/>
              <a:gd name="connsiteX53" fmla="*/ 3963 w 10000"/>
              <a:gd name="connsiteY53" fmla="*/ 8243 h 9801"/>
              <a:gd name="connsiteX54" fmla="*/ 3996 w 10000"/>
              <a:gd name="connsiteY54" fmla="*/ 8331 h 9801"/>
              <a:gd name="connsiteX55" fmla="*/ 4022 w 10000"/>
              <a:gd name="connsiteY55" fmla="*/ 8423 h 9801"/>
              <a:gd name="connsiteX56" fmla="*/ 4042 w 10000"/>
              <a:gd name="connsiteY56" fmla="*/ 8515 h 9801"/>
              <a:gd name="connsiteX57" fmla="*/ 4069 w 10000"/>
              <a:gd name="connsiteY57" fmla="*/ 8615 h 9801"/>
              <a:gd name="connsiteX58" fmla="*/ 4088 w 10000"/>
              <a:gd name="connsiteY58" fmla="*/ 8708 h 9801"/>
              <a:gd name="connsiteX59" fmla="*/ 4108 w 10000"/>
              <a:gd name="connsiteY59" fmla="*/ 8801 h 9801"/>
              <a:gd name="connsiteX60" fmla="*/ 7213 w 10000"/>
              <a:gd name="connsiteY60" fmla="*/ 9125 h 9801"/>
              <a:gd name="connsiteX61" fmla="*/ 9987 w 10000"/>
              <a:gd name="connsiteY61" fmla="*/ 9801 h 9801"/>
              <a:gd name="connsiteX62" fmla="*/ 9993 w 10000"/>
              <a:gd name="connsiteY62" fmla="*/ 9599 h 9801"/>
              <a:gd name="connsiteX63" fmla="*/ 10000 w 10000"/>
              <a:gd name="connsiteY63" fmla="*/ 9394 h 9801"/>
              <a:gd name="connsiteX64" fmla="*/ 9993 w 10000"/>
              <a:gd name="connsiteY64" fmla="*/ 9148 h 9801"/>
              <a:gd name="connsiteX65" fmla="*/ 9987 w 10000"/>
              <a:gd name="connsiteY65" fmla="*/ 8911 h 9801"/>
              <a:gd name="connsiteX66" fmla="*/ 9967 w 10000"/>
              <a:gd name="connsiteY66" fmla="*/ 8671 h 9801"/>
              <a:gd name="connsiteX67" fmla="*/ 9948 w 10000"/>
              <a:gd name="connsiteY67" fmla="*/ 8437 h 9801"/>
              <a:gd name="connsiteX68" fmla="*/ 9915 w 10000"/>
              <a:gd name="connsiteY68" fmla="*/ 8193 h 9801"/>
              <a:gd name="connsiteX69" fmla="*/ 9882 w 10000"/>
              <a:gd name="connsiteY69" fmla="*/ 7966 h 9801"/>
              <a:gd name="connsiteX70" fmla="*/ 9843 w 10000"/>
              <a:gd name="connsiteY70" fmla="*/ 7730 h 9801"/>
              <a:gd name="connsiteX71" fmla="*/ 9796 w 10000"/>
              <a:gd name="connsiteY71" fmla="*/ 7500 h 9801"/>
              <a:gd name="connsiteX72" fmla="*/ 9744 w 10000"/>
              <a:gd name="connsiteY72" fmla="*/ 7272 h 9801"/>
              <a:gd name="connsiteX73" fmla="*/ 9685 w 10000"/>
              <a:gd name="connsiteY73" fmla="*/ 7050 h 9801"/>
              <a:gd name="connsiteX74" fmla="*/ 9620 w 10000"/>
              <a:gd name="connsiteY74" fmla="*/ 6820 h 9801"/>
              <a:gd name="connsiteX75" fmla="*/ 9555 w 10000"/>
              <a:gd name="connsiteY75" fmla="*/ 6597 h 9801"/>
              <a:gd name="connsiteX76" fmla="*/ 9475 w 10000"/>
              <a:gd name="connsiteY76" fmla="*/ 6380 h 9801"/>
              <a:gd name="connsiteX77" fmla="*/ 9396 w 10000"/>
              <a:gd name="connsiteY77" fmla="*/ 6164 h 9801"/>
              <a:gd name="connsiteX78" fmla="*/ 9304 w 10000"/>
              <a:gd name="connsiteY78" fmla="*/ 5947 h 9801"/>
              <a:gd name="connsiteX79" fmla="*/ 9213 w 10000"/>
              <a:gd name="connsiteY79" fmla="*/ 5739 h 9801"/>
              <a:gd name="connsiteX80" fmla="*/ 9121 w 10000"/>
              <a:gd name="connsiteY80" fmla="*/ 5528 h 9801"/>
              <a:gd name="connsiteX81" fmla="*/ 9016 w 10000"/>
              <a:gd name="connsiteY81" fmla="*/ 5323 h 9801"/>
              <a:gd name="connsiteX82" fmla="*/ 8911 w 10000"/>
              <a:gd name="connsiteY82" fmla="*/ 5119 h 9801"/>
              <a:gd name="connsiteX83" fmla="*/ 8800 w 10000"/>
              <a:gd name="connsiteY83" fmla="*/ 4916 h 9801"/>
              <a:gd name="connsiteX84" fmla="*/ 8682 w 10000"/>
              <a:gd name="connsiteY84" fmla="*/ 4717 h 9801"/>
              <a:gd name="connsiteX85" fmla="*/ 8557 w 10000"/>
              <a:gd name="connsiteY85" fmla="*/ 4526 h 9801"/>
              <a:gd name="connsiteX86" fmla="*/ 8432 w 10000"/>
              <a:gd name="connsiteY86" fmla="*/ 4333 h 9801"/>
              <a:gd name="connsiteX87" fmla="*/ 8300 w 10000"/>
              <a:gd name="connsiteY87" fmla="*/ 4141 h 9801"/>
              <a:gd name="connsiteX88" fmla="*/ 8162 w 10000"/>
              <a:gd name="connsiteY88" fmla="*/ 3957 h 9801"/>
              <a:gd name="connsiteX89" fmla="*/ 8018 w 10000"/>
              <a:gd name="connsiteY89" fmla="*/ 3775 h 9801"/>
              <a:gd name="connsiteX90" fmla="*/ 7873 w 10000"/>
              <a:gd name="connsiteY90" fmla="*/ 3597 h 9801"/>
              <a:gd name="connsiteX91" fmla="*/ 7723 w 10000"/>
              <a:gd name="connsiteY91" fmla="*/ 3417 h 9801"/>
              <a:gd name="connsiteX92" fmla="*/ 7573 w 10000"/>
              <a:gd name="connsiteY92" fmla="*/ 3251 h 9801"/>
              <a:gd name="connsiteX93" fmla="*/ 7407 w 10000"/>
              <a:gd name="connsiteY93" fmla="*/ 3084 h 9801"/>
              <a:gd name="connsiteX94" fmla="*/ 7250 w 10000"/>
              <a:gd name="connsiteY94" fmla="*/ 2916 h 9801"/>
              <a:gd name="connsiteX95" fmla="*/ 7080 w 10000"/>
              <a:gd name="connsiteY95" fmla="*/ 2750 h 9801"/>
              <a:gd name="connsiteX96" fmla="*/ 6910 w 10000"/>
              <a:gd name="connsiteY96" fmla="*/ 2594 h 9801"/>
              <a:gd name="connsiteX97" fmla="*/ 6740 w 10000"/>
              <a:gd name="connsiteY97" fmla="*/ 2441 h 9801"/>
              <a:gd name="connsiteX98" fmla="*/ 6556 w 10000"/>
              <a:gd name="connsiteY98" fmla="*/ 2294 h 9801"/>
              <a:gd name="connsiteX99" fmla="*/ 6372 w 10000"/>
              <a:gd name="connsiteY99" fmla="*/ 2150 h 9801"/>
              <a:gd name="connsiteX100" fmla="*/ 6188 w 10000"/>
              <a:gd name="connsiteY100" fmla="*/ 2009 h 9801"/>
              <a:gd name="connsiteX101" fmla="*/ 5998 w 10000"/>
              <a:gd name="connsiteY101" fmla="*/ 1870 h 9801"/>
              <a:gd name="connsiteX102" fmla="*/ 5801 w 10000"/>
              <a:gd name="connsiteY102" fmla="*/ 1737 h 9801"/>
              <a:gd name="connsiteX103" fmla="*/ 5605 w 10000"/>
              <a:gd name="connsiteY103" fmla="*/ 1606 h 9801"/>
              <a:gd name="connsiteX104" fmla="*/ 5407 w 10000"/>
              <a:gd name="connsiteY104" fmla="*/ 1483 h 9801"/>
              <a:gd name="connsiteX105" fmla="*/ 5204 w 10000"/>
              <a:gd name="connsiteY105" fmla="*/ 1364 h 9801"/>
              <a:gd name="connsiteX106" fmla="*/ 5001 w 10000"/>
              <a:gd name="connsiteY106" fmla="*/ 1247 h 9801"/>
              <a:gd name="connsiteX107" fmla="*/ 4783 w 10000"/>
              <a:gd name="connsiteY107" fmla="*/ 1136 h 9801"/>
              <a:gd name="connsiteX108" fmla="*/ 4574 w 10000"/>
              <a:gd name="connsiteY108" fmla="*/ 1031 h 9801"/>
              <a:gd name="connsiteX109" fmla="*/ 4356 w 10000"/>
              <a:gd name="connsiteY109" fmla="*/ 933 h 9801"/>
              <a:gd name="connsiteX110" fmla="*/ 4134 w 10000"/>
              <a:gd name="connsiteY110" fmla="*/ 832 h 9801"/>
              <a:gd name="connsiteX111" fmla="*/ 3917 w 10000"/>
              <a:gd name="connsiteY111" fmla="*/ 740 h 9801"/>
              <a:gd name="connsiteX112" fmla="*/ 3695 w 10000"/>
              <a:gd name="connsiteY112" fmla="*/ 660 h 9801"/>
              <a:gd name="connsiteX113" fmla="*/ 3464 w 10000"/>
              <a:gd name="connsiteY113" fmla="*/ 572 h 9801"/>
              <a:gd name="connsiteX114" fmla="*/ 3234 w 10000"/>
              <a:gd name="connsiteY114" fmla="*/ 500 h 9801"/>
              <a:gd name="connsiteX115" fmla="*/ 2999 w 10000"/>
              <a:gd name="connsiteY115" fmla="*/ 423 h 9801"/>
              <a:gd name="connsiteX116" fmla="*/ 2769 w 10000"/>
              <a:gd name="connsiteY116" fmla="*/ 362 h 9801"/>
              <a:gd name="connsiteX117" fmla="*/ 2528 w 10000"/>
              <a:gd name="connsiteY117" fmla="*/ 301 h 9801"/>
              <a:gd name="connsiteX118" fmla="*/ 2284 w 10000"/>
              <a:gd name="connsiteY118" fmla="*/ 244 h 9801"/>
              <a:gd name="connsiteX119" fmla="*/ 2047 w 10000"/>
              <a:gd name="connsiteY119" fmla="*/ 195 h 9801"/>
              <a:gd name="connsiteX120" fmla="*/ 1806 w 10000"/>
              <a:gd name="connsiteY120" fmla="*/ 152 h 9801"/>
              <a:gd name="connsiteX121" fmla="*/ 1555 w 10000"/>
              <a:gd name="connsiteY121" fmla="*/ 109 h 9801"/>
              <a:gd name="connsiteX122" fmla="*/ 1305 w 10000"/>
              <a:gd name="connsiteY122" fmla="*/ 77 h 9801"/>
              <a:gd name="connsiteX123" fmla="*/ 1057 w 10000"/>
              <a:gd name="connsiteY123" fmla="*/ 53 h 9801"/>
              <a:gd name="connsiteX124" fmla="*/ 807 w 10000"/>
              <a:gd name="connsiteY124" fmla="*/ 37 h 9801"/>
              <a:gd name="connsiteX125" fmla="*/ 551 w 10000"/>
              <a:gd name="connsiteY125" fmla="*/ 15 h 9801"/>
              <a:gd name="connsiteX126" fmla="*/ 295 w 10000"/>
              <a:gd name="connsiteY126" fmla="*/ 8 h 9801"/>
              <a:gd name="connsiteX127" fmla="*/ 39 w 10000"/>
              <a:gd name="connsiteY127" fmla="*/ 3 h 9801"/>
              <a:gd name="connsiteX128" fmla="*/ 0 w 10000"/>
              <a:gd name="connsiteY128" fmla="*/ 0 h 9801"/>
              <a:gd name="connsiteX129" fmla="*/ 1210 w 10000"/>
              <a:gd name="connsiteY129" fmla="*/ 2831 h 9801"/>
              <a:gd name="connsiteX130" fmla="*/ 7 w 10000"/>
              <a:gd name="connsiteY130" fmla="*/ 5522 h 9801"/>
              <a:gd name="connsiteX0" fmla="*/ 7 w 10000"/>
              <a:gd name="connsiteY0" fmla="*/ 5634 h 9794"/>
              <a:gd name="connsiteX1" fmla="*/ 20 w 10000"/>
              <a:gd name="connsiteY1" fmla="*/ 5628 h 9794"/>
              <a:gd name="connsiteX2" fmla="*/ 124 w 10000"/>
              <a:gd name="connsiteY2" fmla="*/ 5628 h 9794"/>
              <a:gd name="connsiteX3" fmla="*/ 230 w 10000"/>
              <a:gd name="connsiteY3" fmla="*/ 5634 h 9794"/>
              <a:gd name="connsiteX4" fmla="*/ 335 w 10000"/>
              <a:gd name="connsiteY4" fmla="*/ 5640 h 9794"/>
              <a:gd name="connsiteX5" fmla="*/ 439 w 10000"/>
              <a:gd name="connsiteY5" fmla="*/ 5646 h 9794"/>
              <a:gd name="connsiteX6" fmla="*/ 545 w 10000"/>
              <a:gd name="connsiteY6" fmla="*/ 5665 h 9794"/>
              <a:gd name="connsiteX7" fmla="*/ 650 w 10000"/>
              <a:gd name="connsiteY7" fmla="*/ 5678 h 9794"/>
              <a:gd name="connsiteX8" fmla="*/ 748 w 10000"/>
              <a:gd name="connsiteY8" fmla="*/ 5691 h 9794"/>
              <a:gd name="connsiteX9" fmla="*/ 846 w 10000"/>
              <a:gd name="connsiteY9" fmla="*/ 5711 h 9794"/>
              <a:gd name="connsiteX10" fmla="*/ 952 w 10000"/>
              <a:gd name="connsiteY10" fmla="*/ 5729 h 9794"/>
              <a:gd name="connsiteX11" fmla="*/ 1050 w 10000"/>
              <a:gd name="connsiteY11" fmla="*/ 5752 h 9794"/>
              <a:gd name="connsiteX12" fmla="*/ 1148 w 10000"/>
              <a:gd name="connsiteY12" fmla="*/ 5780 h 9794"/>
              <a:gd name="connsiteX13" fmla="*/ 1246 w 10000"/>
              <a:gd name="connsiteY13" fmla="*/ 5805 h 9794"/>
              <a:gd name="connsiteX14" fmla="*/ 1339 w 10000"/>
              <a:gd name="connsiteY14" fmla="*/ 5837 h 9794"/>
              <a:gd name="connsiteX15" fmla="*/ 1437 w 10000"/>
              <a:gd name="connsiteY15" fmla="*/ 5868 h 9794"/>
              <a:gd name="connsiteX16" fmla="*/ 1529 w 10000"/>
              <a:gd name="connsiteY16" fmla="*/ 5904 h 9794"/>
              <a:gd name="connsiteX17" fmla="*/ 1621 w 10000"/>
              <a:gd name="connsiteY17" fmla="*/ 5941 h 9794"/>
              <a:gd name="connsiteX18" fmla="*/ 1713 w 10000"/>
              <a:gd name="connsiteY18" fmla="*/ 5981 h 9794"/>
              <a:gd name="connsiteX19" fmla="*/ 1806 w 10000"/>
              <a:gd name="connsiteY19" fmla="*/ 6018 h 9794"/>
              <a:gd name="connsiteX20" fmla="*/ 1897 w 10000"/>
              <a:gd name="connsiteY20" fmla="*/ 6062 h 9794"/>
              <a:gd name="connsiteX21" fmla="*/ 1989 w 10000"/>
              <a:gd name="connsiteY21" fmla="*/ 6105 h 9794"/>
              <a:gd name="connsiteX22" fmla="*/ 2074 w 10000"/>
              <a:gd name="connsiteY22" fmla="*/ 6157 h 9794"/>
              <a:gd name="connsiteX23" fmla="*/ 2160 w 10000"/>
              <a:gd name="connsiteY23" fmla="*/ 6201 h 9794"/>
              <a:gd name="connsiteX24" fmla="*/ 2245 w 10000"/>
              <a:gd name="connsiteY24" fmla="*/ 6251 h 9794"/>
              <a:gd name="connsiteX25" fmla="*/ 2323 w 10000"/>
              <a:gd name="connsiteY25" fmla="*/ 6302 h 9794"/>
              <a:gd name="connsiteX26" fmla="*/ 2408 w 10000"/>
              <a:gd name="connsiteY26" fmla="*/ 6360 h 9794"/>
              <a:gd name="connsiteX27" fmla="*/ 2486 w 10000"/>
              <a:gd name="connsiteY27" fmla="*/ 6415 h 9794"/>
              <a:gd name="connsiteX28" fmla="*/ 2567 w 10000"/>
              <a:gd name="connsiteY28" fmla="*/ 6472 h 9794"/>
              <a:gd name="connsiteX29" fmla="*/ 2645 w 10000"/>
              <a:gd name="connsiteY29" fmla="*/ 6528 h 9794"/>
              <a:gd name="connsiteX30" fmla="*/ 2724 w 10000"/>
              <a:gd name="connsiteY30" fmla="*/ 6592 h 9794"/>
              <a:gd name="connsiteX31" fmla="*/ 2796 w 10000"/>
              <a:gd name="connsiteY31" fmla="*/ 6657 h 9794"/>
              <a:gd name="connsiteX32" fmla="*/ 2867 w 10000"/>
              <a:gd name="connsiteY32" fmla="*/ 6721 h 9794"/>
              <a:gd name="connsiteX33" fmla="*/ 2940 w 10000"/>
              <a:gd name="connsiteY33" fmla="*/ 6789 h 9794"/>
              <a:gd name="connsiteX34" fmla="*/ 3006 w 10000"/>
              <a:gd name="connsiteY34" fmla="*/ 6857 h 9794"/>
              <a:gd name="connsiteX35" fmla="*/ 3078 w 10000"/>
              <a:gd name="connsiteY35" fmla="*/ 6927 h 9794"/>
              <a:gd name="connsiteX36" fmla="*/ 3143 w 10000"/>
              <a:gd name="connsiteY36" fmla="*/ 6996 h 9794"/>
              <a:gd name="connsiteX37" fmla="*/ 3202 w 10000"/>
              <a:gd name="connsiteY37" fmla="*/ 7073 h 9794"/>
              <a:gd name="connsiteX38" fmla="*/ 3268 w 10000"/>
              <a:gd name="connsiteY38" fmla="*/ 7142 h 9794"/>
              <a:gd name="connsiteX39" fmla="*/ 3327 w 10000"/>
              <a:gd name="connsiteY39" fmla="*/ 7218 h 9794"/>
              <a:gd name="connsiteX40" fmla="*/ 3386 w 10000"/>
              <a:gd name="connsiteY40" fmla="*/ 7293 h 9794"/>
              <a:gd name="connsiteX41" fmla="*/ 3445 w 10000"/>
              <a:gd name="connsiteY41" fmla="*/ 7370 h 9794"/>
              <a:gd name="connsiteX42" fmla="*/ 3497 w 10000"/>
              <a:gd name="connsiteY42" fmla="*/ 7450 h 9794"/>
              <a:gd name="connsiteX43" fmla="*/ 3550 w 10000"/>
              <a:gd name="connsiteY43" fmla="*/ 7533 h 9794"/>
              <a:gd name="connsiteX44" fmla="*/ 3602 w 10000"/>
              <a:gd name="connsiteY44" fmla="*/ 7617 h 9794"/>
              <a:gd name="connsiteX45" fmla="*/ 3656 w 10000"/>
              <a:gd name="connsiteY45" fmla="*/ 7696 h 9794"/>
              <a:gd name="connsiteX46" fmla="*/ 3695 w 10000"/>
              <a:gd name="connsiteY46" fmla="*/ 7786 h 9794"/>
              <a:gd name="connsiteX47" fmla="*/ 3747 w 10000"/>
              <a:gd name="connsiteY47" fmla="*/ 7875 h 9794"/>
              <a:gd name="connsiteX48" fmla="*/ 3786 w 10000"/>
              <a:gd name="connsiteY48" fmla="*/ 7955 h 9794"/>
              <a:gd name="connsiteX49" fmla="*/ 3826 w 10000"/>
              <a:gd name="connsiteY49" fmla="*/ 8045 h 9794"/>
              <a:gd name="connsiteX50" fmla="*/ 3865 w 10000"/>
              <a:gd name="connsiteY50" fmla="*/ 8134 h 9794"/>
              <a:gd name="connsiteX51" fmla="*/ 3898 w 10000"/>
              <a:gd name="connsiteY51" fmla="*/ 8222 h 9794"/>
              <a:gd name="connsiteX52" fmla="*/ 3930 w 10000"/>
              <a:gd name="connsiteY52" fmla="*/ 8316 h 9794"/>
              <a:gd name="connsiteX53" fmla="*/ 3963 w 10000"/>
              <a:gd name="connsiteY53" fmla="*/ 8410 h 9794"/>
              <a:gd name="connsiteX54" fmla="*/ 3996 w 10000"/>
              <a:gd name="connsiteY54" fmla="*/ 8500 h 9794"/>
              <a:gd name="connsiteX55" fmla="*/ 4022 w 10000"/>
              <a:gd name="connsiteY55" fmla="*/ 8594 h 9794"/>
              <a:gd name="connsiteX56" fmla="*/ 4042 w 10000"/>
              <a:gd name="connsiteY56" fmla="*/ 8688 h 9794"/>
              <a:gd name="connsiteX57" fmla="*/ 4069 w 10000"/>
              <a:gd name="connsiteY57" fmla="*/ 8790 h 9794"/>
              <a:gd name="connsiteX58" fmla="*/ 4088 w 10000"/>
              <a:gd name="connsiteY58" fmla="*/ 8885 h 9794"/>
              <a:gd name="connsiteX59" fmla="*/ 4108 w 10000"/>
              <a:gd name="connsiteY59" fmla="*/ 8980 h 9794"/>
              <a:gd name="connsiteX60" fmla="*/ 7213 w 10000"/>
              <a:gd name="connsiteY60" fmla="*/ 9310 h 9794"/>
              <a:gd name="connsiteX61" fmla="*/ 9993 w 10000"/>
              <a:gd name="connsiteY61" fmla="*/ 9794 h 9794"/>
              <a:gd name="connsiteX62" fmla="*/ 10000 w 10000"/>
              <a:gd name="connsiteY62" fmla="*/ 9585 h 9794"/>
              <a:gd name="connsiteX63" fmla="*/ 9993 w 10000"/>
              <a:gd name="connsiteY63" fmla="*/ 9334 h 9794"/>
              <a:gd name="connsiteX64" fmla="*/ 9987 w 10000"/>
              <a:gd name="connsiteY64" fmla="*/ 9092 h 9794"/>
              <a:gd name="connsiteX65" fmla="*/ 9967 w 10000"/>
              <a:gd name="connsiteY65" fmla="*/ 8847 h 9794"/>
              <a:gd name="connsiteX66" fmla="*/ 9948 w 10000"/>
              <a:gd name="connsiteY66" fmla="*/ 8608 h 9794"/>
              <a:gd name="connsiteX67" fmla="*/ 9915 w 10000"/>
              <a:gd name="connsiteY67" fmla="*/ 8359 h 9794"/>
              <a:gd name="connsiteX68" fmla="*/ 9882 w 10000"/>
              <a:gd name="connsiteY68" fmla="*/ 8128 h 9794"/>
              <a:gd name="connsiteX69" fmla="*/ 9843 w 10000"/>
              <a:gd name="connsiteY69" fmla="*/ 7887 h 9794"/>
              <a:gd name="connsiteX70" fmla="*/ 9796 w 10000"/>
              <a:gd name="connsiteY70" fmla="*/ 7652 h 9794"/>
              <a:gd name="connsiteX71" fmla="*/ 9744 w 10000"/>
              <a:gd name="connsiteY71" fmla="*/ 7420 h 9794"/>
              <a:gd name="connsiteX72" fmla="*/ 9685 w 10000"/>
              <a:gd name="connsiteY72" fmla="*/ 7193 h 9794"/>
              <a:gd name="connsiteX73" fmla="*/ 9620 w 10000"/>
              <a:gd name="connsiteY73" fmla="*/ 6958 h 9794"/>
              <a:gd name="connsiteX74" fmla="*/ 9555 w 10000"/>
              <a:gd name="connsiteY74" fmla="*/ 6731 h 9794"/>
              <a:gd name="connsiteX75" fmla="*/ 9475 w 10000"/>
              <a:gd name="connsiteY75" fmla="*/ 6510 h 9794"/>
              <a:gd name="connsiteX76" fmla="*/ 9396 w 10000"/>
              <a:gd name="connsiteY76" fmla="*/ 6289 h 9794"/>
              <a:gd name="connsiteX77" fmla="*/ 9304 w 10000"/>
              <a:gd name="connsiteY77" fmla="*/ 6068 h 9794"/>
              <a:gd name="connsiteX78" fmla="*/ 9213 w 10000"/>
              <a:gd name="connsiteY78" fmla="*/ 5856 h 9794"/>
              <a:gd name="connsiteX79" fmla="*/ 9121 w 10000"/>
              <a:gd name="connsiteY79" fmla="*/ 5640 h 9794"/>
              <a:gd name="connsiteX80" fmla="*/ 9016 w 10000"/>
              <a:gd name="connsiteY80" fmla="*/ 5431 h 9794"/>
              <a:gd name="connsiteX81" fmla="*/ 8911 w 10000"/>
              <a:gd name="connsiteY81" fmla="*/ 5223 h 9794"/>
              <a:gd name="connsiteX82" fmla="*/ 8800 w 10000"/>
              <a:gd name="connsiteY82" fmla="*/ 5016 h 9794"/>
              <a:gd name="connsiteX83" fmla="*/ 8682 w 10000"/>
              <a:gd name="connsiteY83" fmla="*/ 4813 h 9794"/>
              <a:gd name="connsiteX84" fmla="*/ 8557 w 10000"/>
              <a:gd name="connsiteY84" fmla="*/ 4618 h 9794"/>
              <a:gd name="connsiteX85" fmla="*/ 8432 w 10000"/>
              <a:gd name="connsiteY85" fmla="*/ 4421 h 9794"/>
              <a:gd name="connsiteX86" fmla="*/ 8300 w 10000"/>
              <a:gd name="connsiteY86" fmla="*/ 4225 h 9794"/>
              <a:gd name="connsiteX87" fmla="*/ 8162 w 10000"/>
              <a:gd name="connsiteY87" fmla="*/ 4037 h 9794"/>
              <a:gd name="connsiteX88" fmla="*/ 8018 w 10000"/>
              <a:gd name="connsiteY88" fmla="*/ 3852 h 9794"/>
              <a:gd name="connsiteX89" fmla="*/ 7873 w 10000"/>
              <a:gd name="connsiteY89" fmla="*/ 3670 h 9794"/>
              <a:gd name="connsiteX90" fmla="*/ 7723 w 10000"/>
              <a:gd name="connsiteY90" fmla="*/ 3486 h 9794"/>
              <a:gd name="connsiteX91" fmla="*/ 7573 w 10000"/>
              <a:gd name="connsiteY91" fmla="*/ 3317 h 9794"/>
              <a:gd name="connsiteX92" fmla="*/ 7407 w 10000"/>
              <a:gd name="connsiteY92" fmla="*/ 3147 h 9794"/>
              <a:gd name="connsiteX93" fmla="*/ 7250 w 10000"/>
              <a:gd name="connsiteY93" fmla="*/ 2975 h 9794"/>
              <a:gd name="connsiteX94" fmla="*/ 7080 w 10000"/>
              <a:gd name="connsiteY94" fmla="*/ 2806 h 9794"/>
              <a:gd name="connsiteX95" fmla="*/ 6910 w 10000"/>
              <a:gd name="connsiteY95" fmla="*/ 2647 h 9794"/>
              <a:gd name="connsiteX96" fmla="*/ 6740 w 10000"/>
              <a:gd name="connsiteY96" fmla="*/ 2491 h 9794"/>
              <a:gd name="connsiteX97" fmla="*/ 6556 w 10000"/>
              <a:gd name="connsiteY97" fmla="*/ 2341 h 9794"/>
              <a:gd name="connsiteX98" fmla="*/ 6372 w 10000"/>
              <a:gd name="connsiteY98" fmla="*/ 2194 h 9794"/>
              <a:gd name="connsiteX99" fmla="*/ 6188 w 10000"/>
              <a:gd name="connsiteY99" fmla="*/ 2050 h 9794"/>
              <a:gd name="connsiteX100" fmla="*/ 5998 w 10000"/>
              <a:gd name="connsiteY100" fmla="*/ 1908 h 9794"/>
              <a:gd name="connsiteX101" fmla="*/ 5801 w 10000"/>
              <a:gd name="connsiteY101" fmla="*/ 1772 h 9794"/>
              <a:gd name="connsiteX102" fmla="*/ 5605 w 10000"/>
              <a:gd name="connsiteY102" fmla="*/ 1639 h 9794"/>
              <a:gd name="connsiteX103" fmla="*/ 5407 w 10000"/>
              <a:gd name="connsiteY103" fmla="*/ 1513 h 9794"/>
              <a:gd name="connsiteX104" fmla="*/ 5204 w 10000"/>
              <a:gd name="connsiteY104" fmla="*/ 1392 h 9794"/>
              <a:gd name="connsiteX105" fmla="*/ 5001 w 10000"/>
              <a:gd name="connsiteY105" fmla="*/ 1272 h 9794"/>
              <a:gd name="connsiteX106" fmla="*/ 4783 w 10000"/>
              <a:gd name="connsiteY106" fmla="*/ 1159 h 9794"/>
              <a:gd name="connsiteX107" fmla="*/ 4574 w 10000"/>
              <a:gd name="connsiteY107" fmla="*/ 1052 h 9794"/>
              <a:gd name="connsiteX108" fmla="*/ 4356 w 10000"/>
              <a:gd name="connsiteY108" fmla="*/ 952 h 9794"/>
              <a:gd name="connsiteX109" fmla="*/ 4134 w 10000"/>
              <a:gd name="connsiteY109" fmla="*/ 849 h 9794"/>
              <a:gd name="connsiteX110" fmla="*/ 3917 w 10000"/>
              <a:gd name="connsiteY110" fmla="*/ 755 h 9794"/>
              <a:gd name="connsiteX111" fmla="*/ 3695 w 10000"/>
              <a:gd name="connsiteY111" fmla="*/ 673 h 9794"/>
              <a:gd name="connsiteX112" fmla="*/ 3464 w 10000"/>
              <a:gd name="connsiteY112" fmla="*/ 584 h 9794"/>
              <a:gd name="connsiteX113" fmla="*/ 3234 w 10000"/>
              <a:gd name="connsiteY113" fmla="*/ 510 h 9794"/>
              <a:gd name="connsiteX114" fmla="*/ 2999 w 10000"/>
              <a:gd name="connsiteY114" fmla="*/ 432 h 9794"/>
              <a:gd name="connsiteX115" fmla="*/ 2769 w 10000"/>
              <a:gd name="connsiteY115" fmla="*/ 369 h 9794"/>
              <a:gd name="connsiteX116" fmla="*/ 2528 w 10000"/>
              <a:gd name="connsiteY116" fmla="*/ 307 h 9794"/>
              <a:gd name="connsiteX117" fmla="*/ 2284 w 10000"/>
              <a:gd name="connsiteY117" fmla="*/ 249 h 9794"/>
              <a:gd name="connsiteX118" fmla="*/ 2047 w 10000"/>
              <a:gd name="connsiteY118" fmla="*/ 199 h 9794"/>
              <a:gd name="connsiteX119" fmla="*/ 1806 w 10000"/>
              <a:gd name="connsiteY119" fmla="*/ 155 h 9794"/>
              <a:gd name="connsiteX120" fmla="*/ 1555 w 10000"/>
              <a:gd name="connsiteY120" fmla="*/ 111 h 9794"/>
              <a:gd name="connsiteX121" fmla="*/ 1305 w 10000"/>
              <a:gd name="connsiteY121" fmla="*/ 79 h 9794"/>
              <a:gd name="connsiteX122" fmla="*/ 1057 w 10000"/>
              <a:gd name="connsiteY122" fmla="*/ 54 h 9794"/>
              <a:gd name="connsiteX123" fmla="*/ 807 w 10000"/>
              <a:gd name="connsiteY123" fmla="*/ 38 h 9794"/>
              <a:gd name="connsiteX124" fmla="*/ 551 w 10000"/>
              <a:gd name="connsiteY124" fmla="*/ 15 h 9794"/>
              <a:gd name="connsiteX125" fmla="*/ 295 w 10000"/>
              <a:gd name="connsiteY125" fmla="*/ 8 h 9794"/>
              <a:gd name="connsiteX126" fmla="*/ 39 w 10000"/>
              <a:gd name="connsiteY126" fmla="*/ 3 h 9794"/>
              <a:gd name="connsiteX127" fmla="*/ 0 w 10000"/>
              <a:gd name="connsiteY127" fmla="*/ 0 h 9794"/>
              <a:gd name="connsiteX128" fmla="*/ 1210 w 10000"/>
              <a:gd name="connsiteY128" fmla="*/ 2888 h 9794"/>
              <a:gd name="connsiteX129" fmla="*/ 7 w 10000"/>
              <a:gd name="connsiteY129" fmla="*/ 5634 h 9794"/>
              <a:gd name="connsiteX0" fmla="*/ 7 w 10000"/>
              <a:gd name="connsiteY0" fmla="*/ 5753 h 9787"/>
              <a:gd name="connsiteX1" fmla="*/ 20 w 10000"/>
              <a:gd name="connsiteY1" fmla="*/ 5746 h 9787"/>
              <a:gd name="connsiteX2" fmla="*/ 124 w 10000"/>
              <a:gd name="connsiteY2" fmla="*/ 5746 h 9787"/>
              <a:gd name="connsiteX3" fmla="*/ 230 w 10000"/>
              <a:gd name="connsiteY3" fmla="*/ 5753 h 9787"/>
              <a:gd name="connsiteX4" fmla="*/ 335 w 10000"/>
              <a:gd name="connsiteY4" fmla="*/ 5759 h 9787"/>
              <a:gd name="connsiteX5" fmla="*/ 439 w 10000"/>
              <a:gd name="connsiteY5" fmla="*/ 5765 h 9787"/>
              <a:gd name="connsiteX6" fmla="*/ 545 w 10000"/>
              <a:gd name="connsiteY6" fmla="*/ 5784 h 9787"/>
              <a:gd name="connsiteX7" fmla="*/ 650 w 10000"/>
              <a:gd name="connsiteY7" fmla="*/ 5797 h 9787"/>
              <a:gd name="connsiteX8" fmla="*/ 748 w 10000"/>
              <a:gd name="connsiteY8" fmla="*/ 5811 h 9787"/>
              <a:gd name="connsiteX9" fmla="*/ 846 w 10000"/>
              <a:gd name="connsiteY9" fmla="*/ 5831 h 9787"/>
              <a:gd name="connsiteX10" fmla="*/ 952 w 10000"/>
              <a:gd name="connsiteY10" fmla="*/ 5849 h 9787"/>
              <a:gd name="connsiteX11" fmla="*/ 1050 w 10000"/>
              <a:gd name="connsiteY11" fmla="*/ 5873 h 9787"/>
              <a:gd name="connsiteX12" fmla="*/ 1148 w 10000"/>
              <a:gd name="connsiteY12" fmla="*/ 5902 h 9787"/>
              <a:gd name="connsiteX13" fmla="*/ 1246 w 10000"/>
              <a:gd name="connsiteY13" fmla="*/ 5927 h 9787"/>
              <a:gd name="connsiteX14" fmla="*/ 1339 w 10000"/>
              <a:gd name="connsiteY14" fmla="*/ 5960 h 9787"/>
              <a:gd name="connsiteX15" fmla="*/ 1437 w 10000"/>
              <a:gd name="connsiteY15" fmla="*/ 5991 h 9787"/>
              <a:gd name="connsiteX16" fmla="*/ 1529 w 10000"/>
              <a:gd name="connsiteY16" fmla="*/ 6028 h 9787"/>
              <a:gd name="connsiteX17" fmla="*/ 1621 w 10000"/>
              <a:gd name="connsiteY17" fmla="*/ 6066 h 9787"/>
              <a:gd name="connsiteX18" fmla="*/ 1713 w 10000"/>
              <a:gd name="connsiteY18" fmla="*/ 6107 h 9787"/>
              <a:gd name="connsiteX19" fmla="*/ 1806 w 10000"/>
              <a:gd name="connsiteY19" fmla="*/ 6145 h 9787"/>
              <a:gd name="connsiteX20" fmla="*/ 1897 w 10000"/>
              <a:gd name="connsiteY20" fmla="*/ 6190 h 9787"/>
              <a:gd name="connsiteX21" fmla="*/ 1989 w 10000"/>
              <a:gd name="connsiteY21" fmla="*/ 6233 h 9787"/>
              <a:gd name="connsiteX22" fmla="*/ 2074 w 10000"/>
              <a:gd name="connsiteY22" fmla="*/ 6287 h 9787"/>
              <a:gd name="connsiteX23" fmla="*/ 2160 w 10000"/>
              <a:gd name="connsiteY23" fmla="*/ 6331 h 9787"/>
              <a:gd name="connsiteX24" fmla="*/ 2245 w 10000"/>
              <a:gd name="connsiteY24" fmla="*/ 6382 h 9787"/>
              <a:gd name="connsiteX25" fmla="*/ 2323 w 10000"/>
              <a:gd name="connsiteY25" fmla="*/ 6435 h 9787"/>
              <a:gd name="connsiteX26" fmla="*/ 2408 w 10000"/>
              <a:gd name="connsiteY26" fmla="*/ 6494 h 9787"/>
              <a:gd name="connsiteX27" fmla="*/ 2486 w 10000"/>
              <a:gd name="connsiteY27" fmla="*/ 6550 h 9787"/>
              <a:gd name="connsiteX28" fmla="*/ 2567 w 10000"/>
              <a:gd name="connsiteY28" fmla="*/ 6608 h 9787"/>
              <a:gd name="connsiteX29" fmla="*/ 2645 w 10000"/>
              <a:gd name="connsiteY29" fmla="*/ 6665 h 9787"/>
              <a:gd name="connsiteX30" fmla="*/ 2724 w 10000"/>
              <a:gd name="connsiteY30" fmla="*/ 6731 h 9787"/>
              <a:gd name="connsiteX31" fmla="*/ 2796 w 10000"/>
              <a:gd name="connsiteY31" fmla="*/ 6797 h 9787"/>
              <a:gd name="connsiteX32" fmla="*/ 2867 w 10000"/>
              <a:gd name="connsiteY32" fmla="*/ 6862 h 9787"/>
              <a:gd name="connsiteX33" fmla="*/ 2940 w 10000"/>
              <a:gd name="connsiteY33" fmla="*/ 6932 h 9787"/>
              <a:gd name="connsiteX34" fmla="*/ 3006 w 10000"/>
              <a:gd name="connsiteY34" fmla="*/ 7001 h 9787"/>
              <a:gd name="connsiteX35" fmla="*/ 3078 w 10000"/>
              <a:gd name="connsiteY35" fmla="*/ 7073 h 9787"/>
              <a:gd name="connsiteX36" fmla="*/ 3143 w 10000"/>
              <a:gd name="connsiteY36" fmla="*/ 7143 h 9787"/>
              <a:gd name="connsiteX37" fmla="*/ 3202 w 10000"/>
              <a:gd name="connsiteY37" fmla="*/ 7222 h 9787"/>
              <a:gd name="connsiteX38" fmla="*/ 3268 w 10000"/>
              <a:gd name="connsiteY38" fmla="*/ 7292 h 9787"/>
              <a:gd name="connsiteX39" fmla="*/ 3327 w 10000"/>
              <a:gd name="connsiteY39" fmla="*/ 7370 h 9787"/>
              <a:gd name="connsiteX40" fmla="*/ 3386 w 10000"/>
              <a:gd name="connsiteY40" fmla="*/ 7446 h 9787"/>
              <a:gd name="connsiteX41" fmla="*/ 3445 w 10000"/>
              <a:gd name="connsiteY41" fmla="*/ 7525 h 9787"/>
              <a:gd name="connsiteX42" fmla="*/ 3497 w 10000"/>
              <a:gd name="connsiteY42" fmla="*/ 7607 h 9787"/>
              <a:gd name="connsiteX43" fmla="*/ 3550 w 10000"/>
              <a:gd name="connsiteY43" fmla="*/ 7691 h 9787"/>
              <a:gd name="connsiteX44" fmla="*/ 3602 w 10000"/>
              <a:gd name="connsiteY44" fmla="*/ 7777 h 9787"/>
              <a:gd name="connsiteX45" fmla="*/ 3656 w 10000"/>
              <a:gd name="connsiteY45" fmla="*/ 7858 h 9787"/>
              <a:gd name="connsiteX46" fmla="*/ 3695 w 10000"/>
              <a:gd name="connsiteY46" fmla="*/ 7950 h 9787"/>
              <a:gd name="connsiteX47" fmla="*/ 3747 w 10000"/>
              <a:gd name="connsiteY47" fmla="*/ 8041 h 9787"/>
              <a:gd name="connsiteX48" fmla="*/ 3786 w 10000"/>
              <a:gd name="connsiteY48" fmla="*/ 8122 h 9787"/>
              <a:gd name="connsiteX49" fmla="*/ 3826 w 10000"/>
              <a:gd name="connsiteY49" fmla="*/ 8214 h 9787"/>
              <a:gd name="connsiteX50" fmla="*/ 3865 w 10000"/>
              <a:gd name="connsiteY50" fmla="*/ 8305 h 9787"/>
              <a:gd name="connsiteX51" fmla="*/ 3898 w 10000"/>
              <a:gd name="connsiteY51" fmla="*/ 8395 h 9787"/>
              <a:gd name="connsiteX52" fmla="*/ 3930 w 10000"/>
              <a:gd name="connsiteY52" fmla="*/ 8491 h 9787"/>
              <a:gd name="connsiteX53" fmla="*/ 3963 w 10000"/>
              <a:gd name="connsiteY53" fmla="*/ 8587 h 9787"/>
              <a:gd name="connsiteX54" fmla="*/ 3996 w 10000"/>
              <a:gd name="connsiteY54" fmla="*/ 8679 h 9787"/>
              <a:gd name="connsiteX55" fmla="*/ 4022 w 10000"/>
              <a:gd name="connsiteY55" fmla="*/ 8775 h 9787"/>
              <a:gd name="connsiteX56" fmla="*/ 4042 w 10000"/>
              <a:gd name="connsiteY56" fmla="*/ 8871 h 9787"/>
              <a:gd name="connsiteX57" fmla="*/ 4069 w 10000"/>
              <a:gd name="connsiteY57" fmla="*/ 8975 h 9787"/>
              <a:gd name="connsiteX58" fmla="*/ 4088 w 10000"/>
              <a:gd name="connsiteY58" fmla="*/ 9072 h 9787"/>
              <a:gd name="connsiteX59" fmla="*/ 4108 w 10000"/>
              <a:gd name="connsiteY59" fmla="*/ 9169 h 9787"/>
              <a:gd name="connsiteX60" fmla="*/ 7213 w 10000"/>
              <a:gd name="connsiteY60" fmla="*/ 9506 h 9787"/>
              <a:gd name="connsiteX61" fmla="*/ 10000 w 10000"/>
              <a:gd name="connsiteY61" fmla="*/ 9787 h 9787"/>
              <a:gd name="connsiteX62" fmla="*/ 9993 w 10000"/>
              <a:gd name="connsiteY62" fmla="*/ 9530 h 9787"/>
              <a:gd name="connsiteX63" fmla="*/ 9987 w 10000"/>
              <a:gd name="connsiteY63" fmla="*/ 9283 h 9787"/>
              <a:gd name="connsiteX64" fmla="*/ 9967 w 10000"/>
              <a:gd name="connsiteY64" fmla="*/ 9033 h 9787"/>
              <a:gd name="connsiteX65" fmla="*/ 9948 w 10000"/>
              <a:gd name="connsiteY65" fmla="*/ 8789 h 9787"/>
              <a:gd name="connsiteX66" fmla="*/ 9915 w 10000"/>
              <a:gd name="connsiteY66" fmla="*/ 8535 h 9787"/>
              <a:gd name="connsiteX67" fmla="*/ 9882 w 10000"/>
              <a:gd name="connsiteY67" fmla="*/ 8299 h 9787"/>
              <a:gd name="connsiteX68" fmla="*/ 9843 w 10000"/>
              <a:gd name="connsiteY68" fmla="*/ 8053 h 9787"/>
              <a:gd name="connsiteX69" fmla="*/ 9796 w 10000"/>
              <a:gd name="connsiteY69" fmla="*/ 7813 h 9787"/>
              <a:gd name="connsiteX70" fmla="*/ 9744 w 10000"/>
              <a:gd name="connsiteY70" fmla="*/ 7576 h 9787"/>
              <a:gd name="connsiteX71" fmla="*/ 9685 w 10000"/>
              <a:gd name="connsiteY71" fmla="*/ 7344 h 9787"/>
              <a:gd name="connsiteX72" fmla="*/ 9620 w 10000"/>
              <a:gd name="connsiteY72" fmla="*/ 7104 h 9787"/>
              <a:gd name="connsiteX73" fmla="*/ 9555 w 10000"/>
              <a:gd name="connsiteY73" fmla="*/ 6873 h 9787"/>
              <a:gd name="connsiteX74" fmla="*/ 9475 w 10000"/>
              <a:gd name="connsiteY74" fmla="*/ 6647 h 9787"/>
              <a:gd name="connsiteX75" fmla="*/ 9396 w 10000"/>
              <a:gd name="connsiteY75" fmla="*/ 6421 h 9787"/>
              <a:gd name="connsiteX76" fmla="*/ 9304 w 10000"/>
              <a:gd name="connsiteY76" fmla="*/ 6196 h 9787"/>
              <a:gd name="connsiteX77" fmla="*/ 9213 w 10000"/>
              <a:gd name="connsiteY77" fmla="*/ 5979 h 9787"/>
              <a:gd name="connsiteX78" fmla="*/ 9121 w 10000"/>
              <a:gd name="connsiteY78" fmla="*/ 5759 h 9787"/>
              <a:gd name="connsiteX79" fmla="*/ 9016 w 10000"/>
              <a:gd name="connsiteY79" fmla="*/ 5545 h 9787"/>
              <a:gd name="connsiteX80" fmla="*/ 8911 w 10000"/>
              <a:gd name="connsiteY80" fmla="*/ 5333 h 9787"/>
              <a:gd name="connsiteX81" fmla="*/ 8800 w 10000"/>
              <a:gd name="connsiteY81" fmla="*/ 5122 h 9787"/>
              <a:gd name="connsiteX82" fmla="*/ 8682 w 10000"/>
              <a:gd name="connsiteY82" fmla="*/ 4914 h 9787"/>
              <a:gd name="connsiteX83" fmla="*/ 8557 w 10000"/>
              <a:gd name="connsiteY83" fmla="*/ 4715 h 9787"/>
              <a:gd name="connsiteX84" fmla="*/ 8432 w 10000"/>
              <a:gd name="connsiteY84" fmla="*/ 4514 h 9787"/>
              <a:gd name="connsiteX85" fmla="*/ 8300 w 10000"/>
              <a:gd name="connsiteY85" fmla="*/ 4314 h 9787"/>
              <a:gd name="connsiteX86" fmla="*/ 8162 w 10000"/>
              <a:gd name="connsiteY86" fmla="*/ 4122 h 9787"/>
              <a:gd name="connsiteX87" fmla="*/ 8018 w 10000"/>
              <a:gd name="connsiteY87" fmla="*/ 3933 h 9787"/>
              <a:gd name="connsiteX88" fmla="*/ 7873 w 10000"/>
              <a:gd name="connsiteY88" fmla="*/ 3747 h 9787"/>
              <a:gd name="connsiteX89" fmla="*/ 7723 w 10000"/>
              <a:gd name="connsiteY89" fmla="*/ 3559 h 9787"/>
              <a:gd name="connsiteX90" fmla="*/ 7573 w 10000"/>
              <a:gd name="connsiteY90" fmla="*/ 3387 h 9787"/>
              <a:gd name="connsiteX91" fmla="*/ 7407 w 10000"/>
              <a:gd name="connsiteY91" fmla="*/ 3213 h 9787"/>
              <a:gd name="connsiteX92" fmla="*/ 7250 w 10000"/>
              <a:gd name="connsiteY92" fmla="*/ 3038 h 9787"/>
              <a:gd name="connsiteX93" fmla="*/ 7080 w 10000"/>
              <a:gd name="connsiteY93" fmla="*/ 2865 h 9787"/>
              <a:gd name="connsiteX94" fmla="*/ 6910 w 10000"/>
              <a:gd name="connsiteY94" fmla="*/ 2703 h 9787"/>
              <a:gd name="connsiteX95" fmla="*/ 6740 w 10000"/>
              <a:gd name="connsiteY95" fmla="*/ 2543 h 9787"/>
              <a:gd name="connsiteX96" fmla="*/ 6556 w 10000"/>
              <a:gd name="connsiteY96" fmla="*/ 2390 h 9787"/>
              <a:gd name="connsiteX97" fmla="*/ 6372 w 10000"/>
              <a:gd name="connsiteY97" fmla="*/ 2240 h 9787"/>
              <a:gd name="connsiteX98" fmla="*/ 6188 w 10000"/>
              <a:gd name="connsiteY98" fmla="*/ 2093 h 9787"/>
              <a:gd name="connsiteX99" fmla="*/ 5998 w 10000"/>
              <a:gd name="connsiteY99" fmla="*/ 1948 h 9787"/>
              <a:gd name="connsiteX100" fmla="*/ 5801 w 10000"/>
              <a:gd name="connsiteY100" fmla="*/ 1809 h 9787"/>
              <a:gd name="connsiteX101" fmla="*/ 5605 w 10000"/>
              <a:gd name="connsiteY101" fmla="*/ 1673 h 9787"/>
              <a:gd name="connsiteX102" fmla="*/ 5407 w 10000"/>
              <a:gd name="connsiteY102" fmla="*/ 1545 h 9787"/>
              <a:gd name="connsiteX103" fmla="*/ 5204 w 10000"/>
              <a:gd name="connsiteY103" fmla="*/ 1421 h 9787"/>
              <a:gd name="connsiteX104" fmla="*/ 5001 w 10000"/>
              <a:gd name="connsiteY104" fmla="*/ 1299 h 9787"/>
              <a:gd name="connsiteX105" fmla="*/ 4783 w 10000"/>
              <a:gd name="connsiteY105" fmla="*/ 1183 h 9787"/>
              <a:gd name="connsiteX106" fmla="*/ 4574 w 10000"/>
              <a:gd name="connsiteY106" fmla="*/ 1074 h 9787"/>
              <a:gd name="connsiteX107" fmla="*/ 4356 w 10000"/>
              <a:gd name="connsiteY107" fmla="*/ 972 h 9787"/>
              <a:gd name="connsiteX108" fmla="*/ 4134 w 10000"/>
              <a:gd name="connsiteY108" fmla="*/ 867 h 9787"/>
              <a:gd name="connsiteX109" fmla="*/ 3917 w 10000"/>
              <a:gd name="connsiteY109" fmla="*/ 771 h 9787"/>
              <a:gd name="connsiteX110" fmla="*/ 3695 w 10000"/>
              <a:gd name="connsiteY110" fmla="*/ 687 h 9787"/>
              <a:gd name="connsiteX111" fmla="*/ 3464 w 10000"/>
              <a:gd name="connsiteY111" fmla="*/ 596 h 9787"/>
              <a:gd name="connsiteX112" fmla="*/ 3234 w 10000"/>
              <a:gd name="connsiteY112" fmla="*/ 521 h 9787"/>
              <a:gd name="connsiteX113" fmla="*/ 2999 w 10000"/>
              <a:gd name="connsiteY113" fmla="*/ 441 h 9787"/>
              <a:gd name="connsiteX114" fmla="*/ 2769 w 10000"/>
              <a:gd name="connsiteY114" fmla="*/ 377 h 9787"/>
              <a:gd name="connsiteX115" fmla="*/ 2528 w 10000"/>
              <a:gd name="connsiteY115" fmla="*/ 313 h 9787"/>
              <a:gd name="connsiteX116" fmla="*/ 2284 w 10000"/>
              <a:gd name="connsiteY116" fmla="*/ 254 h 9787"/>
              <a:gd name="connsiteX117" fmla="*/ 2047 w 10000"/>
              <a:gd name="connsiteY117" fmla="*/ 203 h 9787"/>
              <a:gd name="connsiteX118" fmla="*/ 1806 w 10000"/>
              <a:gd name="connsiteY118" fmla="*/ 158 h 9787"/>
              <a:gd name="connsiteX119" fmla="*/ 1555 w 10000"/>
              <a:gd name="connsiteY119" fmla="*/ 113 h 9787"/>
              <a:gd name="connsiteX120" fmla="*/ 1305 w 10000"/>
              <a:gd name="connsiteY120" fmla="*/ 81 h 9787"/>
              <a:gd name="connsiteX121" fmla="*/ 1057 w 10000"/>
              <a:gd name="connsiteY121" fmla="*/ 55 h 9787"/>
              <a:gd name="connsiteX122" fmla="*/ 807 w 10000"/>
              <a:gd name="connsiteY122" fmla="*/ 39 h 9787"/>
              <a:gd name="connsiteX123" fmla="*/ 551 w 10000"/>
              <a:gd name="connsiteY123" fmla="*/ 15 h 9787"/>
              <a:gd name="connsiteX124" fmla="*/ 295 w 10000"/>
              <a:gd name="connsiteY124" fmla="*/ 8 h 9787"/>
              <a:gd name="connsiteX125" fmla="*/ 39 w 10000"/>
              <a:gd name="connsiteY125" fmla="*/ 3 h 9787"/>
              <a:gd name="connsiteX126" fmla="*/ 0 w 10000"/>
              <a:gd name="connsiteY126" fmla="*/ 0 h 9787"/>
              <a:gd name="connsiteX127" fmla="*/ 1210 w 10000"/>
              <a:gd name="connsiteY127" fmla="*/ 2949 h 9787"/>
              <a:gd name="connsiteX128" fmla="*/ 7 w 10000"/>
              <a:gd name="connsiteY128" fmla="*/ 5753 h 9787"/>
              <a:gd name="connsiteX0" fmla="*/ 7 w 9993"/>
              <a:gd name="connsiteY0" fmla="*/ 5878 h 9737"/>
              <a:gd name="connsiteX1" fmla="*/ 20 w 9993"/>
              <a:gd name="connsiteY1" fmla="*/ 5871 h 9737"/>
              <a:gd name="connsiteX2" fmla="*/ 124 w 9993"/>
              <a:gd name="connsiteY2" fmla="*/ 5871 h 9737"/>
              <a:gd name="connsiteX3" fmla="*/ 230 w 9993"/>
              <a:gd name="connsiteY3" fmla="*/ 5878 h 9737"/>
              <a:gd name="connsiteX4" fmla="*/ 335 w 9993"/>
              <a:gd name="connsiteY4" fmla="*/ 5884 h 9737"/>
              <a:gd name="connsiteX5" fmla="*/ 439 w 9993"/>
              <a:gd name="connsiteY5" fmla="*/ 5890 h 9737"/>
              <a:gd name="connsiteX6" fmla="*/ 545 w 9993"/>
              <a:gd name="connsiteY6" fmla="*/ 5910 h 9737"/>
              <a:gd name="connsiteX7" fmla="*/ 650 w 9993"/>
              <a:gd name="connsiteY7" fmla="*/ 5923 h 9737"/>
              <a:gd name="connsiteX8" fmla="*/ 748 w 9993"/>
              <a:gd name="connsiteY8" fmla="*/ 5937 h 9737"/>
              <a:gd name="connsiteX9" fmla="*/ 846 w 9993"/>
              <a:gd name="connsiteY9" fmla="*/ 5958 h 9737"/>
              <a:gd name="connsiteX10" fmla="*/ 952 w 9993"/>
              <a:gd name="connsiteY10" fmla="*/ 5976 h 9737"/>
              <a:gd name="connsiteX11" fmla="*/ 1050 w 9993"/>
              <a:gd name="connsiteY11" fmla="*/ 6001 h 9737"/>
              <a:gd name="connsiteX12" fmla="*/ 1148 w 9993"/>
              <a:gd name="connsiteY12" fmla="*/ 6030 h 9737"/>
              <a:gd name="connsiteX13" fmla="*/ 1246 w 9993"/>
              <a:gd name="connsiteY13" fmla="*/ 6056 h 9737"/>
              <a:gd name="connsiteX14" fmla="*/ 1339 w 9993"/>
              <a:gd name="connsiteY14" fmla="*/ 6090 h 9737"/>
              <a:gd name="connsiteX15" fmla="*/ 1437 w 9993"/>
              <a:gd name="connsiteY15" fmla="*/ 6121 h 9737"/>
              <a:gd name="connsiteX16" fmla="*/ 1529 w 9993"/>
              <a:gd name="connsiteY16" fmla="*/ 6159 h 9737"/>
              <a:gd name="connsiteX17" fmla="*/ 1621 w 9993"/>
              <a:gd name="connsiteY17" fmla="*/ 6198 h 9737"/>
              <a:gd name="connsiteX18" fmla="*/ 1713 w 9993"/>
              <a:gd name="connsiteY18" fmla="*/ 6240 h 9737"/>
              <a:gd name="connsiteX19" fmla="*/ 1806 w 9993"/>
              <a:gd name="connsiteY19" fmla="*/ 6279 h 9737"/>
              <a:gd name="connsiteX20" fmla="*/ 1897 w 9993"/>
              <a:gd name="connsiteY20" fmla="*/ 6325 h 9737"/>
              <a:gd name="connsiteX21" fmla="*/ 1989 w 9993"/>
              <a:gd name="connsiteY21" fmla="*/ 6369 h 9737"/>
              <a:gd name="connsiteX22" fmla="*/ 2074 w 9993"/>
              <a:gd name="connsiteY22" fmla="*/ 6424 h 9737"/>
              <a:gd name="connsiteX23" fmla="*/ 2160 w 9993"/>
              <a:gd name="connsiteY23" fmla="*/ 6469 h 9737"/>
              <a:gd name="connsiteX24" fmla="*/ 2245 w 9993"/>
              <a:gd name="connsiteY24" fmla="*/ 6521 h 9737"/>
              <a:gd name="connsiteX25" fmla="*/ 2323 w 9993"/>
              <a:gd name="connsiteY25" fmla="*/ 6575 h 9737"/>
              <a:gd name="connsiteX26" fmla="*/ 2408 w 9993"/>
              <a:gd name="connsiteY26" fmla="*/ 6635 h 9737"/>
              <a:gd name="connsiteX27" fmla="*/ 2486 w 9993"/>
              <a:gd name="connsiteY27" fmla="*/ 6693 h 9737"/>
              <a:gd name="connsiteX28" fmla="*/ 2567 w 9993"/>
              <a:gd name="connsiteY28" fmla="*/ 6752 h 9737"/>
              <a:gd name="connsiteX29" fmla="*/ 2645 w 9993"/>
              <a:gd name="connsiteY29" fmla="*/ 6810 h 9737"/>
              <a:gd name="connsiteX30" fmla="*/ 2724 w 9993"/>
              <a:gd name="connsiteY30" fmla="*/ 6877 h 9737"/>
              <a:gd name="connsiteX31" fmla="*/ 2796 w 9993"/>
              <a:gd name="connsiteY31" fmla="*/ 6945 h 9737"/>
              <a:gd name="connsiteX32" fmla="*/ 2867 w 9993"/>
              <a:gd name="connsiteY32" fmla="*/ 7011 h 9737"/>
              <a:gd name="connsiteX33" fmla="*/ 2940 w 9993"/>
              <a:gd name="connsiteY33" fmla="*/ 7083 h 9737"/>
              <a:gd name="connsiteX34" fmla="*/ 3006 w 9993"/>
              <a:gd name="connsiteY34" fmla="*/ 7153 h 9737"/>
              <a:gd name="connsiteX35" fmla="*/ 3078 w 9993"/>
              <a:gd name="connsiteY35" fmla="*/ 7227 h 9737"/>
              <a:gd name="connsiteX36" fmla="*/ 3143 w 9993"/>
              <a:gd name="connsiteY36" fmla="*/ 7298 h 9737"/>
              <a:gd name="connsiteX37" fmla="*/ 3202 w 9993"/>
              <a:gd name="connsiteY37" fmla="*/ 7379 h 9737"/>
              <a:gd name="connsiteX38" fmla="*/ 3268 w 9993"/>
              <a:gd name="connsiteY38" fmla="*/ 7451 h 9737"/>
              <a:gd name="connsiteX39" fmla="*/ 3327 w 9993"/>
              <a:gd name="connsiteY39" fmla="*/ 7530 h 9737"/>
              <a:gd name="connsiteX40" fmla="*/ 3386 w 9993"/>
              <a:gd name="connsiteY40" fmla="*/ 7608 h 9737"/>
              <a:gd name="connsiteX41" fmla="*/ 3445 w 9993"/>
              <a:gd name="connsiteY41" fmla="*/ 7689 h 9737"/>
              <a:gd name="connsiteX42" fmla="*/ 3497 w 9993"/>
              <a:gd name="connsiteY42" fmla="*/ 7773 h 9737"/>
              <a:gd name="connsiteX43" fmla="*/ 3550 w 9993"/>
              <a:gd name="connsiteY43" fmla="*/ 7858 h 9737"/>
              <a:gd name="connsiteX44" fmla="*/ 3602 w 9993"/>
              <a:gd name="connsiteY44" fmla="*/ 7946 h 9737"/>
              <a:gd name="connsiteX45" fmla="*/ 3656 w 9993"/>
              <a:gd name="connsiteY45" fmla="*/ 8029 h 9737"/>
              <a:gd name="connsiteX46" fmla="*/ 3695 w 9993"/>
              <a:gd name="connsiteY46" fmla="*/ 8123 h 9737"/>
              <a:gd name="connsiteX47" fmla="*/ 3747 w 9993"/>
              <a:gd name="connsiteY47" fmla="*/ 8216 h 9737"/>
              <a:gd name="connsiteX48" fmla="*/ 3786 w 9993"/>
              <a:gd name="connsiteY48" fmla="*/ 8299 h 9737"/>
              <a:gd name="connsiteX49" fmla="*/ 3826 w 9993"/>
              <a:gd name="connsiteY49" fmla="*/ 8393 h 9737"/>
              <a:gd name="connsiteX50" fmla="*/ 3865 w 9993"/>
              <a:gd name="connsiteY50" fmla="*/ 8486 h 9737"/>
              <a:gd name="connsiteX51" fmla="*/ 3898 w 9993"/>
              <a:gd name="connsiteY51" fmla="*/ 8578 h 9737"/>
              <a:gd name="connsiteX52" fmla="*/ 3930 w 9993"/>
              <a:gd name="connsiteY52" fmla="*/ 8676 h 9737"/>
              <a:gd name="connsiteX53" fmla="*/ 3963 w 9993"/>
              <a:gd name="connsiteY53" fmla="*/ 8774 h 9737"/>
              <a:gd name="connsiteX54" fmla="*/ 3996 w 9993"/>
              <a:gd name="connsiteY54" fmla="*/ 8868 h 9737"/>
              <a:gd name="connsiteX55" fmla="*/ 4022 w 9993"/>
              <a:gd name="connsiteY55" fmla="*/ 8966 h 9737"/>
              <a:gd name="connsiteX56" fmla="*/ 4042 w 9993"/>
              <a:gd name="connsiteY56" fmla="*/ 9064 h 9737"/>
              <a:gd name="connsiteX57" fmla="*/ 4069 w 9993"/>
              <a:gd name="connsiteY57" fmla="*/ 9170 h 9737"/>
              <a:gd name="connsiteX58" fmla="*/ 4088 w 9993"/>
              <a:gd name="connsiteY58" fmla="*/ 9269 h 9737"/>
              <a:gd name="connsiteX59" fmla="*/ 4108 w 9993"/>
              <a:gd name="connsiteY59" fmla="*/ 9369 h 9737"/>
              <a:gd name="connsiteX60" fmla="*/ 7213 w 9993"/>
              <a:gd name="connsiteY60" fmla="*/ 9713 h 9737"/>
              <a:gd name="connsiteX61" fmla="*/ 9993 w 9993"/>
              <a:gd name="connsiteY61" fmla="*/ 9737 h 9737"/>
              <a:gd name="connsiteX62" fmla="*/ 9987 w 9993"/>
              <a:gd name="connsiteY62" fmla="*/ 9485 h 9737"/>
              <a:gd name="connsiteX63" fmla="*/ 9967 w 9993"/>
              <a:gd name="connsiteY63" fmla="*/ 9230 h 9737"/>
              <a:gd name="connsiteX64" fmla="*/ 9948 w 9993"/>
              <a:gd name="connsiteY64" fmla="*/ 8980 h 9737"/>
              <a:gd name="connsiteX65" fmla="*/ 9915 w 9993"/>
              <a:gd name="connsiteY65" fmla="*/ 8721 h 9737"/>
              <a:gd name="connsiteX66" fmla="*/ 9882 w 9993"/>
              <a:gd name="connsiteY66" fmla="*/ 8480 h 9737"/>
              <a:gd name="connsiteX67" fmla="*/ 9843 w 9993"/>
              <a:gd name="connsiteY67" fmla="*/ 8228 h 9737"/>
              <a:gd name="connsiteX68" fmla="*/ 9796 w 9993"/>
              <a:gd name="connsiteY68" fmla="*/ 7983 h 9737"/>
              <a:gd name="connsiteX69" fmla="*/ 9744 w 9993"/>
              <a:gd name="connsiteY69" fmla="*/ 7741 h 9737"/>
              <a:gd name="connsiteX70" fmla="*/ 9685 w 9993"/>
              <a:gd name="connsiteY70" fmla="*/ 7504 h 9737"/>
              <a:gd name="connsiteX71" fmla="*/ 9620 w 9993"/>
              <a:gd name="connsiteY71" fmla="*/ 7259 h 9737"/>
              <a:gd name="connsiteX72" fmla="*/ 9555 w 9993"/>
              <a:gd name="connsiteY72" fmla="*/ 7023 h 9737"/>
              <a:gd name="connsiteX73" fmla="*/ 9475 w 9993"/>
              <a:gd name="connsiteY73" fmla="*/ 6792 h 9737"/>
              <a:gd name="connsiteX74" fmla="*/ 9396 w 9993"/>
              <a:gd name="connsiteY74" fmla="*/ 6561 h 9737"/>
              <a:gd name="connsiteX75" fmla="*/ 9304 w 9993"/>
              <a:gd name="connsiteY75" fmla="*/ 6331 h 9737"/>
              <a:gd name="connsiteX76" fmla="*/ 9213 w 9993"/>
              <a:gd name="connsiteY76" fmla="*/ 6109 h 9737"/>
              <a:gd name="connsiteX77" fmla="*/ 9121 w 9993"/>
              <a:gd name="connsiteY77" fmla="*/ 5884 h 9737"/>
              <a:gd name="connsiteX78" fmla="*/ 9016 w 9993"/>
              <a:gd name="connsiteY78" fmla="*/ 5666 h 9737"/>
              <a:gd name="connsiteX79" fmla="*/ 8911 w 9993"/>
              <a:gd name="connsiteY79" fmla="*/ 5449 h 9737"/>
              <a:gd name="connsiteX80" fmla="*/ 8800 w 9993"/>
              <a:gd name="connsiteY80" fmla="*/ 5233 h 9737"/>
              <a:gd name="connsiteX81" fmla="*/ 8682 w 9993"/>
              <a:gd name="connsiteY81" fmla="*/ 5021 h 9737"/>
              <a:gd name="connsiteX82" fmla="*/ 8557 w 9993"/>
              <a:gd name="connsiteY82" fmla="*/ 4818 h 9737"/>
              <a:gd name="connsiteX83" fmla="*/ 8432 w 9993"/>
              <a:gd name="connsiteY83" fmla="*/ 4612 h 9737"/>
              <a:gd name="connsiteX84" fmla="*/ 8300 w 9993"/>
              <a:gd name="connsiteY84" fmla="*/ 4408 h 9737"/>
              <a:gd name="connsiteX85" fmla="*/ 8162 w 9993"/>
              <a:gd name="connsiteY85" fmla="*/ 4212 h 9737"/>
              <a:gd name="connsiteX86" fmla="*/ 8018 w 9993"/>
              <a:gd name="connsiteY86" fmla="*/ 4019 h 9737"/>
              <a:gd name="connsiteX87" fmla="*/ 7873 w 9993"/>
              <a:gd name="connsiteY87" fmla="*/ 3829 h 9737"/>
              <a:gd name="connsiteX88" fmla="*/ 7723 w 9993"/>
              <a:gd name="connsiteY88" fmla="*/ 3636 h 9737"/>
              <a:gd name="connsiteX89" fmla="*/ 7573 w 9993"/>
              <a:gd name="connsiteY89" fmla="*/ 3461 h 9737"/>
              <a:gd name="connsiteX90" fmla="*/ 7407 w 9993"/>
              <a:gd name="connsiteY90" fmla="*/ 3283 h 9737"/>
              <a:gd name="connsiteX91" fmla="*/ 7250 w 9993"/>
              <a:gd name="connsiteY91" fmla="*/ 3104 h 9737"/>
              <a:gd name="connsiteX92" fmla="*/ 7080 w 9993"/>
              <a:gd name="connsiteY92" fmla="*/ 2927 h 9737"/>
              <a:gd name="connsiteX93" fmla="*/ 6910 w 9993"/>
              <a:gd name="connsiteY93" fmla="*/ 2762 h 9737"/>
              <a:gd name="connsiteX94" fmla="*/ 6740 w 9993"/>
              <a:gd name="connsiteY94" fmla="*/ 2598 h 9737"/>
              <a:gd name="connsiteX95" fmla="*/ 6556 w 9993"/>
              <a:gd name="connsiteY95" fmla="*/ 2442 h 9737"/>
              <a:gd name="connsiteX96" fmla="*/ 6372 w 9993"/>
              <a:gd name="connsiteY96" fmla="*/ 2289 h 9737"/>
              <a:gd name="connsiteX97" fmla="*/ 6188 w 9993"/>
              <a:gd name="connsiteY97" fmla="*/ 2139 h 9737"/>
              <a:gd name="connsiteX98" fmla="*/ 5998 w 9993"/>
              <a:gd name="connsiteY98" fmla="*/ 1990 h 9737"/>
              <a:gd name="connsiteX99" fmla="*/ 5801 w 9993"/>
              <a:gd name="connsiteY99" fmla="*/ 1848 h 9737"/>
              <a:gd name="connsiteX100" fmla="*/ 5605 w 9993"/>
              <a:gd name="connsiteY100" fmla="*/ 1709 h 9737"/>
              <a:gd name="connsiteX101" fmla="*/ 5407 w 9993"/>
              <a:gd name="connsiteY101" fmla="*/ 1579 h 9737"/>
              <a:gd name="connsiteX102" fmla="*/ 5204 w 9993"/>
              <a:gd name="connsiteY102" fmla="*/ 1452 h 9737"/>
              <a:gd name="connsiteX103" fmla="*/ 5001 w 9993"/>
              <a:gd name="connsiteY103" fmla="*/ 1327 h 9737"/>
              <a:gd name="connsiteX104" fmla="*/ 4783 w 9993"/>
              <a:gd name="connsiteY104" fmla="*/ 1209 h 9737"/>
              <a:gd name="connsiteX105" fmla="*/ 4574 w 9993"/>
              <a:gd name="connsiteY105" fmla="*/ 1097 h 9737"/>
              <a:gd name="connsiteX106" fmla="*/ 4356 w 9993"/>
              <a:gd name="connsiteY106" fmla="*/ 993 h 9737"/>
              <a:gd name="connsiteX107" fmla="*/ 4134 w 9993"/>
              <a:gd name="connsiteY107" fmla="*/ 886 h 9737"/>
              <a:gd name="connsiteX108" fmla="*/ 3917 w 9993"/>
              <a:gd name="connsiteY108" fmla="*/ 788 h 9737"/>
              <a:gd name="connsiteX109" fmla="*/ 3695 w 9993"/>
              <a:gd name="connsiteY109" fmla="*/ 702 h 9737"/>
              <a:gd name="connsiteX110" fmla="*/ 3464 w 9993"/>
              <a:gd name="connsiteY110" fmla="*/ 609 h 9737"/>
              <a:gd name="connsiteX111" fmla="*/ 3234 w 9993"/>
              <a:gd name="connsiteY111" fmla="*/ 532 h 9737"/>
              <a:gd name="connsiteX112" fmla="*/ 2999 w 9993"/>
              <a:gd name="connsiteY112" fmla="*/ 451 h 9737"/>
              <a:gd name="connsiteX113" fmla="*/ 2769 w 9993"/>
              <a:gd name="connsiteY113" fmla="*/ 385 h 9737"/>
              <a:gd name="connsiteX114" fmla="*/ 2528 w 9993"/>
              <a:gd name="connsiteY114" fmla="*/ 320 h 9737"/>
              <a:gd name="connsiteX115" fmla="*/ 2284 w 9993"/>
              <a:gd name="connsiteY115" fmla="*/ 260 h 9737"/>
              <a:gd name="connsiteX116" fmla="*/ 2047 w 9993"/>
              <a:gd name="connsiteY116" fmla="*/ 207 h 9737"/>
              <a:gd name="connsiteX117" fmla="*/ 1806 w 9993"/>
              <a:gd name="connsiteY117" fmla="*/ 161 h 9737"/>
              <a:gd name="connsiteX118" fmla="*/ 1555 w 9993"/>
              <a:gd name="connsiteY118" fmla="*/ 115 h 9737"/>
              <a:gd name="connsiteX119" fmla="*/ 1305 w 9993"/>
              <a:gd name="connsiteY119" fmla="*/ 83 h 9737"/>
              <a:gd name="connsiteX120" fmla="*/ 1057 w 9993"/>
              <a:gd name="connsiteY120" fmla="*/ 56 h 9737"/>
              <a:gd name="connsiteX121" fmla="*/ 807 w 9993"/>
              <a:gd name="connsiteY121" fmla="*/ 40 h 9737"/>
              <a:gd name="connsiteX122" fmla="*/ 551 w 9993"/>
              <a:gd name="connsiteY122" fmla="*/ 15 h 9737"/>
              <a:gd name="connsiteX123" fmla="*/ 295 w 9993"/>
              <a:gd name="connsiteY123" fmla="*/ 8 h 9737"/>
              <a:gd name="connsiteX124" fmla="*/ 39 w 9993"/>
              <a:gd name="connsiteY124" fmla="*/ 3 h 9737"/>
              <a:gd name="connsiteX125" fmla="*/ 0 w 9993"/>
              <a:gd name="connsiteY125" fmla="*/ 0 h 9737"/>
              <a:gd name="connsiteX126" fmla="*/ 1210 w 9993"/>
              <a:gd name="connsiteY126" fmla="*/ 3013 h 9737"/>
              <a:gd name="connsiteX127" fmla="*/ 7 w 9993"/>
              <a:gd name="connsiteY127" fmla="*/ 5878 h 9737"/>
              <a:gd name="connsiteX0" fmla="*/ 7 w 9994"/>
              <a:gd name="connsiteY0" fmla="*/ 6037 h 9975"/>
              <a:gd name="connsiteX1" fmla="*/ 20 w 9994"/>
              <a:gd name="connsiteY1" fmla="*/ 6030 h 9975"/>
              <a:gd name="connsiteX2" fmla="*/ 124 w 9994"/>
              <a:gd name="connsiteY2" fmla="*/ 6030 h 9975"/>
              <a:gd name="connsiteX3" fmla="*/ 230 w 9994"/>
              <a:gd name="connsiteY3" fmla="*/ 6037 h 9975"/>
              <a:gd name="connsiteX4" fmla="*/ 335 w 9994"/>
              <a:gd name="connsiteY4" fmla="*/ 6043 h 9975"/>
              <a:gd name="connsiteX5" fmla="*/ 439 w 9994"/>
              <a:gd name="connsiteY5" fmla="*/ 6049 h 9975"/>
              <a:gd name="connsiteX6" fmla="*/ 545 w 9994"/>
              <a:gd name="connsiteY6" fmla="*/ 6070 h 9975"/>
              <a:gd name="connsiteX7" fmla="*/ 650 w 9994"/>
              <a:gd name="connsiteY7" fmla="*/ 6083 h 9975"/>
              <a:gd name="connsiteX8" fmla="*/ 749 w 9994"/>
              <a:gd name="connsiteY8" fmla="*/ 6097 h 9975"/>
              <a:gd name="connsiteX9" fmla="*/ 847 w 9994"/>
              <a:gd name="connsiteY9" fmla="*/ 6119 h 9975"/>
              <a:gd name="connsiteX10" fmla="*/ 953 w 9994"/>
              <a:gd name="connsiteY10" fmla="*/ 6137 h 9975"/>
              <a:gd name="connsiteX11" fmla="*/ 1051 w 9994"/>
              <a:gd name="connsiteY11" fmla="*/ 6163 h 9975"/>
              <a:gd name="connsiteX12" fmla="*/ 1149 w 9994"/>
              <a:gd name="connsiteY12" fmla="*/ 6193 h 9975"/>
              <a:gd name="connsiteX13" fmla="*/ 1247 w 9994"/>
              <a:gd name="connsiteY13" fmla="*/ 6220 h 9975"/>
              <a:gd name="connsiteX14" fmla="*/ 1340 w 9994"/>
              <a:gd name="connsiteY14" fmla="*/ 6254 h 9975"/>
              <a:gd name="connsiteX15" fmla="*/ 1438 w 9994"/>
              <a:gd name="connsiteY15" fmla="*/ 6286 h 9975"/>
              <a:gd name="connsiteX16" fmla="*/ 1530 w 9994"/>
              <a:gd name="connsiteY16" fmla="*/ 6325 h 9975"/>
              <a:gd name="connsiteX17" fmla="*/ 1622 w 9994"/>
              <a:gd name="connsiteY17" fmla="*/ 6365 h 9975"/>
              <a:gd name="connsiteX18" fmla="*/ 1714 w 9994"/>
              <a:gd name="connsiteY18" fmla="*/ 6409 h 9975"/>
              <a:gd name="connsiteX19" fmla="*/ 1807 w 9994"/>
              <a:gd name="connsiteY19" fmla="*/ 6449 h 9975"/>
              <a:gd name="connsiteX20" fmla="*/ 1898 w 9994"/>
              <a:gd name="connsiteY20" fmla="*/ 6496 h 9975"/>
              <a:gd name="connsiteX21" fmla="*/ 1990 w 9994"/>
              <a:gd name="connsiteY21" fmla="*/ 6541 h 9975"/>
              <a:gd name="connsiteX22" fmla="*/ 2075 w 9994"/>
              <a:gd name="connsiteY22" fmla="*/ 6598 h 9975"/>
              <a:gd name="connsiteX23" fmla="*/ 2162 w 9994"/>
              <a:gd name="connsiteY23" fmla="*/ 6644 h 9975"/>
              <a:gd name="connsiteX24" fmla="*/ 2247 w 9994"/>
              <a:gd name="connsiteY24" fmla="*/ 6697 h 9975"/>
              <a:gd name="connsiteX25" fmla="*/ 2325 w 9994"/>
              <a:gd name="connsiteY25" fmla="*/ 6753 h 9975"/>
              <a:gd name="connsiteX26" fmla="*/ 2410 w 9994"/>
              <a:gd name="connsiteY26" fmla="*/ 6814 h 9975"/>
              <a:gd name="connsiteX27" fmla="*/ 2488 w 9994"/>
              <a:gd name="connsiteY27" fmla="*/ 6874 h 9975"/>
              <a:gd name="connsiteX28" fmla="*/ 2569 w 9994"/>
              <a:gd name="connsiteY28" fmla="*/ 6934 h 9975"/>
              <a:gd name="connsiteX29" fmla="*/ 2647 w 9994"/>
              <a:gd name="connsiteY29" fmla="*/ 6994 h 9975"/>
              <a:gd name="connsiteX30" fmla="*/ 2726 w 9994"/>
              <a:gd name="connsiteY30" fmla="*/ 7063 h 9975"/>
              <a:gd name="connsiteX31" fmla="*/ 2798 w 9994"/>
              <a:gd name="connsiteY31" fmla="*/ 7133 h 9975"/>
              <a:gd name="connsiteX32" fmla="*/ 2869 w 9994"/>
              <a:gd name="connsiteY32" fmla="*/ 7200 h 9975"/>
              <a:gd name="connsiteX33" fmla="*/ 2942 w 9994"/>
              <a:gd name="connsiteY33" fmla="*/ 7274 h 9975"/>
              <a:gd name="connsiteX34" fmla="*/ 3008 w 9994"/>
              <a:gd name="connsiteY34" fmla="*/ 7346 h 9975"/>
              <a:gd name="connsiteX35" fmla="*/ 3080 w 9994"/>
              <a:gd name="connsiteY35" fmla="*/ 7422 h 9975"/>
              <a:gd name="connsiteX36" fmla="*/ 3145 w 9994"/>
              <a:gd name="connsiteY36" fmla="*/ 7495 h 9975"/>
              <a:gd name="connsiteX37" fmla="*/ 3204 w 9994"/>
              <a:gd name="connsiteY37" fmla="*/ 7578 h 9975"/>
              <a:gd name="connsiteX38" fmla="*/ 3270 w 9994"/>
              <a:gd name="connsiteY38" fmla="*/ 7652 h 9975"/>
              <a:gd name="connsiteX39" fmla="*/ 3329 w 9994"/>
              <a:gd name="connsiteY39" fmla="*/ 7733 h 9975"/>
              <a:gd name="connsiteX40" fmla="*/ 3388 w 9994"/>
              <a:gd name="connsiteY40" fmla="*/ 7813 h 9975"/>
              <a:gd name="connsiteX41" fmla="*/ 3447 w 9994"/>
              <a:gd name="connsiteY41" fmla="*/ 7897 h 9975"/>
              <a:gd name="connsiteX42" fmla="*/ 3499 w 9994"/>
              <a:gd name="connsiteY42" fmla="*/ 7983 h 9975"/>
              <a:gd name="connsiteX43" fmla="*/ 3552 w 9994"/>
              <a:gd name="connsiteY43" fmla="*/ 8070 h 9975"/>
              <a:gd name="connsiteX44" fmla="*/ 3605 w 9994"/>
              <a:gd name="connsiteY44" fmla="*/ 8161 h 9975"/>
              <a:gd name="connsiteX45" fmla="*/ 3659 w 9994"/>
              <a:gd name="connsiteY45" fmla="*/ 8246 h 9975"/>
              <a:gd name="connsiteX46" fmla="*/ 3698 w 9994"/>
              <a:gd name="connsiteY46" fmla="*/ 8342 h 9975"/>
              <a:gd name="connsiteX47" fmla="*/ 3750 w 9994"/>
              <a:gd name="connsiteY47" fmla="*/ 8438 h 9975"/>
              <a:gd name="connsiteX48" fmla="*/ 3789 w 9994"/>
              <a:gd name="connsiteY48" fmla="*/ 8523 h 9975"/>
              <a:gd name="connsiteX49" fmla="*/ 3829 w 9994"/>
              <a:gd name="connsiteY49" fmla="*/ 8620 h 9975"/>
              <a:gd name="connsiteX50" fmla="*/ 3868 w 9994"/>
              <a:gd name="connsiteY50" fmla="*/ 8715 h 9975"/>
              <a:gd name="connsiteX51" fmla="*/ 3901 w 9994"/>
              <a:gd name="connsiteY51" fmla="*/ 8810 h 9975"/>
              <a:gd name="connsiteX52" fmla="*/ 3933 w 9994"/>
              <a:gd name="connsiteY52" fmla="*/ 8910 h 9975"/>
              <a:gd name="connsiteX53" fmla="*/ 3966 w 9994"/>
              <a:gd name="connsiteY53" fmla="*/ 9011 h 9975"/>
              <a:gd name="connsiteX54" fmla="*/ 3999 w 9994"/>
              <a:gd name="connsiteY54" fmla="*/ 9108 h 9975"/>
              <a:gd name="connsiteX55" fmla="*/ 4025 w 9994"/>
              <a:gd name="connsiteY55" fmla="*/ 9208 h 9975"/>
              <a:gd name="connsiteX56" fmla="*/ 4045 w 9994"/>
              <a:gd name="connsiteY56" fmla="*/ 9309 h 9975"/>
              <a:gd name="connsiteX57" fmla="*/ 4072 w 9994"/>
              <a:gd name="connsiteY57" fmla="*/ 9418 h 9975"/>
              <a:gd name="connsiteX58" fmla="*/ 4091 w 9994"/>
              <a:gd name="connsiteY58" fmla="*/ 9519 h 9975"/>
              <a:gd name="connsiteX59" fmla="*/ 4111 w 9994"/>
              <a:gd name="connsiteY59" fmla="*/ 9622 h 9975"/>
              <a:gd name="connsiteX60" fmla="*/ 7218 w 9994"/>
              <a:gd name="connsiteY60" fmla="*/ 9975 h 9975"/>
              <a:gd name="connsiteX61" fmla="*/ 9994 w 9994"/>
              <a:gd name="connsiteY61" fmla="*/ 9741 h 9975"/>
              <a:gd name="connsiteX62" fmla="*/ 9974 w 9994"/>
              <a:gd name="connsiteY62" fmla="*/ 9479 h 9975"/>
              <a:gd name="connsiteX63" fmla="*/ 9955 w 9994"/>
              <a:gd name="connsiteY63" fmla="*/ 9223 h 9975"/>
              <a:gd name="connsiteX64" fmla="*/ 9922 w 9994"/>
              <a:gd name="connsiteY64" fmla="*/ 8957 h 9975"/>
              <a:gd name="connsiteX65" fmla="*/ 9889 w 9994"/>
              <a:gd name="connsiteY65" fmla="*/ 8709 h 9975"/>
              <a:gd name="connsiteX66" fmla="*/ 9850 w 9994"/>
              <a:gd name="connsiteY66" fmla="*/ 8450 h 9975"/>
              <a:gd name="connsiteX67" fmla="*/ 9803 w 9994"/>
              <a:gd name="connsiteY67" fmla="*/ 8199 h 9975"/>
              <a:gd name="connsiteX68" fmla="*/ 9751 w 9994"/>
              <a:gd name="connsiteY68" fmla="*/ 7950 h 9975"/>
              <a:gd name="connsiteX69" fmla="*/ 9692 w 9994"/>
              <a:gd name="connsiteY69" fmla="*/ 7707 h 9975"/>
              <a:gd name="connsiteX70" fmla="*/ 9627 w 9994"/>
              <a:gd name="connsiteY70" fmla="*/ 7455 h 9975"/>
              <a:gd name="connsiteX71" fmla="*/ 9562 w 9994"/>
              <a:gd name="connsiteY71" fmla="*/ 7213 h 9975"/>
              <a:gd name="connsiteX72" fmla="*/ 9482 w 9994"/>
              <a:gd name="connsiteY72" fmla="*/ 6975 h 9975"/>
              <a:gd name="connsiteX73" fmla="*/ 9403 w 9994"/>
              <a:gd name="connsiteY73" fmla="*/ 6738 h 9975"/>
              <a:gd name="connsiteX74" fmla="*/ 9311 w 9994"/>
              <a:gd name="connsiteY74" fmla="*/ 6502 h 9975"/>
              <a:gd name="connsiteX75" fmla="*/ 9219 w 9994"/>
              <a:gd name="connsiteY75" fmla="*/ 6274 h 9975"/>
              <a:gd name="connsiteX76" fmla="*/ 9127 w 9994"/>
              <a:gd name="connsiteY76" fmla="*/ 6043 h 9975"/>
              <a:gd name="connsiteX77" fmla="*/ 9022 w 9994"/>
              <a:gd name="connsiteY77" fmla="*/ 5819 h 9975"/>
              <a:gd name="connsiteX78" fmla="*/ 8917 w 9994"/>
              <a:gd name="connsiteY78" fmla="*/ 5596 h 9975"/>
              <a:gd name="connsiteX79" fmla="*/ 8806 w 9994"/>
              <a:gd name="connsiteY79" fmla="*/ 5374 h 9975"/>
              <a:gd name="connsiteX80" fmla="*/ 8688 w 9994"/>
              <a:gd name="connsiteY80" fmla="*/ 5157 h 9975"/>
              <a:gd name="connsiteX81" fmla="*/ 8563 w 9994"/>
              <a:gd name="connsiteY81" fmla="*/ 4948 h 9975"/>
              <a:gd name="connsiteX82" fmla="*/ 8438 w 9994"/>
              <a:gd name="connsiteY82" fmla="*/ 4737 h 9975"/>
              <a:gd name="connsiteX83" fmla="*/ 8306 w 9994"/>
              <a:gd name="connsiteY83" fmla="*/ 4527 h 9975"/>
              <a:gd name="connsiteX84" fmla="*/ 8168 w 9994"/>
              <a:gd name="connsiteY84" fmla="*/ 4326 h 9975"/>
              <a:gd name="connsiteX85" fmla="*/ 8024 w 9994"/>
              <a:gd name="connsiteY85" fmla="*/ 4128 h 9975"/>
              <a:gd name="connsiteX86" fmla="*/ 7879 w 9994"/>
              <a:gd name="connsiteY86" fmla="*/ 3932 h 9975"/>
              <a:gd name="connsiteX87" fmla="*/ 7728 w 9994"/>
              <a:gd name="connsiteY87" fmla="*/ 3734 h 9975"/>
              <a:gd name="connsiteX88" fmla="*/ 7578 w 9994"/>
              <a:gd name="connsiteY88" fmla="*/ 3554 h 9975"/>
              <a:gd name="connsiteX89" fmla="*/ 7412 w 9994"/>
              <a:gd name="connsiteY89" fmla="*/ 3372 h 9975"/>
              <a:gd name="connsiteX90" fmla="*/ 7255 w 9994"/>
              <a:gd name="connsiteY90" fmla="*/ 3188 h 9975"/>
              <a:gd name="connsiteX91" fmla="*/ 7085 w 9994"/>
              <a:gd name="connsiteY91" fmla="*/ 3006 h 9975"/>
              <a:gd name="connsiteX92" fmla="*/ 6915 w 9994"/>
              <a:gd name="connsiteY92" fmla="*/ 2837 h 9975"/>
              <a:gd name="connsiteX93" fmla="*/ 6745 w 9994"/>
              <a:gd name="connsiteY93" fmla="*/ 2668 h 9975"/>
              <a:gd name="connsiteX94" fmla="*/ 6561 w 9994"/>
              <a:gd name="connsiteY94" fmla="*/ 2508 h 9975"/>
              <a:gd name="connsiteX95" fmla="*/ 6376 w 9994"/>
              <a:gd name="connsiteY95" fmla="*/ 2351 h 9975"/>
              <a:gd name="connsiteX96" fmla="*/ 6192 w 9994"/>
              <a:gd name="connsiteY96" fmla="*/ 2197 h 9975"/>
              <a:gd name="connsiteX97" fmla="*/ 6002 w 9994"/>
              <a:gd name="connsiteY97" fmla="*/ 2044 h 9975"/>
              <a:gd name="connsiteX98" fmla="*/ 5805 w 9994"/>
              <a:gd name="connsiteY98" fmla="*/ 1898 h 9975"/>
              <a:gd name="connsiteX99" fmla="*/ 5609 w 9994"/>
              <a:gd name="connsiteY99" fmla="*/ 1755 h 9975"/>
              <a:gd name="connsiteX100" fmla="*/ 5411 w 9994"/>
              <a:gd name="connsiteY100" fmla="*/ 1622 h 9975"/>
              <a:gd name="connsiteX101" fmla="*/ 5208 w 9994"/>
              <a:gd name="connsiteY101" fmla="*/ 1491 h 9975"/>
              <a:gd name="connsiteX102" fmla="*/ 5005 w 9994"/>
              <a:gd name="connsiteY102" fmla="*/ 1363 h 9975"/>
              <a:gd name="connsiteX103" fmla="*/ 4786 w 9994"/>
              <a:gd name="connsiteY103" fmla="*/ 1242 h 9975"/>
              <a:gd name="connsiteX104" fmla="*/ 4577 w 9994"/>
              <a:gd name="connsiteY104" fmla="*/ 1127 h 9975"/>
              <a:gd name="connsiteX105" fmla="*/ 4359 w 9994"/>
              <a:gd name="connsiteY105" fmla="*/ 1020 h 9975"/>
              <a:gd name="connsiteX106" fmla="*/ 4137 w 9994"/>
              <a:gd name="connsiteY106" fmla="*/ 910 h 9975"/>
              <a:gd name="connsiteX107" fmla="*/ 3920 w 9994"/>
              <a:gd name="connsiteY107" fmla="*/ 809 h 9975"/>
              <a:gd name="connsiteX108" fmla="*/ 3698 w 9994"/>
              <a:gd name="connsiteY108" fmla="*/ 721 h 9975"/>
              <a:gd name="connsiteX109" fmla="*/ 3466 w 9994"/>
              <a:gd name="connsiteY109" fmla="*/ 625 h 9975"/>
              <a:gd name="connsiteX110" fmla="*/ 3236 w 9994"/>
              <a:gd name="connsiteY110" fmla="*/ 546 h 9975"/>
              <a:gd name="connsiteX111" fmla="*/ 3001 w 9994"/>
              <a:gd name="connsiteY111" fmla="*/ 463 h 9975"/>
              <a:gd name="connsiteX112" fmla="*/ 2771 w 9994"/>
              <a:gd name="connsiteY112" fmla="*/ 395 h 9975"/>
              <a:gd name="connsiteX113" fmla="*/ 2530 w 9994"/>
              <a:gd name="connsiteY113" fmla="*/ 329 h 9975"/>
              <a:gd name="connsiteX114" fmla="*/ 2286 w 9994"/>
              <a:gd name="connsiteY114" fmla="*/ 267 h 9975"/>
              <a:gd name="connsiteX115" fmla="*/ 2048 w 9994"/>
              <a:gd name="connsiteY115" fmla="*/ 213 h 9975"/>
              <a:gd name="connsiteX116" fmla="*/ 1807 w 9994"/>
              <a:gd name="connsiteY116" fmla="*/ 165 h 9975"/>
              <a:gd name="connsiteX117" fmla="*/ 1556 w 9994"/>
              <a:gd name="connsiteY117" fmla="*/ 118 h 9975"/>
              <a:gd name="connsiteX118" fmla="*/ 1306 w 9994"/>
              <a:gd name="connsiteY118" fmla="*/ 85 h 9975"/>
              <a:gd name="connsiteX119" fmla="*/ 1058 w 9994"/>
              <a:gd name="connsiteY119" fmla="*/ 58 h 9975"/>
              <a:gd name="connsiteX120" fmla="*/ 808 w 9994"/>
              <a:gd name="connsiteY120" fmla="*/ 41 h 9975"/>
              <a:gd name="connsiteX121" fmla="*/ 551 w 9994"/>
              <a:gd name="connsiteY121" fmla="*/ 15 h 9975"/>
              <a:gd name="connsiteX122" fmla="*/ 295 w 9994"/>
              <a:gd name="connsiteY122" fmla="*/ 8 h 9975"/>
              <a:gd name="connsiteX123" fmla="*/ 39 w 9994"/>
              <a:gd name="connsiteY123" fmla="*/ 3 h 9975"/>
              <a:gd name="connsiteX124" fmla="*/ 0 w 9994"/>
              <a:gd name="connsiteY124" fmla="*/ 0 h 9975"/>
              <a:gd name="connsiteX125" fmla="*/ 1211 w 9994"/>
              <a:gd name="connsiteY125" fmla="*/ 3094 h 9975"/>
              <a:gd name="connsiteX126" fmla="*/ 7 w 9994"/>
              <a:gd name="connsiteY126" fmla="*/ 6037 h 9975"/>
              <a:gd name="connsiteX0" fmla="*/ 7 w 9980"/>
              <a:gd name="connsiteY0" fmla="*/ 6052 h 10000"/>
              <a:gd name="connsiteX1" fmla="*/ 20 w 9980"/>
              <a:gd name="connsiteY1" fmla="*/ 6045 h 10000"/>
              <a:gd name="connsiteX2" fmla="*/ 124 w 9980"/>
              <a:gd name="connsiteY2" fmla="*/ 6045 h 10000"/>
              <a:gd name="connsiteX3" fmla="*/ 230 w 9980"/>
              <a:gd name="connsiteY3" fmla="*/ 6052 h 10000"/>
              <a:gd name="connsiteX4" fmla="*/ 335 w 9980"/>
              <a:gd name="connsiteY4" fmla="*/ 6058 h 10000"/>
              <a:gd name="connsiteX5" fmla="*/ 439 w 9980"/>
              <a:gd name="connsiteY5" fmla="*/ 6064 h 10000"/>
              <a:gd name="connsiteX6" fmla="*/ 545 w 9980"/>
              <a:gd name="connsiteY6" fmla="*/ 6085 h 10000"/>
              <a:gd name="connsiteX7" fmla="*/ 650 w 9980"/>
              <a:gd name="connsiteY7" fmla="*/ 6098 h 10000"/>
              <a:gd name="connsiteX8" fmla="*/ 749 w 9980"/>
              <a:gd name="connsiteY8" fmla="*/ 6112 h 10000"/>
              <a:gd name="connsiteX9" fmla="*/ 848 w 9980"/>
              <a:gd name="connsiteY9" fmla="*/ 6134 h 10000"/>
              <a:gd name="connsiteX10" fmla="*/ 954 w 9980"/>
              <a:gd name="connsiteY10" fmla="*/ 6152 h 10000"/>
              <a:gd name="connsiteX11" fmla="*/ 1052 w 9980"/>
              <a:gd name="connsiteY11" fmla="*/ 6178 h 10000"/>
              <a:gd name="connsiteX12" fmla="*/ 1150 w 9980"/>
              <a:gd name="connsiteY12" fmla="*/ 6209 h 10000"/>
              <a:gd name="connsiteX13" fmla="*/ 1248 w 9980"/>
              <a:gd name="connsiteY13" fmla="*/ 6236 h 10000"/>
              <a:gd name="connsiteX14" fmla="*/ 1341 w 9980"/>
              <a:gd name="connsiteY14" fmla="*/ 6270 h 10000"/>
              <a:gd name="connsiteX15" fmla="*/ 1439 w 9980"/>
              <a:gd name="connsiteY15" fmla="*/ 6302 h 10000"/>
              <a:gd name="connsiteX16" fmla="*/ 1531 w 9980"/>
              <a:gd name="connsiteY16" fmla="*/ 6341 h 10000"/>
              <a:gd name="connsiteX17" fmla="*/ 1623 w 9980"/>
              <a:gd name="connsiteY17" fmla="*/ 6381 h 10000"/>
              <a:gd name="connsiteX18" fmla="*/ 1715 w 9980"/>
              <a:gd name="connsiteY18" fmla="*/ 6425 h 10000"/>
              <a:gd name="connsiteX19" fmla="*/ 1808 w 9980"/>
              <a:gd name="connsiteY19" fmla="*/ 6465 h 10000"/>
              <a:gd name="connsiteX20" fmla="*/ 1899 w 9980"/>
              <a:gd name="connsiteY20" fmla="*/ 6512 h 10000"/>
              <a:gd name="connsiteX21" fmla="*/ 1991 w 9980"/>
              <a:gd name="connsiteY21" fmla="*/ 6557 h 10000"/>
              <a:gd name="connsiteX22" fmla="*/ 2076 w 9980"/>
              <a:gd name="connsiteY22" fmla="*/ 6615 h 10000"/>
              <a:gd name="connsiteX23" fmla="*/ 2163 w 9980"/>
              <a:gd name="connsiteY23" fmla="*/ 6661 h 10000"/>
              <a:gd name="connsiteX24" fmla="*/ 2248 w 9980"/>
              <a:gd name="connsiteY24" fmla="*/ 6714 h 10000"/>
              <a:gd name="connsiteX25" fmla="*/ 2326 w 9980"/>
              <a:gd name="connsiteY25" fmla="*/ 6770 h 10000"/>
              <a:gd name="connsiteX26" fmla="*/ 2411 w 9980"/>
              <a:gd name="connsiteY26" fmla="*/ 6831 h 10000"/>
              <a:gd name="connsiteX27" fmla="*/ 2489 w 9980"/>
              <a:gd name="connsiteY27" fmla="*/ 6891 h 10000"/>
              <a:gd name="connsiteX28" fmla="*/ 2571 w 9980"/>
              <a:gd name="connsiteY28" fmla="*/ 6951 h 10000"/>
              <a:gd name="connsiteX29" fmla="*/ 2649 w 9980"/>
              <a:gd name="connsiteY29" fmla="*/ 7012 h 10000"/>
              <a:gd name="connsiteX30" fmla="*/ 2728 w 9980"/>
              <a:gd name="connsiteY30" fmla="*/ 7081 h 10000"/>
              <a:gd name="connsiteX31" fmla="*/ 2800 w 9980"/>
              <a:gd name="connsiteY31" fmla="*/ 7151 h 10000"/>
              <a:gd name="connsiteX32" fmla="*/ 2871 w 9980"/>
              <a:gd name="connsiteY32" fmla="*/ 7218 h 10000"/>
              <a:gd name="connsiteX33" fmla="*/ 2944 w 9980"/>
              <a:gd name="connsiteY33" fmla="*/ 7292 h 10000"/>
              <a:gd name="connsiteX34" fmla="*/ 3010 w 9980"/>
              <a:gd name="connsiteY34" fmla="*/ 7364 h 10000"/>
              <a:gd name="connsiteX35" fmla="*/ 3082 w 9980"/>
              <a:gd name="connsiteY35" fmla="*/ 7441 h 10000"/>
              <a:gd name="connsiteX36" fmla="*/ 3147 w 9980"/>
              <a:gd name="connsiteY36" fmla="*/ 7514 h 10000"/>
              <a:gd name="connsiteX37" fmla="*/ 3206 w 9980"/>
              <a:gd name="connsiteY37" fmla="*/ 7597 h 10000"/>
              <a:gd name="connsiteX38" fmla="*/ 3272 w 9980"/>
              <a:gd name="connsiteY38" fmla="*/ 7671 h 10000"/>
              <a:gd name="connsiteX39" fmla="*/ 3331 w 9980"/>
              <a:gd name="connsiteY39" fmla="*/ 7752 h 10000"/>
              <a:gd name="connsiteX40" fmla="*/ 3390 w 9980"/>
              <a:gd name="connsiteY40" fmla="*/ 7833 h 10000"/>
              <a:gd name="connsiteX41" fmla="*/ 3449 w 9980"/>
              <a:gd name="connsiteY41" fmla="*/ 7917 h 10000"/>
              <a:gd name="connsiteX42" fmla="*/ 3501 w 9980"/>
              <a:gd name="connsiteY42" fmla="*/ 8003 h 10000"/>
              <a:gd name="connsiteX43" fmla="*/ 3554 w 9980"/>
              <a:gd name="connsiteY43" fmla="*/ 8090 h 10000"/>
              <a:gd name="connsiteX44" fmla="*/ 3607 w 9980"/>
              <a:gd name="connsiteY44" fmla="*/ 8181 h 10000"/>
              <a:gd name="connsiteX45" fmla="*/ 3661 w 9980"/>
              <a:gd name="connsiteY45" fmla="*/ 8267 h 10000"/>
              <a:gd name="connsiteX46" fmla="*/ 3700 w 9980"/>
              <a:gd name="connsiteY46" fmla="*/ 8363 h 10000"/>
              <a:gd name="connsiteX47" fmla="*/ 3752 w 9980"/>
              <a:gd name="connsiteY47" fmla="*/ 8459 h 10000"/>
              <a:gd name="connsiteX48" fmla="*/ 3791 w 9980"/>
              <a:gd name="connsiteY48" fmla="*/ 8544 h 10000"/>
              <a:gd name="connsiteX49" fmla="*/ 3831 w 9980"/>
              <a:gd name="connsiteY49" fmla="*/ 8642 h 10000"/>
              <a:gd name="connsiteX50" fmla="*/ 3870 w 9980"/>
              <a:gd name="connsiteY50" fmla="*/ 8737 h 10000"/>
              <a:gd name="connsiteX51" fmla="*/ 3903 w 9980"/>
              <a:gd name="connsiteY51" fmla="*/ 8832 h 10000"/>
              <a:gd name="connsiteX52" fmla="*/ 3935 w 9980"/>
              <a:gd name="connsiteY52" fmla="*/ 8932 h 10000"/>
              <a:gd name="connsiteX53" fmla="*/ 3968 w 9980"/>
              <a:gd name="connsiteY53" fmla="*/ 9034 h 10000"/>
              <a:gd name="connsiteX54" fmla="*/ 4001 w 9980"/>
              <a:gd name="connsiteY54" fmla="*/ 9131 h 10000"/>
              <a:gd name="connsiteX55" fmla="*/ 4027 w 9980"/>
              <a:gd name="connsiteY55" fmla="*/ 9231 h 10000"/>
              <a:gd name="connsiteX56" fmla="*/ 4047 w 9980"/>
              <a:gd name="connsiteY56" fmla="*/ 9332 h 10000"/>
              <a:gd name="connsiteX57" fmla="*/ 4074 w 9980"/>
              <a:gd name="connsiteY57" fmla="*/ 9442 h 10000"/>
              <a:gd name="connsiteX58" fmla="*/ 4093 w 9980"/>
              <a:gd name="connsiteY58" fmla="*/ 9543 h 10000"/>
              <a:gd name="connsiteX59" fmla="*/ 4113 w 9980"/>
              <a:gd name="connsiteY59" fmla="*/ 9646 h 10000"/>
              <a:gd name="connsiteX60" fmla="*/ 7222 w 9980"/>
              <a:gd name="connsiteY60" fmla="*/ 10000 h 10000"/>
              <a:gd name="connsiteX61" fmla="*/ 9980 w 9980"/>
              <a:gd name="connsiteY61" fmla="*/ 9503 h 10000"/>
              <a:gd name="connsiteX62" fmla="*/ 9961 w 9980"/>
              <a:gd name="connsiteY62" fmla="*/ 9246 h 10000"/>
              <a:gd name="connsiteX63" fmla="*/ 9928 w 9980"/>
              <a:gd name="connsiteY63" fmla="*/ 8979 h 10000"/>
              <a:gd name="connsiteX64" fmla="*/ 9895 w 9980"/>
              <a:gd name="connsiteY64" fmla="*/ 8731 h 10000"/>
              <a:gd name="connsiteX65" fmla="*/ 9856 w 9980"/>
              <a:gd name="connsiteY65" fmla="*/ 8471 h 10000"/>
              <a:gd name="connsiteX66" fmla="*/ 9809 w 9980"/>
              <a:gd name="connsiteY66" fmla="*/ 8220 h 10000"/>
              <a:gd name="connsiteX67" fmla="*/ 9757 w 9980"/>
              <a:gd name="connsiteY67" fmla="*/ 7970 h 10000"/>
              <a:gd name="connsiteX68" fmla="*/ 9698 w 9980"/>
              <a:gd name="connsiteY68" fmla="*/ 7726 h 10000"/>
              <a:gd name="connsiteX69" fmla="*/ 9633 w 9980"/>
              <a:gd name="connsiteY69" fmla="*/ 7474 h 10000"/>
              <a:gd name="connsiteX70" fmla="*/ 9568 w 9980"/>
              <a:gd name="connsiteY70" fmla="*/ 7231 h 10000"/>
              <a:gd name="connsiteX71" fmla="*/ 9488 w 9980"/>
              <a:gd name="connsiteY71" fmla="*/ 6992 h 10000"/>
              <a:gd name="connsiteX72" fmla="*/ 9409 w 9980"/>
              <a:gd name="connsiteY72" fmla="*/ 6755 h 10000"/>
              <a:gd name="connsiteX73" fmla="*/ 9317 w 9980"/>
              <a:gd name="connsiteY73" fmla="*/ 6518 h 10000"/>
              <a:gd name="connsiteX74" fmla="*/ 9225 w 9980"/>
              <a:gd name="connsiteY74" fmla="*/ 6290 h 10000"/>
              <a:gd name="connsiteX75" fmla="*/ 9132 w 9980"/>
              <a:gd name="connsiteY75" fmla="*/ 6058 h 10000"/>
              <a:gd name="connsiteX76" fmla="*/ 9027 w 9980"/>
              <a:gd name="connsiteY76" fmla="*/ 5834 h 10000"/>
              <a:gd name="connsiteX77" fmla="*/ 8922 w 9980"/>
              <a:gd name="connsiteY77" fmla="*/ 5610 h 10000"/>
              <a:gd name="connsiteX78" fmla="*/ 8811 w 9980"/>
              <a:gd name="connsiteY78" fmla="*/ 5387 h 10000"/>
              <a:gd name="connsiteX79" fmla="*/ 8693 w 9980"/>
              <a:gd name="connsiteY79" fmla="*/ 5170 h 10000"/>
              <a:gd name="connsiteX80" fmla="*/ 8568 w 9980"/>
              <a:gd name="connsiteY80" fmla="*/ 4960 h 10000"/>
              <a:gd name="connsiteX81" fmla="*/ 8443 w 9980"/>
              <a:gd name="connsiteY81" fmla="*/ 4749 h 10000"/>
              <a:gd name="connsiteX82" fmla="*/ 8311 w 9980"/>
              <a:gd name="connsiteY82" fmla="*/ 4538 h 10000"/>
              <a:gd name="connsiteX83" fmla="*/ 8173 w 9980"/>
              <a:gd name="connsiteY83" fmla="*/ 4337 h 10000"/>
              <a:gd name="connsiteX84" fmla="*/ 8029 w 9980"/>
              <a:gd name="connsiteY84" fmla="*/ 4138 h 10000"/>
              <a:gd name="connsiteX85" fmla="*/ 7884 w 9980"/>
              <a:gd name="connsiteY85" fmla="*/ 3942 h 10000"/>
              <a:gd name="connsiteX86" fmla="*/ 7733 w 9980"/>
              <a:gd name="connsiteY86" fmla="*/ 3743 h 10000"/>
              <a:gd name="connsiteX87" fmla="*/ 7583 w 9980"/>
              <a:gd name="connsiteY87" fmla="*/ 3563 h 10000"/>
              <a:gd name="connsiteX88" fmla="*/ 7416 w 9980"/>
              <a:gd name="connsiteY88" fmla="*/ 3380 h 10000"/>
              <a:gd name="connsiteX89" fmla="*/ 7259 w 9980"/>
              <a:gd name="connsiteY89" fmla="*/ 3196 h 10000"/>
              <a:gd name="connsiteX90" fmla="*/ 7089 w 9980"/>
              <a:gd name="connsiteY90" fmla="*/ 3014 h 10000"/>
              <a:gd name="connsiteX91" fmla="*/ 6919 w 9980"/>
              <a:gd name="connsiteY91" fmla="*/ 2844 h 10000"/>
              <a:gd name="connsiteX92" fmla="*/ 6749 w 9980"/>
              <a:gd name="connsiteY92" fmla="*/ 2675 h 10000"/>
              <a:gd name="connsiteX93" fmla="*/ 6565 w 9980"/>
              <a:gd name="connsiteY93" fmla="*/ 2514 h 10000"/>
              <a:gd name="connsiteX94" fmla="*/ 6380 w 9980"/>
              <a:gd name="connsiteY94" fmla="*/ 2357 h 10000"/>
              <a:gd name="connsiteX95" fmla="*/ 6196 w 9980"/>
              <a:gd name="connsiteY95" fmla="*/ 2203 h 10000"/>
              <a:gd name="connsiteX96" fmla="*/ 6006 w 9980"/>
              <a:gd name="connsiteY96" fmla="*/ 2049 h 10000"/>
              <a:gd name="connsiteX97" fmla="*/ 5808 w 9980"/>
              <a:gd name="connsiteY97" fmla="*/ 1903 h 10000"/>
              <a:gd name="connsiteX98" fmla="*/ 5612 w 9980"/>
              <a:gd name="connsiteY98" fmla="*/ 1759 h 10000"/>
              <a:gd name="connsiteX99" fmla="*/ 5414 w 9980"/>
              <a:gd name="connsiteY99" fmla="*/ 1626 h 10000"/>
              <a:gd name="connsiteX100" fmla="*/ 5211 w 9980"/>
              <a:gd name="connsiteY100" fmla="*/ 1495 h 10000"/>
              <a:gd name="connsiteX101" fmla="*/ 5008 w 9980"/>
              <a:gd name="connsiteY101" fmla="*/ 1366 h 10000"/>
              <a:gd name="connsiteX102" fmla="*/ 4789 w 9980"/>
              <a:gd name="connsiteY102" fmla="*/ 1245 h 10000"/>
              <a:gd name="connsiteX103" fmla="*/ 4580 w 9980"/>
              <a:gd name="connsiteY103" fmla="*/ 1130 h 10000"/>
              <a:gd name="connsiteX104" fmla="*/ 4362 w 9980"/>
              <a:gd name="connsiteY104" fmla="*/ 1023 h 10000"/>
              <a:gd name="connsiteX105" fmla="*/ 4139 w 9980"/>
              <a:gd name="connsiteY105" fmla="*/ 912 h 10000"/>
              <a:gd name="connsiteX106" fmla="*/ 3922 w 9980"/>
              <a:gd name="connsiteY106" fmla="*/ 811 h 10000"/>
              <a:gd name="connsiteX107" fmla="*/ 3700 w 9980"/>
              <a:gd name="connsiteY107" fmla="*/ 723 h 10000"/>
              <a:gd name="connsiteX108" fmla="*/ 3468 w 9980"/>
              <a:gd name="connsiteY108" fmla="*/ 627 h 10000"/>
              <a:gd name="connsiteX109" fmla="*/ 3238 w 9980"/>
              <a:gd name="connsiteY109" fmla="*/ 547 h 10000"/>
              <a:gd name="connsiteX110" fmla="*/ 3003 w 9980"/>
              <a:gd name="connsiteY110" fmla="*/ 464 h 10000"/>
              <a:gd name="connsiteX111" fmla="*/ 2773 w 9980"/>
              <a:gd name="connsiteY111" fmla="*/ 396 h 10000"/>
              <a:gd name="connsiteX112" fmla="*/ 2532 w 9980"/>
              <a:gd name="connsiteY112" fmla="*/ 330 h 10000"/>
              <a:gd name="connsiteX113" fmla="*/ 2287 w 9980"/>
              <a:gd name="connsiteY113" fmla="*/ 268 h 10000"/>
              <a:gd name="connsiteX114" fmla="*/ 2049 w 9980"/>
              <a:gd name="connsiteY114" fmla="*/ 214 h 10000"/>
              <a:gd name="connsiteX115" fmla="*/ 1808 w 9980"/>
              <a:gd name="connsiteY115" fmla="*/ 165 h 10000"/>
              <a:gd name="connsiteX116" fmla="*/ 1557 w 9980"/>
              <a:gd name="connsiteY116" fmla="*/ 118 h 10000"/>
              <a:gd name="connsiteX117" fmla="*/ 1307 w 9980"/>
              <a:gd name="connsiteY117" fmla="*/ 85 h 10000"/>
              <a:gd name="connsiteX118" fmla="*/ 1059 w 9980"/>
              <a:gd name="connsiteY118" fmla="*/ 58 h 10000"/>
              <a:gd name="connsiteX119" fmla="*/ 808 w 9980"/>
              <a:gd name="connsiteY119" fmla="*/ 41 h 10000"/>
              <a:gd name="connsiteX120" fmla="*/ 551 w 9980"/>
              <a:gd name="connsiteY120" fmla="*/ 15 h 10000"/>
              <a:gd name="connsiteX121" fmla="*/ 295 w 9980"/>
              <a:gd name="connsiteY121" fmla="*/ 8 h 10000"/>
              <a:gd name="connsiteX122" fmla="*/ 39 w 9980"/>
              <a:gd name="connsiteY122" fmla="*/ 3 h 10000"/>
              <a:gd name="connsiteX123" fmla="*/ 0 w 9980"/>
              <a:gd name="connsiteY123" fmla="*/ 0 h 10000"/>
              <a:gd name="connsiteX124" fmla="*/ 1212 w 9980"/>
              <a:gd name="connsiteY124" fmla="*/ 3102 h 10000"/>
              <a:gd name="connsiteX125" fmla="*/ 7 w 9980"/>
              <a:gd name="connsiteY125" fmla="*/ 6052 h 10000"/>
              <a:gd name="connsiteX0" fmla="*/ 7 w 9981"/>
              <a:gd name="connsiteY0" fmla="*/ 6052 h 10000"/>
              <a:gd name="connsiteX1" fmla="*/ 20 w 9981"/>
              <a:gd name="connsiteY1" fmla="*/ 6045 h 10000"/>
              <a:gd name="connsiteX2" fmla="*/ 124 w 9981"/>
              <a:gd name="connsiteY2" fmla="*/ 6045 h 10000"/>
              <a:gd name="connsiteX3" fmla="*/ 230 w 9981"/>
              <a:gd name="connsiteY3" fmla="*/ 6052 h 10000"/>
              <a:gd name="connsiteX4" fmla="*/ 336 w 9981"/>
              <a:gd name="connsiteY4" fmla="*/ 6058 h 10000"/>
              <a:gd name="connsiteX5" fmla="*/ 440 w 9981"/>
              <a:gd name="connsiteY5" fmla="*/ 6064 h 10000"/>
              <a:gd name="connsiteX6" fmla="*/ 546 w 9981"/>
              <a:gd name="connsiteY6" fmla="*/ 6085 h 10000"/>
              <a:gd name="connsiteX7" fmla="*/ 651 w 9981"/>
              <a:gd name="connsiteY7" fmla="*/ 6098 h 10000"/>
              <a:gd name="connsiteX8" fmla="*/ 751 w 9981"/>
              <a:gd name="connsiteY8" fmla="*/ 6112 h 10000"/>
              <a:gd name="connsiteX9" fmla="*/ 850 w 9981"/>
              <a:gd name="connsiteY9" fmla="*/ 6134 h 10000"/>
              <a:gd name="connsiteX10" fmla="*/ 956 w 9981"/>
              <a:gd name="connsiteY10" fmla="*/ 6152 h 10000"/>
              <a:gd name="connsiteX11" fmla="*/ 1054 w 9981"/>
              <a:gd name="connsiteY11" fmla="*/ 6178 h 10000"/>
              <a:gd name="connsiteX12" fmla="*/ 1152 w 9981"/>
              <a:gd name="connsiteY12" fmla="*/ 6209 h 10000"/>
              <a:gd name="connsiteX13" fmla="*/ 1251 w 9981"/>
              <a:gd name="connsiteY13" fmla="*/ 6236 h 10000"/>
              <a:gd name="connsiteX14" fmla="*/ 1344 w 9981"/>
              <a:gd name="connsiteY14" fmla="*/ 6270 h 10000"/>
              <a:gd name="connsiteX15" fmla="*/ 1442 w 9981"/>
              <a:gd name="connsiteY15" fmla="*/ 6302 h 10000"/>
              <a:gd name="connsiteX16" fmla="*/ 1534 w 9981"/>
              <a:gd name="connsiteY16" fmla="*/ 6341 h 10000"/>
              <a:gd name="connsiteX17" fmla="*/ 1626 w 9981"/>
              <a:gd name="connsiteY17" fmla="*/ 6381 h 10000"/>
              <a:gd name="connsiteX18" fmla="*/ 1718 w 9981"/>
              <a:gd name="connsiteY18" fmla="*/ 6425 h 10000"/>
              <a:gd name="connsiteX19" fmla="*/ 1812 w 9981"/>
              <a:gd name="connsiteY19" fmla="*/ 6465 h 10000"/>
              <a:gd name="connsiteX20" fmla="*/ 1903 w 9981"/>
              <a:gd name="connsiteY20" fmla="*/ 6512 h 10000"/>
              <a:gd name="connsiteX21" fmla="*/ 1995 w 9981"/>
              <a:gd name="connsiteY21" fmla="*/ 6557 h 10000"/>
              <a:gd name="connsiteX22" fmla="*/ 2080 w 9981"/>
              <a:gd name="connsiteY22" fmla="*/ 6615 h 10000"/>
              <a:gd name="connsiteX23" fmla="*/ 2167 w 9981"/>
              <a:gd name="connsiteY23" fmla="*/ 6661 h 10000"/>
              <a:gd name="connsiteX24" fmla="*/ 2253 w 9981"/>
              <a:gd name="connsiteY24" fmla="*/ 6714 h 10000"/>
              <a:gd name="connsiteX25" fmla="*/ 2331 w 9981"/>
              <a:gd name="connsiteY25" fmla="*/ 6770 h 10000"/>
              <a:gd name="connsiteX26" fmla="*/ 2416 w 9981"/>
              <a:gd name="connsiteY26" fmla="*/ 6831 h 10000"/>
              <a:gd name="connsiteX27" fmla="*/ 2494 w 9981"/>
              <a:gd name="connsiteY27" fmla="*/ 6891 h 10000"/>
              <a:gd name="connsiteX28" fmla="*/ 2576 w 9981"/>
              <a:gd name="connsiteY28" fmla="*/ 6951 h 10000"/>
              <a:gd name="connsiteX29" fmla="*/ 2654 w 9981"/>
              <a:gd name="connsiteY29" fmla="*/ 7012 h 10000"/>
              <a:gd name="connsiteX30" fmla="*/ 2733 w 9981"/>
              <a:gd name="connsiteY30" fmla="*/ 7081 h 10000"/>
              <a:gd name="connsiteX31" fmla="*/ 2806 w 9981"/>
              <a:gd name="connsiteY31" fmla="*/ 7151 h 10000"/>
              <a:gd name="connsiteX32" fmla="*/ 2877 w 9981"/>
              <a:gd name="connsiteY32" fmla="*/ 7218 h 10000"/>
              <a:gd name="connsiteX33" fmla="*/ 2950 w 9981"/>
              <a:gd name="connsiteY33" fmla="*/ 7292 h 10000"/>
              <a:gd name="connsiteX34" fmla="*/ 3016 w 9981"/>
              <a:gd name="connsiteY34" fmla="*/ 7364 h 10000"/>
              <a:gd name="connsiteX35" fmla="*/ 3088 w 9981"/>
              <a:gd name="connsiteY35" fmla="*/ 7441 h 10000"/>
              <a:gd name="connsiteX36" fmla="*/ 3153 w 9981"/>
              <a:gd name="connsiteY36" fmla="*/ 7514 h 10000"/>
              <a:gd name="connsiteX37" fmla="*/ 3212 w 9981"/>
              <a:gd name="connsiteY37" fmla="*/ 7597 h 10000"/>
              <a:gd name="connsiteX38" fmla="*/ 3279 w 9981"/>
              <a:gd name="connsiteY38" fmla="*/ 7671 h 10000"/>
              <a:gd name="connsiteX39" fmla="*/ 3338 w 9981"/>
              <a:gd name="connsiteY39" fmla="*/ 7752 h 10000"/>
              <a:gd name="connsiteX40" fmla="*/ 3397 w 9981"/>
              <a:gd name="connsiteY40" fmla="*/ 7833 h 10000"/>
              <a:gd name="connsiteX41" fmla="*/ 3456 w 9981"/>
              <a:gd name="connsiteY41" fmla="*/ 7917 h 10000"/>
              <a:gd name="connsiteX42" fmla="*/ 3508 w 9981"/>
              <a:gd name="connsiteY42" fmla="*/ 8003 h 10000"/>
              <a:gd name="connsiteX43" fmla="*/ 3561 w 9981"/>
              <a:gd name="connsiteY43" fmla="*/ 8090 h 10000"/>
              <a:gd name="connsiteX44" fmla="*/ 3614 w 9981"/>
              <a:gd name="connsiteY44" fmla="*/ 8181 h 10000"/>
              <a:gd name="connsiteX45" fmla="*/ 3668 w 9981"/>
              <a:gd name="connsiteY45" fmla="*/ 8267 h 10000"/>
              <a:gd name="connsiteX46" fmla="*/ 3707 w 9981"/>
              <a:gd name="connsiteY46" fmla="*/ 8363 h 10000"/>
              <a:gd name="connsiteX47" fmla="*/ 3760 w 9981"/>
              <a:gd name="connsiteY47" fmla="*/ 8459 h 10000"/>
              <a:gd name="connsiteX48" fmla="*/ 3799 w 9981"/>
              <a:gd name="connsiteY48" fmla="*/ 8544 h 10000"/>
              <a:gd name="connsiteX49" fmla="*/ 3839 w 9981"/>
              <a:gd name="connsiteY49" fmla="*/ 8642 h 10000"/>
              <a:gd name="connsiteX50" fmla="*/ 3878 w 9981"/>
              <a:gd name="connsiteY50" fmla="*/ 8737 h 10000"/>
              <a:gd name="connsiteX51" fmla="*/ 3911 w 9981"/>
              <a:gd name="connsiteY51" fmla="*/ 8832 h 10000"/>
              <a:gd name="connsiteX52" fmla="*/ 3943 w 9981"/>
              <a:gd name="connsiteY52" fmla="*/ 8932 h 10000"/>
              <a:gd name="connsiteX53" fmla="*/ 3976 w 9981"/>
              <a:gd name="connsiteY53" fmla="*/ 9034 h 10000"/>
              <a:gd name="connsiteX54" fmla="*/ 4009 w 9981"/>
              <a:gd name="connsiteY54" fmla="*/ 9131 h 10000"/>
              <a:gd name="connsiteX55" fmla="*/ 4035 w 9981"/>
              <a:gd name="connsiteY55" fmla="*/ 9231 h 10000"/>
              <a:gd name="connsiteX56" fmla="*/ 4055 w 9981"/>
              <a:gd name="connsiteY56" fmla="*/ 9332 h 10000"/>
              <a:gd name="connsiteX57" fmla="*/ 4082 w 9981"/>
              <a:gd name="connsiteY57" fmla="*/ 9442 h 10000"/>
              <a:gd name="connsiteX58" fmla="*/ 4101 w 9981"/>
              <a:gd name="connsiteY58" fmla="*/ 9543 h 10000"/>
              <a:gd name="connsiteX59" fmla="*/ 4121 w 9981"/>
              <a:gd name="connsiteY59" fmla="*/ 9646 h 10000"/>
              <a:gd name="connsiteX60" fmla="*/ 7236 w 9981"/>
              <a:gd name="connsiteY60" fmla="*/ 10000 h 10000"/>
              <a:gd name="connsiteX61" fmla="*/ 9981 w 9981"/>
              <a:gd name="connsiteY61" fmla="*/ 9246 h 10000"/>
              <a:gd name="connsiteX62" fmla="*/ 9948 w 9981"/>
              <a:gd name="connsiteY62" fmla="*/ 8979 h 10000"/>
              <a:gd name="connsiteX63" fmla="*/ 9915 w 9981"/>
              <a:gd name="connsiteY63" fmla="*/ 8731 h 10000"/>
              <a:gd name="connsiteX64" fmla="*/ 9876 w 9981"/>
              <a:gd name="connsiteY64" fmla="*/ 8471 h 10000"/>
              <a:gd name="connsiteX65" fmla="*/ 9829 w 9981"/>
              <a:gd name="connsiteY65" fmla="*/ 8220 h 10000"/>
              <a:gd name="connsiteX66" fmla="*/ 9777 w 9981"/>
              <a:gd name="connsiteY66" fmla="*/ 7970 h 10000"/>
              <a:gd name="connsiteX67" fmla="*/ 9717 w 9981"/>
              <a:gd name="connsiteY67" fmla="*/ 7726 h 10000"/>
              <a:gd name="connsiteX68" fmla="*/ 9652 w 9981"/>
              <a:gd name="connsiteY68" fmla="*/ 7474 h 10000"/>
              <a:gd name="connsiteX69" fmla="*/ 9587 w 9981"/>
              <a:gd name="connsiteY69" fmla="*/ 7231 h 10000"/>
              <a:gd name="connsiteX70" fmla="*/ 9507 w 9981"/>
              <a:gd name="connsiteY70" fmla="*/ 6992 h 10000"/>
              <a:gd name="connsiteX71" fmla="*/ 9428 w 9981"/>
              <a:gd name="connsiteY71" fmla="*/ 6755 h 10000"/>
              <a:gd name="connsiteX72" fmla="*/ 9336 w 9981"/>
              <a:gd name="connsiteY72" fmla="*/ 6518 h 10000"/>
              <a:gd name="connsiteX73" fmla="*/ 9243 w 9981"/>
              <a:gd name="connsiteY73" fmla="*/ 6290 h 10000"/>
              <a:gd name="connsiteX74" fmla="*/ 9150 w 9981"/>
              <a:gd name="connsiteY74" fmla="*/ 6058 h 10000"/>
              <a:gd name="connsiteX75" fmla="*/ 9045 w 9981"/>
              <a:gd name="connsiteY75" fmla="*/ 5834 h 10000"/>
              <a:gd name="connsiteX76" fmla="*/ 8940 w 9981"/>
              <a:gd name="connsiteY76" fmla="*/ 5610 h 10000"/>
              <a:gd name="connsiteX77" fmla="*/ 8829 w 9981"/>
              <a:gd name="connsiteY77" fmla="*/ 5387 h 10000"/>
              <a:gd name="connsiteX78" fmla="*/ 8710 w 9981"/>
              <a:gd name="connsiteY78" fmla="*/ 5170 h 10000"/>
              <a:gd name="connsiteX79" fmla="*/ 8585 w 9981"/>
              <a:gd name="connsiteY79" fmla="*/ 4960 h 10000"/>
              <a:gd name="connsiteX80" fmla="*/ 8460 w 9981"/>
              <a:gd name="connsiteY80" fmla="*/ 4749 h 10000"/>
              <a:gd name="connsiteX81" fmla="*/ 8328 w 9981"/>
              <a:gd name="connsiteY81" fmla="*/ 4538 h 10000"/>
              <a:gd name="connsiteX82" fmla="*/ 8189 w 9981"/>
              <a:gd name="connsiteY82" fmla="*/ 4337 h 10000"/>
              <a:gd name="connsiteX83" fmla="*/ 8045 w 9981"/>
              <a:gd name="connsiteY83" fmla="*/ 4138 h 10000"/>
              <a:gd name="connsiteX84" fmla="*/ 7900 w 9981"/>
              <a:gd name="connsiteY84" fmla="*/ 3942 h 10000"/>
              <a:gd name="connsiteX85" fmla="*/ 7748 w 9981"/>
              <a:gd name="connsiteY85" fmla="*/ 3743 h 10000"/>
              <a:gd name="connsiteX86" fmla="*/ 7598 w 9981"/>
              <a:gd name="connsiteY86" fmla="*/ 3563 h 10000"/>
              <a:gd name="connsiteX87" fmla="*/ 7431 w 9981"/>
              <a:gd name="connsiteY87" fmla="*/ 3380 h 10000"/>
              <a:gd name="connsiteX88" fmla="*/ 7274 w 9981"/>
              <a:gd name="connsiteY88" fmla="*/ 3196 h 10000"/>
              <a:gd name="connsiteX89" fmla="*/ 7103 w 9981"/>
              <a:gd name="connsiteY89" fmla="*/ 3014 h 10000"/>
              <a:gd name="connsiteX90" fmla="*/ 6933 w 9981"/>
              <a:gd name="connsiteY90" fmla="*/ 2844 h 10000"/>
              <a:gd name="connsiteX91" fmla="*/ 6763 w 9981"/>
              <a:gd name="connsiteY91" fmla="*/ 2675 h 10000"/>
              <a:gd name="connsiteX92" fmla="*/ 6578 w 9981"/>
              <a:gd name="connsiteY92" fmla="*/ 2514 h 10000"/>
              <a:gd name="connsiteX93" fmla="*/ 6393 w 9981"/>
              <a:gd name="connsiteY93" fmla="*/ 2357 h 10000"/>
              <a:gd name="connsiteX94" fmla="*/ 6208 w 9981"/>
              <a:gd name="connsiteY94" fmla="*/ 2203 h 10000"/>
              <a:gd name="connsiteX95" fmla="*/ 6018 w 9981"/>
              <a:gd name="connsiteY95" fmla="*/ 2049 h 10000"/>
              <a:gd name="connsiteX96" fmla="*/ 5820 w 9981"/>
              <a:gd name="connsiteY96" fmla="*/ 1903 h 10000"/>
              <a:gd name="connsiteX97" fmla="*/ 5623 w 9981"/>
              <a:gd name="connsiteY97" fmla="*/ 1759 h 10000"/>
              <a:gd name="connsiteX98" fmla="*/ 5425 w 9981"/>
              <a:gd name="connsiteY98" fmla="*/ 1626 h 10000"/>
              <a:gd name="connsiteX99" fmla="*/ 5221 w 9981"/>
              <a:gd name="connsiteY99" fmla="*/ 1495 h 10000"/>
              <a:gd name="connsiteX100" fmla="*/ 5018 w 9981"/>
              <a:gd name="connsiteY100" fmla="*/ 1366 h 10000"/>
              <a:gd name="connsiteX101" fmla="*/ 4799 w 9981"/>
              <a:gd name="connsiteY101" fmla="*/ 1245 h 10000"/>
              <a:gd name="connsiteX102" fmla="*/ 4589 w 9981"/>
              <a:gd name="connsiteY102" fmla="*/ 1130 h 10000"/>
              <a:gd name="connsiteX103" fmla="*/ 4371 w 9981"/>
              <a:gd name="connsiteY103" fmla="*/ 1023 h 10000"/>
              <a:gd name="connsiteX104" fmla="*/ 4147 w 9981"/>
              <a:gd name="connsiteY104" fmla="*/ 912 h 10000"/>
              <a:gd name="connsiteX105" fmla="*/ 3930 w 9981"/>
              <a:gd name="connsiteY105" fmla="*/ 811 h 10000"/>
              <a:gd name="connsiteX106" fmla="*/ 3707 w 9981"/>
              <a:gd name="connsiteY106" fmla="*/ 723 h 10000"/>
              <a:gd name="connsiteX107" fmla="*/ 3475 w 9981"/>
              <a:gd name="connsiteY107" fmla="*/ 627 h 10000"/>
              <a:gd name="connsiteX108" fmla="*/ 3244 w 9981"/>
              <a:gd name="connsiteY108" fmla="*/ 547 h 10000"/>
              <a:gd name="connsiteX109" fmla="*/ 3009 w 9981"/>
              <a:gd name="connsiteY109" fmla="*/ 464 h 10000"/>
              <a:gd name="connsiteX110" fmla="*/ 2779 w 9981"/>
              <a:gd name="connsiteY110" fmla="*/ 396 h 10000"/>
              <a:gd name="connsiteX111" fmla="*/ 2537 w 9981"/>
              <a:gd name="connsiteY111" fmla="*/ 330 h 10000"/>
              <a:gd name="connsiteX112" fmla="*/ 2292 w 9981"/>
              <a:gd name="connsiteY112" fmla="*/ 268 h 10000"/>
              <a:gd name="connsiteX113" fmla="*/ 2053 w 9981"/>
              <a:gd name="connsiteY113" fmla="*/ 214 h 10000"/>
              <a:gd name="connsiteX114" fmla="*/ 1812 w 9981"/>
              <a:gd name="connsiteY114" fmla="*/ 165 h 10000"/>
              <a:gd name="connsiteX115" fmla="*/ 1560 w 9981"/>
              <a:gd name="connsiteY115" fmla="*/ 118 h 10000"/>
              <a:gd name="connsiteX116" fmla="*/ 1310 w 9981"/>
              <a:gd name="connsiteY116" fmla="*/ 85 h 10000"/>
              <a:gd name="connsiteX117" fmla="*/ 1061 w 9981"/>
              <a:gd name="connsiteY117" fmla="*/ 58 h 10000"/>
              <a:gd name="connsiteX118" fmla="*/ 810 w 9981"/>
              <a:gd name="connsiteY118" fmla="*/ 41 h 10000"/>
              <a:gd name="connsiteX119" fmla="*/ 552 w 9981"/>
              <a:gd name="connsiteY119" fmla="*/ 15 h 10000"/>
              <a:gd name="connsiteX120" fmla="*/ 296 w 9981"/>
              <a:gd name="connsiteY120" fmla="*/ 8 h 10000"/>
              <a:gd name="connsiteX121" fmla="*/ 39 w 9981"/>
              <a:gd name="connsiteY121" fmla="*/ 3 h 10000"/>
              <a:gd name="connsiteX122" fmla="*/ 0 w 9981"/>
              <a:gd name="connsiteY122" fmla="*/ 0 h 10000"/>
              <a:gd name="connsiteX123" fmla="*/ 1214 w 9981"/>
              <a:gd name="connsiteY123" fmla="*/ 3102 h 10000"/>
              <a:gd name="connsiteX124" fmla="*/ 7 w 9981"/>
              <a:gd name="connsiteY124" fmla="*/ 6052 h 10000"/>
              <a:gd name="connsiteX0" fmla="*/ 7 w 9967"/>
              <a:gd name="connsiteY0" fmla="*/ 6052 h 10000"/>
              <a:gd name="connsiteX1" fmla="*/ 20 w 9967"/>
              <a:gd name="connsiteY1" fmla="*/ 6045 h 10000"/>
              <a:gd name="connsiteX2" fmla="*/ 124 w 9967"/>
              <a:gd name="connsiteY2" fmla="*/ 6045 h 10000"/>
              <a:gd name="connsiteX3" fmla="*/ 230 w 9967"/>
              <a:gd name="connsiteY3" fmla="*/ 6052 h 10000"/>
              <a:gd name="connsiteX4" fmla="*/ 337 w 9967"/>
              <a:gd name="connsiteY4" fmla="*/ 6058 h 10000"/>
              <a:gd name="connsiteX5" fmla="*/ 441 w 9967"/>
              <a:gd name="connsiteY5" fmla="*/ 6064 h 10000"/>
              <a:gd name="connsiteX6" fmla="*/ 547 w 9967"/>
              <a:gd name="connsiteY6" fmla="*/ 6085 h 10000"/>
              <a:gd name="connsiteX7" fmla="*/ 652 w 9967"/>
              <a:gd name="connsiteY7" fmla="*/ 6098 h 10000"/>
              <a:gd name="connsiteX8" fmla="*/ 752 w 9967"/>
              <a:gd name="connsiteY8" fmla="*/ 6112 h 10000"/>
              <a:gd name="connsiteX9" fmla="*/ 852 w 9967"/>
              <a:gd name="connsiteY9" fmla="*/ 6134 h 10000"/>
              <a:gd name="connsiteX10" fmla="*/ 958 w 9967"/>
              <a:gd name="connsiteY10" fmla="*/ 6152 h 10000"/>
              <a:gd name="connsiteX11" fmla="*/ 1056 w 9967"/>
              <a:gd name="connsiteY11" fmla="*/ 6178 h 10000"/>
              <a:gd name="connsiteX12" fmla="*/ 1154 w 9967"/>
              <a:gd name="connsiteY12" fmla="*/ 6209 h 10000"/>
              <a:gd name="connsiteX13" fmla="*/ 1253 w 9967"/>
              <a:gd name="connsiteY13" fmla="*/ 6236 h 10000"/>
              <a:gd name="connsiteX14" fmla="*/ 1347 w 9967"/>
              <a:gd name="connsiteY14" fmla="*/ 6270 h 10000"/>
              <a:gd name="connsiteX15" fmla="*/ 1445 w 9967"/>
              <a:gd name="connsiteY15" fmla="*/ 6302 h 10000"/>
              <a:gd name="connsiteX16" fmla="*/ 1537 w 9967"/>
              <a:gd name="connsiteY16" fmla="*/ 6341 h 10000"/>
              <a:gd name="connsiteX17" fmla="*/ 1629 w 9967"/>
              <a:gd name="connsiteY17" fmla="*/ 6381 h 10000"/>
              <a:gd name="connsiteX18" fmla="*/ 1721 w 9967"/>
              <a:gd name="connsiteY18" fmla="*/ 6425 h 10000"/>
              <a:gd name="connsiteX19" fmla="*/ 1815 w 9967"/>
              <a:gd name="connsiteY19" fmla="*/ 6465 h 10000"/>
              <a:gd name="connsiteX20" fmla="*/ 1907 w 9967"/>
              <a:gd name="connsiteY20" fmla="*/ 6512 h 10000"/>
              <a:gd name="connsiteX21" fmla="*/ 1999 w 9967"/>
              <a:gd name="connsiteY21" fmla="*/ 6557 h 10000"/>
              <a:gd name="connsiteX22" fmla="*/ 2084 w 9967"/>
              <a:gd name="connsiteY22" fmla="*/ 6615 h 10000"/>
              <a:gd name="connsiteX23" fmla="*/ 2171 w 9967"/>
              <a:gd name="connsiteY23" fmla="*/ 6661 h 10000"/>
              <a:gd name="connsiteX24" fmla="*/ 2257 w 9967"/>
              <a:gd name="connsiteY24" fmla="*/ 6714 h 10000"/>
              <a:gd name="connsiteX25" fmla="*/ 2335 w 9967"/>
              <a:gd name="connsiteY25" fmla="*/ 6770 h 10000"/>
              <a:gd name="connsiteX26" fmla="*/ 2421 w 9967"/>
              <a:gd name="connsiteY26" fmla="*/ 6831 h 10000"/>
              <a:gd name="connsiteX27" fmla="*/ 2499 w 9967"/>
              <a:gd name="connsiteY27" fmla="*/ 6891 h 10000"/>
              <a:gd name="connsiteX28" fmla="*/ 2581 w 9967"/>
              <a:gd name="connsiteY28" fmla="*/ 6951 h 10000"/>
              <a:gd name="connsiteX29" fmla="*/ 2659 w 9967"/>
              <a:gd name="connsiteY29" fmla="*/ 7012 h 10000"/>
              <a:gd name="connsiteX30" fmla="*/ 2738 w 9967"/>
              <a:gd name="connsiteY30" fmla="*/ 7081 h 10000"/>
              <a:gd name="connsiteX31" fmla="*/ 2811 w 9967"/>
              <a:gd name="connsiteY31" fmla="*/ 7151 h 10000"/>
              <a:gd name="connsiteX32" fmla="*/ 2882 w 9967"/>
              <a:gd name="connsiteY32" fmla="*/ 7218 h 10000"/>
              <a:gd name="connsiteX33" fmla="*/ 2956 w 9967"/>
              <a:gd name="connsiteY33" fmla="*/ 7292 h 10000"/>
              <a:gd name="connsiteX34" fmla="*/ 3022 w 9967"/>
              <a:gd name="connsiteY34" fmla="*/ 7364 h 10000"/>
              <a:gd name="connsiteX35" fmla="*/ 3094 w 9967"/>
              <a:gd name="connsiteY35" fmla="*/ 7441 h 10000"/>
              <a:gd name="connsiteX36" fmla="*/ 3159 w 9967"/>
              <a:gd name="connsiteY36" fmla="*/ 7514 h 10000"/>
              <a:gd name="connsiteX37" fmla="*/ 3218 w 9967"/>
              <a:gd name="connsiteY37" fmla="*/ 7597 h 10000"/>
              <a:gd name="connsiteX38" fmla="*/ 3285 w 9967"/>
              <a:gd name="connsiteY38" fmla="*/ 7671 h 10000"/>
              <a:gd name="connsiteX39" fmla="*/ 3344 w 9967"/>
              <a:gd name="connsiteY39" fmla="*/ 7752 h 10000"/>
              <a:gd name="connsiteX40" fmla="*/ 3403 w 9967"/>
              <a:gd name="connsiteY40" fmla="*/ 7833 h 10000"/>
              <a:gd name="connsiteX41" fmla="*/ 3463 w 9967"/>
              <a:gd name="connsiteY41" fmla="*/ 7917 h 10000"/>
              <a:gd name="connsiteX42" fmla="*/ 3515 w 9967"/>
              <a:gd name="connsiteY42" fmla="*/ 8003 h 10000"/>
              <a:gd name="connsiteX43" fmla="*/ 3568 w 9967"/>
              <a:gd name="connsiteY43" fmla="*/ 8090 h 10000"/>
              <a:gd name="connsiteX44" fmla="*/ 3621 w 9967"/>
              <a:gd name="connsiteY44" fmla="*/ 8181 h 10000"/>
              <a:gd name="connsiteX45" fmla="*/ 3675 w 9967"/>
              <a:gd name="connsiteY45" fmla="*/ 8267 h 10000"/>
              <a:gd name="connsiteX46" fmla="*/ 3714 w 9967"/>
              <a:gd name="connsiteY46" fmla="*/ 8363 h 10000"/>
              <a:gd name="connsiteX47" fmla="*/ 3767 w 9967"/>
              <a:gd name="connsiteY47" fmla="*/ 8459 h 10000"/>
              <a:gd name="connsiteX48" fmla="*/ 3806 w 9967"/>
              <a:gd name="connsiteY48" fmla="*/ 8544 h 10000"/>
              <a:gd name="connsiteX49" fmla="*/ 3846 w 9967"/>
              <a:gd name="connsiteY49" fmla="*/ 8642 h 10000"/>
              <a:gd name="connsiteX50" fmla="*/ 3885 w 9967"/>
              <a:gd name="connsiteY50" fmla="*/ 8737 h 10000"/>
              <a:gd name="connsiteX51" fmla="*/ 3918 w 9967"/>
              <a:gd name="connsiteY51" fmla="*/ 8832 h 10000"/>
              <a:gd name="connsiteX52" fmla="*/ 3951 w 9967"/>
              <a:gd name="connsiteY52" fmla="*/ 8932 h 10000"/>
              <a:gd name="connsiteX53" fmla="*/ 3984 w 9967"/>
              <a:gd name="connsiteY53" fmla="*/ 9034 h 10000"/>
              <a:gd name="connsiteX54" fmla="*/ 4017 w 9967"/>
              <a:gd name="connsiteY54" fmla="*/ 9131 h 10000"/>
              <a:gd name="connsiteX55" fmla="*/ 4043 w 9967"/>
              <a:gd name="connsiteY55" fmla="*/ 9231 h 10000"/>
              <a:gd name="connsiteX56" fmla="*/ 4063 w 9967"/>
              <a:gd name="connsiteY56" fmla="*/ 9332 h 10000"/>
              <a:gd name="connsiteX57" fmla="*/ 4090 w 9967"/>
              <a:gd name="connsiteY57" fmla="*/ 9442 h 10000"/>
              <a:gd name="connsiteX58" fmla="*/ 4109 w 9967"/>
              <a:gd name="connsiteY58" fmla="*/ 9543 h 10000"/>
              <a:gd name="connsiteX59" fmla="*/ 4129 w 9967"/>
              <a:gd name="connsiteY59" fmla="*/ 9646 h 10000"/>
              <a:gd name="connsiteX60" fmla="*/ 7250 w 9967"/>
              <a:gd name="connsiteY60" fmla="*/ 10000 h 10000"/>
              <a:gd name="connsiteX61" fmla="*/ 9967 w 9967"/>
              <a:gd name="connsiteY61" fmla="*/ 8979 h 10000"/>
              <a:gd name="connsiteX62" fmla="*/ 9934 w 9967"/>
              <a:gd name="connsiteY62" fmla="*/ 8731 h 10000"/>
              <a:gd name="connsiteX63" fmla="*/ 9895 w 9967"/>
              <a:gd name="connsiteY63" fmla="*/ 8471 h 10000"/>
              <a:gd name="connsiteX64" fmla="*/ 9848 w 9967"/>
              <a:gd name="connsiteY64" fmla="*/ 8220 h 10000"/>
              <a:gd name="connsiteX65" fmla="*/ 9796 w 9967"/>
              <a:gd name="connsiteY65" fmla="*/ 7970 h 10000"/>
              <a:gd name="connsiteX66" fmla="*/ 9735 w 9967"/>
              <a:gd name="connsiteY66" fmla="*/ 7726 h 10000"/>
              <a:gd name="connsiteX67" fmla="*/ 9670 w 9967"/>
              <a:gd name="connsiteY67" fmla="*/ 7474 h 10000"/>
              <a:gd name="connsiteX68" fmla="*/ 9605 w 9967"/>
              <a:gd name="connsiteY68" fmla="*/ 7231 h 10000"/>
              <a:gd name="connsiteX69" fmla="*/ 9525 w 9967"/>
              <a:gd name="connsiteY69" fmla="*/ 6992 h 10000"/>
              <a:gd name="connsiteX70" fmla="*/ 9446 w 9967"/>
              <a:gd name="connsiteY70" fmla="*/ 6755 h 10000"/>
              <a:gd name="connsiteX71" fmla="*/ 9354 w 9967"/>
              <a:gd name="connsiteY71" fmla="*/ 6518 h 10000"/>
              <a:gd name="connsiteX72" fmla="*/ 9261 w 9967"/>
              <a:gd name="connsiteY72" fmla="*/ 6290 h 10000"/>
              <a:gd name="connsiteX73" fmla="*/ 9167 w 9967"/>
              <a:gd name="connsiteY73" fmla="*/ 6058 h 10000"/>
              <a:gd name="connsiteX74" fmla="*/ 9062 w 9967"/>
              <a:gd name="connsiteY74" fmla="*/ 5834 h 10000"/>
              <a:gd name="connsiteX75" fmla="*/ 8957 w 9967"/>
              <a:gd name="connsiteY75" fmla="*/ 5610 h 10000"/>
              <a:gd name="connsiteX76" fmla="*/ 8846 w 9967"/>
              <a:gd name="connsiteY76" fmla="*/ 5387 h 10000"/>
              <a:gd name="connsiteX77" fmla="*/ 8727 w 9967"/>
              <a:gd name="connsiteY77" fmla="*/ 5170 h 10000"/>
              <a:gd name="connsiteX78" fmla="*/ 8601 w 9967"/>
              <a:gd name="connsiteY78" fmla="*/ 4960 h 10000"/>
              <a:gd name="connsiteX79" fmla="*/ 8476 w 9967"/>
              <a:gd name="connsiteY79" fmla="*/ 4749 h 10000"/>
              <a:gd name="connsiteX80" fmla="*/ 8344 w 9967"/>
              <a:gd name="connsiteY80" fmla="*/ 4538 h 10000"/>
              <a:gd name="connsiteX81" fmla="*/ 8205 w 9967"/>
              <a:gd name="connsiteY81" fmla="*/ 4337 h 10000"/>
              <a:gd name="connsiteX82" fmla="*/ 8060 w 9967"/>
              <a:gd name="connsiteY82" fmla="*/ 4138 h 10000"/>
              <a:gd name="connsiteX83" fmla="*/ 7915 w 9967"/>
              <a:gd name="connsiteY83" fmla="*/ 3942 h 10000"/>
              <a:gd name="connsiteX84" fmla="*/ 7763 w 9967"/>
              <a:gd name="connsiteY84" fmla="*/ 3743 h 10000"/>
              <a:gd name="connsiteX85" fmla="*/ 7612 w 9967"/>
              <a:gd name="connsiteY85" fmla="*/ 3563 h 10000"/>
              <a:gd name="connsiteX86" fmla="*/ 7445 w 9967"/>
              <a:gd name="connsiteY86" fmla="*/ 3380 h 10000"/>
              <a:gd name="connsiteX87" fmla="*/ 7288 w 9967"/>
              <a:gd name="connsiteY87" fmla="*/ 3196 h 10000"/>
              <a:gd name="connsiteX88" fmla="*/ 7117 w 9967"/>
              <a:gd name="connsiteY88" fmla="*/ 3014 h 10000"/>
              <a:gd name="connsiteX89" fmla="*/ 6946 w 9967"/>
              <a:gd name="connsiteY89" fmla="*/ 2844 h 10000"/>
              <a:gd name="connsiteX90" fmla="*/ 6776 w 9967"/>
              <a:gd name="connsiteY90" fmla="*/ 2675 h 10000"/>
              <a:gd name="connsiteX91" fmla="*/ 6591 w 9967"/>
              <a:gd name="connsiteY91" fmla="*/ 2514 h 10000"/>
              <a:gd name="connsiteX92" fmla="*/ 6405 w 9967"/>
              <a:gd name="connsiteY92" fmla="*/ 2357 h 10000"/>
              <a:gd name="connsiteX93" fmla="*/ 6220 w 9967"/>
              <a:gd name="connsiteY93" fmla="*/ 2203 h 10000"/>
              <a:gd name="connsiteX94" fmla="*/ 6029 w 9967"/>
              <a:gd name="connsiteY94" fmla="*/ 2049 h 10000"/>
              <a:gd name="connsiteX95" fmla="*/ 5831 w 9967"/>
              <a:gd name="connsiteY95" fmla="*/ 1903 h 10000"/>
              <a:gd name="connsiteX96" fmla="*/ 5634 w 9967"/>
              <a:gd name="connsiteY96" fmla="*/ 1759 h 10000"/>
              <a:gd name="connsiteX97" fmla="*/ 5435 w 9967"/>
              <a:gd name="connsiteY97" fmla="*/ 1626 h 10000"/>
              <a:gd name="connsiteX98" fmla="*/ 5231 w 9967"/>
              <a:gd name="connsiteY98" fmla="*/ 1495 h 10000"/>
              <a:gd name="connsiteX99" fmla="*/ 5028 w 9967"/>
              <a:gd name="connsiteY99" fmla="*/ 1366 h 10000"/>
              <a:gd name="connsiteX100" fmla="*/ 4808 w 9967"/>
              <a:gd name="connsiteY100" fmla="*/ 1245 h 10000"/>
              <a:gd name="connsiteX101" fmla="*/ 4598 w 9967"/>
              <a:gd name="connsiteY101" fmla="*/ 1130 h 10000"/>
              <a:gd name="connsiteX102" fmla="*/ 4379 w 9967"/>
              <a:gd name="connsiteY102" fmla="*/ 1023 h 10000"/>
              <a:gd name="connsiteX103" fmla="*/ 4155 w 9967"/>
              <a:gd name="connsiteY103" fmla="*/ 912 h 10000"/>
              <a:gd name="connsiteX104" fmla="*/ 3937 w 9967"/>
              <a:gd name="connsiteY104" fmla="*/ 811 h 10000"/>
              <a:gd name="connsiteX105" fmla="*/ 3714 w 9967"/>
              <a:gd name="connsiteY105" fmla="*/ 723 h 10000"/>
              <a:gd name="connsiteX106" fmla="*/ 3482 w 9967"/>
              <a:gd name="connsiteY106" fmla="*/ 627 h 10000"/>
              <a:gd name="connsiteX107" fmla="*/ 3250 w 9967"/>
              <a:gd name="connsiteY107" fmla="*/ 547 h 10000"/>
              <a:gd name="connsiteX108" fmla="*/ 3015 w 9967"/>
              <a:gd name="connsiteY108" fmla="*/ 464 h 10000"/>
              <a:gd name="connsiteX109" fmla="*/ 2784 w 9967"/>
              <a:gd name="connsiteY109" fmla="*/ 396 h 10000"/>
              <a:gd name="connsiteX110" fmla="*/ 2542 w 9967"/>
              <a:gd name="connsiteY110" fmla="*/ 330 h 10000"/>
              <a:gd name="connsiteX111" fmla="*/ 2296 w 9967"/>
              <a:gd name="connsiteY111" fmla="*/ 268 h 10000"/>
              <a:gd name="connsiteX112" fmla="*/ 2057 w 9967"/>
              <a:gd name="connsiteY112" fmla="*/ 214 h 10000"/>
              <a:gd name="connsiteX113" fmla="*/ 1815 w 9967"/>
              <a:gd name="connsiteY113" fmla="*/ 165 h 10000"/>
              <a:gd name="connsiteX114" fmla="*/ 1563 w 9967"/>
              <a:gd name="connsiteY114" fmla="*/ 118 h 10000"/>
              <a:gd name="connsiteX115" fmla="*/ 1312 w 9967"/>
              <a:gd name="connsiteY115" fmla="*/ 85 h 10000"/>
              <a:gd name="connsiteX116" fmla="*/ 1063 w 9967"/>
              <a:gd name="connsiteY116" fmla="*/ 58 h 10000"/>
              <a:gd name="connsiteX117" fmla="*/ 812 w 9967"/>
              <a:gd name="connsiteY117" fmla="*/ 41 h 10000"/>
              <a:gd name="connsiteX118" fmla="*/ 553 w 9967"/>
              <a:gd name="connsiteY118" fmla="*/ 15 h 10000"/>
              <a:gd name="connsiteX119" fmla="*/ 297 w 9967"/>
              <a:gd name="connsiteY119" fmla="*/ 8 h 10000"/>
              <a:gd name="connsiteX120" fmla="*/ 39 w 9967"/>
              <a:gd name="connsiteY120" fmla="*/ 3 h 10000"/>
              <a:gd name="connsiteX121" fmla="*/ 0 w 9967"/>
              <a:gd name="connsiteY121" fmla="*/ 0 h 10000"/>
              <a:gd name="connsiteX122" fmla="*/ 1216 w 9967"/>
              <a:gd name="connsiteY122" fmla="*/ 3102 h 10000"/>
              <a:gd name="connsiteX123" fmla="*/ 7 w 9967"/>
              <a:gd name="connsiteY123" fmla="*/ 6052 h 10000"/>
              <a:gd name="connsiteX0" fmla="*/ 7 w 9967"/>
              <a:gd name="connsiteY0" fmla="*/ 6052 h 10000"/>
              <a:gd name="connsiteX1" fmla="*/ 20 w 9967"/>
              <a:gd name="connsiteY1" fmla="*/ 6045 h 10000"/>
              <a:gd name="connsiteX2" fmla="*/ 124 w 9967"/>
              <a:gd name="connsiteY2" fmla="*/ 6045 h 10000"/>
              <a:gd name="connsiteX3" fmla="*/ 231 w 9967"/>
              <a:gd name="connsiteY3" fmla="*/ 6052 h 10000"/>
              <a:gd name="connsiteX4" fmla="*/ 338 w 9967"/>
              <a:gd name="connsiteY4" fmla="*/ 6058 h 10000"/>
              <a:gd name="connsiteX5" fmla="*/ 442 w 9967"/>
              <a:gd name="connsiteY5" fmla="*/ 6064 h 10000"/>
              <a:gd name="connsiteX6" fmla="*/ 549 w 9967"/>
              <a:gd name="connsiteY6" fmla="*/ 6085 h 10000"/>
              <a:gd name="connsiteX7" fmla="*/ 654 w 9967"/>
              <a:gd name="connsiteY7" fmla="*/ 6098 h 10000"/>
              <a:gd name="connsiteX8" fmla="*/ 754 w 9967"/>
              <a:gd name="connsiteY8" fmla="*/ 6112 h 10000"/>
              <a:gd name="connsiteX9" fmla="*/ 855 w 9967"/>
              <a:gd name="connsiteY9" fmla="*/ 6134 h 10000"/>
              <a:gd name="connsiteX10" fmla="*/ 961 w 9967"/>
              <a:gd name="connsiteY10" fmla="*/ 6152 h 10000"/>
              <a:gd name="connsiteX11" fmla="*/ 1059 w 9967"/>
              <a:gd name="connsiteY11" fmla="*/ 6178 h 10000"/>
              <a:gd name="connsiteX12" fmla="*/ 1158 w 9967"/>
              <a:gd name="connsiteY12" fmla="*/ 6209 h 10000"/>
              <a:gd name="connsiteX13" fmla="*/ 1257 w 9967"/>
              <a:gd name="connsiteY13" fmla="*/ 6236 h 10000"/>
              <a:gd name="connsiteX14" fmla="*/ 1351 w 9967"/>
              <a:gd name="connsiteY14" fmla="*/ 6270 h 10000"/>
              <a:gd name="connsiteX15" fmla="*/ 1450 w 9967"/>
              <a:gd name="connsiteY15" fmla="*/ 6302 h 10000"/>
              <a:gd name="connsiteX16" fmla="*/ 1542 w 9967"/>
              <a:gd name="connsiteY16" fmla="*/ 6341 h 10000"/>
              <a:gd name="connsiteX17" fmla="*/ 1634 w 9967"/>
              <a:gd name="connsiteY17" fmla="*/ 6381 h 10000"/>
              <a:gd name="connsiteX18" fmla="*/ 1727 w 9967"/>
              <a:gd name="connsiteY18" fmla="*/ 6425 h 10000"/>
              <a:gd name="connsiteX19" fmla="*/ 1821 w 9967"/>
              <a:gd name="connsiteY19" fmla="*/ 6465 h 10000"/>
              <a:gd name="connsiteX20" fmla="*/ 1913 w 9967"/>
              <a:gd name="connsiteY20" fmla="*/ 6512 h 10000"/>
              <a:gd name="connsiteX21" fmla="*/ 2006 w 9967"/>
              <a:gd name="connsiteY21" fmla="*/ 6557 h 10000"/>
              <a:gd name="connsiteX22" fmla="*/ 2091 w 9967"/>
              <a:gd name="connsiteY22" fmla="*/ 6615 h 10000"/>
              <a:gd name="connsiteX23" fmla="*/ 2178 w 9967"/>
              <a:gd name="connsiteY23" fmla="*/ 6661 h 10000"/>
              <a:gd name="connsiteX24" fmla="*/ 2264 w 9967"/>
              <a:gd name="connsiteY24" fmla="*/ 6714 h 10000"/>
              <a:gd name="connsiteX25" fmla="*/ 2343 w 9967"/>
              <a:gd name="connsiteY25" fmla="*/ 6770 h 10000"/>
              <a:gd name="connsiteX26" fmla="*/ 2429 w 9967"/>
              <a:gd name="connsiteY26" fmla="*/ 6831 h 10000"/>
              <a:gd name="connsiteX27" fmla="*/ 2507 w 9967"/>
              <a:gd name="connsiteY27" fmla="*/ 6891 h 10000"/>
              <a:gd name="connsiteX28" fmla="*/ 2590 w 9967"/>
              <a:gd name="connsiteY28" fmla="*/ 6951 h 10000"/>
              <a:gd name="connsiteX29" fmla="*/ 2668 w 9967"/>
              <a:gd name="connsiteY29" fmla="*/ 7012 h 10000"/>
              <a:gd name="connsiteX30" fmla="*/ 2747 w 9967"/>
              <a:gd name="connsiteY30" fmla="*/ 7081 h 10000"/>
              <a:gd name="connsiteX31" fmla="*/ 2820 w 9967"/>
              <a:gd name="connsiteY31" fmla="*/ 7151 h 10000"/>
              <a:gd name="connsiteX32" fmla="*/ 2892 w 9967"/>
              <a:gd name="connsiteY32" fmla="*/ 7218 h 10000"/>
              <a:gd name="connsiteX33" fmla="*/ 2966 w 9967"/>
              <a:gd name="connsiteY33" fmla="*/ 7292 h 10000"/>
              <a:gd name="connsiteX34" fmla="*/ 3032 w 9967"/>
              <a:gd name="connsiteY34" fmla="*/ 7364 h 10000"/>
              <a:gd name="connsiteX35" fmla="*/ 3104 w 9967"/>
              <a:gd name="connsiteY35" fmla="*/ 7441 h 10000"/>
              <a:gd name="connsiteX36" fmla="*/ 3169 w 9967"/>
              <a:gd name="connsiteY36" fmla="*/ 7514 h 10000"/>
              <a:gd name="connsiteX37" fmla="*/ 3229 w 9967"/>
              <a:gd name="connsiteY37" fmla="*/ 7597 h 10000"/>
              <a:gd name="connsiteX38" fmla="*/ 3296 w 9967"/>
              <a:gd name="connsiteY38" fmla="*/ 7671 h 10000"/>
              <a:gd name="connsiteX39" fmla="*/ 3355 w 9967"/>
              <a:gd name="connsiteY39" fmla="*/ 7752 h 10000"/>
              <a:gd name="connsiteX40" fmla="*/ 3414 w 9967"/>
              <a:gd name="connsiteY40" fmla="*/ 7833 h 10000"/>
              <a:gd name="connsiteX41" fmla="*/ 3474 w 9967"/>
              <a:gd name="connsiteY41" fmla="*/ 7917 h 10000"/>
              <a:gd name="connsiteX42" fmla="*/ 3527 w 9967"/>
              <a:gd name="connsiteY42" fmla="*/ 8003 h 10000"/>
              <a:gd name="connsiteX43" fmla="*/ 3580 w 9967"/>
              <a:gd name="connsiteY43" fmla="*/ 8090 h 10000"/>
              <a:gd name="connsiteX44" fmla="*/ 3633 w 9967"/>
              <a:gd name="connsiteY44" fmla="*/ 8181 h 10000"/>
              <a:gd name="connsiteX45" fmla="*/ 3687 w 9967"/>
              <a:gd name="connsiteY45" fmla="*/ 8267 h 10000"/>
              <a:gd name="connsiteX46" fmla="*/ 3726 w 9967"/>
              <a:gd name="connsiteY46" fmla="*/ 8363 h 10000"/>
              <a:gd name="connsiteX47" fmla="*/ 3779 w 9967"/>
              <a:gd name="connsiteY47" fmla="*/ 8459 h 10000"/>
              <a:gd name="connsiteX48" fmla="*/ 3819 w 9967"/>
              <a:gd name="connsiteY48" fmla="*/ 8544 h 10000"/>
              <a:gd name="connsiteX49" fmla="*/ 3859 w 9967"/>
              <a:gd name="connsiteY49" fmla="*/ 8642 h 10000"/>
              <a:gd name="connsiteX50" fmla="*/ 3898 w 9967"/>
              <a:gd name="connsiteY50" fmla="*/ 8737 h 10000"/>
              <a:gd name="connsiteX51" fmla="*/ 3931 w 9967"/>
              <a:gd name="connsiteY51" fmla="*/ 8832 h 10000"/>
              <a:gd name="connsiteX52" fmla="*/ 3964 w 9967"/>
              <a:gd name="connsiteY52" fmla="*/ 8932 h 10000"/>
              <a:gd name="connsiteX53" fmla="*/ 3997 w 9967"/>
              <a:gd name="connsiteY53" fmla="*/ 9034 h 10000"/>
              <a:gd name="connsiteX54" fmla="*/ 4030 w 9967"/>
              <a:gd name="connsiteY54" fmla="*/ 9131 h 10000"/>
              <a:gd name="connsiteX55" fmla="*/ 4056 w 9967"/>
              <a:gd name="connsiteY55" fmla="*/ 9231 h 10000"/>
              <a:gd name="connsiteX56" fmla="*/ 4076 w 9967"/>
              <a:gd name="connsiteY56" fmla="*/ 9332 h 10000"/>
              <a:gd name="connsiteX57" fmla="*/ 4104 w 9967"/>
              <a:gd name="connsiteY57" fmla="*/ 9442 h 10000"/>
              <a:gd name="connsiteX58" fmla="*/ 4123 w 9967"/>
              <a:gd name="connsiteY58" fmla="*/ 9543 h 10000"/>
              <a:gd name="connsiteX59" fmla="*/ 4143 w 9967"/>
              <a:gd name="connsiteY59" fmla="*/ 9646 h 10000"/>
              <a:gd name="connsiteX60" fmla="*/ 7274 w 9967"/>
              <a:gd name="connsiteY60" fmla="*/ 10000 h 10000"/>
              <a:gd name="connsiteX61" fmla="*/ 9967 w 9967"/>
              <a:gd name="connsiteY61" fmla="*/ 8731 h 10000"/>
              <a:gd name="connsiteX62" fmla="*/ 9928 w 9967"/>
              <a:gd name="connsiteY62" fmla="*/ 8471 h 10000"/>
              <a:gd name="connsiteX63" fmla="*/ 9881 w 9967"/>
              <a:gd name="connsiteY63" fmla="*/ 8220 h 10000"/>
              <a:gd name="connsiteX64" fmla="*/ 9828 w 9967"/>
              <a:gd name="connsiteY64" fmla="*/ 7970 h 10000"/>
              <a:gd name="connsiteX65" fmla="*/ 9767 w 9967"/>
              <a:gd name="connsiteY65" fmla="*/ 7726 h 10000"/>
              <a:gd name="connsiteX66" fmla="*/ 9702 w 9967"/>
              <a:gd name="connsiteY66" fmla="*/ 7474 h 10000"/>
              <a:gd name="connsiteX67" fmla="*/ 9637 w 9967"/>
              <a:gd name="connsiteY67" fmla="*/ 7231 h 10000"/>
              <a:gd name="connsiteX68" fmla="*/ 9557 w 9967"/>
              <a:gd name="connsiteY68" fmla="*/ 6992 h 10000"/>
              <a:gd name="connsiteX69" fmla="*/ 9477 w 9967"/>
              <a:gd name="connsiteY69" fmla="*/ 6755 h 10000"/>
              <a:gd name="connsiteX70" fmla="*/ 9385 w 9967"/>
              <a:gd name="connsiteY70" fmla="*/ 6518 h 10000"/>
              <a:gd name="connsiteX71" fmla="*/ 9292 w 9967"/>
              <a:gd name="connsiteY71" fmla="*/ 6290 h 10000"/>
              <a:gd name="connsiteX72" fmla="*/ 9197 w 9967"/>
              <a:gd name="connsiteY72" fmla="*/ 6058 h 10000"/>
              <a:gd name="connsiteX73" fmla="*/ 9092 w 9967"/>
              <a:gd name="connsiteY73" fmla="*/ 5834 h 10000"/>
              <a:gd name="connsiteX74" fmla="*/ 8987 w 9967"/>
              <a:gd name="connsiteY74" fmla="*/ 5610 h 10000"/>
              <a:gd name="connsiteX75" fmla="*/ 8875 w 9967"/>
              <a:gd name="connsiteY75" fmla="*/ 5387 h 10000"/>
              <a:gd name="connsiteX76" fmla="*/ 8756 w 9967"/>
              <a:gd name="connsiteY76" fmla="*/ 5170 h 10000"/>
              <a:gd name="connsiteX77" fmla="*/ 8629 w 9967"/>
              <a:gd name="connsiteY77" fmla="*/ 4960 h 10000"/>
              <a:gd name="connsiteX78" fmla="*/ 8504 w 9967"/>
              <a:gd name="connsiteY78" fmla="*/ 4749 h 10000"/>
              <a:gd name="connsiteX79" fmla="*/ 8372 w 9967"/>
              <a:gd name="connsiteY79" fmla="*/ 4538 h 10000"/>
              <a:gd name="connsiteX80" fmla="*/ 8232 w 9967"/>
              <a:gd name="connsiteY80" fmla="*/ 4337 h 10000"/>
              <a:gd name="connsiteX81" fmla="*/ 8087 w 9967"/>
              <a:gd name="connsiteY81" fmla="*/ 4138 h 10000"/>
              <a:gd name="connsiteX82" fmla="*/ 7941 w 9967"/>
              <a:gd name="connsiteY82" fmla="*/ 3942 h 10000"/>
              <a:gd name="connsiteX83" fmla="*/ 7789 w 9967"/>
              <a:gd name="connsiteY83" fmla="*/ 3743 h 10000"/>
              <a:gd name="connsiteX84" fmla="*/ 7637 w 9967"/>
              <a:gd name="connsiteY84" fmla="*/ 3563 h 10000"/>
              <a:gd name="connsiteX85" fmla="*/ 7470 w 9967"/>
              <a:gd name="connsiteY85" fmla="*/ 3380 h 10000"/>
              <a:gd name="connsiteX86" fmla="*/ 7312 w 9967"/>
              <a:gd name="connsiteY86" fmla="*/ 3196 h 10000"/>
              <a:gd name="connsiteX87" fmla="*/ 7141 w 9967"/>
              <a:gd name="connsiteY87" fmla="*/ 3014 h 10000"/>
              <a:gd name="connsiteX88" fmla="*/ 6969 w 9967"/>
              <a:gd name="connsiteY88" fmla="*/ 2844 h 10000"/>
              <a:gd name="connsiteX89" fmla="*/ 6798 w 9967"/>
              <a:gd name="connsiteY89" fmla="*/ 2675 h 10000"/>
              <a:gd name="connsiteX90" fmla="*/ 6613 w 9967"/>
              <a:gd name="connsiteY90" fmla="*/ 2514 h 10000"/>
              <a:gd name="connsiteX91" fmla="*/ 6426 w 9967"/>
              <a:gd name="connsiteY91" fmla="*/ 2357 h 10000"/>
              <a:gd name="connsiteX92" fmla="*/ 6241 w 9967"/>
              <a:gd name="connsiteY92" fmla="*/ 2203 h 10000"/>
              <a:gd name="connsiteX93" fmla="*/ 6049 w 9967"/>
              <a:gd name="connsiteY93" fmla="*/ 2049 h 10000"/>
              <a:gd name="connsiteX94" fmla="*/ 5850 w 9967"/>
              <a:gd name="connsiteY94" fmla="*/ 1903 h 10000"/>
              <a:gd name="connsiteX95" fmla="*/ 5653 w 9967"/>
              <a:gd name="connsiteY95" fmla="*/ 1759 h 10000"/>
              <a:gd name="connsiteX96" fmla="*/ 5453 w 9967"/>
              <a:gd name="connsiteY96" fmla="*/ 1626 h 10000"/>
              <a:gd name="connsiteX97" fmla="*/ 5248 w 9967"/>
              <a:gd name="connsiteY97" fmla="*/ 1495 h 10000"/>
              <a:gd name="connsiteX98" fmla="*/ 5045 w 9967"/>
              <a:gd name="connsiteY98" fmla="*/ 1366 h 10000"/>
              <a:gd name="connsiteX99" fmla="*/ 4824 w 9967"/>
              <a:gd name="connsiteY99" fmla="*/ 1245 h 10000"/>
              <a:gd name="connsiteX100" fmla="*/ 4613 w 9967"/>
              <a:gd name="connsiteY100" fmla="*/ 1130 h 10000"/>
              <a:gd name="connsiteX101" fmla="*/ 4393 w 9967"/>
              <a:gd name="connsiteY101" fmla="*/ 1023 h 10000"/>
              <a:gd name="connsiteX102" fmla="*/ 4169 w 9967"/>
              <a:gd name="connsiteY102" fmla="*/ 912 h 10000"/>
              <a:gd name="connsiteX103" fmla="*/ 3950 w 9967"/>
              <a:gd name="connsiteY103" fmla="*/ 811 h 10000"/>
              <a:gd name="connsiteX104" fmla="*/ 3726 w 9967"/>
              <a:gd name="connsiteY104" fmla="*/ 723 h 10000"/>
              <a:gd name="connsiteX105" fmla="*/ 3494 w 9967"/>
              <a:gd name="connsiteY105" fmla="*/ 627 h 10000"/>
              <a:gd name="connsiteX106" fmla="*/ 3261 w 9967"/>
              <a:gd name="connsiteY106" fmla="*/ 547 h 10000"/>
              <a:gd name="connsiteX107" fmla="*/ 3025 w 9967"/>
              <a:gd name="connsiteY107" fmla="*/ 464 h 10000"/>
              <a:gd name="connsiteX108" fmla="*/ 2793 w 9967"/>
              <a:gd name="connsiteY108" fmla="*/ 396 h 10000"/>
              <a:gd name="connsiteX109" fmla="*/ 2550 w 9967"/>
              <a:gd name="connsiteY109" fmla="*/ 330 h 10000"/>
              <a:gd name="connsiteX110" fmla="*/ 2304 w 9967"/>
              <a:gd name="connsiteY110" fmla="*/ 268 h 10000"/>
              <a:gd name="connsiteX111" fmla="*/ 2064 w 9967"/>
              <a:gd name="connsiteY111" fmla="*/ 214 h 10000"/>
              <a:gd name="connsiteX112" fmla="*/ 1821 w 9967"/>
              <a:gd name="connsiteY112" fmla="*/ 165 h 10000"/>
              <a:gd name="connsiteX113" fmla="*/ 1568 w 9967"/>
              <a:gd name="connsiteY113" fmla="*/ 118 h 10000"/>
              <a:gd name="connsiteX114" fmla="*/ 1316 w 9967"/>
              <a:gd name="connsiteY114" fmla="*/ 85 h 10000"/>
              <a:gd name="connsiteX115" fmla="*/ 1067 w 9967"/>
              <a:gd name="connsiteY115" fmla="*/ 58 h 10000"/>
              <a:gd name="connsiteX116" fmla="*/ 815 w 9967"/>
              <a:gd name="connsiteY116" fmla="*/ 41 h 10000"/>
              <a:gd name="connsiteX117" fmla="*/ 555 w 9967"/>
              <a:gd name="connsiteY117" fmla="*/ 15 h 10000"/>
              <a:gd name="connsiteX118" fmla="*/ 298 w 9967"/>
              <a:gd name="connsiteY118" fmla="*/ 8 h 10000"/>
              <a:gd name="connsiteX119" fmla="*/ 39 w 9967"/>
              <a:gd name="connsiteY119" fmla="*/ 3 h 10000"/>
              <a:gd name="connsiteX120" fmla="*/ 0 w 9967"/>
              <a:gd name="connsiteY120" fmla="*/ 0 h 10000"/>
              <a:gd name="connsiteX121" fmla="*/ 1220 w 9967"/>
              <a:gd name="connsiteY121" fmla="*/ 3102 h 10000"/>
              <a:gd name="connsiteX122" fmla="*/ 7 w 9967"/>
              <a:gd name="connsiteY122" fmla="*/ 6052 h 10000"/>
              <a:gd name="connsiteX0" fmla="*/ 7 w 9961"/>
              <a:gd name="connsiteY0" fmla="*/ 6052 h 10000"/>
              <a:gd name="connsiteX1" fmla="*/ 20 w 9961"/>
              <a:gd name="connsiteY1" fmla="*/ 6045 h 10000"/>
              <a:gd name="connsiteX2" fmla="*/ 124 w 9961"/>
              <a:gd name="connsiteY2" fmla="*/ 6045 h 10000"/>
              <a:gd name="connsiteX3" fmla="*/ 232 w 9961"/>
              <a:gd name="connsiteY3" fmla="*/ 6052 h 10000"/>
              <a:gd name="connsiteX4" fmla="*/ 339 w 9961"/>
              <a:gd name="connsiteY4" fmla="*/ 6058 h 10000"/>
              <a:gd name="connsiteX5" fmla="*/ 443 w 9961"/>
              <a:gd name="connsiteY5" fmla="*/ 6064 h 10000"/>
              <a:gd name="connsiteX6" fmla="*/ 551 w 9961"/>
              <a:gd name="connsiteY6" fmla="*/ 6085 h 10000"/>
              <a:gd name="connsiteX7" fmla="*/ 656 w 9961"/>
              <a:gd name="connsiteY7" fmla="*/ 6098 h 10000"/>
              <a:gd name="connsiteX8" fmla="*/ 756 w 9961"/>
              <a:gd name="connsiteY8" fmla="*/ 6112 h 10000"/>
              <a:gd name="connsiteX9" fmla="*/ 858 w 9961"/>
              <a:gd name="connsiteY9" fmla="*/ 6134 h 10000"/>
              <a:gd name="connsiteX10" fmla="*/ 964 w 9961"/>
              <a:gd name="connsiteY10" fmla="*/ 6152 h 10000"/>
              <a:gd name="connsiteX11" fmla="*/ 1063 w 9961"/>
              <a:gd name="connsiteY11" fmla="*/ 6178 h 10000"/>
              <a:gd name="connsiteX12" fmla="*/ 1162 w 9961"/>
              <a:gd name="connsiteY12" fmla="*/ 6209 h 10000"/>
              <a:gd name="connsiteX13" fmla="*/ 1261 w 9961"/>
              <a:gd name="connsiteY13" fmla="*/ 6236 h 10000"/>
              <a:gd name="connsiteX14" fmla="*/ 1355 w 9961"/>
              <a:gd name="connsiteY14" fmla="*/ 6270 h 10000"/>
              <a:gd name="connsiteX15" fmla="*/ 1455 w 9961"/>
              <a:gd name="connsiteY15" fmla="*/ 6302 h 10000"/>
              <a:gd name="connsiteX16" fmla="*/ 1547 w 9961"/>
              <a:gd name="connsiteY16" fmla="*/ 6341 h 10000"/>
              <a:gd name="connsiteX17" fmla="*/ 1639 w 9961"/>
              <a:gd name="connsiteY17" fmla="*/ 6381 h 10000"/>
              <a:gd name="connsiteX18" fmla="*/ 1733 w 9961"/>
              <a:gd name="connsiteY18" fmla="*/ 6425 h 10000"/>
              <a:gd name="connsiteX19" fmla="*/ 1827 w 9961"/>
              <a:gd name="connsiteY19" fmla="*/ 6465 h 10000"/>
              <a:gd name="connsiteX20" fmla="*/ 1919 w 9961"/>
              <a:gd name="connsiteY20" fmla="*/ 6512 h 10000"/>
              <a:gd name="connsiteX21" fmla="*/ 2013 w 9961"/>
              <a:gd name="connsiteY21" fmla="*/ 6557 h 10000"/>
              <a:gd name="connsiteX22" fmla="*/ 2098 w 9961"/>
              <a:gd name="connsiteY22" fmla="*/ 6615 h 10000"/>
              <a:gd name="connsiteX23" fmla="*/ 2185 w 9961"/>
              <a:gd name="connsiteY23" fmla="*/ 6661 h 10000"/>
              <a:gd name="connsiteX24" fmla="*/ 2271 w 9961"/>
              <a:gd name="connsiteY24" fmla="*/ 6714 h 10000"/>
              <a:gd name="connsiteX25" fmla="*/ 2351 w 9961"/>
              <a:gd name="connsiteY25" fmla="*/ 6770 h 10000"/>
              <a:gd name="connsiteX26" fmla="*/ 2437 w 9961"/>
              <a:gd name="connsiteY26" fmla="*/ 6831 h 10000"/>
              <a:gd name="connsiteX27" fmla="*/ 2515 w 9961"/>
              <a:gd name="connsiteY27" fmla="*/ 6891 h 10000"/>
              <a:gd name="connsiteX28" fmla="*/ 2599 w 9961"/>
              <a:gd name="connsiteY28" fmla="*/ 6951 h 10000"/>
              <a:gd name="connsiteX29" fmla="*/ 2677 w 9961"/>
              <a:gd name="connsiteY29" fmla="*/ 7012 h 10000"/>
              <a:gd name="connsiteX30" fmla="*/ 2756 w 9961"/>
              <a:gd name="connsiteY30" fmla="*/ 7081 h 10000"/>
              <a:gd name="connsiteX31" fmla="*/ 2829 w 9961"/>
              <a:gd name="connsiteY31" fmla="*/ 7151 h 10000"/>
              <a:gd name="connsiteX32" fmla="*/ 2902 w 9961"/>
              <a:gd name="connsiteY32" fmla="*/ 7218 h 10000"/>
              <a:gd name="connsiteX33" fmla="*/ 2976 w 9961"/>
              <a:gd name="connsiteY33" fmla="*/ 7292 h 10000"/>
              <a:gd name="connsiteX34" fmla="*/ 3042 w 9961"/>
              <a:gd name="connsiteY34" fmla="*/ 7364 h 10000"/>
              <a:gd name="connsiteX35" fmla="*/ 3114 w 9961"/>
              <a:gd name="connsiteY35" fmla="*/ 7441 h 10000"/>
              <a:gd name="connsiteX36" fmla="*/ 3179 w 9961"/>
              <a:gd name="connsiteY36" fmla="*/ 7514 h 10000"/>
              <a:gd name="connsiteX37" fmla="*/ 3240 w 9961"/>
              <a:gd name="connsiteY37" fmla="*/ 7597 h 10000"/>
              <a:gd name="connsiteX38" fmla="*/ 3307 w 9961"/>
              <a:gd name="connsiteY38" fmla="*/ 7671 h 10000"/>
              <a:gd name="connsiteX39" fmla="*/ 3366 w 9961"/>
              <a:gd name="connsiteY39" fmla="*/ 7752 h 10000"/>
              <a:gd name="connsiteX40" fmla="*/ 3425 w 9961"/>
              <a:gd name="connsiteY40" fmla="*/ 7833 h 10000"/>
              <a:gd name="connsiteX41" fmla="*/ 3486 w 9961"/>
              <a:gd name="connsiteY41" fmla="*/ 7917 h 10000"/>
              <a:gd name="connsiteX42" fmla="*/ 3539 w 9961"/>
              <a:gd name="connsiteY42" fmla="*/ 8003 h 10000"/>
              <a:gd name="connsiteX43" fmla="*/ 3592 w 9961"/>
              <a:gd name="connsiteY43" fmla="*/ 8090 h 10000"/>
              <a:gd name="connsiteX44" fmla="*/ 3645 w 9961"/>
              <a:gd name="connsiteY44" fmla="*/ 8181 h 10000"/>
              <a:gd name="connsiteX45" fmla="*/ 3699 w 9961"/>
              <a:gd name="connsiteY45" fmla="*/ 8267 h 10000"/>
              <a:gd name="connsiteX46" fmla="*/ 3738 w 9961"/>
              <a:gd name="connsiteY46" fmla="*/ 8363 h 10000"/>
              <a:gd name="connsiteX47" fmla="*/ 3792 w 9961"/>
              <a:gd name="connsiteY47" fmla="*/ 8459 h 10000"/>
              <a:gd name="connsiteX48" fmla="*/ 3832 w 9961"/>
              <a:gd name="connsiteY48" fmla="*/ 8544 h 10000"/>
              <a:gd name="connsiteX49" fmla="*/ 3872 w 9961"/>
              <a:gd name="connsiteY49" fmla="*/ 8642 h 10000"/>
              <a:gd name="connsiteX50" fmla="*/ 3911 w 9961"/>
              <a:gd name="connsiteY50" fmla="*/ 8737 h 10000"/>
              <a:gd name="connsiteX51" fmla="*/ 3944 w 9961"/>
              <a:gd name="connsiteY51" fmla="*/ 8832 h 10000"/>
              <a:gd name="connsiteX52" fmla="*/ 3977 w 9961"/>
              <a:gd name="connsiteY52" fmla="*/ 8932 h 10000"/>
              <a:gd name="connsiteX53" fmla="*/ 4010 w 9961"/>
              <a:gd name="connsiteY53" fmla="*/ 9034 h 10000"/>
              <a:gd name="connsiteX54" fmla="*/ 4043 w 9961"/>
              <a:gd name="connsiteY54" fmla="*/ 9131 h 10000"/>
              <a:gd name="connsiteX55" fmla="*/ 4069 w 9961"/>
              <a:gd name="connsiteY55" fmla="*/ 9231 h 10000"/>
              <a:gd name="connsiteX56" fmla="*/ 4089 w 9961"/>
              <a:gd name="connsiteY56" fmla="*/ 9332 h 10000"/>
              <a:gd name="connsiteX57" fmla="*/ 4118 w 9961"/>
              <a:gd name="connsiteY57" fmla="*/ 9442 h 10000"/>
              <a:gd name="connsiteX58" fmla="*/ 4137 w 9961"/>
              <a:gd name="connsiteY58" fmla="*/ 9543 h 10000"/>
              <a:gd name="connsiteX59" fmla="*/ 4157 w 9961"/>
              <a:gd name="connsiteY59" fmla="*/ 9646 h 10000"/>
              <a:gd name="connsiteX60" fmla="*/ 7298 w 9961"/>
              <a:gd name="connsiteY60" fmla="*/ 10000 h 10000"/>
              <a:gd name="connsiteX61" fmla="*/ 9961 w 9961"/>
              <a:gd name="connsiteY61" fmla="*/ 8471 h 10000"/>
              <a:gd name="connsiteX62" fmla="*/ 9914 w 9961"/>
              <a:gd name="connsiteY62" fmla="*/ 8220 h 10000"/>
              <a:gd name="connsiteX63" fmla="*/ 9861 w 9961"/>
              <a:gd name="connsiteY63" fmla="*/ 7970 h 10000"/>
              <a:gd name="connsiteX64" fmla="*/ 9799 w 9961"/>
              <a:gd name="connsiteY64" fmla="*/ 7726 h 10000"/>
              <a:gd name="connsiteX65" fmla="*/ 9734 w 9961"/>
              <a:gd name="connsiteY65" fmla="*/ 7474 h 10000"/>
              <a:gd name="connsiteX66" fmla="*/ 9669 w 9961"/>
              <a:gd name="connsiteY66" fmla="*/ 7231 h 10000"/>
              <a:gd name="connsiteX67" fmla="*/ 9589 w 9961"/>
              <a:gd name="connsiteY67" fmla="*/ 6992 h 10000"/>
              <a:gd name="connsiteX68" fmla="*/ 9508 w 9961"/>
              <a:gd name="connsiteY68" fmla="*/ 6755 h 10000"/>
              <a:gd name="connsiteX69" fmla="*/ 9416 w 9961"/>
              <a:gd name="connsiteY69" fmla="*/ 6518 h 10000"/>
              <a:gd name="connsiteX70" fmla="*/ 9323 w 9961"/>
              <a:gd name="connsiteY70" fmla="*/ 6290 h 10000"/>
              <a:gd name="connsiteX71" fmla="*/ 9227 w 9961"/>
              <a:gd name="connsiteY71" fmla="*/ 6058 h 10000"/>
              <a:gd name="connsiteX72" fmla="*/ 9122 w 9961"/>
              <a:gd name="connsiteY72" fmla="*/ 5834 h 10000"/>
              <a:gd name="connsiteX73" fmla="*/ 9017 w 9961"/>
              <a:gd name="connsiteY73" fmla="*/ 5610 h 10000"/>
              <a:gd name="connsiteX74" fmla="*/ 8904 w 9961"/>
              <a:gd name="connsiteY74" fmla="*/ 5387 h 10000"/>
              <a:gd name="connsiteX75" fmla="*/ 8785 w 9961"/>
              <a:gd name="connsiteY75" fmla="*/ 5170 h 10000"/>
              <a:gd name="connsiteX76" fmla="*/ 8658 w 9961"/>
              <a:gd name="connsiteY76" fmla="*/ 4960 h 10000"/>
              <a:gd name="connsiteX77" fmla="*/ 8532 w 9961"/>
              <a:gd name="connsiteY77" fmla="*/ 4749 h 10000"/>
              <a:gd name="connsiteX78" fmla="*/ 8400 w 9961"/>
              <a:gd name="connsiteY78" fmla="*/ 4538 h 10000"/>
              <a:gd name="connsiteX79" fmla="*/ 8259 w 9961"/>
              <a:gd name="connsiteY79" fmla="*/ 4337 h 10000"/>
              <a:gd name="connsiteX80" fmla="*/ 8114 w 9961"/>
              <a:gd name="connsiteY80" fmla="*/ 4138 h 10000"/>
              <a:gd name="connsiteX81" fmla="*/ 7967 w 9961"/>
              <a:gd name="connsiteY81" fmla="*/ 3942 h 10000"/>
              <a:gd name="connsiteX82" fmla="*/ 7815 w 9961"/>
              <a:gd name="connsiteY82" fmla="*/ 3743 h 10000"/>
              <a:gd name="connsiteX83" fmla="*/ 7662 w 9961"/>
              <a:gd name="connsiteY83" fmla="*/ 3563 h 10000"/>
              <a:gd name="connsiteX84" fmla="*/ 7495 w 9961"/>
              <a:gd name="connsiteY84" fmla="*/ 3380 h 10000"/>
              <a:gd name="connsiteX85" fmla="*/ 7336 w 9961"/>
              <a:gd name="connsiteY85" fmla="*/ 3196 h 10000"/>
              <a:gd name="connsiteX86" fmla="*/ 7165 w 9961"/>
              <a:gd name="connsiteY86" fmla="*/ 3014 h 10000"/>
              <a:gd name="connsiteX87" fmla="*/ 6992 w 9961"/>
              <a:gd name="connsiteY87" fmla="*/ 2844 h 10000"/>
              <a:gd name="connsiteX88" fmla="*/ 6821 w 9961"/>
              <a:gd name="connsiteY88" fmla="*/ 2675 h 10000"/>
              <a:gd name="connsiteX89" fmla="*/ 6635 w 9961"/>
              <a:gd name="connsiteY89" fmla="*/ 2514 h 10000"/>
              <a:gd name="connsiteX90" fmla="*/ 6447 w 9961"/>
              <a:gd name="connsiteY90" fmla="*/ 2357 h 10000"/>
              <a:gd name="connsiteX91" fmla="*/ 6262 w 9961"/>
              <a:gd name="connsiteY91" fmla="*/ 2203 h 10000"/>
              <a:gd name="connsiteX92" fmla="*/ 6069 w 9961"/>
              <a:gd name="connsiteY92" fmla="*/ 2049 h 10000"/>
              <a:gd name="connsiteX93" fmla="*/ 5869 w 9961"/>
              <a:gd name="connsiteY93" fmla="*/ 1903 h 10000"/>
              <a:gd name="connsiteX94" fmla="*/ 5672 w 9961"/>
              <a:gd name="connsiteY94" fmla="*/ 1759 h 10000"/>
              <a:gd name="connsiteX95" fmla="*/ 5471 w 9961"/>
              <a:gd name="connsiteY95" fmla="*/ 1626 h 10000"/>
              <a:gd name="connsiteX96" fmla="*/ 5265 w 9961"/>
              <a:gd name="connsiteY96" fmla="*/ 1495 h 10000"/>
              <a:gd name="connsiteX97" fmla="*/ 5062 w 9961"/>
              <a:gd name="connsiteY97" fmla="*/ 1366 h 10000"/>
              <a:gd name="connsiteX98" fmla="*/ 4840 w 9961"/>
              <a:gd name="connsiteY98" fmla="*/ 1245 h 10000"/>
              <a:gd name="connsiteX99" fmla="*/ 4628 w 9961"/>
              <a:gd name="connsiteY99" fmla="*/ 1130 h 10000"/>
              <a:gd name="connsiteX100" fmla="*/ 4408 w 9961"/>
              <a:gd name="connsiteY100" fmla="*/ 1023 h 10000"/>
              <a:gd name="connsiteX101" fmla="*/ 4183 w 9961"/>
              <a:gd name="connsiteY101" fmla="*/ 912 h 10000"/>
              <a:gd name="connsiteX102" fmla="*/ 3963 w 9961"/>
              <a:gd name="connsiteY102" fmla="*/ 811 h 10000"/>
              <a:gd name="connsiteX103" fmla="*/ 3738 w 9961"/>
              <a:gd name="connsiteY103" fmla="*/ 723 h 10000"/>
              <a:gd name="connsiteX104" fmla="*/ 3506 w 9961"/>
              <a:gd name="connsiteY104" fmla="*/ 627 h 10000"/>
              <a:gd name="connsiteX105" fmla="*/ 3272 w 9961"/>
              <a:gd name="connsiteY105" fmla="*/ 547 h 10000"/>
              <a:gd name="connsiteX106" fmla="*/ 3035 w 9961"/>
              <a:gd name="connsiteY106" fmla="*/ 464 h 10000"/>
              <a:gd name="connsiteX107" fmla="*/ 2802 w 9961"/>
              <a:gd name="connsiteY107" fmla="*/ 396 h 10000"/>
              <a:gd name="connsiteX108" fmla="*/ 2558 w 9961"/>
              <a:gd name="connsiteY108" fmla="*/ 330 h 10000"/>
              <a:gd name="connsiteX109" fmla="*/ 2312 w 9961"/>
              <a:gd name="connsiteY109" fmla="*/ 268 h 10000"/>
              <a:gd name="connsiteX110" fmla="*/ 2071 w 9961"/>
              <a:gd name="connsiteY110" fmla="*/ 214 h 10000"/>
              <a:gd name="connsiteX111" fmla="*/ 1827 w 9961"/>
              <a:gd name="connsiteY111" fmla="*/ 165 h 10000"/>
              <a:gd name="connsiteX112" fmla="*/ 1573 w 9961"/>
              <a:gd name="connsiteY112" fmla="*/ 118 h 10000"/>
              <a:gd name="connsiteX113" fmla="*/ 1320 w 9961"/>
              <a:gd name="connsiteY113" fmla="*/ 85 h 10000"/>
              <a:gd name="connsiteX114" fmla="*/ 1071 w 9961"/>
              <a:gd name="connsiteY114" fmla="*/ 58 h 10000"/>
              <a:gd name="connsiteX115" fmla="*/ 818 w 9961"/>
              <a:gd name="connsiteY115" fmla="*/ 41 h 10000"/>
              <a:gd name="connsiteX116" fmla="*/ 557 w 9961"/>
              <a:gd name="connsiteY116" fmla="*/ 15 h 10000"/>
              <a:gd name="connsiteX117" fmla="*/ 299 w 9961"/>
              <a:gd name="connsiteY117" fmla="*/ 8 h 10000"/>
              <a:gd name="connsiteX118" fmla="*/ 39 w 9961"/>
              <a:gd name="connsiteY118" fmla="*/ 3 h 10000"/>
              <a:gd name="connsiteX119" fmla="*/ 0 w 9961"/>
              <a:gd name="connsiteY119" fmla="*/ 0 h 10000"/>
              <a:gd name="connsiteX120" fmla="*/ 1224 w 9961"/>
              <a:gd name="connsiteY120" fmla="*/ 3102 h 10000"/>
              <a:gd name="connsiteX121" fmla="*/ 7 w 9961"/>
              <a:gd name="connsiteY121" fmla="*/ 6052 h 10000"/>
              <a:gd name="connsiteX0" fmla="*/ 7 w 9953"/>
              <a:gd name="connsiteY0" fmla="*/ 6052 h 10000"/>
              <a:gd name="connsiteX1" fmla="*/ 20 w 9953"/>
              <a:gd name="connsiteY1" fmla="*/ 6045 h 10000"/>
              <a:gd name="connsiteX2" fmla="*/ 124 w 9953"/>
              <a:gd name="connsiteY2" fmla="*/ 6045 h 10000"/>
              <a:gd name="connsiteX3" fmla="*/ 233 w 9953"/>
              <a:gd name="connsiteY3" fmla="*/ 6052 h 10000"/>
              <a:gd name="connsiteX4" fmla="*/ 340 w 9953"/>
              <a:gd name="connsiteY4" fmla="*/ 6058 h 10000"/>
              <a:gd name="connsiteX5" fmla="*/ 445 w 9953"/>
              <a:gd name="connsiteY5" fmla="*/ 6064 h 10000"/>
              <a:gd name="connsiteX6" fmla="*/ 553 w 9953"/>
              <a:gd name="connsiteY6" fmla="*/ 6085 h 10000"/>
              <a:gd name="connsiteX7" fmla="*/ 659 w 9953"/>
              <a:gd name="connsiteY7" fmla="*/ 6098 h 10000"/>
              <a:gd name="connsiteX8" fmla="*/ 759 w 9953"/>
              <a:gd name="connsiteY8" fmla="*/ 6112 h 10000"/>
              <a:gd name="connsiteX9" fmla="*/ 861 w 9953"/>
              <a:gd name="connsiteY9" fmla="*/ 6134 h 10000"/>
              <a:gd name="connsiteX10" fmla="*/ 968 w 9953"/>
              <a:gd name="connsiteY10" fmla="*/ 6152 h 10000"/>
              <a:gd name="connsiteX11" fmla="*/ 1067 w 9953"/>
              <a:gd name="connsiteY11" fmla="*/ 6178 h 10000"/>
              <a:gd name="connsiteX12" fmla="*/ 1167 w 9953"/>
              <a:gd name="connsiteY12" fmla="*/ 6209 h 10000"/>
              <a:gd name="connsiteX13" fmla="*/ 1266 w 9953"/>
              <a:gd name="connsiteY13" fmla="*/ 6236 h 10000"/>
              <a:gd name="connsiteX14" fmla="*/ 1360 w 9953"/>
              <a:gd name="connsiteY14" fmla="*/ 6270 h 10000"/>
              <a:gd name="connsiteX15" fmla="*/ 1461 w 9953"/>
              <a:gd name="connsiteY15" fmla="*/ 6302 h 10000"/>
              <a:gd name="connsiteX16" fmla="*/ 1553 w 9953"/>
              <a:gd name="connsiteY16" fmla="*/ 6341 h 10000"/>
              <a:gd name="connsiteX17" fmla="*/ 1645 w 9953"/>
              <a:gd name="connsiteY17" fmla="*/ 6381 h 10000"/>
              <a:gd name="connsiteX18" fmla="*/ 1740 w 9953"/>
              <a:gd name="connsiteY18" fmla="*/ 6425 h 10000"/>
              <a:gd name="connsiteX19" fmla="*/ 1834 w 9953"/>
              <a:gd name="connsiteY19" fmla="*/ 6465 h 10000"/>
              <a:gd name="connsiteX20" fmla="*/ 1927 w 9953"/>
              <a:gd name="connsiteY20" fmla="*/ 6512 h 10000"/>
              <a:gd name="connsiteX21" fmla="*/ 2021 w 9953"/>
              <a:gd name="connsiteY21" fmla="*/ 6557 h 10000"/>
              <a:gd name="connsiteX22" fmla="*/ 2106 w 9953"/>
              <a:gd name="connsiteY22" fmla="*/ 6615 h 10000"/>
              <a:gd name="connsiteX23" fmla="*/ 2194 w 9953"/>
              <a:gd name="connsiteY23" fmla="*/ 6661 h 10000"/>
              <a:gd name="connsiteX24" fmla="*/ 2280 w 9953"/>
              <a:gd name="connsiteY24" fmla="*/ 6714 h 10000"/>
              <a:gd name="connsiteX25" fmla="*/ 2360 w 9953"/>
              <a:gd name="connsiteY25" fmla="*/ 6770 h 10000"/>
              <a:gd name="connsiteX26" fmla="*/ 2447 w 9953"/>
              <a:gd name="connsiteY26" fmla="*/ 6831 h 10000"/>
              <a:gd name="connsiteX27" fmla="*/ 2525 w 9953"/>
              <a:gd name="connsiteY27" fmla="*/ 6891 h 10000"/>
              <a:gd name="connsiteX28" fmla="*/ 2609 w 9953"/>
              <a:gd name="connsiteY28" fmla="*/ 6951 h 10000"/>
              <a:gd name="connsiteX29" fmla="*/ 2687 w 9953"/>
              <a:gd name="connsiteY29" fmla="*/ 7012 h 10000"/>
              <a:gd name="connsiteX30" fmla="*/ 2767 w 9953"/>
              <a:gd name="connsiteY30" fmla="*/ 7081 h 10000"/>
              <a:gd name="connsiteX31" fmla="*/ 2840 w 9953"/>
              <a:gd name="connsiteY31" fmla="*/ 7151 h 10000"/>
              <a:gd name="connsiteX32" fmla="*/ 2913 w 9953"/>
              <a:gd name="connsiteY32" fmla="*/ 7218 h 10000"/>
              <a:gd name="connsiteX33" fmla="*/ 2988 w 9953"/>
              <a:gd name="connsiteY33" fmla="*/ 7292 h 10000"/>
              <a:gd name="connsiteX34" fmla="*/ 3054 w 9953"/>
              <a:gd name="connsiteY34" fmla="*/ 7364 h 10000"/>
              <a:gd name="connsiteX35" fmla="*/ 3126 w 9953"/>
              <a:gd name="connsiteY35" fmla="*/ 7441 h 10000"/>
              <a:gd name="connsiteX36" fmla="*/ 3191 w 9953"/>
              <a:gd name="connsiteY36" fmla="*/ 7514 h 10000"/>
              <a:gd name="connsiteX37" fmla="*/ 3253 w 9953"/>
              <a:gd name="connsiteY37" fmla="*/ 7597 h 10000"/>
              <a:gd name="connsiteX38" fmla="*/ 3320 w 9953"/>
              <a:gd name="connsiteY38" fmla="*/ 7671 h 10000"/>
              <a:gd name="connsiteX39" fmla="*/ 3379 w 9953"/>
              <a:gd name="connsiteY39" fmla="*/ 7752 h 10000"/>
              <a:gd name="connsiteX40" fmla="*/ 3438 w 9953"/>
              <a:gd name="connsiteY40" fmla="*/ 7833 h 10000"/>
              <a:gd name="connsiteX41" fmla="*/ 3500 w 9953"/>
              <a:gd name="connsiteY41" fmla="*/ 7917 h 10000"/>
              <a:gd name="connsiteX42" fmla="*/ 3553 w 9953"/>
              <a:gd name="connsiteY42" fmla="*/ 8003 h 10000"/>
              <a:gd name="connsiteX43" fmla="*/ 3606 w 9953"/>
              <a:gd name="connsiteY43" fmla="*/ 8090 h 10000"/>
              <a:gd name="connsiteX44" fmla="*/ 3659 w 9953"/>
              <a:gd name="connsiteY44" fmla="*/ 8181 h 10000"/>
              <a:gd name="connsiteX45" fmla="*/ 3713 w 9953"/>
              <a:gd name="connsiteY45" fmla="*/ 8267 h 10000"/>
              <a:gd name="connsiteX46" fmla="*/ 3753 w 9953"/>
              <a:gd name="connsiteY46" fmla="*/ 8363 h 10000"/>
              <a:gd name="connsiteX47" fmla="*/ 3807 w 9953"/>
              <a:gd name="connsiteY47" fmla="*/ 8459 h 10000"/>
              <a:gd name="connsiteX48" fmla="*/ 3847 w 9953"/>
              <a:gd name="connsiteY48" fmla="*/ 8544 h 10000"/>
              <a:gd name="connsiteX49" fmla="*/ 3887 w 9953"/>
              <a:gd name="connsiteY49" fmla="*/ 8642 h 10000"/>
              <a:gd name="connsiteX50" fmla="*/ 3926 w 9953"/>
              <a:gd name="connsiteY50" fmla="*/ 8737 h 10000"/>
              <a:gd name="connsiteX51" fmla="*/ 3959 w 9953"/>
              <a:gd name="connsiteY51" fmla="*/ 8832 h 10000"/>
              <a:gd name="connsiteX52" fmla="*/ 3993 w 9953"/>
              <a:gd name="connsiteY52" fmla="*/ 8932 h 10000"/>
              <a:gd name="connsiteX53" fmla="*/ 4026 w 9953"/>
              <a:gd name="connsiteY53" fmla="*/ 9034 h 10000"/>
              <a:gd name="connsiteX54" fmla="*/ 4059 w 9953"/>
              <a:gd name="connsiteY54" fmla="*/ 9131 h 10000"/>
              <a:gd name="connsiteX55" fmla="*/ 4085 w 9953"/>
              <a:gd name="connsiteY55" fmla="*/ 9231 h 10000"/>
              <a:gd name="connsiteX56" fmla="*/ 4105 w 9953"/>
              <a:gd name="connsiteY56" fmla="*/ 9332 h 10000"/>
              <a:gd name="connsiteX57" fmla="*/ 4134 w 9953"/>
              <a:gd name="connsiteY57" fmla="*/ 9442 h 10000"/>
              <a:gd name="connsiteX58" fmla="*/ 4153 w 9953"/>
              <a:gd name="connsiteY58" fmla="*/ 9543 h 10000"/>
              <a:gd name="connsiteX59" fmla="*/ 4173 w 9953"/>
              <a:gd name="connsiteY59" fmla="*/ 9646 h 10000"/>
              <a:gd name="connsiteX60" fmla="*/ 7327 w 9953"/>
              <a:gd name="connsiteY60" fmla="*/ 10000 h 10000"/>
              <a:gd name="connsiteX61" fmla="*/ 9953 w 9953"/>
              <a:gd name="connsiteY61" fmla="*/ 8220 h 10000"/>
              <a:gd name="connsiteX62" fmla="*/ 9900 w 9953"/>
              <a:gd name="connsiteY62" fmla="*/ 7970 h 10000"/>
              <a:gd name="connsiteX63" fmla="*/ 9837 w 9953"/>
              <a:gd name="connsiteY63" fmla="*/ 7726 h 10000"/>
              <a:gd name="connsiteX64" fmla="*/ 9772 w 9953"/>
              <a:gd name="connsiteY64" fmla="*/ 7474 h 10000"/>
              <a:gd name="connsiteX65" fmla="*/ 9707 w 9953"/>
              <a:gd name="connsiteY65" fmla="*/ 7231 h 10000"/>
              <a:gd name="connsiteX66" fmla="*/ 9627 w 9953"/>
              <a:gd name="connsiteY66" fmla="*/ 6992 h 10000"/>
              <a:gd name="connsiteX67" fmla="*/ 9545 w 9953"/>
              <a:gd name="connsiteY67" fmla="*/ 6755 h 10000"/>
              <a:gd name="connsiteX68" fmla="*/ 9453 w 9953"/>
              <a:gd name="connsiteY68" fmla="*/ 6518 h 10000"/>
              <a:gd name="connsiteX69" fmla="*/ 9360 w 9953"/>
              <a:gd name="connsiteY69" fmla="*/ 6290 h 10000"/>
              <a:gd name="connsiteX70" fmla="*/ 9263 w 9953"/>
              <a:gd name="connsiteY70" fmla="*/ 6058 h 10000"/>
              <a:gd name="connsiteX71" fmla="*/ 9158 w 9953"/>
              <a:gd name="connsiteY71" fmla="*/ 5834 h 10000"/>
              <a:gd name="connsiteX72" fmla="*/ 9052 w 9953"/>
              <a:gd name="connsiteY72" fmla="*/ 5610 h 10000"/>
              <a:gd name="connsiteX73" fmla="*/ 8939 w 9953"/>
              <a:gd name="connsiteY73" fmla="*/ 5387 h 10000"/>
              <a:gd name="connsiteX74" fmla="*/ 8819 w 9953"/>
              <a:gd name="connsiteY74" fmla="*/ 5170 h 10000"/>
              <a:gd name="connsiteX75" fmla="*/ 8692 w 9953"/>
              <a:gd name="connsiteY75" fmla="*/ 4960 h 10000"/>
              <a:gd name="connsiteX76" fmla="*/ 8565 w 9953"/>
              <a:gd name="connsiteY76" fmla="*/ 4749 h 10000"/>
              <a:gd name="connsiteX77" fmla="*/ 8433 w 9953"/>
              <a:gd name="connsiteY77" fmla="*/ 4538 h 10000"/>
              <a:gd name="connsiteX78" fmla="*/ 8291 w 9953"/>
              <a:gd name="connsiteY78" fmla="*/ 4337 h 10000"/>
              <a:gd name="connsiteX79" fmla="*/ 8146 w 9953"/>
              <a:gd name="connsiteY79" fmla="*/ 4138 h 10000"/>
              <a:gd name="connsiteX80" fmla="*/ 7998 w 9953"/>
              <a:gd name="connsiteY80" fmla="*/ 3942 h 10000"/>
              <a:gd name="connsiteX81" fmla="*/ 7846 w 9953"/>
              <a:gd name="connsiteY81" fmla="*/ 3743 h 10000"/>
              <a:gd name="connsiteX82" fmla="*/ 7692 w 9953"/>
              <a:gd name="connsiteY82" fmla="*/ 3563 h 10000"/>
              <a:gd name="connsiteX83" fmla="*/ 7524 w 9953"/>
              <a:gd name="connsiteY83" fmla="*/ 3380 h 10000"/>
              <a:gd name="connsiteX84" fmla="*/ 7365 w 9953"/>
              <a:gd name="connsiteY84" fmla="*/ 3196 h 10000"/>
              <a:gd name="connsiteX85" fmla="*/ 7193 w 9953"/>
              <a:gd name="connsiteY85" fmla="*/ 3014 h 10000"/>
              <a:gd name="connsiteX86" fmla="*/ 7019 w 9953"/>
              <a:gd name="connsiteY86" fmla="*/ 2844 h 10000"/>
              <a:gd name="connsiteX87" fmla="*/ 6848 w 9953"/>
              <a:gd name="connsiteY87" fmla="*/ 2675 h 10000"/>
              <a:gd name="connsiteX88" fmla="*/ 6661 w 9953"/>
              <a:gd name="connsiteY88" fmla="*/ 2514 h 10000"/>
              <a:gd name="connsiteX89" fmla="*/ 6472 w 9953"/>
              <a:gd name="connsiteY89" fmla="*/ 2357 h 10000"/>
              <a:gd name="connsiteX90" fmla="*/ 6287 w 9953"/>
              <a:gd name="connsiteY90" fmla="*/ 2203 h 10000"/>
              <a:gd name="connsiteX91" fmla="*/ 6093 w 9953"/>
              <a:gd name="connsiteY91" fmla="*/ 2049 h 10000"/>
              <a:gd name="connsiteX92" fmla="*/ 5892 w 9953"/>
              <a:gd name="connsiteY92" fmla="*/ 1903 h 10000"/>
              <a:gd name="connsiteX93" fmla="*/ 5694 w 9953"/>
              <a:gd name="connsiteY93" fmla="*/ 1759 h 10000"/>
              <a:gd name="connsiteX94" fmla="*/ 5492 w 9953"/>
              <a:gd name="connsiteY94" fmla="*/ 1626 h 10000"/>
              <a:gd name="connsiteX95" fmla="*/ 5286 w 9953"/>
              <a:gd name="connsiteY95" fmla="*/ 1495 h 10000"/>
              <a:gd name="connsiteX96" fmla="*/ 5082 w 9953"/>
              <a:gd name="connsiteY96" fmla="*/ 1366 h 10000"/>
              <a:gd name="connsiteX97" fmla="*/ 4859 w 9953"/>
              <a:gd name="connsiteY97" fmla="*/ 1245 h 10000"/>
              <a:gd name="connsiteX98" fmla="*/ 4646 w 9953"/>
              <a:gd name="connsiteY98" fmla="*/ 1130 h 10000"/>
              <a:gd name="connsiteX99" fmla="*/ 4425 w 9953"/>
              <a:gd name="connsiteY99" fmla="*/ 1023 h 10000"/>
              <a:gd name="connsiteX100" fmla="*/ 4199 w 9953"/>
              <a:gd name="connsiteY100" fmla="*/ 912 h 10000"/>
              <a:gd name="connsiteX101" fmla="*/ 3979 w 9953"/>
              <a:gd name="connsiteY101" fmla="*/ 811 h 10000"/>
              <a:gd name="connsiteX102" fmla="*/ 3753 w 9953"/>
              <a:gd name="connsiteY102" fmla="*/ 723 h 10000"/>
              <a:gd name="connsiteX103" fmla="*/ 3520 w 9953"/>
              <a:gd name="connsiteY103" fmla="*/ 627 h 10000"/>
              <a:gd name="connsiteX104" fmla="*/ 3285 w 9953"/>
              <a:gd name="connsiteY104" fmla="*/ 547 h 10000"/>
              <a:gd name="connsiteX105" fmla="*/ 3047 w 9953"/>
              <a:gd name="connsiteY105" fmla="*/ 464 h 10000"/>
              <a:gd name="connsiteX106" fmla="*/ 2813 w 9953"/>
              <a:gd name="connsiteY106" fmla="*/ 396 h 10000"/>
              <a:gd name="connsiteX107" fmla="*/ 2568 w 9953"/>
              <a:gd name="connsiteY107" fmla="*/ 330 h 10000"/>
              <a:gd name="connsiteX108" fmla="*/ 2321 w 9953"/>
              <a:gd name="connsiteY108" fmla="*/ 268 h 10000"/>
              <a:gd name="connsiteX109" fmla="*/ 2079 w 9953"/>
              <a:gd name="connsiteY109" fmla="*/ 214 h 10000"/>
              <a:gd name="connsiteX110" fmla="*/ 1834 w 9953"/>
              <a:gd name="connsiteY110" fmla="*/ 165 h 10000"/>
              <a:gd name="connsiteX111" fmla="*/ 1579 w 9953"/>
              <a:gd name="connsiteY111" fmla="*/ 118 h 10000"/>
              <a:gd name="connsiteX112" fmla="*/ 1325 w 9953"/>
              <a:gd name="connsiteY112" fmla="*/ 85 h 10000"/>
              <a:gd name="connsiteX113" fmla="*/ 1075 w 9953"/>
              <a:gd name="connsiteY113" fmla="*/ 58 h 10000"/>
              <a:gd name="connsiteX114" fmla="*/ 821 w 9953"/>
              <a:gd name="connsiteY114" fmla="*/ 41 h 10000"/>
              <a:gd name="connsiteX115" fmla="*/ 559 w 9953"/>
              <a:gd name="connsiteY115" fmla="*/ 15 h 10000"/>
              <a:gd name="connsiteX116" fmla="*/ 300 w 9953"/>
              <a:gd name="connsiteY116" fmla="*/ 8 h 10000"/>
              <a:gd name="connsiteX117" fmla="*/ 39 w 9953"/>
              <a:gd name="connsiteY117" fmla="*/ 3 h 10000"/>
              <a:gd name="connsiteX118" fmla="*/ 0 w 9953"/>
              <a:gd name="connsiteY118" fmla="*/ 0 h 10000"/>
              <a:gd name="connsiteX119" fmla="*/ 1229 w 9953"/>
              <a:gd name="connsiteY119" fmla="*/ 3102 h 10000"/>
              <a:gd name="connsiteX120" fmla="*/ 7 w 9953"/>
              <a:gd name="connsiteY120" fmla="*/ 6052 h 10000"/>
              <a:gd name="connsiteX0" fmla="*/ 7 w 9947"/>
              <a:gd name="connsiteY0" fmla="*/ 6052 h 10000"/>
              <a:gd name="connsiteX1" fmla="*/ 20 w 9947"/>
              <a:gd name="connsiteY1" fmla="*/ 6045 h 10000"/>
              <a:gd name="connsiteX2" fmla="*/ 125 w 9947"/>
              <a:gd name="connsiteY2" fmla="*/ 6045 h 10000"/>
              <a:gd name="connsiteX3" fmla="*/ 234 w 9947"/>
              <a:gd name="connsiteY3" fmla="*/ 6052 h 10000"/>
              <a:gd name="connsiteX4" fmla="*/ 342 w 9947"/>
              <a:gd name="connsiteY4" fmla="*/ 6058 h 10000"/>
              <a:gd name="connsiteX5" fmla="*/ 447 w 9947"/>
              <a:gd name="connsiteY5" fmla="*/ 6064 h 10000"/>
              <a:gd name="connsiteX6" fmla="*/ 556 w 9947"/>
              <a:gd name="connsiteY6" fmla="*/ 6085 h 10000"/>
              <a:gd name="connsiteX7" fmla="*/ 662 w 9947"/>
              <a:gd name="connsiteY7" fmla="*/ 6098 h 10000"/>
              <a:gd name="connsiteX8" fmla="*/ 763 w 9947"/>
              <a:gd name="connsiteY8" fmla="*/ 6112 h 10000"/>
              <a:gd name="connsiteX9" fmla="*/ 865 w 9947"/>
              <a:gd name="connsiteY9" fmla="*/ 6134 h 10000"/>
              <a:gd name="connsiteX10" fmla="*/ 973 w 9947"/>
              <a:gd name="connsiteY10" fmla="*/ 6152 h 10000"/>
              <a:gd name="connsiteX11" fmla="*/ 1072 w 9947"/>
              <a:gd name="connsiteY11" fmla="*/ 6178 h 10000"/>
              <a:gd name="connsiteX12" fmla="*/ 1173 w 9947"/>
              <a:gd name="connsiteY12" fmla="*/ 6209 h 10000"/>
              <a:gd name="connsiteX13" fmla="*/ 1272 w 9947"/>
              <a:gd name="connsiteY13" fmla="*/ 6236 h 10000"/>
              <a:gd name="connsiteX14" fmla="*/ 1366 w 9947"/>
              <a:gd name="connsiteY14" fmla="*/ 6270 h 10000"/>
              <a:gd name="connsiteX15" fmla="*/ 1468 w 9947"/>
              <a:gd name="connsiteY15" fmla="*/ 6302 h 10000"/>
              <a:gd name="connsiteX16" fmla="*/ 1560 w 9947"/>
              <a:gd name="connsiteY16" fmla="*/ 6341 h 10000"/>
              <a:gd name="connsiteX17" fmla="*/ 1653 w 9947"/>
              <a:gd name="connsiteY17" fmla="*/ 6381 h 10000"/>
              <a:gd name="connsiteX18" fmla="*/ 1748 w 9947"/>
              <a:gd name="connsiteY18" fmla="*/ 6425 h 10000"/>
              <a:gd name="connsiteX19" fmla="*/ 1843 w 9947"/>
              <a:gd name="connsiteY19" fmla="*/ 6465 h 10000"/>
              <a:gd name="connsiteX20" fmla="*/ 1936 w 9947"/>
              <a:gd name="connsiteY20" fmla="*/ 6512 h 10000"/>
              <a:gd name="connsiteX21" fmla="*/ 2031 w 9947"/>
              <a:gd name="connsiteY21" fmla="*/ 6557 h 10000"/>
              <a:gd name="connsiteX22" fmla="*/ 2116 w 9947"/>
              <a:gd name="connsiteY22" fmla="*/ 6615 h 10000"/>
              <a:gd name="connsiteX23" fmla="*/ 2204 w 9947"/>
              <a:gd name="connsiteY23" fmla="*/ 6661 h 10000"/>
              <a:gd name="connsiteX24" fmla="*/ 2291 w 9947"/>
              <a:gd name="connsiteY24" fmla="*/ 6714 h 10000"/>
              <a:gd name="connsiteX25" fmla="*/ 2371 w 9947"/>
              <a:gd name="connsiteY25" fmla="*/ 6770 h 10000"/>
              <a:gd name="connsiteX26" fmla="*/ 2459 w 9947"/>
              <a:gd name="connsiteY26" fmla="*/ 6831 h 10000"/>
              <a:gd name="connsiteX27" fmla="*/ 2537 w 9947"/>
              <a:gd name="connsiteY27" fmla="*/ 6891 h 10000"/>
              <a:gd name="connsiteX28" fmla="*/ 2621 w 9947"/>
              <a:gd name="connsiteY28" fmla="*/ 6951 h 10000"/>
              <a:gd name="connsiteX29" fmla="*/ 2700 w 9947"/>
              <a:gd name="connsiteY29" fmla="*/ 7012 h 10000"/>
              <a:gd name="connsiteX30" fmla="*/ 2780 w 9947"/>
              <a:gd name="connsiteY30" fmla="*/ 7081 h 10000"/>
              <a:gd name="connsiteX31" fmla="*/ 2853 w 9947"/>
              <a:gd name="connsiteY31" fmla="*/ 7151 h 10000"/>
              <a:gd name="connsiteX32" fmla="*/ 2927 w 9947"/>
              <a:gd name="connsiteY32" fmla="*/ 7218 h 10000"/>
              <a:gd name="connsiteX33" fmla="*/ 3002 w 9947"/>
              <a:gd name="connsiteY33" fmla="*/ 7292 h 10000"/>
              <a:gd name="connsiteX34" fmla="*/ 3068 w 9947"/>
              <a:gd name="connsiteY34" fmla="*/ 7364 h 10000"/>
              <a:gd name="connsiteX35" fmla="*/ 3141 w 9947"/>
              <a:gd name="connsiteY35" fmla="*/ 7441 h 10000"/>
              <a:gd name="connsiteX36" fmla="*/ 3206 w 9947"/>
              <a:gd name="connsiteY36" fmla="*/ 7514 h 10000"/>
              <a:gd name="connsiteX37" fmla="*/ 3268 w 9947"/>
              <a:gd name="connsiteY37" fmla="*/ 7597 h 10000"/>
              <a:gd name="connsiteX38" fmla="*/ 3336 w 9947"/>
              <a:gd name="connsiteY38" fmla="*/ 7671 h 10000"/>
              <a:gd name="connsiteX39" fmla="*/ 3395 w 9947"/>
              <a:gd name="connsiteY39" fmla="*/ 7752 h 10000"/>
              <a:gd name="connsiteX40" fmla="*/ 3454 w 9947"/>
              <a:gd name="connsiteY40" fmla="*/ 7833 h 10000"/>
              <a:gd name="connsiteX41" fmla="*/ 3517 w 9947"/>
              <a:gd name="connsiteY41" fmla="*/ 7917 h 10000"/>
              <a:gd name="connsiteX42" fmla="*/ 3570 w 9947"/>
              <a:gd name="connsiteY42" fmla="*/ 8003 h 10000"/>
              <a:gd name="connsiteX43" fmla="*/ 3623 w 9947"/>
              <a:gd name="connsiteY43" fmla="*/ 8090 h 10000"/>
              <a:gd name="connsiteX44" fmla="*/ 3676 w 9947"/>
              <a:gd name="connsiteY44" fmla="*/ 8181 h 10000"/>
              <a:gd name="connsiteX45" fmla="*/ 3731 w 9947"/>
              <a:gd name="connsiteY45" fmla="*/ 8267 h 10000"/>
              <a:gd name="connsiteX46" fmla="*/ 3771 w 9947"/>
              <a:gd name="connsiteY46" fmla="*/ 8363 h 10000"/>
              <a:gd name="connsiteX47" fmla="*/ 3825 w 9947"/>
              <a:gd name="connsiteY47" fmla="*/ 8459 h 10000"/>
              <a:gd name="connsiteX48" fmla="*/ 3865 w 9947"/>
              <a:gd name="connsiteY48" fmla="*/ 8544 h 10000"/>
              <a:gd name="connsiteX49" fmla="*/ 3905 w 9947"/>
              <a:gd name="connsiteY49" fmla="*/ 8642 h 10000"/>
              <a:gd name="connsiteX50" fmla="*/ 3945 w 9947"/>
              <a:gd name="connsiteY50" fmla="*/ 8737 h 10000"/>
              <a:gd name="connsiteX51" fmla="*/ 3978 w 9947"/>
              <a:gd name="connsiteY51" fmla="*/ 8832 h 10000"/>
              <a:gd name="connsiteX52" fmla="*/ 4012 w 9947"/>
              <a:gd name="connsiteY52" fmla="*/ 8932 h 10000"/>
              <a:gd name="connsiteX53" fmla="*/ 4045 w 9947"/>
              <a:gd name="connsiteY53" fmla="*/ 9034 h 10000"/>
              <a:gd name="connsiteX54" fmla="*/ 4078 w 9947"/>
              <a:gd name="connsiteY54" fmla="*/ 9131 h 10000"/>
              <a:gd name="connsiteX55" fmla="*/ 4104 w 9947"/>
              <a:gd name="connsiteY55" fmla="*/ 9231 h 10000"/>
              <a:gd name="connsiteX56" fmla="*/ 4124 w 9947"/>
              <a:gd name="connsiteY56" fmla="*/ 9332 h 10000"/>
              <a:gd name="connsiteX57" fmla="*/ 4154 w 9947"/>
              <a:gd name="connsiteY57" fmla="*/ 9442 h 10000"/>
              <a:gd name="connsiteX58" fmla="*/ 4173 w 9947"/>
              <a:gd name="connsiteY58" fmla="*/ 9543 h 10000"/>
              <a:gd name="connsiteX59" fmla="*/ 4193 w 9947"/>
              <a:gd name="connsiteY59" fmla="*/ 9646 h 10000"/>
              <a:gd name="connsiteX60" fmla="*/ 7362 w 9947"/>
              <a:gd name="connsiteY60" fmla="*/ 10000 h 10000"/>
              <a:gd name="connsiteX61" fmla="*/ 9947 w 9947"/>
              <a:gd name="connsiteY61" fmla="*/ 7970 h 10000"/>
              <a:gd name="connsiteX62" fmla="*/ 9883 w 9947"/>
              <a:gd name="connsiteY62" fmla="*/ 7726 h 10000"/>
              <a:gd name="connsiteX63" fmla="*/ 9818 w 9947"/>
              <a:gd name="connsiteY63" fmla="*/ 7474 h 10000"/>
              <a:gd name="connsiteX64" fmla="*/ 9753 w 9947"/>
              <a:gd name="connsiteY64" fmla="*/ 7231 h 10000"/>
              <a:gd name="connsiteX65" fmla="*/ 9672 w 9947"/>
              <a:gd name="connsiteY65" fmla="*/ 6992 h 10000"/>
              <a:gd name="connsiteX66" fmla="*/ 9590 w 9947"/>
              <a:gd name="connsiteY66" fmla="*/ 6755 h 10000"/>
              <a:gd name="connsiteX67" fmla="*/ 9498 w 9947"/>
              <a:gd name="connsiteY67" fmla="*/ 6518 h 10000"/>
              <a:gd name="connsiteX68" fmla="*/ 9404 w 9947"/>
              <a:gd name="connsiteY68" fmla="*/ 6290 h 10000"/>
              <a:gd name="connsiteX69" fmla="*/ 9307 w 9947"/>
              <a:gd name="connsiteY69" fmla="*/ 6058 h 10000"/>
              <a:gd name="connsiteX70" fmla="*/ 9201 w 9947"/>
              <a:gd name="connsiteY70" fmla="*/ 5834 h 10000"/>
              <a:gd name="connsiteX71" fmla="*/ 9095 w 9947"/>
              <a:gd name="connsiteY71" fmla="*/ 5610 h 10000"/>
              <a:gd name="connsiteX72" fmla="*/ 8981 w 9947"/>
              <a:gd name="connsiteY72" fmla="*/ 5387 h 10000"/>
              <a:gd name="connsiteX73" fmla="*/ 8861 w 9947"/>
              <a:gd name="connsiteY73" fmla="*/ 5170 h 10000"/>
              <a:gd name="connsiteX74" fmla="*/ 8733 w 9947"/>
              <a:gd name="connsiteY74" fmla="*/ 4960 h 10000"/>
              <a:gd name="connsiteX75" fmla="*/ 8605 w 9947"/>
              <a:gd name="connsiteY75" fmla="*/ 4749 h 10000"/>
              <a:gd name="connsiteX76" fmla="*/ 8473 w 9947"/>
              <a:gd name="connsiteY76" fmla="*/ 4538 h 10000"/>
              <a:gd name="connsiteX77" fmla="*/ 8330 w 9947"/>
              <a:gd name="connsiteY77" fmla="*/ 4337 h 10000"/>
              <a:gd name="connsiteX78" fmla="*/ 8184 w 9947"/>
              <a:gd name="connsiteY78" fmla="*/ 4138 h 10000"/>
              <a:gd name="connsiteX79" fmla="*/ 8036 w 9947"/>
              <a:gd name="connsiteY79" fmla="*/ 3942 h 10000"/>
              <a:gd name="connsiteX80" fmla="*/ 7883 w 9947"/>
              <a:gd name="connsiteY80" fmla="*/ 3743 h 10000"/>
              <a:gd name="connsiteX81" fmla="*/ 7728 w 9947"/>
              <a:gd name="connsiteY81" fmla="*/ 3563 h 10000"/>
              <a:gd name="connsiteX82" fmla="*/ 7560 w 9947"/>
              <a:gd name="connsiteY82" fmla="*/ 3380 h 10000"/>
              <a:gd name="connsiteX83" fmla="*/ 7400 w 9947"/>
              <a:gd name="connsiteY83" fmla="*/ 3196 h 10000"/>
              <a:gd name="connsiteX84" fmla="*/ 7227 w 9947"/>
              <a:gd name="connsiteY84" fmla="*/ 3014 h 10000"/>
              <a:gd name="connsiteX85" fmla="*/ 7052 w 9947"/>
              <a:gd name="connsiteY85" fmla="*/ 2844 h 10000"/>
              <a:gd name="connsiteX86" fmla="*/ 6880 w 9947"/>
              <a:gd name="connsiteY86" fmla="*/ 2675 h 10000"/>
              <a:gd name="connsiteX87" fmla="*/ 6692 w 9947"/>
              <a:gd name="connsiteY87" fmla="*/ 2514 h 10000"/>
              <a:gd name="connsiteX88" fmla="*/ 6503 w 9947"/>
              <a:gd name="connsiteY88" fmla="*/ 2357 h 10000"/>
              <a:gd name="connsiteX89" fmla="*/ 6317 w 9947"/>
              <a:gd name="connsiteY89" fmla="*/ 2203 h 10000"/>
              <a:gd name="connsiteX90" fmla="*/ 6122 w 9947"/>
              <a:gd name="connsiteY90" fmla="*/ 2049 h 10000"/>
              <a:gd name="connsiteX91" fmla="*/ 5920 w 9947"/>
              <a:gd name="connsiteY91" fmla="*/ 1903 h 10000"/>
              <a:gd name="connsiteX92" fmla="*/ 5721 w 9947"/>
              <a:gd name="connsiteY92" fmla="*/ 1759 h 10000"/>
              <a:gd name="connsiteX93" fmla="*/ 5518 w 9947"/>
              <a:gd name="connsiteY93" fmla="*/ 1626 h 10000"/>
              <a:gd name="connsiteX94" fmla="*/ 5311 w 9947"/>
              <a:gd name="connsiteY94" fmla="*/ 1495 h 10000"/>
              <a:gd name="connsiteX95" fmla="*/ 5106 w 9947"/>
              <a:gd name="connsiteY95" fmla="*/ 1366 h 10000"/>
              <a:gd name="connsiteX96" fmla="*/ 4882 w 9947"/>
              <a:gd name="connsiteY96" fmla="*/ 1245 h 10000"/>
              <a:gd name="connsiteX97" fmla="*/ 4668 w 9947"/>
              <a:gd name="connsiteY97" fmla="*/ 1130 h 10000"/>
              <a:gd name="connsiteX98" fmla="*/ 4446 w 9947"/>
              <a:gd name="connsiteY98" fmla="*/ 1023 h 10000"/>
              <a:gd name="connsiteX99" fmla="*/ 4219 w 9947"/>
              <a:gd name="connsiteY99" fmla="*/ 912 h 10000"/>
              <a:gd name="connsiteX100" fmla="*/ 3998 w 9947"/>
              <a:gd name="connsiteY100" fmla="*/ 811 h 10000"/>
              <a:gd name="connsiteX101" fmla="*/ 3771 w 9947"/>
              <a:gd name="connsiteY101" fmla="*/ 723 h 10000"/>
              <a:gd name="connsiteX102" fmla="*/ 3537 w 9947"/>
              <a:gd name="connsiteY102" fmla="*/ 627 h 10000"/>
              <a:gd name="connsiteX103" fmla="*/ 3301 w 9947"/>
              <a:gd name="connsiteY103" fmla="*/ 547 h 10000"/>
              <a:gd name="connsiteX104" fmla="*/ 3061 w 9947"/>
              <a:gd name="connsiteY104" fmla="*/ 464 h 10000"/>
              <a:gd name="connsiteX105" fmla="*/ 2826 w 9947"/>
              <a:gd name="connsiteY105" fmla="*/ 396 h 10000"/>
              <a:gd name="connsiteX106" fmla="*/ 2580 w 9947"/>
              <a:gd name="connsiteY106" fmla="*/ 330 h 10000"/>
              <a:gd name="connsiteX107" fmla="*/ 2332 w 9947"/>
              <a:gd name="connsiteY107" fmla="*/ 268 h 10000"/>
              <a:gd name="connsiteX108" fmla="*/ 2089 w 9947"/>
              <a:gd name="connsiteY108" fmla="*/ 214 h 10000"/>
              <a:gd name="connsiteX109" fmla="*/ 1843 w 9947"/>
              <a:gd name="connsiteY109" fmla="*/ 165 h 10000"/>
              <a:gd name="connsiteX110" fmla="*/ 1586 w 9947"/>
              <a:gd name="connsiteY110" fmla="*/ 118 h 10000"/>
              <a:gd name="connsiteX111" fmla="*/ 1331 w 9947"/>
              <a:gd name="connsiteY111" fmla="*/ 85 h 10000"/>
              <a:gd name="connsiteX112" fmla="*/ 1080 w 9947"/>
              <a:gd name="connsiteY112" fmla="*/ 58 h 10000"/>
              <a:gd name="connsiteX113" fmla="*/ 825 w 9947"/>
              <a:gd name="connsiteY113" fmla="*/ 41 h 10000"/>
              <a:gd name="connsiteX114" fmla="*/ 562 w 9947"/>
              <a:gd name="connsiteY114" fmla="*/ 15 h 10000"/>
              <a:gd name="connsiteX115" fmla="*/ 301 w 9947"/>
              <a:gd name="connsiteY115" fmla="*/ 8 h 10000"/>
              <a:gd name="connsiteX116" fmla="*/ 39 w 9947"/>
              <a:gd name="connsiteY116" fmla="*/ 3 h 10000"/>
              <a:gd name="connsiteX117" fmla="*/ 0 w 9947"/>
              <a:gd name="connsiteY117" fmla="*/ 0 h 10000"/>
              <a:gd name="connsiteX118" fmla="*/ 1235 w 9947"/>
              <a:gd name="connsiteY118" fmla="*/ 3102 h 10000"/>
              <a:gd name="connsiteX119" fmla="*/ 7 w 9947"/>
              <a:gd name="connsiteY119" fmla="*/ 605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9947" h="10000">
                <a:moveTo>
                  <a:pt x="7" y="6052"/>
                </a:moveTo>
                <a:cubicBezTo>
                  <a:pt x="15" y="6049"/>
                  <a:pt x="12" y="6047"/>
                  <a:pt x="20" y="6045"/>
                </a:cubicBezTo>
                <a:lnTo>
                  <a:pt x="125" y="6045"/>
                </a:lnTo>
                <a:lnTo>
                  <a:pt x="234" y="6052"/>
                </a:lnTo>
                <a:lnTo>
                  <a:pt x="342" y="6058"/>
                </a:lnTo>
                <a:lnTo>
                  <a:pt x="447" y="6064"/>
                </a:lnTo>
                <a:cubicBezTo>
                  <a:pt x="484" y="6073"/>
                  <a:pt x="520" y="6078"/>
                  <a:pt x="556" y="6085"/>
                </a:cubicBezTo>
                <a:lnTo>
                  <a:pt x="662" y="6098"/>
                </a:lnTo>
                <a:cubicBezTo>
                  <a:pt x="695" y="6103"/>
                  <a:pt x="728" y="6108"/>
                  <a:pt x="763" y="6112"/>
                </a:cubicBezTo>
                <a:cubicBezTo>
                  <a:pt x="798" y="6119"/>
                  <a:pt x="831" y="6127"/>
                  <a:pt x="865" y="6134"/>
                </a:cubicBezTo>
                <a:cubicBezTo>
                  <a:pt x="900" y="6141"/>
                  <a:pt x="937" y="6146"/>
                  <a:pt x="973" y="6152"/>
                </a:cubicBezTo>
                <a:cubicBezTo>
                  <a:pt x="1006" y="6161"/>
                  <a:pt x="1038" y="6171"/>
                  <a:pt x="1072" y="6178"/>
                </a:cubicBezTo>
                <a:cubicBezTo>
                  <a:pt x="1106" y="6188"/>
                  <a:pt x="1138" y="6199"/>
                  <a:pt x="1173" y="6209"/>
                </a:cubicBezTo>
                <a:cubicBezTo>
                  <a:pt x="1206" y="6217"/>
                  <a:pt x="1238" y="6226"/>
                  <a:pt x="1272" y="6236"/>
                </a:cubicBezTo>
                <a:cubicBezTo>
                  <a:pt x="1303" y="6246"/>
                  <a:pt x="1334" y="6259"/>
                  <a:pt x="1366" y="6270"/>
                </a:cubicBezTo>
                <a:cubicBezTo>
                  <a:pt x="1402" y="6280"/>
                  <a:pt x="1435" y="6292"/>
                  <a:pt x="1468" y="6302"/>
                </a:cubicBezTo>
                <a:cubicBezTo>
                  <a:pt x="1499" y="6317"/>
                  <a:pt x="1529" y="6330"/>
                  <a:pt x="1560" y="6341"/>
                </a:cubicBezTo>
                <a:cubicBezTo>
                  <a:pt x="1591" y="6355"/>
                  <a:pt x="1622" y="6370"/>
                  <a:pt x="1653" y="6381"/>
                </a:cubicBezTo>
                <a:cubicBezTo>
                  <a:pt x="1686" y="6395"/>
                  <a:pt x="1717" y="6411"/>
                  <a:pt x="1748" y="6425"/>
                </a:cubicBezTo>
                <a:cubicBezTo>
                  <a:pt x="1779" y="6436"/>
                  <a:pt x="1812" y="6450"/>
                  <a:pt x="1843" y="6465"/>
                </a:cubicBezTo>
                <a:cubicBezTo>
                  <a:pt x="1874" y="6481"/>
                  <a:pt x="1905" y="6494"/>
                  <a:pt x="1936" y="6512"/>
                </a:cubicBezTo>
                <a:cubicBezTo>
                  <a:pt x="1967" y="6527"/>
                  <a:pt x="1999" y="6544"/>
                  <a:pt x="2031" y="6557"/>
                </a:cubicBezTo>
                <a:cubicBezTo>
                  <a:pt x="2059" y="6577"/>
                  <a:pt x="2088" y="6593"/>
                  <a:pt x="2116" y="6615"/>
                </a:cubicBezTo>
                <a:cubicBezTo>
                  <a:pt x="2145" y="6630"/>
                  <a:pt x="2174" y="6646"/>
                  <a:pt x="2204" y="6661"/>
                </a:cubicBezTo>
                <a:cubicBezTo>
                  <a:pt x="2232" y="6679"/>
                  <a:pt x="2262" y="6697"/>
                  <a:pt x="2291" y="6714"/>
                </a:cubicBezTo>
                <a:cubicBezTo>
                  <a:pt x="2319" y="6732"/>
                  <a:pt x="2345" y="6752"/>
                  <a:pt x="2371" y="6770"/>
                </a:cubicBezTo>
                <a:cubicBezTo>
                  <a:pt x="2400" y="6790"/>
                  <a:pt x="2428" y="6811"/>
                  <a:pt x="2459" y="6831"/>
                </a:cubicBezTo>
                <a:cubicBezTo>
                  <a:pt x="2485" y="6850"/>
                  <a:pt x="2511" y="6871"/>
                  <a:pt x="2537" y="6891"/>
                </a:cubicBezTo>
                <a:cubicBezTo>
                  <a:pt x="2565" y="6910"/>
                  <a:pt x="2592" y="6932"/>
                  <a:pt x="2621" y="6951"/>
                </a:cubicBezTo>
                <a:cubicBezTo>
                  <a:pt x="2647" y="6973"/>
                  <a:pt x="2674" y="6992"/>
                  <a:pt x="2700" y="7012"/>
                </a:cubicBezTo>
                <a:cubicBezTo>
                  <a:pt x="2727" y="7038"/>
                  <a:pt x="2754" y="7058"/>
                  <a:pt x="2780" y="7081"/>
                </a:cubicBezTo>
                <a:cubicBezTo>
                  <a:pt x="2805" y="7105"/>
                  <a:pt x="2829" y="7125"/>
                  <a:pt x="2853" y="7151"/>
                </a:cubicBezTo>
                <a:cubicBezTo>
                  <a:pt x="2878" y="7171"/>
                  <a:pt x="2901" y="7194"/>
                  <a:pt x="2927" y="7218"/>
                </a:cubicBezTo>
                <a:cubicBezTo>
                  <a:pt x="2953" y="7243"/>
                  <a:pt x="2978" y="7266"/>
                  <a:pt x="3002" y="7292"/>
                </a:cubicBezTo>
                <a:cubicBezTo>
                  <a:pt x="3024" y="7316"/>
                  <a:pt x="3046" y="7343"/>
                  <a:pt x="3068" y="7364"/>
                </a:cubicBezTo>
                <a:cubicBezTo>
                  <a:pt x="3093" y="7391"/>
                  <a:pt x="3117" y="7416"/>
                  <a:pt x="3141" y="7441"/>
                </a:cubicBezTo>
                <a:cubicBezTo>
                  <a:pt x="3163" y="7466"/>
                  <a:pt x="3184" y="7492"/>
                  <a:pt x="3206" y="7514"/>
                </a:cubicBezTo>
                <a:cubicBezTo>
                  <a:pt x="3227" y="7542"/>
                  <a:pt x="3248" y="7569"/>
                  <a:pt x="3268" y="7597"/>
                </a:cubicBezTo>
                <a:cubicBezTo>
                  <a:pt x="3290" y="7621"/>
                  <a:pt x="3314" y="7646"/>
                  <a:pt x="3336" y="7671"/>
                </a:cubicBezTo>
                <a:cubicBezTo>
                  <a:pt x="3356" y="7699"/>
                  <a:pt x="3375" y="7726"/>
                  <a:pt x="3395" y="7752"/>
                </a:cubicBezTo>
                <a:cubicBezTo>
                  <a:pt x="3415" y="7778"/>
                  <a:pt x="3434" y="7808"/>
                  <a:pt x="3454" y="7833"/>
                </a:cubicBezTo>
                <a:cubicBezTo>
                  <a:pt x="3475" y="7861"/>
                  <a:pt x="3495" y="7889"/>
                  <a:pt x="3517" y="7917"/>
                </a:cubicBezTo>
                <a:cubicBezTo>
                  <a:pt x="3535" y="7945"/>
                  <a:pt x="3553" y="7974"/>
                  <a:pt x="3570" y="8003"/>
                </a:cubicBezTo>
                <a:cubicBezTo>
                  <a:pt x="3588" y="8033"/>
                  <a:pt x="3606" y="8061"/>
                  <a:pt x="3623" y="8090"/>
                </a:cubicBezTo>
                <a:cubicBezTo>
                  <a:pt x="3640" y="8120"/>
                  <a:pt x="3659" y="8150"/>
                  <a:pt x="3676" y="8181"/>
                </a:cubicBezTo>
                <a:cubicBezTo>
                  <a:pt x="3694" y="8209"/>
                  <a:pt x="3711" y="8239"/>
                  <a:pt x="3731" y="8267"/>
                </a:cubicBezTo>
                <a:cubicBezTo>
                  <a:pt x="3745" y="8301"/>
                  <a:pt x="3758" y="8330"/>
                  <a:pt x="3771" y="8363"/>
                </a:cubicBezTo>
                <a:cubicBezTo>
                  <a:pt x="3788" y="8395"/>
                  <a:pt x="3806" y="8426"/>
                  <a:pt x="3825" y="8459"/>
                </a:cubicBezTo>
                <a:cubicBezTo>
                  <a:pt x="3839" y="8486"/>
                  <a:pt x="3852" y="8517"/>
                  <a:pt x="3865" y="8544"/>
                </a:cubicBezTo>
                <a:cubicBezTo>
                  <a:pt x="3878" y="8577"/>
                  <a:pt x="3892" y="8609"/>
                  <a:pt x="3905" y="8642"/>
                </a:cubicBezTo>
                <a:lnTo>
                  <a:pt x="3945" y="8737"/>
                </a:lnTo>
                <a:cubicBezTo>
                  <a:pt x="3956" y="8767"/>
                  <a:pt x="3967" y="8800"/>
                  <a:pt x="3978" y="8832"/>
                </a:cubicBezTo>
                <a:cubicBezTo>
                  <a:pt x="3989" y="8866"/>
                  <a:pt x="4000" y="8899"/>
                  <a:pt x="4012" y="8932"/>
                </a:cubicBezTo>
                <a:cubicBezTo>
                  <a:pt x="4023" y="8968"/>
                  <a:pt x="4034" y="8999"/>
                  <a:pt x="4045" y="9034"/>
                </a:cubicBezTo>
                <a:cubicBezTo>
                  <a:pt x="4056" y="9068"/>
                  <a:pt x="4067" y="9097"/>
                  <a:pt x="4078" y="9131"/>
                </a:cubicBezTo>
                <a:cubicBezTo>
                  <a:pt x="4087" y="9162"/>
                  <a:pt x="4095" y="9196"/>
                  <a:pt x="4104" y="9231"/>
                </a:cubicBezTo>
                <a:cubicBezTo>
                  <a:pt x="4110" y="9265"/>
                  <a:pt x="4118" y="9297"/>
                  <a:pt x="4124" y="9332"/>
                </a:cubicBezTo>
                <a:cubicBezTo>
                  <a:pt x="4134" y="9370"/>
                  <a:pt x="4144" y="9406"/>
                  <a:pt x="4154" y="9442"/>
                </a:cubicBezTo>
                <a:cubicBezTo>
                  <a:pt x="4160" y="9478"/>
                  <a:pt x="4167" y="9509"/>
                  <a:pt x="4173" y="9543"/>
                </a:cubicBezTo>
                <a:cubicBezTo>
                  <a:pt x="4180" y="9578"/>
                  <a:pt x="4186" y="9609"/>
                  <a:pt x="4193" y="9646"/>
                </a:cubicBezTo>
                <a:lnTo>
                  <a:pt x="7362" y="10000"/>
                </a:lnTo>
                <a:lnTo>
                  <a:pt x="9947" y="7970"/>
                </a:lnTo>
                <a:cubicBezTo>
                  <a:pt x="9926" y="7889"/>
                  <a:pt x="9905" y="7808"/>
                  <a:pt x="9883" y="7726"/>
                </a:cubicBezTo>
                <a:cubicBezTo>
                  <a:pt x="9861" y="7642"/>
                  <a:pt x="9840" y="7558"/>
                  <a:pt x="9818" y="7474"/>
                </a:cubicBezTo>
                <a:cubicBezTo>
                  <a:pt x="9796" y="7393"/>
                  <a:pt x="9775" y="7310"/>
                  <a:pt x="9753" y="7231"/>
                </a:cubicBezTo>
                <a:cubicBezTo>
                  <a:pt x="9727" y="7154"/>
                  <a:pt x="9700" y="7070"/>
                  <a:pt x="9672" y="6992"/>
                </a:cubicBezTo>
                <a:cubicBezTo>
                  <a:pt x="9645" y="6913"/>
                  <a:pt x="9617" y="6834"/>
                  <a:pt x="9590" y="6755"/>
                </a:cubicBezTo>
                <a:cubicBezTo>
                  <a:pt x="9559" y="6677"/>
                  <a:pt x="9529" y="6598"/>
                  <a:pt x="9498" y="6518"/>
                </a:cubicBezTo>
                <a:cubicBezTo>
                  <a:pt x="9466" y="6440"/>
                  <a:pt x="9435" y="6366"/>
                  <a:pt x="9404" y="6290"/>
                </a:cubicBezTo>
                <a:cubicBezTo>
                  <a:pt x="9372" y="6214"/>
                  <a:pt x="9339" y="6137"/>
                  <a:pt x="9307" y="6058"/>
                </a:cubicBezTo>
                <a:cubicBezTo>
                  <a:pt x="9272" y="5984"/>
                  <a:pt x="9237" y="5908"/>
                  <a:pt x="9201" y="5834"/>
                </a:cubicBezTo>
                <a:cubicBezTo>
                  <a:pt x="9166" y="5759"/>
                  <a:pt x="9130" y="5685"/>
                  <a:pt x="9095" y="5610"/>
                </a:cubicBezTo>
                <a:lnTo>
                  <a:pt x="8981" y="5387"/>
                </a:lnTo>
                <a:cubicBezTo>
                  <a:pt x="8942" y="5314"/>
                  <a:pt x="8901" y="5243"/>
                  <a:pt x="8861" y="5170"/>
                </a:cubicBezTo>
                <a:cubicBezTo>
                  <a:pt x="8818" y="5099"/>
                  <a:pt x="8776" y="5029"/>
                  <a:pt x="8733" y="4960"/>
                </a:cubicBezTo>
                <a:cubicBezTo>
                  <a:pt x="8690" y="4891"/>
                  <a:pt x="8649" y="4819"/>
                  <a:pt x="8605" y="4749"/>
                </a:cubicBezTo>
                <a:lnTo>
                  <a:pt x="8473" y="4538"/>
                </a:lnTo>
                <a:cubicBezTo>
                  <a:pt x="8426" y="4471"/>
                  <a:pt x="8377" y="4404"/>
                  <a:pt x="8330" y="4337"/>
                </a:cubicBezTo>
                <a:cubicBezTo>
                  <a:pt x="8281" y="4271"/>
                  <a:pt x="8233" y="4204"/>
                  <a:pt x="8184" y="4138"/>
                </a:cubicBezTo>
                <a:lnTo>
                  <a:pt x="8036" y="3942"/>
                </a:lnTo>
                <a:lnTo>
                  <a:pt x="7883" y="3743"/>
                </a:lnTo>
                <a:lnTo>
                  <a:pt x="7728" y="3563"/>
                </a:lnTo>
                <a:cubicBezTo>
                  <a:pt x="7673" y="3502"/>
                  <a:pt x="7616" y="3442"/>
                  <a:pt x="7560" y="3380"/>
                </a:cubicBezTo>
                <a:lnTo>
                  <a:pt x="7400" y="3196"/>
                </a:lnTo>
                <a:cubicBezTo>
                  <a:pt x="7343" y="3135"/>
                  <a:pt x="7284" y="3075"/>
                  <a:pt x="7227" y="3014"/>
                </a:cubicBezTo>
                <a:cubicBezTo>
                  <a:pt x="7167" y="2958"/>
                  <a:pt x="7110" y="2900"/>
                  <a:pt x="7052" y="2844"/>
                </a:cubicBezTo>
                <a:cubicBezTo>
                  <a:pt x="6995" y="2788"/>
                  <a:pt x="6939" y="2731"/>
                  <a:pt x="6880" y="2675"/>
                </a:cubicBezTo>
                <a:cubicBezTo>
                  <a:pt x="6818" y="2621"/>
                  <a:pt x="6755" y="2568"/>
                  <a:pt x="6692" y="2514"/>
                </a:cubicBezTo>
                <a:lnTo>
                  <a:pt x="6503" y="2357"/>
                </a:lnTo>
                <a:lnTo>
                  <a:pt x="6317" y="2203"/>
                </a:lnTo>
                <a:lnTo>
                  <a:pt x="6122" y="2049"/>
                </a:lnTo>
                <a:lnTo>
                  <a:pt x="5920" y="1903"/>
                </a:lnTo>
                <a:lnTo>
                  <a:pt x="5721" y="1759"/>
                </a:lnTo>
                <a:lnTo>
                  <a:pt x="5518" y="1626"/>
                </a:lnTo>
                <a:lnTo>
                  <a:pt x="5311" y="1495"/>
                </a:lnTo>
                <a:lnTo>
                  <a:pt x="5106" y="1366"/>
                </a:lnTo>
                <a:lnTo>
                  <a:pt x="4882" y="1245"/>
                </a:lnTo>
                <a:lnTo>
                  <a:pt x="4668" y="1130"/>
                </a:lnTo>
                <a:lnTo>
                  <a:pt x="4446" y="1023"/>
                </a:lnTo>
                <a:lnTo>
                  <a:pt x="4219" y="912"/>
                </a:lnTo>
                <a:lnTo>
                  <a:pt x="3998" y="811"/>
                </a:lnTo>
                <a:lnTo>
                  <a:pt x="3771" y="723"/>
                </a:lnTo>
                <a:lnTo>
                  <a:pt x="3537" y="627"/>
                </a:lnTo>
                <a:lnTo>
                  <a:pt x="3301" y="547"/>
                </a:lnTo>
                <a:lnTo>
                  <a:pt x="3061" y="464"/>
                </a:lnTo>
                <a:lnTo>
                  <a:pt x="2826" y="396"/>
                </a:lnTo>
                <a:lnTo>
                  <a:pt x="2580" y="330"/>
                </a:lnTo>
                <a:lnTo>
                  <a:pt x="2332" y="268"/>
                </a:lnTo>
                <a:lnTo>
                  <a:pt x="2089" y="214"/>
                </a:lnTo>
                <a:lnTo>
                  <a:pt x="1843" y="165"/>
                </a:lnTo>
                <a:lnTo>
                  <a:pt x="1586" y="118"/>
                </a:lnTo>
                <a:lnTo>
                  <a:pt x="1331" y="85"/>
                </a:lnTo>
                <a:lnTo>
                  <a:pt x="1080" y="58"/>
                </a:lnTo>
                <a:lnTo>
                  <a:pt x="825" y="41"/>
                </a:lnTo>
                <a:lnTo>
                  <a:pt x="562" y="15"/>
                </a:lnTo>
                <a:lnTo>
                  <a:pt x="301" y="8"/>
                </a:lnTo>
                <a:lnTo>
                  <a:pt x="39" y="3"/>
                </a:lnTo>
                <a:cubicBezTo>
                  <a:pt x="13" y="5"/>
                  <a:pt x="26" y="-2"/>
                  <a:pt x="0" y="0"/>
                </a:cubicBezTo>
                <a:lnTo>
                  <a:pt x="1235" y="3102"/>
                </a:lnTo>
                <a:lnTo>
                  <a:pt x="7" y="6052"/>
                </a:lnTo>
                <a:close/>
              </a:path>
            </a:pathLst>
          </a:custGeom>
          <a:solidFill>
            <a:schemeClr val="accent2"/>
          </a:solidFill>
          <a:ln w="9525">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sng" strike="noStrike" kern="1200" cap="none" spc="0" normalizeH="0" baseline="0" noProof="0">
              <a:ln>
                <a:noFill/>
              </a:ln>
              <a:solidFill>
                <a:srgbClr val="000000"/>
              </a:solidFill>
              <a:effectLst/>
              <a:uLnTx/>
              <a:uFillTx/>
              <a:latin typeface="Arial"/>
              <a:ea typeface="ＭＳ Ｐゴシック"/>
              <a:cs typeface="+mn-cs"/>
            </a:endParaRPr>
          </a:p>
        </p:txBody>
      </p:sp>
      <p:sp>
        <p:nvSpPr>
          <p:cNvPr id="81" name="Rectangle 286">
            <a:extLst>
              <a:ext uri="{FF2B5EF4-FFF2-40B4-BE49-F238E27FC236}">
                <a16:creationId xmlns:a16="http://schemas.microsoft.com/office/drawing/2014/main" id="{ADE5CF29-69ED-4048-A920-B54A20E8D123}"/>
              </a:ext>
            </a:extLst>
          </p:cNvPr>
          <p:cNvSpPr txBox="1">
            <a:spLocks noChangeArrowheads="1"/>
          </p:cNvSpPr>
          <p:nvPr>
            <p:custDataLst>
              <p:tags r:id="rId6"/>
            </p:custDataLst>
          </p:nvPr>
        </p:nvSpPr>
        <p:spPr bwMode="auto">
          <a:xfrm>
            <a:off x="6468287" y="2236770"/>
            <a:ext cx="1122176" cy="553998"/>
          </a:xfrm>
          <a:prstGeom prst="rect">
            <a:avLst/>
          </a:prstGeom>
          <a:solidFill>
            <a:schemeClr val="accent2"/>
          </a:solidFill>
          <a:ln>
            <a:noFill/>
          </a:ln>
          <a:effectLst/>
        </p:spPr>
        <p:txBody>
          <a:bodyPr vert="horz" wrap="square" lIns="0" tIns="0" rIns="73462"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691624" rtl="0" eaLnBrk="1" fontAlgn="base" latinLnBrk="0" hangingPunct="1">
              <a:lnSpc>
                <a:spcPct val="100000"/>
              </a:lnSpc>
              <a:spcBef>
                <a:spcPct val="0"/>
              </a:spcBef>
              <a:spcAft>
                <a:spcPct val="0"/>
              </a:spcAft>
              <a:buClr>
                <a:srgbClr val="003C54"/>
              </a:buClr>
              <a:buSzTx/>
              <a:buFontTx/>
              <a:buNone/>
              <a:tabLst/>
              <a:defRPr/>
            </a:pP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Voorbereiden</a:t>
            </a: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 van </a:t>
            </a: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een</a:t>
            </a: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 </a:t>
            </a: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Goed</a:t>
            </a: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 </a:t>
            </a: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Gesprek</a:t>
            </a:r>
            <a:endParaRPr kumimoji="0" lang="en-US" sz="1200" b="1"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82" name="Freeform 6">
            <a:extLst>
              <a:ext uri="{FF2B5EF4-FFF2-40B4-BE49-F238E27FC236}">
                <a16:creationId xmlns:a16="http://schemas.microsoft.com/office/drawing/2014/main" id="{39F271C6-317D-4512-92B4-D55F7BA672BF}"/>
              </a:ext>
            </a:extLst>
          </p:cNvPr>
          <p:cNvSpPr>
            <a:spLocks/>
          </p:cNvSpPr>
          <p:nvPr>
            <p:custDataLst>
              <p:tags r:id="rId7"/>
            </p:custDataLst>
          </p:nvPr>
        </p:nvSpPr>
        <p:spPr bwMode="auto">
          <a:xfrm>
            <a:off x="6367058" y="3094660"/>
            <a:ext cx="1727942" cy="2404995"/>
          </a:xfrm>
          <a:custGeom>
            <a:avLst/>
            <a:gdLst>
              <a:gd name="T0" fmla="*/ 2147483647 w 5608"/>
              <a:gd name="T1" fmla="*/ 2147483647 h 4036"/>
              <a:gd name="T2" fmla="*/ 2147483647 w 5608"/>
              <a:gd name="T3" fmla="*/ 2147483647 h 4036"/>
              <a:gd name="T4" fmla="*/ 2147483647 w 5608"/>
              <a:gd name="T5" fmla="*/ 2147483647 h 4036"/>
              <a:gd name="T6" fmla="*/ 2147483647 w 5608"/>
              <a:gd name="T7" fmla="*/ 2147483647 h 4036"/>
              <a:gd name="T8" fmla="*/ 2147483647 w 5608"/>
              <a:gd name="T9" fmla="*/ 2147483647 h 4036"/>
              <a:gd name="T10" fmla="*/ 2147483647 w 5608"/>
              <a:gd name="T11" fmla="*/ 2147483647 h 4036"/>
              <a:gd name="T12" fmla="*/ 2147483647 w 5608"/>
              <a:gd name="T13" fmla="*/ 2147483647 h 4036"/>
              <a:gd name="T14" fmla="*/ 2147483647 w 5608"/>
              <a:gd name="T15" fmla="*/ 2147483647 h 4036"/>
              <a:gd name="T16" fmla="*/ 2147483647 w 5608"/>
              <a:gd name="T17" fmla="*/ 2147483647 h 4036"/>
              <a:gd name="T18" fmla="*/ 2147483647 w 5608"/>
              <a:gd name="T19" fmla="*/ 2147483647 h 4036"/>
              <a:gd name="T20" fmla="*/ 2147483647 w 5608"/>
              <a:gd name="T21" fmla="*/ 2147483647 h 4036"/>
              <a:gd name="T22" fmla="*/ 2147483647 w 5608"/>
              <a:gd name="T23" fmla="*/ 2147483647 h 4036"/>
              <a:gd name="T24" fmla="*/ 2147483647 w 5608"/>
              <a:gd name="T25" fmla="*/ 2147483647 h 4036"/>
              <a:gd name="T26" fmla="*/ 2147483647 w 5608"/>
              <a:gd name="T27" fmla="*/ 2147483647 h 4036"/>
              <a:gd name="T28" fmla="*/ 2147483647 w 5608"/>
              <a:gd name="T29" fmla="*/ 2147483647 h 4036"/>
              <a:gd name="T30" fmla="*/ 2147483647 w 5608"/>
              <a:gd name="T31" fmla="*/ 2147483647 h 4036"/>
              <a:gd name="T32" fmla="*/ 2147483647 w 5608"/>
              <a:gd name="T33" fmla="*/ 2147483647 h 4036"/>
              <a:gd name="T34" fmla="*/ 2147483647 w 5608"/>
              <a:gd name="T35" fmla="*/ 2147483647 h 4036"/>
              <a:gd name="T36" fmla="*/ 2147483647 w 5608"/>
              <a:gd name="T37" fmla="*/ 2147483647 h 4036"/>
              <a:gd name="T38" fmla="*/ 2147483647 w 5608"/>
              <a:gd name="T39" fmla="*/ 2147483647 h 4036"/>
              <a:gd name="T40" fmla="*/ 2147483647 w 5608"/>
              <a:gd name="T41" fmla="*/ 2147483647 h 4036"/>
              <a:gd name="T42" fmla="*/ 2147483647 w 5608"/>
              <a:gd name="T43" fmla="*/ 2147483647 h 4036"/>
              <a:gd name="T44" fmla="*/ 2147483647 w 5608"/>
              <a:gd name="T45" fmla="*/ 2147483647 h 4036"/>
              <a:gd name="T46" fmla="*/ 2147483647 w 5608"/>
              <a:gd name="T47" fmla="*/ 2147483647 h 4036"/>
              <a:gd name="T48" fmla="*/ 2147483647 w 5608"/>
              <a:gd name="T49" fmla="*/ 2147483647 h 4036"/>
              <a:gd name="T50" fmla="*/ 2147483647 w 5608"/>
              <a:gd name="T51" fmla="*/ 2147483647 h 4036"/>
              <a:gd name="T52" fmla="*/ 2147483647 w 5608"/>
              <a:gd name="T53" fmla="*/ 2147483647 h 4036"/>
              <a:gd name="T54" fmla="*/ 2147483647 w 5608"/>
              <a:gd name="T55" fmla="*/ 2147483647 h 4036"/>
              <a:gd name="T56" fmla="*/ 2147483647 w 5608"/>
              <a:gd name="T57" fmla="*/ 2147483647 h 4036"/>
              <a:gd name="T58" fmla="*/ 2147483647 w 5608"/>
              <a:gd name="T59" fmla="*/ 2147483647 h 4036"/>
              <a:gd name="T60" fmla="*/ 2147483647 w 5608"/>
              <a:gd name="T61" fmla="*/ 2147483647 h 4036"/>
              <a:gd name="T62" fmla="*/ 2147483647 w 5608"/>
              <a:gd name="T63" fmla="*/ 2147483647 h 4036"/>
              <a:gd name="T64" fmla="*/ 2147483647 w 5608"/>
              <a:gd name="T65" fmla="*/ 2147483647 h 4036"/>
              <a:gd name="T66" fmla="*/ 2147483647 w 5608"/>
              <a:gd name="T67" fmla="*/ 2147483647 h 4036"/>
              <a:gd name="T68" fmla="*/ 2147483647 w 5608"/>
              <a:gd name="T69" fmla="*/ 2147483647 h 4036"/>
              <a:gd name="T70" fmla="*/ 2147483647 w 5608"/>
              <a:gd name="T71" fmla="*/ 2147483647 h 4036"/>
              <a:gd name="T72" fmla="*/ 2147483647 w 5608"/>
              <a:gd name="T73" fmla="*/ 2147483647 h 4036"/>
              <a:gd name="T74" fmla="*/ 2147483647 w 5608"/>
              <a:gd name="T75" fmla="*/ 2147483647 h 4036"/>
              <a:gd name="T76" fmla="*/ 2147483647 w 5608"/>
              <a:gd name="T77" fmla="*/ 2147483647 h 4036"/>
              <a:gd name="T78" fmla="*/ 2147483647 w 5608"/>
              <a:gd name="T79" fmla="*/ 2147483647 h 4036"/>
              <a:gd name="T80" fmla="*/ 2147483647 w 5608"/>
              <a:gd name="T81" fmla="*/ 2147483647 h 4036"/>
              <a:gd name="T82" fmla="*/ 2147483647 w 5608"/>
              <a:gd name="T83" fmla="*/ 2147483647 h 4036"/>
              <a:gd name="T84" fmla="*/ 2147483647 w 5608"/>
              <a:gd name="T85" fmla="*/ 2147483647 h 4036"/>
              <a:gd name="T86" fmla="*/ 2147483647 w 5608"/>
              <a:gd name="T87" fmla="*/ 2147483647 h 4036"/>
              <a:gd name="T88" fmla="*/ 2147483647 w 5608"/>
              <a:gd name="T89" fmla="*/ 2147483647 h 4036"/>
              <a:gd name="T90" fmla="*/ 2147483647 w 5608"/>
              <a:gd name="T91" fmla="*/ 2147483647 h 4036"/>
              <a:gd name="T92" fmla="*/ 2147483647 w 5608"/>
              <a:gd name="T93" fmla="*/ 2147483647 h 4036"/>
              <a:gd name="T94" fmla="*/ 2147483647 w 5608"/>
              <a:gd name="T95" fmla="*/ 2147483647 h 4036"/>
              <a:gd name="T96" fmla="*/ 2147483647 w 5608"/>
              <a:gd name="T97" fmla="*/ 2147483647 h 4036"/>
              <a:gd name="T98" fmla="*/ 2147483647 w 5608"/>
              <a:gd name="T99" fmla="*/ 2147483647 h 4036"/>
              <a:gd name="T100" fmla="*/ 2147483647 w 5608"/>
              <a:gd name="T101" fmla="*/ 2147483647 h 4036"/>
              <a:gd name="T102" fmla="*/ 2147483647 w 5608"/>
              <a:gd name="T103" fmla="*/ 2147483647 h 4036"/>
              <a:gd name="T104" fmla="*/ 2147483647 w 5608"/>
              <a:gd name="T105" fmla="*/ 2147483647 h 40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608"/>
              <a:gd name="T160" fmla="*/ 0 h 4036"/>
              <a:gd name="T161" fmla="*/ 5608 w 5608"/>
              <a:gd name="T162" fmla="*/ 4036 h 4036"/>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2284 w 10000"/>
              <a:gd name="connsiteY67" fmla="*/ 3771 h 10000"/>
              <a:gd name="connsiteX68" fmla="*/ 2179 w 10000"/>
              <a:gd name="connsiteY68" fmla="*/ 3759 h 10000"/>
              <a:gd name="connsiteX69" fmla="*/ 2074 w 10000"/>
              <a:gd name="connsiteY69" fmla="*/ 3741 h 10000"/>
              <a:gd name="connsiteX70" fmla="*/ 1970 w 10000"/>
              <a:gd name="connsiteY70" fmla="*/ 3719 h 10000"/>
              <a:gd name="connsiteX71" fmla="*/ 1867 w 10000"/>
              <a:gd name="connsiteY71" fmla="*/ 3692 h 10000"/>
              <a:gd name="connsiteX72" fmla="*/ 1765 w 10000"/>
              <a:gd name="connsiteY72" fmla="*/ 3662 h 10000"/>
              <a:gd name="connsiteX73" fmla="*/ 0 w 10000"/>
              <a:gd name="connsiteY73" fmla="*/ 6085 h 10000"/>
              <a:gd name="connsiteX74" fmla="*/ 209 w 10000"/>
              <a:gd name="connsiteY74" fmla="*/ 9512 h 10000"/>
              <a:gd name="connsiteX75" fmla="*/ 344 w 10000"/>
              <a:gd name="connsiteY75" fmla="*/ 9569 h 10000"/>
              <a:gd name="connsiteX76" fmla="*/ 481 w 10000"/>
              <a:gd name="connsiteY76" fmla="*/ 9623 h 10000"/>
              <a:gd name="connsiteX77" fmla="*/ 621 w 10000"/>
              <a:gd name="connsiteY77" fmla="*/ 9673 h 10000"/>
              <a:gd name="connsiteX78" fmla="*/ 758 w 10000"/>
              <a:gd name="connsiteY78" fmla="*/ 9720 h 10000"/>
              <a:gd name="connsiteX79" fmla="*/ 899 w 10000"/>
              <a:gd name="connsiteY79" fmla="*/ 9765 h 10000"/>
              <a:gd name="connsiteX80" fmla="*/ 1040 w 10000"/>
              <a:gd name="connsiteY80" fmla="*/ 9804 h 10000"/>
              <a:gd name="connsiteX81" fmla="*/ 1182 w 10000"/>
              <a:gd name="connsiteY81" fmla="*/ 9839 h 10000"/>
              <a:gd name="connsiteX82" fmla="*/ 1325 w 10000"/>
              <a:gd name="connsiteY82" fmla="*/ 9874 h 10000"/>
              <a:gd name="connsiteX83" fmla="*/ 1471 w 10000"/>
              <a:gd name="connsiteY83" fmla="*/ 9903 h 10000"/>
              <a:gd name="connsiteX84" fmla="*/ 1614 w 10000"/>
              <a:gd name="connsiteY84" fmla="*/ 9926 h 10000"/>
              <a:gd name="connsiteX85" fmla="*/ 1760 w 10000"/>
              <a:gd name="connsiteY85" fmla="*/ 9948 h 10000"/>
              <a:gd name="connsiteX86" fmla="*/ 1906 w 10000"/>
              <a:gd name="connsiteY86" fmla="*/ 9965 h 10000"/>
              <a:gd name="connsiteX87" fmla="*/ 2052 w 10000"/>
              <a:gd name="connsiteY87" fmla="*/ 9980 h 10000"/>
              <a:gd name="connsiteX88" fmla="*/ 2202 w 10000"/>
              <a:gd name="connsiteY88" fmla="*/ 9990 h 10000"/>
              <a:gd name="connsiteX89" fmla="*/ 2350 w 10000"/>
              <a:gd name="connsiteY89" fmla="*/ 9995 h 10000"/>
              <a:gd name="connsiteX90" fmla="*/ 2498 w 10000"/>
              <a:gd name="connsiteY90" fmla="*/ 10000 h 10000"/>
              <a:gd name="connsiteX91" fmla="*/ 2677 w 10000"/>
              <a:gd name="connsiteY91" fmla="*/ 9995 h 10000"/>
              <a:gd name="connsiteX92" fmla="*/ 2850 w 10000"/>
              <a:gd name="connsiteY92" fmla="*/ 9988 h 10000"/>
              <a:gd name="connsiteX93" fmla="*/ 3024 w 10000"/>
              <a:gd name="connsiteY93" fmla="*/ 9975 h 10000"/>
              <a:gd name="connsiteX94" fmla="*/ 3195 w 10000"/>
              <a:gd name="connsiteY94" fmla="*/ 9953 h 10000"/>
              <a:gd name="connsiteX95" fmla="*/ 3368 w 10000"/>
              <a:gd name="connsiteY95" fmla="*/ 9931 h 10000"/>
              <a:gd name="connsiteX96" fmla="*/ 3538 w 10000"/>
              <a:gd name="connsiteY96" fmla="*/ 9898 h 10000"/>
              <a:gd name="connsiteX97" fmla="*/ 3709 w 10000"/>
              <a:gd name="connsiteY97" fmla="*/ 9866 h 10000"/>
              <a:gd name="connsiteX98" fmla="*/ 3877 w 10000"/>
              <a:gd name="connsiteY98" fmla="*/ 9824 h 10000"/>
              <a:gd name="connsiteX99" fmla="*/ 4042 w 10000"/>
              <a:gd name="connsiteY99" fmla="*/ 9779 h 10000"/>
              <a:gd name="connsiteX100" fmla="*/ 4210 w 10000"/>
              <a:gd name="connsiteY100" fmla="*/ 9730 h 10000"/>
              <a:gd name="connsiteX101" fmla="*/ 4372 w 10000"/>
              <a:gd name="connsiteY101" fmla="*/ 9673 h 10000"/>
              <a:gd name="connsiteX102" fmla="*/ 4536 w 10000"/>
              <a:gd name="connsiteY102" fmla="*/ 9616 h 10000"/>
              <a:gd name="connsiteX103" fmla="*/ 4697 w 10000"/>
              <a:gd name="connsiteY103" fmla="*/ 9552 h 10000"/>
              <a:gd name="connsiteX104" fmla="*/ 4857 w 10000"/>
              <a:gd name="connsiteY104" fmla="*/ 9482 h 10000"/>
              <a:gd name="connsiteX105" fmla="*/ 5014 w 10000"/>
              <a:gd name="connsiteY105" fmla="*/ 9405 h 10000"/>
              <a:gd name="connsiteX106" fmla="*/ 5171 w 10000"/>
              <a:gd name="connsiteY106" fmla="*/ 9329 h 10000"/>
              <a:gd name="connsiteX107" fmla="*/ 5326 w 10000"/>
              <a:gd name="connsiteY107" fmla="*/ 9244 h 10000"/>
              <a:gd name="connsiteX108" fmla="*/ 5480 w 10000"/>
              <a:gd name="connsiteY108" fmla="*/ 9158 h 10000"/>
              <a:gd name="connsiteX109" fmla="*/ 5631 w 10000"/>
              <a:gd name="connsiteY109" fmla="*/ 9063 h 10000"/>
              <a:gd name="connsiteX110" fmla="*/ 5781 w 10000"/>
              <a:gd name="connsiteY110" fmla="*/ 8967 h 10000"/>
              <a:gd name="connsiteX111" fmla="*/ 5931 w 10000"/>
              <a:gd name="connsiteY111" fmla="*/ 8865 h 10000"/>
              <a:gd name="connsiteX112" fmla="*/ 6075 w 10000"/>
              <a:gd name="connsiteY112" fmla="*/ 8759 h 10000"/>
              <a:gd name="connsiteX113" fmla="*/ 6221 w 10000"/>
              <a:gd name="connsiteY113" fmla="*/ 8652 h 10000"/>
              <a:gd name="connsiteX114" fmla="*/ 6364 w 10000"/>
              <a:gd name="connsiteY114" fmla="*/ 8536 h 10000"/>
              <a:gd name="connsiteX115" fmla="*/ 6505 w 10000"/>
              <a:gd name="connsiteY115" fmla="*/ 8417 h 10000"/>
              <a:gd name="connsiteX116" fmla="*/ 6642 w 10000"/>
              <a:gd name="connsiteY116" fmla="*/ 8295 h 10000"/>
              <a:gd name="connsiteX117" fmla="*/ 6780 w 10000"/>
              <a:gd name="connsiteY117" fmla="*/ 8169 h 10000"/>
              <a:gd name="connsiteX118" fmla="*/ 6913 w 10000"/>
              <a:gd name="connsiteY118" fmla="*/ 8040 h 10000"/>
              <a:gd name="connsiteX119" fmla="*/ 7045 w 10000"/>
              <a:gd name="connsiteY119" fmla="*/ 7904 h 10000"/>
              <a:gd name="connsiteX120" fmla="*/ 7175 w 10000"/>
              <a:gd name="connsiteY120" fmla="*/ 7768 h 10000"/>
              <a:gd name="connsiteX121" fmla="*/ 7304 w 10000"/>
              <a:gd name="connsiteY121" fmla="*/ 7624 h 10000"/>
              <a:gd name="connsiteX122" fmla="*/ 7429 w 10000"/>
              <a:gd name="connsiteY122" fmla="*/ 7480 h 10000"/>
              <a:gd name="connsiteX123" fmla="*/ 7552 w 10000"/>
              <a:gd name="connsiteY123" fmla="*/ 7329 h 10000"/>
              <a:gd name="connsiteX124" fmla="*/ 7673 w 10000"/>
              <a:gd name="connsiteY124" fmla="*/ 7178 h 10000"/>
              <a:gd name="connsiteX125" fmla="*/ 7792 w 10000"/>
              <a:gd name="connsiteY125" fmla="*/ 7024 h 10000"/>
              <a:gd name="connsiteX126" fmla="*/ 7907 w 10000"/>
              <a:gd name="connsiteY126" fmla="*/ 6861 h 10000"/>
              <a:gd name="connsiteX127" fmla="*/ 8022 w 10000"/>
              <a:gd name="connsiteY127" fmla="*/ 6697 h 10000"/>
              <a:gd name="connsiteX128" fmla="*/ 8133 w 10000"/>
              <a:gd name="connsiteY128" fmla="*/ 6534 h 10000"/>
              <a:gd name="connsiteX129" fmla="*/ 8240 w 10000"/>
              <a:gd name="connsiteY129" fmla="*/ 6365 h 10000"/>
              <a:gd name="connsiteX130" fmla="*/ 8347 w 10000"/>
              <a:gd name="connsiteY130" fmla="*/ 6189 h 10000"/>
              <a:gd name="connsiteX131" fmla="*/ 8450 w 10000"/>
              <a:gd name="connsiteY131" fmla="*/ 6016 h 10000"/>
              <a:gd name="connsiteX132" fmla="*/ 8552 w 10000"/>
              <a:gd name="connsiteY132" fmla="*/ 5835 h 10000"/>
              <a:gd name="connsiteX133" fmla="*/ 8650 w 10000"/>
              <a:gd name="connsiteY133" fmla="*/ 5652 h 10000"/>
              <a:gd name="connsiteX134" fmla="*/ 8745 w 10000"/>
              <a:gd name="connsiteY134" fmla="*/ 5468 h 10000"/>
              <a:gd name="connsiteX135" fmla="*/ 8837 w 10000"/>
              <a:gd name="connsiteY135" fmla="*/ 5278 h 10000"/>
              <a:gd name="connsiteX136" fmla="*/ 8927 w 10000"/>
              <a:gd name="connsiteY136" fmla="*/ 5089 h 10000"/>
              <a:gd name="connsiteX137" fmla="*/ 9014 w 10000"/>
              <a:gd name="connsiteY137" fmla="*/ 4893 h 10000"/>
              <a:gd name="connsiteX138" fmla="*/ 9098 w 10000"/>
              <a:gd name="connsiteY138" fmla="*/ 4698 h 10000"/>
              <a:gd name="connsiteX139" fmla="*/ 9178 w 10000"/>
              <a:gd name="connsiteY139" fmla="*/ 4500 h 10000"/>
              <a:gd name="connsiteX140" fmla="*/ 9256 w 10000"/>
              <a:gd name="connsiteY140" fmla="*/ 4294 h 10000"/>
              <a:gd name="connsiteX141" fmla="*/ 9330 w 10000"/>
              <a:gd name="connsiteY141" fmla="*/ 4091 h 10000"/>
              <a:gd name="connsiteX142" fmla="*/ 9401 w 10000"/>
              <a:gd name="connsiteY142" fmla="*/ 3885 h 10000"/>
              <a:gd name="connsiteX143" fmla="*/ 9470 w 10000"/>
              <a:gd name="connsiteY143" fmla="*/ 3674 h 10000"/>
              <a:gd name="connsiteX144" fmla="*/ 9535 w 10000"/>
              <a:gd name="connsiteY144" fmla="*/ 3464 h 10000"/>
              <a:gd name="connsiteX145" fmla="*/ 9599 w 10000"/>
              <a:gd name="connsiteY145" fmla="*/ 3248 h 10000"/>
              <a:gd name="connsiteX146" fmla="*/ 9656 w 10000"/>
              <a:gd name="connsiteY146" fmla="*/ 3030 h 10000"/>
              <a:gd name="connsiteX147" fmla="*/ 9711 w 10000"/>
              <a:gd name="connsiteY147" fmla="*/ 2815 h 10000"/>
              <a:gd name="connsiteX148" fmla="*/ 9763 w 10000"/>
              <a:gd name="connsiteY148" fmla="*/ 2592 h 10000"/>
              <a:gd name="connsiteX149" fmla="*/ 9813 w 10000"/>
              <a:gd name="connsiteY149" fmla="*/ 2369 h 10000"/>
              <a:gd name="connsiteX150" fmla="*/ 9856 w 10000"/>
              <a:gd name="connsiteY150" fmla="*/ 2143 h 10000"/>
              <a:gd name="connsiteX151" fmla="*/ 9898 w 10000"/>
              <a:gd name="connsiteY151" fmla="*/ 1918 h 10000"/>
              <a:gd name="connsiteX152" fmla="*/ 9936 w 10000"/>
              <a:gd name="connsiteY152" fmla="*/ 1690 h 10000"/>
              <a:gd name="connsiteX153" fmla="*/ 9970 w 10000"/>
              <a:gd name="connsiteY153" fmla="*/ 1457 h 10000"/>
              <a:gd name="connsiteX154" fmla="*/ 10000 w 10000"/>
              <a:gd name="connsiteY154" fmla="*/ 1222 h 10000"/>
              <a:gd name="connsiteX155" fmla="*/ 7611 w 10000"/>
              <a:gd name="connsiteY155" fmla="*/ 1876 h 10000"/>
              <a:gd name="connsiteX156" fmla="*/ 5615 w 10000"/>
              <a:gd name="connsiteY156"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2284 w 10000"/>
              <a:gd name="connsiteY67" fmla="*/ 3771 h 10000"/>
              <a:gd name="connsiteX68" fmla="*/ 2179 w 10000"/>
              <a:gd name="connsiteY68" fmla="*/ 3759 h 10000"/>
              <a:gd name="connsiteX69" fmla="*/ 2074 w 10000"/>
              <a:gd name="connsiteY69" fmla="*/ 3741 h 10000"/>
              <a:gd name="connsiteX70" fmla="*/ 1970 w 10000"/>
              <a:gd name="connsiteY70" fmla="*/ 3719 h 10000"/>
              <a:gd name="connsiteX71" fmla="*/ 1867 w 10000"/>
              <a:gd name="connsiteY71" fmla="*/ 3692 h 10000"/>
              <a:gd name="connsiteX72" fmla="*/ 0 w 10000"/>
              <a:gd name="connsiteY72" fmla="*/ 6085 h 10000"/>
              <a:gd name="connsiteX73" fmla="*/ 209 w 10000"/>
              <a:gd name="connsiteY73" fmla="*/ 9512 h 10000"/>
              <a:gd name="connsiteX74" fmla="*/ 344 w 10000"/>
              <a:gd name="connsiteY74" fmla="*/ 9569 h 10000"/>
              <a:gd name="connsiteX75" fmla="*/ 481 w 10000"/>
              <a:gd name="connsiteY75" fmla="*/ 9623 h 10000"/>
              <a:gd name="connsiteX76" fmla="*/ 621 w 10000"/>
              <a:gd name="connsiteY76" fmla="*/ 9673 h 10000"/>
              <a:gd name="connsiteX77" fmla="*/ 758 w 10000"/>
              <a:gd name="connsiteY77" fmla="*/ 9720 h 10000"/>
              <a:gd name="connsiteX78" fmla="*/ 899 w 10000"/>
              <a:gd name="connsiteY78" fmla="*/ 9765 h 10000"/>
              <a:gd name="connsiteX79" fmla="*/ 1040 w 10000"/>
              <a:gd name="connsiteY79" fmla="*/ 9804 h 10000"/>
              <a:gd name="connsiteX80" fmla="*/ 1182 w 10000"/>
              <a:gd name="connsiteY80" fmla="*/ 9839 h 10000"/>
              <a:gd name="connsiteX81" fmla="*/ 1325 w 10000"/>
              <a:gd name="connsiteY81" fmla="*/ 9874 h 10000"/>
              <a:gd name="connsiteX82" fmla="*/ 1471 w 10000"/>
              <a:gd name="connsiteY82" fmla="*/ 9903 h 10000"/>
              <a:gd name="connsiteX83" fmla="*/ 1614 w 10000"/>
              <a:gd name="connsiteY83" fmla="*/ 9926 h 10000"/>
              <a:gd name="connsiteX84" fmla="*/ 1760 w 10000"/>
              <a:gd name="connsiteY84" fmla="*/ 9948 h 10000"/>
              <a:gd name="connsiteX85" fmla="*/ 1906 w 10000"/>
              <a:gd name="connsiteY85" fmla="*/ 9965 h 10000"/>
              <a:gd name="connsiteX86" fmla="*/ 2052 w 10000"/>
              <a:gd name="connsiteY86" fmla="*/ 9980 h 10000"/>
              <a:gd name="connsiteX87" fmla="*/ 2202 w 10000"/>
              <a:gd name="connsiteY87" fmla="*/ 9990 h 10000"/>
              <a:gd name="connsiteX88" fmla="*/ 2350 w 10000"/>
              <a:gd name="connsiteY88" fmla="*/ 9995 h 10000"/>
              <a:gd name="connsiteX89" fmla="*/ 2498 w 10000"/>
              <a:gd name="connsiteY89" fmla="*/ 10000 h 10000"/>
              <a:gd name="connsiteX90" fmla="*/ 2677 w 10000"/>
              <a:gd name="connsiteY90" fmla="*/ 9995 h 10000"/>
              <a:gd name="connsiteX91" fmla="*/ 2850 w 10000"/>
              <a:gd name="connsiteY91" fmla="*/ 9988 h 10000"/>
              <a:gd name="connsiteX92" fmla="*/ 3024 w 10000"/>
              <a:gd name="connsiteY92" fmla="*/ 9975 h 10000"/>
              <a:gd name="connsiteX93" fmla="*/ 3195 w 10000"/>
              <a:gd name="connsiteY93" fmla="*/ 9953 h 10000"/>
              <a:gd name="connsiteX94" fmla="*/ 3368 w 10000"/>
              <a:gd name="connsiteY94" fmla="*/ 9931 h 10000"/>
              <a:gd name="connsiteX95" fmla="*/ 3538 w 10000"/>
              <a:gd name="connsiteY95" fmla="*/ 9898 h 10000"/>
              <a:gd name="connsiteX96" fmla="*/ 3709 w 10000"/>
              <a:gd name="connsiteY96" fmla="*/ 9866 h 10000"/>
              <a:gd name="connsiteX97" fmla="*/ 3877 w 10000"/>
              <a:gd name="connsiteY97" fmla="*/ 9824 h 10000"/>
              <a:gd name="connsiteX98" fmla="*/ 4042 w 10000"/>
              <a:gd name="connsiteY98" fmla="*/ 9779 h 10000"/>
              <a:gd name="connsiteX99" fmla="*/ 4210 w 10000"/>
              <a:gd name="connsiteY99" fmla="*/ 9730 h 10000"/>
              <a:gd name="connsiteX100" fmla="*/ 4372 w 10000"/>
              <a:gd name="connsiteY100" fmla="*/ 9673 h 10000"/>
              <a:gd name="connsiteX101" fmla="*/ 4536 w 10000"/>
              <a:gd name="connsiteY101" fmla="*/ 9616 h 10000"/>
              <a:gd name="connsiteX102" fmla="*/ 4697 w 10000"/>
              <a:gd name="connsiteY102" fmla="*/ 9552 h 10000"/>
              <a:gd name="connsiteX103" fmla="*/ 4857 w 10000"/>
              <a:gd name="connsiteY103" fmla="*/ 9482 h 10000"/>
              <a:gd name="connsiteX104" fmla="*/ 5014 w 10000"/>
              <a:gd name="connsiteY104" fmla="*/ 9405 h 10000"/>
              <a:gd name="connsiteX105" fmla="*/ 5171 w 10000"/>
              <a:gd name="connsiteY105" fmla="*/ 9329 h 10000"/>
              <a:gd name="connsiteX106" fmla="*/ 5326 w 10000"/>
              <a:gd name="connsiteY106" fmla="*/ 9244 h 10000"/>
              <a:gd name="connsiteX107" fmla="*/ 5480 w 10000"/>
              <a:gd name="connsiteY107" fmla="*/ 9158 h 10000"/>
              <a:gd name="connsiteX108" fmla="*/ 5631 w 10000"/>
              <a:gd name="connsiteY108" fmla="*/ 9063 h 10000"/>
              <a:gd name="connsiteX109" fmla="*/ 5781 w 10000"/>
              <a:gd name="connsiteY109" fmla="*/ 8967 h 10000"/>
              <a:gd name="connsiteX110" fmla="*/ 5931 w 10000"/>
              <a:gd name="connsiteY110" fmla="*/ 8865 h 10000"/>
              <a:gd name="connsiteX111" fmla="*/ 6075 w 10000"/>
              <a:gd name="connsiteY111" fmla="*/ 8759 h 10000"/>
              <a:gd name="connsiteX112" fmla="*/ 6221 w 10000"/>
              <a:gd name="connsiteY112" fmla="*/ 8652 h 10000"/>
              <a:gd name="connsiteX113" fmla="*/ 6364 w 10000"/>
              <a:gd name="connsiteY113" fmla="*/ 8536 h 10000"/>
              <a:gd name="connsiteX114" fmla="*/ 6505 w 10000"/>
              <a:gd name="connsiteY114" fmla="*/ 8417 h 10000"/>
              <a:gd name="connsiteX115" fmla="*/ 6642 w 10000"/>
              <a:gd name="connsiteY115" fmla="*/ 8295 h 10000"/>
              <a:gd name="connsiteX116" fmla="*/ 6780 w 10000"/>
              <a:gd name="connsiteY116" fmla="*/ 8169 h 10000"/>
              <a:gd name="connsiteX117" fmla="*/ 6913 w 10000"/>
              <a:gd name="connsiteY117" fmla="*/ 8040 h 10000"/>
              <a:gd name="connsiteX118" fmla="*/ 7045 w 10000"/>
              <a:gd name="connsiteY118" fmla="*/ 7904 h 10000"/>
              <a:gd name="connsiteX119" fmla="*/ 7175 w 10000"/>
              <a:gd name="connsiteY119" fmla="*/ 7768 h 10000"/>
              <a:gd name="connsiteX120" fmla="*/ 7304 w 10000"/>
              <a:gd name="connsiteY120" fmla="*/ 7624 h 10000"/>
              <a:gd name="connsiteX121" fmla="*/ 7429 w 10000"/>
              <a:gd name="connsiteY121" fmla="*/ 7480 h 10000"/>
              <a:gd name="connsiteX122" fmla="*/ 7552 w 10000"/>
              <a:gd name="connsiteY122" fmla="*/ 7329 h 10000"/>
              <a:gd name="connsiteX123" fmla="*/ 7673 w 10000"/>
              <a:gd name="connsiteY123" fmla="*/ 7178 h 10000"/>
              <a:gd name="connsiteX124" fmla="*/ 7792 w 10000"/>
              <a:gd name="connsiteY124" fmla="*/ 7024 h 10000"/>
              <a:gd name="connsiteX125" fmla="*/ 7907 w 10000"/>
              <a:gd name="connsiteY125" fmla="*/ 6861 h 10000"/>
              <a:gd name="connsiteX126" fmla="*/ 8022 w 10000"/>
              <a:gd name="connsiteY126" fmla="*/ 6697 h 10000"/>
              <a:gd name="connsiteX127" fmla="*/ 8133 w 10000"/>
              <a:gd name="connsiteY127" fmla="*/ 6534 h 10000"/>
              <a:gd name="connsiteX128" fmla="*/ 8240 w 10000"/>
              <a:gd name="connsiteY128" fmla="*/ 6365 h 10000"/>
              <a:gd name="connsiteX129" fmla="*/ 8347 w 10000"/>
              <a:gd name="connsiteY129" fmla="*/ 6189 h 10000"/>
              <a:gd name="connsiteX130" fmla="*/ 8450 w 10000"/>
              <a:gd name="connsiteY130" fmla="*/ 6016 h 10000"/>
              <a:gd name="connsiteX131" fmla="*/ 8552 w 10000"/>
              <a:gd name="connsiteY131" fmla="*/ 5835 h 10000"/>
              <a:gd name="connsiteX132" fmla="*/ 8650 w 10000"/>
              <a:gd name="connsiteY132" fmla="*/ 5652 h 10000"/>
              <a:gd name="connsiteX133" fmla="*/ 8745 w 10000"/>
              <a:gd name="connsiteY133" fmla="*/ 5468 h 10000"/>
              <a:gd name="connsiteX134" fmla="*/ 8837 w 10000"/>
              <a:gd name="connsiteY134" fmla="*/ 5278 h 10000"/>
              <a:gd name="connsiteX135" fmla="*/ 8927 w 10000"/>
              <a:gd name="connsiteY135" fmla="*/ 5089 h 10000"/>
              <a:gd name="connsiteX136" fmla="*/ 9014 w 10000"/>
              <a:gd name="connsiteY136" fmla="*/ 4893 h 10000"/>
              <a:gd name="connsiteX137" fmla="*/ 9098 w 10000"/>
              <a:gd name="connsiteY137" fmla="*/ 4698 h 10000"/>
              <a:gd name="connsiteX138" fmla="*/ 9178 w 10000"/>
              <a:gd name="connsiteY138" fmla="*/ 4500 h 10000"/>
              <a:gd name="connsiteX139" fmla="*/ 9256 w 10000"/>
              <a:gd name="connsiteY139" fmla="*/ 4294 h 10000"/>
              <a:gd name="connsiteX140" fmla="*/ 9330 w 10000"/>
              <a:gd name="connsiteY140" fmla="*/ 4091 h 10000"/>
              <a:gd name="connsiteX141" fmla="*/ 9401 w 10000"/>
              <a:gd name="connsiteY141" fmla="*/ 3885 h 10000"/>
              <a:gd name="connsiteX142" fmla="*/ 9470 w 10000"/>
              <a:gd name="connsiteY142" fmla="*/ 3674 h 10000"/>
              <a:gd name="connsiteX143" fmla="*/ 9535 w 10000"/>
              <a:gd name="connsiteY143" fmla="*/ 3464 h 10000"/>
              <a:gd name="connsiteX144" fmla="*/ 9599 w 10000"/>
              <a:gd name="connsiteY144" fmla="*/ 3248 h 10000"/>
              <a:gd name="connsiteX145" fmla="*/ 9656 w 10000"/>
              <a:gd name="connsiteY145" fmla="*/ 3030 h 10000"/>
              <a:gd name="connsiteX146" fmla="*/ 9711 w 10000"/>
              <a:gd name="connsiteY146" fmla="*/ 2815 h 10000"/>
              <a:gd name="connsiteX147" fmla="*/ 9763 w 10000"/>
              <a:gd name="connsiteY147" fmla="*/ 2592 h 10000"/>
              <a:gd name="connsiteX148" fmla="*/ 9813 w 10000"/>
              <a:gd name="connsiteY148" fmla="*/ 2369 h 10000"/>
              <a:gd name="connsiteX149" fmla="*/ 9856 w 10000"/>
              <a:gd name="connsiteY149" fmla="*/ 2143 h 10000"/>
              <a:gd name="connsiteX150" fmla="*/ 9898 w 10000"/>
              <a:gd name="connsiteY150" fmla="*/ 1918 h 10000"/>
              <a:gd name="connsiteX151" fmla="*/ 9936 w 10000"/>
              <a:gd name="connsiteY151" fmla="*/ 1690 h 10000"/>
              <a:gd name="connsiteX152" fmla="*/ 9970 w 10000"/>
              <a:gd name="connsiteY152" fmla="*/ 1457 h 10000"/>
              <a:gd name="connsiteX153" fmla="*/ 10000 w 10000"/>
              <a:gd name="connsiteY153" fmla="*/ 1222 h 10000"/>
              <a:gd name="connsiteX154" fmla="*/ 7611 w 10000"/>
              <a:gd name="connsiteY154" fmla="*/ 1876 h 10000"/>
              <a:gd name="connsiteX155" fmla="*/ 5615 w 10000"/>
              <a:gd name="connsiteY155"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2284 w 10000"/>
              <a:gd name="connsiteY67" fmla="*/ 3771 h 10000"/>
              <a:gd name="connsiteX68" fmla="*/ 2179 w 10000"/>
              <a:gd name="connsiteY68" fmla="*/ 3759 h 10000"/>
              <a:gd name="connsiteX69" fmla="*/ 2074 w 10000"/>
              <a:gd name="connsiteY69" fmla="*/ 3741 h 10000"/>
              <a:gd name="connsiteX70" fmla="*/ 1970 w 10000"/>
              <a:gd name="connsiteY70" fmla="*/ 3719 h 10000"/>
              <a:gd name="connsiteX71" fmla="*/ 0 w 10000"/>
              <a:gd name="connsiteY71" fmla="*/ 6085 h 10000"/>
              <a:gd name="connsiteX72" fmla="*/ 209 w 10000"/>
              <a:gd name="connsiteY72" fmla="*/ 9512 h 10000"/>
              <a:gd name="connsiteX73" fmla="*/ 344 w 10000"/>
              <a:gd name="connsiteY73" fmla="*/ 9569 h 10000"/>
              <a:gd name="connsiteX74" fmla="*/ 481 w 10000"/>
              <a:gd name="connsiteY74" fmla="*/ 9623 h 10000"/>
              <a:gd name="connsiteX75" fmla="*/ 621 w 10000"/>
              <a:gd name="connsiteY75" fmla="*/ 9673 h 10000"/>
              <a:gd name="connsiteX76" fmla="*/ 758 w 10000"/>
              <a:gd name="connsiteY76" fmla="*/ 9720 h 10000"/>
              <a:gd name="connsiteX77" fmla="*/ 899 w 10000"/>
              <a:gd name="connsiteY77" fmla="*/ 9765 h 10000"/>
              <a:gd name="connsiteX78" fmla="*/ 1040 w 10000"/>
              <a:gd name="connsiteY78" fmla="*/ 9804 h 10000"/>
              <a:gd name="connsiteX79" fmla="*/ 1182 w 10000"/>
              <a:gd name="connsiteY79" fmla="*/ 9839 h 10000"/>
              <a:gd name="connsiteX80" fmla="*/ 1325 w 10000"/>
              <a:gd name="connsiteY80" fmla="*/ 9874 h 10000"/>
              <a:gd name="connsiteX81" fmla="*/ 1471 w 10000"/>
              <a:gd name="connsiteY81" fmla="*/ 9903 h 10000"/>
              <a:gd name="connsiteX82" fmla="*/ 1614 w 10000"/>
              <a:gd name="connsiteY82" fmla="*/ 9926 h 10000"/>
              <a:gd name="connsiteX83" fmla="*/ 1760 w 10000"/>
              <a:gd name="connsiteY83" fmla="*/ 9948 h 10000"/>
              <a:gd name="connsiteX84" fmla="*/ 1906 w 10000"/>
              <a:gd name="connsiteY84" fmla="*/ 9965 h 10000"/>
              <a:gd name="connsiteX85" fmla="*/ 2052 w 10000"/>
              <a:gd name="connsiteY85" fmla="*/ 9980 h 10000"/>
              <a:gd name="connsiteX86" fmla="*/ 2202 w 10000"/>
              <a:gd name="connsiteY86" fmla="*/ 9990 h 10000"/>
              <a:gd name="connsiteX87" fmla="*/ 2350 w 10000"/>
              <a:gd name="connsiteY87" fmla="*/ 9995 h 10000"/>
              <a:gd name="connsiteX88" fmla="*/ 2498 w 10000"/>
              <a:gd name="connsiteY88" fmla="*/ 10000 h 10000"/>
              <a:gd name="connsiteX89" fmla="*/ 2677 w 10000"/>
              <a:gd name="connsiteY89" fmla="*/ 9995 h 10000"/>
              <a:gd name="connsiteX90" fmla="*/ 2850 w 10000"/>
              <a:gd name="connsiteY90" fmla="*/ 9988 h 10000"/>
              <a:gd name="connsiteX91" fmla="*/ 3024 w 10000"/>
              <a:gd name="connsiteY91" fmla="*/ 9975 h 10000"/>
              <a:gd name="connsiteX92" fmla="*/ 3195 w 10000"/>
              <a:gd name="connsiteY92" fmla="*/ 9953 h 10000"/>
              <a:gd name="connsiteX93" fmla="*/ 3368 w 10000"/>
              <a:gd name="connsiteY93" fmla="*/ 9931 h 10000"/>
              <a:gd name="connsiteX94" fmla="*/ 3538 w 10000"/>
              <a:gd name="connsiteY94" fmla="*/ 9898 h 10000"/>
              <a:gd name="connsiteX95" fmla="*/ 3709 w 10000"/>
              <a:gd name="connsiteY95" fmla="*/ 9866 h 10000"/>
              <a:gd name="connsiteX96" fmla="*/ 3877 w 10000"/>
              <a:gd name="connsiteY96" fmla="*/ 9824 h 10000"/>
              <a:gd name="connsiteX97" fmla="*/ 4042 w 10000"/>
              <a:gd name="connsiteY97" fmla="*/ 9779 h 10000"/>
              <a:gd name="connsiteX98" fmla="*/ 4210 w 10000"/>
              <a:gd name="connsiteY98" fmla="*/ 9730 h 10000"/>
              <a:gd name="connsiteX99" fmla="*/ 4372 w 10000"/>
              <a:gd name="connsiteY99" fmla="*/ 9673 h 10000"/>
              <a:gd name="connsiteX100" fmla="*/ 4536 w 10000"/>
              <a:gd name="connsiteY100" fmla="*/ 9616 h 10000"/>
              <a:gd name="connsiteX101" fmla="*/ 4697 w 10000"/>
              <a:gd name="connsiteY101" fmla="*/ 9552 h 10000"/>
              <a:gd name="connsiteX102" fmla="*/ 4857 w 10000"/>
              <a:gd name="connsiteY102" fmla="*/ 9482 h 10000"/>
              <a:gd name="connsiteX103" fmla="*/ 5014 w 10000"/>
              <a:gd name="connsiteY103" fmla="*/ 9405 h 10000"/>
              <a:gd name="connsiteX104" fmla="*/ 5171 w 10000"/>
              <a:gd name="connsiteY104" fmla="*/ 9329 h 10000"/>
              <a:gd name="connsiteX105" fmla="*/ 5326 w 10000"/>
              <a:gd name="connsiteY105" fmla="*/ 9244 h 10000"/>
              <a:gd name="connsiteX106" fmla="*/ 5480 w 10000"/>
              <a:gd name="connsiteY106" fmla="*/ 9158 h 10000"/>
              <a:gd name="connsiteX107" fmla="*/ 5631 w 10000"/>
              <a:gd name="connsiteY107" fmla="*/ 9063 h 10000"/>
              <a:gd name="connsiteX108" fmla="*/ 5781 w 10000"/>
              <a:gd name="connsiteY108" fmla="*/ 8967 h 10000"/>
              <a:gd name="connsiteX109" fmla="*/ 5931 w 10000"/>
              <a:gd name="connsiteY109" fmla="*/ 8865 h 10000"/>
              <a:gd name="connsiteX110" fmla="*/ 6075 w 10000"/>
              <a:gd name="connsiteY110" fmla="*/ 8759 h 10000"/>
              <a:gd name="connsiteX111" fmla="*/ 6221 w 10000"/>
              <a:gd name="connsiteY111" fmla="*/ 8652 h 10000"/>
              <a:gd name="connsiteX112" fmla="*/ 6364 w 10000"/>
              <a:gd name="connsiteY112" fmla="*/ 8536 h 10000"/>
              <a:gd name="connsiteX113" fmla="*/ 6505 w 10000"/>
              <a:gd name="connsiteY113" fmla="*/ 8417 h 10000"/>
              <a:gd name="connsiteX114" fmla="*/ 6642 w 10000"/>
              <a:gd name="connsiteY114" fmla="*/ 8295 h 10000"/>
              <a:gd name="connsiteX115" fmla="*/ 6780 w 10000"/>
              <a:gd name="connsiteY115" fmla="*/ 8169 h 10000"/>
              <a:gd name="connsiteX116" fmla="*/ 6913 w 10000"/>
              <a:gd name="connsiteY116" fmla="*/ 8040 h 10000"/>
              <a:gd name="connsiteX117" fmla="*/ 7045 w 10000"/>
              <a:gd name="connsiteY117" fmla="*/ 7904 h 10000"/>
              <a:gd name="connsiteX118" fmla="*/ 7175 w 10000"/>
              <a:gd name="connsiteY118" fmla="*/ 7768 h 10000"/>
              <a:gd name="connsiteX119" fmla="*/ 7304 w 10000"/>
              <a:gd name="connsiteY119" fmla="*/ 7624 h 10000"/>
              <a:gd name="connsiteX120" fmla="*/ 7429 w 10000"/>
              <a:gd name="connsiteY120" fmla="*/ 7480 h 10000"/>
              <a:gd name="connsiteX121" fmla="*/ 7552 w 10000"/>
              <a:gd name="connsiteY121" fmla="*/ 7329 h 10000"/>
              <a:gd name="connsiteX122" fmla="*/ 7673 w 10000"/>
              <a:gd name="connsiteY122" fmla="*/ 7178 h 10000"/>
              <a:gd name="connsiteX123" fmla="*/ 7792 w 10000"/>
              <a:gd name="connsiteY123" fmla="*/ 7024 h 10000"/>
              <a:gd name="connsiteX124" fmla="*/ 7907 w 10000"/>
              <a:gd name="connsiteY124" fmla="*/ 6861 h 10000"/>
              <a:gd name="connsiteX125" fmla="*/ 8022 w 10000"/>
              <a:gd name="connsiteY125" fmla="*/ 6697 h 10000"/>
              <a:gd name="connsiteX126" fmla="*/ 8133 w 10000"/>
              <a:gd name="connsiteY126" fmla="*/ 6534 h 10000"/>
              <a:gd name="connsiteX127" fmla="*/ 8240 w 10000"/>
              <a:gd name="connsiteY127" fmla="*/ 6365 h 10000"/>
              <a:gd name="connsiteX128" fmla="*/ 8347 w 10000"/>
              <a:gd name="connsiteY128" fmla="*/ 6189 h 10000"/>
              <a:gd name="connsiteX129" fmla="*/ 8450 w 10000"/>
              <a:gd name="connsiteY129" fmla="*/ 6016 h 10000"/>
              <a:gd name="connsiteX130" fmla="*/ 8552 w 10000"/>
              <a:gd name="connsiteY130" fmla="*/ 5835 h 10000"/>
              <a:gd name="connsiteX131" fmla="*/ 8650 w 10000"/>
              <a:gd name="connsiteY131" fmla="*/ 5652 h 10000"/>
              <a:gd name="connsiteX132" fmla="*/ 8745 w 10000"/>
              <a:gd name="connsiteY132" fmla="*/ 5468 h 10000"/>
              <a:gd name="connsiteX133" fmla="*/ 8837 w 10000"/>
              <a:gd name="connsiteY133" fmla="*/ 5278 h 10000"/>
              <a:gd name="connsiteX134" fmla="*/ 8927 w 10000"/>
              <a:gd name="connsiteY134" fmla="*/ 5089 h 10000"/>
              <a:gd name="connsiteX135" fmla="*/ 9014 w 10000"/>
              <a:gd name="connsiteY135" fmla="*/ 4893 h 10000"/>
              <a:gd name="connsiteX136" fmla="*/ 9098 w 10000"/>
              <a:gd name="connsiteY136" fmla="*/ 4698 h 10000"/>
              <a:gd name="connsiteX137" fmla="*/ 9178 w 10000"/>
              <a:gd name="connsiteY137" fmla="*/ 4500 h 10000"/>
              <a:gd name="connsiteX138" fmla="*/ 9256 w 10000"/>
              <a:gd name="connsiteY138" fmla="*/ 4294 h 10000"/>
              <a:gd name="connsiteX139" fmla="*/ 9330 w 10000"/>
              <a:gd name="connsiteY139" fmla="*/ 4091 h 10000"/>
              <a:gd name="connsiteX140" fmla="*/ 9401 w 10000"/>
              <a:gd name="connsiteY140" fmla="*/ 3885 h 10000"/>
              <a:gd name="connsiteX141" fmla="*/ 9470 w 10000"/>
              <a:gd name="connsiteY141" fmla="*/ 3674 h 10000"/>
              <a:gd name="connsiteX142" fmla="*/ 9535 w 10000"/>
              <a:gd name="connsiteY142" fmla="*/ 3464 h 10000"/>
              <a:gd name="connsiteX143" fmla="*/ 9599 w 10000"/>
              <a:gd name="connsiteY143" fmla="*/ 3248 h 10000"/>
              <a:gd name="connsiteX144" fmla="*/ 9656 w 10000"/>
              <a:gd name="connsiteY144" fmla="*/ 3030 h 10000"/>
              <a:gd name="connsiteX145" fmla="*/ 9711 w 10000"/>
              <a:gd name="connsiteY145" fmla="*/ 2815 h 10000"/>
              <a:gd name="connsiteX146" fmla="*/ 9763 w 10000"/>
              <a:gd name="connsiteY146" fmla="*/ 2592 h 10000"/>
              <a:gd name="connsiteX147" fmla="*/ 9813 w 10000"/>
              <a:gd name="connsiteY147" fmla="*/ 2369 h 10000"/>
              <a:gd name="connsiteX148" fmla="*/ 9856 w 10000"/>
              <a:gd name="connsiteY148" fmla="*/ 2143 h 10000"/>
              <a:gd name="connsiteX149" fmla="*/ 9898 w 10000"/>
              <a:gd name="connsiteY149" fmla="*/ 1918 h 10000"/>
              <a:gd name="connsiteX150" fmla="*/ 9936 w 10000"/>
              <a:gd name="connsiteY150" fmla="*/ 1690 h 10000"/>
              <a:gd name="connsiteX151" fmla="*/ 9970 w 10000"/>
              <a:gd name="connsiteY151" fmla="*/ 1457 h 10000"/>
              <a:gd name="connsiteX152" fmla="*/ 10000 w 10000"/>
              <a:gd name="connsiteY152" fmla="*/ 1222 h 10000"/>
              <a:gd name="connsiteX153" fmla="*/ 7611 w 10000"/>
              <a:gd name="connsiteY153" fmla="*/ 1876 h 10000"/>
              <a:gd name="connsiteX154" fmla="*/ 5615 w 10000"/>
              <a:gd name="connsiteY154"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2284 w 10000"/>
              <a:gd name="connsiteY67" fmla="*/ 3771 h 10000"/>
              <a:gd name="connsiteX68" fmla="*/ 2179 w 10000"/>
              <a:gd name="connsiteY68" fmla="*/ 3759 h 10000"/>
              <a:gd name="connsiteX69" fmla="*/ 2074 w 10000"/>
              <a:gd name="connsiteY69" fmla="*/ 3741 h 10000"/>
              <a:gd name="connsiteX70" fmla="*/ 0 w 10000"/>
              <a:gd name="connsiteY70" fmla="*/ 6085 h 10000"/>
              <a:gd name="connsiteX71" fmla="*/ 209 w 10000"/>
              <a:gd name="connsiteY71" fmla="*/ 9512 h 10000"/>
              <a:gd name="connsiteX72" fmla="*/ 344 w 10000"/>
              <a:gd name="connsiteY72" fmla="*/ 9569 h 10000"/>
              <a:gd name="connsiteX73" fmla="*/ 481 w 10000"/>
              <a:gd name="connsiteY73" fmla="*/ 9623 h 10000"/>
              <a:gd name="connsiteX74" fmla="*/ 621 w 10000"/>
              <a:gd name="connsiteY74" fmla="*/ 9673 h 10000"/>
              <a:gd name="connsiteX75" fmla="*/ 758 w 10000"/>
              <a:gd name="connsiteY75" fmla="*/ 9720 h 10000"/>
              <a:gd name="connsiteX76" fmla="*/ 899 w 10000"/>
              <a:gd name="connsiteY76" fmla="*/ 9765 h 10000"/>
              <a:gd name="connsiteX77" fmla="*/ 1040 w 10000"/>
              <a:gd name="connsiteY77" fmla="*/ 9804 h 10000"/>
              <a:gd name="connsiteX78" fmla="*/ 1182 w 10000"/>
              <a:gd name="connsiteY78" fmla="*/ 9839 h 10000"/>
              <a:gd name="connsiteX79" fmla="*/ 1325 w 10000"/>
              <a:gd name="connsiteY79" fmla="*/ 9874 h 10000"/>
              <a:gd name="connsiteX80" fmla="*/ 1471 w 10000"/>
              <a:gd name="connsiteY80" fmla="*/ 9903 h 10000"/>
              <a:gd name="connsiteX81" fmla="*/ 1614 w 10000"/>
              <a:gd name="connsiteY81" fmla="*/ 9926 h 10000"/>
              <a:gd name="connsiteX82" fmla="*/ 1760 w 10000"/>
              <a:gd name="connsiteY82" fmla="*/ 9948 h 10000"/>
              <a:gd name="connsiteX83" fmla="*/ 1906 w 10000"/>
              <a:gd name="connsiteY83" fmla="*/ 9965 h 10000"/>
              <a:gd name="connsiteX84" fmla="*/ 2052 w 10000"/>
              <a:gd name="connsiteY84" fmla="*/ 9980 h 10000"/>
              <a:gd name="connsiteX85" fmla="*/ 2202 w 10000"/>
              <a:gd name="connsiteY85" fmla="*/ 9990 h 10000"/>
              <a:gd name="connsiteX86" fmla="*/ 2350 w 10000"/>
              <a:gd name="connsiteY86" fmla="*/ 9995 h 10000"/>
              <a:gd name="connsiteX87" fmla="*/ 2498 w 10000"/>
              <a:gd name="connsiteY87" fmla="*/ 10000 h 10000"/>
              <a:gd name="connsiteX88" fmla="*/ 2677 w 10000"/>
              <a:gd name="connsiteY88" fmla="*/ 9995 h 10000"/>
              <a:gd name="connsiteX89" fmla="*/ 2850 w 10000"/>
              <a:gd name="connsiteY89" fmla="*/ 9988 h 10000"/>
              <a:gd name="connsiteX90" fmla="*/ 3024 w 10000"/>
              <a:gd name="connsiteY90" fmla="*/ 9975 h 10000"/>
              <a:gd name="connsiteX91" fmla="*/ 3195 w 10000"/>
              <a:gd name="connsiteY91" fmla="*/ 9953 h 10000"/>
              <a:gd name="connsiteX92" fmla="*/ 3368 w 10000"/>
              <a:gd name="connsiteY92" fmla="*/ 9931 h 10000"/>
              <a:gd name="connsiteX93" fmla="*/ 3538 w 10000"/>
              <a:gd name="connsiteY93" fmla="*/ 9898 h 10000"/>
              <a:gd name="connsiteX94" fmla="*/ 3709 w 10000"/>
              <a:gd name="connsiteY94" fmla="*/ 9866 h 10000"/>
              <a:gd name="connsiteX95" fmla="*/ 3877 w 10000"/>
              <a:gd name="connsiteY95" fmla="*/ 9824 h 10000"/>
              <a:gd name="connsiteX96" fmla="*/ 4042 w 10000"/>
              <a:gd name="connsiteY96" fmla="*/ 9779 h 10000"/>
              <a:gd name="connsiteX97" fmla="*/ 4210 w 10000"/>
              <a:gd name="connsiteY97" fmla="*/ 9730 h 10000"/>
              <a:gd name="connsiteX98" fmla="*/ 4372 w 10000"/>
              <a:gd name="connsiteY98" fmla="*/ 9673 h 10000"/>
              <a:gd name="connsiteX99" fmla="*/ 4536 w 10000"/>
              <a:gd name="connsiteY99" fmla="*/ 9616 h 10000"/>
              <a:gd name="connsiteX100" fmla="*/ 4697 w 10000"/>
              <a:gd name="connsiteY100" fmla="*/ 9552 h 10000"/>
              <a:gd name="connsiteX101" fmla="*/ 4857 w 10000"/>
              <a:gd name="connsiteY101" fmla="*/ 9482 h 10000"/>
              <a:gd name="connsiteX102" fmla="*/ 5014 w 10000"/>
              <a:gd name="connsiteY102" fmla="*/ 9405 h 10000"/>
              <a:gd name="connsiteX103" fmla="*/ 5171 w 10000"/>
              <a:gd name="connsiteY103" fmla="*/ 9329 h 10000"/>
              <a:gd name="connsiteX104" fmla="*/ 5326 w 10000"/>
              <a:gd name="connsiteY104" fmla="*/ 9244 h 10000"/>
              <a:gd name="connsiteX105" fmla="*/ 5480 w 10000"/>
              <a:gd name="connsiteY105" fmla="*/ 9158 h 10000"/>
              <a:gd name="connsiteX106" fmla="*/ 5631 w 10000"/>
              <a:gd name="connsiteY106" fmla="*/ 9063 h 10000"/>
              <a:gd name="connsiteX107" fmla="*/ 5781 w 10000"/>
              <a:gd name="connsiteY107" fmla="*/ 8967 h 10000"/>
              <a:gd name="connsiteX108" fmla="*/ 5931 w 10000"/>
              <a:gd name="connsiteY108" fmla="*/ 8865 h 10000"/>
              <a:gd name="connsiteX109" fmla="*/ 6075 w 10000"/>
              <a:gd name="connsiteY109" fmla="*/ 8759 h 10000"/>
              <a:gd name="connsiteX110" fmla="*/ 6221 w 10000"/>
              <a:gd name="connsiteY110" fmla="*/ 8652 h 10000"/>
              <a:gd name="connsiteX111" fmla="*/ 6364 w 10000"/>
              <a:gd name="connsiteY111" fmla="*/ 8536 h 10000"/>
              <a:gd name="connsiteX112" fmla="*/ 6505 w 10000"/>
              <a:gd name="connsiteY112" fmla="*/ 8417 h 10000"/>
              <a:gd name="connsiteX113" fmla="*/ 6642 w 10000"/>
              <a:gd name="connsiteY113" fmla="*/ 8295 h 10000"/>
              <a:gd name="connsiteX114" fmla="*/ 6780 w 10000"/>
              <a:gd name="connsiteY114" fmla="*/ 8169 h 10000"/>
              <a:gd name="connsiteX115" fmla="*/ 6913 w 10000"/>
              <a:gd name="connsiteY115" fmla="*/ 8040 h 10000"/>
              <a:gd name="connsiteX116" fmla="*/ 7045 w 10000"/>
              <a:gd name="connsiteY116" fmla="*/ 7904 h 10000"/>
              <a:gd name="connsiteX117" fmla="*/ 7175 w 10000"/>
              <a:gd name="connsiteY117" fmla="*/ 7768 h 10000"/>
              <a:gd name="connsiteX118" fmla="*/ 7304 w 10000"/>
              <a:gd name="connsiteY118" fmla="*/ 7624 h 10000"/>
              <a:gd name="connsiteX119" fmla="*/ 7429 w 10000"/>
              <a:gd name="connsiteY119" fmla="*/ 7480 h 10000"/>
              <a:gd name="connsiteX120" fmla="*/ 7552 w 10000"/>
              <a:gd name="connsiteY120" fmla="*/ 7329 h 10000"/>
              <a:gd name="connsiteX121" fmla="*/ 7673 w 10000"/>
              <a:gd name="connsiteY121" fmla="*/ 7178 h 10000"/>
              <a:gd name="connsiteX122" fmla="*/ 7792 w 10000"/>
              <a:gd name="connsiteY122" fmla="*/ 7024 h 10000"/>
              <a:gd name="connsiteX123" fmla="*/ 7907 w 10000"/>
              <a:gd name="connsiteY123" fmla="*/ 6861 h 10000"/>
              <a:gd name="connsiteX124" fmla="*/ 8022 w 10000"/>
              <a:gd name="connsiteY124" fmla="*/ 6697 h 10000"/>
              <a:gd name="connsiteX125" fmla="*/ 8133 w 10000"/>
              <a:gd name="connsiteY125" fmla="*/ 6534 h 10000"/>
              <a:gd name="connsiteX126" fmla="*/ 8240 w 10000"/>
              <a:gd name="connsiteY126" fmla="*/ 6365 h 10000"/>
              <a:gd name="connsiteX127" fmla="*/ 8347 w 10000"/>
              <a:gd name="connsiteY127" fmla="*/ 6189 h 10000"/>
              <a:gd name="connsiteX128" fmla="*/ 8450 w 10000"/>
              <a:gd name="connsiteY128" fmla="*/ 6016 h 10000"/>
              <a:gd name="connsiteX129" fmla="*/ 8552 w 10000"/>
              <a:gd name="connsiteY129" fmla="*/ 5835 h 10000"/>
              <a:gd name="connsiteX130" fmla="*/ 8650 w 10000"/>
              <a:gd name="connsiteY130" fmla="*/ 5652 h 10000"/>
              <a:gd name="connsiteX131" fmla="*/ 8745 w 10000"/>
              <a:gd name="connsiteY131" fmla="*/ 5468 h 10000"/>
              <a:gd name="connsiteX132" fmla="*/ 8837 w 10000"/>
              <a:gd name="connsiteY132" fmla="*/ 5278 h 10000"/>
              <a:gd name="connsiteX133" fmla="*/ 8927 w 10000"/>
              <a:gd name="connsiteY133" fmla="*/ 5089 h 10000"/>
              <a:gd name="connsiteX134" fmla="*/ 9014 w 10000"/>
              <a:gd name="connsiteY134" fmla="*/ 4893 h 10000"/>
              <a:gd name="connsiteX135" fmla="*/ 9098 w 10000"/>
              <a:gd name="connsiteY135" fmla="*/ 4698 h 10000"/>
              <a:gd name="connsiteX136" fmla="*/ 9178 w 10000"/>
              <a:gd name="connsiteY136" fmla="*/ 4500 h 10000"/>
              <a:gd name="connsiteX137" fmla="*/ 9256 w 10000"/>
              <a:gd name="connsiteY137" fmla="*/ 4294 h 10000"/>
              <a:gd name="connsiteX138" fmla="*/ 9330 w 10000"/>
              <a:gd name="connsiteY138" fmla="*/ 4091 h 10000"/>
              <a:gd name="connsiteX139" fmla="*/ 9401 w 10000"/>
              <a:gd name="connsiteY139" fmla="*/ 3885 h 10000"/>
              <a:gd name="connsiteX140" fmla="*/ 9470 w 10000"/>
              <a:gd name="connsiteY140" fmla="*/ 3674 h 10000"/>
              <a:gd name="connsiteX141" fmla="*/ 9535 w 10000"/>
              <a:gd name="connsiteY141" fmla="*/ 3464 h 10000"/>
              <a:gd name="connsiteX142" fmla="*/ 9599 w 10000"/>
              <a:gd name="connsiteY142" fmla="*/ 3248 h 10000"/>
              <a:gd name="connsiteX143" fmla="*/ 9656 w 10000"/>
              <a:gd name="connsiteY143" fmla="*/ 3030 h 10000"/>
              <a:gd name="connsiteX144" fmla="*/ 9711 w 10000"/>
              <a:gd name="connsiteY144" fmla="*/ 2815 h 10000"/>
              <a:gd name="connsiteX145" fmla="*/ 9763 w 10000"/>
              <a:gd name="connsiteY145" fmla="*/ 2592 h 10000"/>
              <a:gd name="connsiteX146" fmla="*/ 9813 w 10000"/>
              <a:gd name="connsiteY146" fmla="*/ 2369 h 10000"/>
              <a:gd name="connsiteX147" fmla="*/ 9856 w 10000"/>
              <a:gd name="connsiteY147" fmla="*/ 2143 h 10000"/>
              <a:gd name="connsiteX148" fmla="*/ 9898 w 10000"/>
              <a:gd name="connsiteY148" fmla="*/ 1918 h 10000"/>
              <a:gd name="connsiteX149" fmla="*/ 9936 w 10000"/>
              <a:gd name="connsiteY149" fmla="*/ 1690 h 10000"/>
              <a:gd name="connsiteX150" fmla="*/ 9970 w 10000"/>
              <a:gd name="connsiteY150" fmla="*/ 1457 h 10000"/>
              <a:gd name="connsiteX151" fmla="*/ 10000 w 10000"/>
              <a:gd name="connsiteY151" fmla="*/ 1222 h 10000"/>
              <a:gd name="connsiteX152" fmla="*/ 7611 w 10000"/>
              <a:gd name="connsiteY152" fmla="*/ 1876 h 10000"/>
              <a:gd name="connsiteX153" fmla="*/ 5615 w 10000"/>
              <a:gd name="connsiteY153"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2284 w 10000"/>
              <a:gd name="connsiteY67" fmla="*/ 3771 h 10000"/>
              <a:gd name="connsiteX68" fmla="*/ 2179 w 10000"/>
              <a:gd name="connsiteY68" fmla="*/ 3759 h 10000"/>
              <a:gd name="connsiteX69" fmla="*/ 0 w 10000"/>
              <a:gd name="connsiteY69" fmla="*/ 6085 h 10000"/>
              <a:gd name="connsiteX70" fmla="*/ 209 w 10000"/>
              <a:gd name="connsiteY70" fmla="*/ 9512 h 10000"/>
              <a:gd name="connsiteX71" fmla="*/ 344 w 10000"/>
              <a:gd name="connsiteY71" fmla="*/ 9569 h 10000"/>
              <a:gd name="connsiteX72" fmla="*/ 481 w 10000"/>
              <a:gd name="connsiteY72" fmla="*/ 9623 h 10000"/>
              <a:gd name="connsiteX73" fmla="*/ 621 w 10000"/>
              <a:gd name="connsiteY73" fmla="*/ 9673 h 10000"/>
              <a:gd name="connsiteX74" fmla="*/ 758 w 10000"/>
              <a:gd name="connsiteY74" fmla="*/ 9720 h 10000"/>
              <a:gd name="connsiteX75" fmla="*/ 899 w 10000"/>
              <a:gd name="connsiteY75" fmla="*/ 9765 h 10000"/>
              <a:gd name="connsiteX76" fmla="*/ 1040 w 10000"/>
              <a:gd name="connsiteY76" fmla="*/ 9804 h 10000"/>
              <a:gd name="connsiteX77" fmla="*/ 1182 w 10000"/>
              <a:gd name="connsiteY77" fmla="*/ 9839 h 10000"/>
              <a:gd name="connsiteX78" fmla="*/ 1325 w 10000"/>
              <a:gd name="connsiteY78" fmla="*/ 9874 h 10000"/>
              <a:gd name="connsiteX79" fmla="*/ 1471 w 10000"/>
              <a:gd name="connsiteY79" fmla="*/ 9903 h 10000"/>
              <a:gd name="connsiteX80" fmla="*/ 1614 w 10000"/>
              <a:gd name="connsiteY80" fmla="*/ 9926 h 10000"/>
              <a:gd name="connsiteX81" fmla="*/ 1760 w 10000"/>
              <a:gd name="connsiteY81" fmla="*/ 9948 h 10000"/>
              <a:gd name="connsiteX82" fmla="*/ 1906 w 10000"/>
              <a:gd name="connsiteY82" fmla="*/ 9965 h 10000"/>
              <a:gd name="connsiteX83" fmla="*/ 2052 w 10000"/>
              <a:gd name="connsiteY83" fmla="*/ 9980 h 10000"/>
              <a:gd name="connsiteX84" fmla="*/ 2202 w 10000"/>
              <a:gd name="connsiteY84" fmla="*/ 9990 h 10000"/>
              <a:gd name="connsiteX85" fmla="*/ 2350 w 10000"/>
              <a:gd name="connsiteY85" fmla="*/ 9995 h 10000"/>
              <a:gd name="connsiteX86" fmla="*/ 2498 w 10000"/>
              <a:gd name="connsiteY86" fmla="*/ 10000 h 10000"/>
              <a:gd name="connsiteX87" fmla="*/ 2677 w 10000"/>
              <a:gd name="connsiteY87" fmla="*/ 9995 h 10000"/>
              <a:gd name="connsiteX88" fmla="*/ 2850 w 10000"/>
              <a:gd name="connsiteY88" fmla="*/ 9988 h 10000"/>
              <a:gd name="connsiteX89" fmla="*/ 3024 w 10000"/>
              <a:gd name="connsiteY89" fmla="*/ 9975 h 10000"/>
              <a:gd name="connsiteX90" fmla="*/ 3195 w 10000"/>
              <a:gd name="connsiteY90" fmla="*/ 9953 h 10000"/>
              <a:gd name="connsiteX91" fmla="*/ 3368 w 10000"/>
              <a:gd name="connsiteY91" fmla="*/ 9931 h 10000"/>
              <a:gd name="connsiteX92" fmla="*/ 3538 w 10000"/>
              <a:gd name="connsiteY92" fmla="*/ 9898 h 10000"/>
              <a:gd name="connsiteX93" fmla="*/ 3709 w 10000"/>
              <a:gd name="connsiteY93" fmla="*/ 9866 h 10000"/>
              <a:gd name="connsiteX94" fmla="*/ 3877 w 10000"/>
              <a:gd name="connsiteY94" fmla="*/ 9824 h 10000"/>
              <a:gd name="connsiteX95" fmla="*/ 4042 w 10000"/>
              <a:gd name="connsiteY95" fmla="*/ 9779 h 10000"/>
              <a:gd name="connsiteX96" fmla="*/ 4210 w 10000"/>
              <a:gd name="connsiteY96" fmla="*/ 9730 h 10000"/>
              <a:gd name="connsiteX97" fmla="*/ 4372 w 10000"/>
              <a:gd name="connsiteY97" fmla="*/ 9673 h 10000"/>
              <a:gd name="connsiteX98" fmla="*/ 4536 w 10000"/>
              <a:gd name="connsiteY98" fmla="*/ 9616 h 10000"/>
              <a:gd name="connsiteX99" fmla="*/ 4697 w 10000"/>
              <a:gd name="connsiteY99" fmla="*/ 9552 h 10000"/>
              <a:gd name="connsiteX100" fmla="*/ 4857 w 10000"/>
              <a:gd name="connsiteY100" fmla="*/ 9482 h 10000"/>
              <a:gd name="connsiteX101" fmla="*/ 5014 w 10000"/>
              <a:gd name="connsiteY101" fmla="*/ 9405 h 10000"/>
              <a:gd name="connsiteX102" fmla="*/ 5171 w 10000"/>
              <a:gd name="connsiteY102" fmla="*/ 9329 h 10000"/>
              <a:gd name="connsiteX103" fmla="*/ 5326 w 10000"/>
              <a:gd name="connsiteY103" fmla="*/ 9244 h 10000"/>
              <a:gd name="connsiteX104" fmla="*/ 5480 w 10000"/>
              <a:gd name="connsiteY104" fmla="*/ 9158 h 10000"/>
              <a:gd name="connsiteX105" fmla="*/ 5631 w 10000"/>
              <a:gd name="connsiteY105" fmla="*/ 9063 h 10000"/>
              <a:gd name="connsiteX106" fmla="*/ 5781 w 10000"/>
              <a:gd name="connsiteY106" fmla="*/ 8967 h 10000"/>
              <a:gd name="connsiteX107" fmla="*/ 5931 w 10000"/>
              <a:gd name="connsiteY107" fmla="*/ 8865 h 10000"/>
              <a:gd name="connsiteX108" fmla="*/ 6075 w 10000"/>
              <a:gd name="connsiteY108" fmla="*/ 8759 h 10000"/>
              <a:gd name="connsiteX109" fmla="*/ 6221 w 10000"/>
              <a:gd name="connsiteY109" fmla="*/ 8652 h 10000"/>
              <a:gd name="connsiteX110" fmla="*/ 6364 w 10000"/>
              <a:gd name="connsiteY110" fmla="*/ 8536 h 10000"/>
              <a:gd name="connsiteX111" fmla="*/ 6505 w 10000"/>
              <a:gd name="connsiteY111" fmla="*/ 8417 h 10000"/>
              <a:gd name="connsiteX112" fmla="*/ 6642 w 10000"/>
              <a:gd name="connsiteY112" fmla="*/ 8295 h 10000"/>
              <a:gd name="connsiteX113" fmla="*/ 6780 w 10000"/>
              <a:gd name="connsiteY113" fmla="*/ 8169 h 10000"/>
              <a:gd name="connsiteX114" fmla="*/ 6913 w 10000"/>
              <a:gd name="connsiteY114" fmla="*/ 8040 h 10000"/>
              <a:gd name="connsiteX115" fmla="*/ 7045 w 10000"/>
              <a:gd name="connsiteY115" fmla="*/ 7904 h 10000"/>
              <a:gd name="connsiteX116" fmla="*/ 7175 w 10000"/>
              <a:gd name="connsiteY116" fmla="*/ 7768 h 10000"/>
              <a:gd name="connsiteX117" fmla="*/ 7304 w 10000"/>
              <a:gd name="connsiteY117" fmla="*/ 7624 h 10000"/>
              <a:gd name="connsiteX118" fmla="*/ 7429 w 10000"/>
              <a:gd name="connsiteY118" fmla="*/ 7480 h 10000"/>
              <a:gd name="connsiteX119" fmla="*/ 7552 w 10000"/>
              <a:gd name="connsiteY119" fmla="*/ 7329 h 10000"/>
              <a:gd name="connsiteX120" fmla="*/ 7673 w 10000"/>
              <a:gd name="connsiteY120" fmla="*/ 7178 h 10000"/>
              <a:gd name="connsiteX121" fmla="*/ 7792 w 10000"/>
              <a:gd name="connsiteY121" fmla="*/ 7024 h 10000"/>
              <a:gd name="connsiteX122" fmla="*/ 7907 w 10000"/>
              <a:gd name="connsiteY122" fmla="*/ 6861 h 10000"/>
              <a:gd name="connsiteX123" fmla="*/ 8022 w 10000"/>
              <a:gd name="connsiteY123" fmla="*/ 6697 h 10000"/>
              <a:gd name="connsiteX124" fmla="*/ 8133 w 10000"/>
              <a:gd name="connsiteY124" fmla="*/ 6534 h 10000"/>
              <a:gd name="connsiteX125" fmla="*/ 8240 w 10000"/>
              <a:gd name="connsiteY125" fmla="*/ 6365 h 10000"/>
              <a:gd name="connsiteX126" fmla="*/ 8347 w 10000"/>
              <a:gd name="connsiteY126" fmla="*/ 6189 h 10000"/>
              <a:gd name="connsiteX127" fmla="*/ 8450 w 10000"/>
              <a:gd name="connsiteY127" fmla="*/ 6016 h 10000"/>
              <a:gd name="connsiteX128" fmla="*/ 8552 w 10000"/>
              <a:gd name="connsiteY128" fmla="*/ 5835 h 10000"/>
              <a:gd name="connsiteX129" fmla="*/ 8650 w 10000"/>
              <a:gd name="connsiteY129" fmla="*/ 5652 h 10000"/>
              <a:gd name="connsiteX130" fmla="*/ 8745 w 10000"/>
              <a:gd name="connsiteY130" fmla="*/ 5468 h 10000"/>
              <a:gd name="connsiteX131" fmla="*/ 8837 w 10000"/>
              <a:gd name="connsiteY131" fmla="*/ 5278 h 10000"/>
              <a:gd name="connsiteX132" fmla="*/ 8927 w 10000"/>
              <a:gd name="connsiteY132" fmla="*/ 5089 h 10000"/>
              <a:gd name="connsiteX133" fmla="*/ 9014 w 10000"/>
              <a:gd name="connsiteY133" fmla="*/ 4893 h 10000"/>
              <a:gd name="connsiteX134" fmla="*/ 9098 w 10000"/>
              <a:gd name="connsiteY134" fmla="*/ 4698 h 10000"/>
              <a:gd name="connsiteX135" fmla="*/ 9178 w 10000"/>
              <a:gd name="connsiteY135" fmla="*/ 4500 h 10000"/>
              <a:gd name="connsiteX136" fmla="*/ 9256 w 10000"/>
              <a:gd name="connsiteY136" fmla="*/ 4294 h 10000"/>
              <a:gd name="connsiteX137" fmla="*/ 9330 w 10000"/>
              <a:gd name="connsiteY137" fmla="*/ 4091 h 10000"/>
              <a:gd name="connsiteX138" fmla="*/ 9401 w 10000"/>
              <a:gd name="connsiteY138" fmla="*/ 3885 h 10000"/>
              <a:gd name="connsiteX139" fmla="*/ 9470 w 10000"/>
              <a:gd name="connsiteY139" fmla="*/ 3674 h 10000"/>
              <a:gd name="connsiteX140" fmla="*/ 9535 w 10000"/>
              <a:gd name="connsiteY140" fmla="*/ 3464 h 10000"/>
              <a:gd name="connsiteX141" fmla="*/ 9599 w 10000"/>
              <a:gd name="connsiteY141" fmla="*/ 3248 h 10000"/>
              <a:gd name="connsiteX142" fmla="*/ 9656 w 10000"/>
              <a:gd name="connsiteY142" fmla="*/ 3030 h 10000"/>
              <a:gd name="connsiteX143" fmla="*/ 9711 w 10000"/>
              <a:gd name="connsiteY143" fmla="*/ 2815 h 10000"/>
              <a:gd name="connsiteX144" fmla="*/ 9763 w 10000"/>
              <a:gd name="connsiteY144" fmla="*/ 2592 h 10000"/>
              <a:gd name="connsiteX145" fmla="*/ 9813 w 10000"/>
              <a:gd name="connsiteY145" fmla="*/ 2369 h 10000"/>
              <a:gd name="connsiteX146" fmla="*/ 9856 w 10000"/>
              <a:gd name="connsiteY146" fmla="*/ 2143 h 10000"/>
              <a:gd name="connsiteX147" fmla="*/ 9898 w 10000"/>
              <a:gd name="connsiteY147" fmla="*/ 1918 h 10000"/>
              <a:gd name="connsiteX148" fmla="*/ 9936 w 10000"/>
              <a:gd name="connsiteY148" fmla="*/ 1690 h 10000"/>
              <a:gd name="connsiteX149" fmla="*/ 9970 w 10000"/>
              <a:gd name="connsiteY149" fmla="*/ 1457 h 10000"/>
              <a:gd name="connsiteX150" fmla="*/ 10000 w 10000"/>
              <a:gd name="connsiteY150" fmla="*/ 1222 h 10000"/>
              <a:gd name="connsiteX151" fmla="*/ 7611 w 10000"/>
              <a:gd name="connsiteY151" fmla="*/ 1876 h 10000"/>
              <a:gd name="connsiteX152" fmla="*/ 5615 w 10000"/>
              <a:gd name="connsiteY152"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2284 w 10000"/>
              <a:gd name="connsiteY67" fmla="*/ 3771 h 10000"/>
              <a:gd name="connsiteX68" fmla="*/ 0 w 10000"/>
              <a:gd name="connsiteY68" fmla="*/ 6085 h 10000"/>
              <a:gd name="connsiteX69" fmla="*/ 209 w 10000"/>
              <a:gd name="connsiteY69" fmla="*/ 9512 h 10000"/>
              <a:gd name="connsiteX70" fmla="*/ 344 w 10000"/>
              <a:gd name="connsiteY70" fmla="*/ 9569 h 10000"/>
              <a:gd name="connsiteX71" fmla="*/ 481 w 10000"/>
              <a:gd name="connsiteY71" fmla="*/ 9623 h 10000"/>
              <a:gd name="connsiteX72" fmla="*/ 621 w 10000"/>
              <a:gd name="connsiteY72" fmla="*/ 9673 h 10000"/>
              <a:gd name="connsiteX73" fmla="*/ 758 w 10000"/>
              <a:gd name="connsiteY73" fmla="*/ 9720 h 10000"/>
              <a:gd name="connsiteX74" fmla="*/ 899 w 10000"/>
              <a:gd name="connsiteY74" fmla="*/ 9765 h 10000"/>
              <a:gd name="connsiteX75" fmla="*/ 1040 w 10000"/>
              <a:gd name="connsiteY75" fmla="*/ 9804 h 10000"/>
              <a:gd name="connsiteX76" fmla="*/ 1182 w 10000"/>
              <a:gd name="connsiteY76" fmla="*/ 9839 h 10000"/>
              <a:gd name="connsiteX77" fmla="*/ 1325 w 10000"/>
              <a:gd name="connsiteY77" fmla="*/ 9874 h 10000"/>
              <a:gd name="connsiteX78" fmla="*/ 1471 w 10000"/>
              <a:gd name="connsiteY78" fmla="*/ 9903 h 10000"/>
              <a:gd name="connsiteX79" fmla="*/ 1614 w 10000"/>
              <a:gd name="connsiteY79" fmla="*/ 9926 h 10000"/>
              <a:gd name="connsiteX80" fmla="*/ 1760 w 10000"/>
              <a:gd name="connsiteY80" fmla="*/ 9948 h 10000"/>
              <a:gd name="connsiteX81" fmla="*/ 1906 w 10000"/>
              <a:gd name="connsiteY81" fmla="*/ 9965 h 10000"/>
              <a:gd name="connsiteX82" fmla="*/ 2052 w 10000"/>
              <a:gd name="connsiteY82" fmla="*/ 9980 h 10000"/>
              <a:gd name="connsiteX83" fmla="*/ 2202 w 10000"/>
              <a:gd name="connsiteY83" fmla="*/ 9990 h 10000"/>
              <a:gd name="connsiteX84" fmla="*/ 2350 w 10000"/>
              <a:gd name="connsiteY84" fmla="*/ 9995 h 10000"/>
              <a:gd name="connsiteX85" fmla="*/ 2498 w 10000"/>
              <a:gd name="connsiteY85" fmla="*/ 10000 h 10000"/>
              <a:gd name="connsiteX86" fmla="*/ 2677 w 10000"/>
              <a:gd name="connsiteY86" fmla="*/ 9995 h 10000"/>
              <a:gd name="connsiteX87" fmla="*/ 2850 w 10000"/>
              <a:gd name="connsiteY87" fmla="*/ 9988 h 10000"/>
              <a:gd name="connsiteX88" fmla="*/ 3024 w 10000"/>
              <a:gd name="connsiteY88" fmla="*/ 9975 h 10000"/>
              <a:gd name="connsiteX89" fmla="*/ 3195 w 10000"/>
              <a:gd name="connsiteY89" fmla="*/ 9953 h 10000"/>
              <a:gd name="connsiteX90" fmla="*/ 3368 w 10000"/>
              <a:gd name="connsiteY90" fmla="*/ 9931 h 10000"/>
              <a:gd name="connsiteX91" fmla="*/ 3538 w 10000"/>
              <a:gd name="connsiteY91" fmla="*/ 9898 h 10000"/>
              <a:gd name="connsiteX92" fmla="*/ 3709 w 10000"/>
              <a:gd name="connsiteY92" fmla="*/ 9866 h 10000"/>
              <a:gd name="connsiteX93" fmla="*/ 3877 w 10000"/>
              <a:gd name="connsiteY93" fmla="*/ 9824 h 10000"/>
              <a:gd name="connsiteX94" fmla="*/ 4042 w 10000"/>
              <a:gd name="connsiteY94" fmla="*/ 9779 h 10000"/>
              <a:gd name="connsiteX95" fmla="*/ 4210 w 10000"/>
              <a:gd name="connsiteY95" fmla="*/ 9730 h 10000"/>
              <a:gd name="connsiteX96" fmla="*/ 4372 w 10000"/>
              <a:gd name="connsiteY96" fmla="*/ 9673 h 10000"/>
              <a:gd name="connsiteX97" fmla="*/ 4536 w 10000"/>
              <a:gd name="connsiteY97" fmla="*/ 9616 h 10000"/>
              <a:gd name="connsiteX98" fmla="*/ 4697 w 10000"/>
              <a:gd name="connsiteY98" fmla="*/ 9552 h 10000"/>
              <a:gd name="connsiteX99" fmla="*/ 4857 w 10000"/>
              <a:gd name="connsiteY99" fmla="*/ 9482 h 10000"/>
              <a:gd name="connsiteX100" fmla="*/ 5014 w 10000"/>
              <a:gd name="connsiteY100" fmla="*/ 9405 h 10000"/>
              <a:gd name="connsiteX101" fmla="*/ 5171 w 10000"/>
              <a:gd name="connsiteY101" fmla="*/ 9329 h 10000"/>
              <a:gd name="connsiteX102" fmla="*/ 5326 w 10000"/>
              <a:gd name="connsiteY102" fmla="*/ 9244 h 10000"/>
              <a:gd name="connsiteX103" fmla="*/ 5480 w 10000"/>
              <a:gd name="connsiteY103" fmla="*/ 9158 h 10000"/>
              <a:gd name="connsiteX104" fmla="*/ 5631 w 10000"/>
              <a:gd name="connsiteY104" fmla="*/ 9063 h 10000"/>
              <a:gd name="connsiteX105" fmla="*/ 5781 w 10000"/>
              <a:gd name="connsiteY105" fmla="*/ 8967 h 10000"/>
              <a:gd name="connsiteX106" fmla="*/ 5931 w 10000"/>
              <a:gd name="connsiteY106" fmla="*/ 8865 h 10000"/>
              <a:gd name="connsiteX107" fmla="*/ 6075 w 10000"/>
              <a:gd name="connsiteY107" fmla="*/ 8759 h 10000"/>
              <a:gd name="connsiteX108" fmla="*/ 6221 w 10000"/>
              <a:gd name="connsiteY108" fmla="*/ 8652 h 10000"/>
              <a:gd name="connsiteX109" fmla="*/ 6364 w 10000"/>
              <a:gd name="connsiteY109" fmla="*/ 8536 h 10000"/>
              <a:gd name="connsiteX110" fmla="*/ 6505 w 10000"/>
              <a:gd name="connsiteY110" fmla="*/ 8417 h 10000"/>
              <a:gd name="connsiteX111" fmla="*/ 6642 w 10000"/>
              <a:gd name="connsiteY111" fmla="*/ 8295 h 10000"/>
              <a:gd name="connsiteX112" fmla="*/ 6780 w 10000"/>
              <a:gd name="connsiteY112" fmla="*/ 8169 h 10000"/>
              <a:gd name="connsiteX113" fmla="*/ 6913 w 10000"/>
              <a:gd name="connsiteY113" fmla="*/ 8040 h 10000"/>
              <a:gd name="connsiteX114" fmla="*/ 7045 w 10000"/>
              <a:gd name="connsiteY114" fmla="*/ 7904 h 10000"/>
              <a:gd name="connsiteX115" fmla="*/ 7175 w 10000"/>
              <a:gd name="connsiteY115" fmla="*/ 7768 h 10000"/>
              <a:gd name="connsiteX116" fmla="*/ 7304 w 10000"/>
              <a:gd name="connsiteY116" fmla="*/ 7624 h 10000"/>
              <a:gd name="connsiteX117" fmla="*/ 7429 w 10000"/>
              <a:gd name="connsiteY117" fmla="*/ 7480 h 10000"/>
              <a:gd name="connsiteX118" fmla="*/ 7552 w 10000"/>
              <a:gd name="connsiteY118" fmla="*/ 7329 h 10000"/>
              <a:gd name="connsiteX119" fmla="*/ 7673 w 10000"/>
              <a:gd name="connsiteY119" fmla="*/ 7178 h 10000"/>
              <a:gd name="connsiteX120" fmla="*/ 7792 w 10000"/>
              <a:gd name="connsiteY120" fmla="*/ 7024 h 10000"/>
              <a:gd name="connsiteX121" fmla="*/ 7907 w 10000"/>
              <a:gd name="connsiteY121" fmla="*/ 6861 h 10000"/>
              <a:gd name="connsiteX122" fmla="*/ 8022 w 10000"/>
              <a:gd name="connsiteY122" fmla="*/ 6697 h 10000"/>
              <a:gd name="connsiteX123" fmla="*/ 8133 w 10000"/>
              <a:gd name="connsiteY123" fmla="*/ 6534 h 10000"/>
              <a:gd name="connsiteX124" fmla="*/ 8240 w 10000"/>
              <a:gd name="connsiteY124" fmla="*/ 6365 h 10000"/>
              <a:gd name="connsiteX125" fmla="*/ 8347 w 10000"/>
              <a:gd name="connsiteY125" fmla="*/ 6189 h 10000"/>
              <a:gd name="connsiteX126" fmla="*/ 8450 w 10000"/>
              <a:gd name="connsiteY126" fmla="*/ 6016 h 10000"/>
              <a:gd name="connsiteX127" fmla="*/ 8552 w 10000"/>
              <a:gd name="connsiteY127" fmla="*/ 5835 h 10000"/>
              <a:gd name="connsiteX128" fmla="*/ 8650 w 10000"/>
              <a:gd name="connsiteY128" fmla="*/ 5652 h 10000"/>
              <a:gd name="connsiteX129" fmla="*/ 8745 w 10000"/>
              <a:gd name="connsiteY129" fmla="*/ 5468 h 10000"/>
              <a:gd name="connsiteX130" fmla="*/ 8837 w 10000"/>
              <a:gd name="connsiteY130" fmla="*/ 5278 h 10000"/>
              <a:gd name="connsiteX131" fmla="*/ 8927 w 10000"/>
              <a:gd name="connsiteY131" fmla="*/ 5089 h 10000"/>
              <a:gd name="connsiteX132" fmla="*/ 9014 w 10000"/>
              <a:gd name="connsiteY132" fmla="*/ 4893 h 10000"/>
              <a:gd name="connsiteX133" fmla="*/ 9098 w 10000"/>
              <a:gd name="connsiteY133" fmla="*/ 4698 h 10000"/>
              <a:gd name="connsiteX134" fmla="*/ 9178 w 10000"/>
              <a:gd name="connsiteY134" fmla="*/ 4500 h 10000"/>
              <a:gd name="connsiteX135" fmla="*/ 9256 w 10000"/>
              <a:gd name="connsiteY135" fmla="*/ 4294 h 10000"/>
              <a:gd name="connsiteX136" fmla="*/ 9330 w 10000"/>
              <a:gd name="connsiteY136" fmla="*/ 4091 h 10000"/>
              <a:gd name="connsiteX137" fmla="*/ 9401 w 10000"/>
              <a:gd name="connsiteY137" fmla="*/ 3885 h 10000"/>
              <a:gd name="connsiteX138" fmla="*/ 9470 w 10000"/>
              <a:gd name="connsiteY138" fmla="*/ 3674 h 10000"/>
              <a:gd name="connsiteX139" fmla="*/ 9535 w 10000"/>
              <a:gd name="connsiteY139" fmla="*/ 3464 h 10000"/>
              <a:gd name="connsiteX140" fmla="*/ 9599 w 10000"/>
              <a:gd name="connsiteY140" fmla="*/ 3248 h 10000"/>
              <a:gd name="connsiteX141" fmla="*/ 9656 w 10000"/>
              <a:gd name="connsiteY141" fmla="*/ 3030 h 10000"/>
              <a:gd name="connsiteX142" fmla="*/ 9711 w 10000"/>
              <a:gd name="connsiteY142" fmla="*/ 2815 h 10000"/>
              <a:gd name="connsiteX143" fmla="*/ 9763 w 10000"/>
              <a:gd name="connsiteY143" fmla="*/ 2592 h 10000"/>
              <a:gd name="connsiteX144" fmla="*/ 9813 w 10000"/>
              <a:gd name="connsiteY144" fmla="*/ 2369 h 10000"/>
              <a:gd name="connsiteX145" fmla="*/ 9856 w 10000"/>
              <a:gd name="connsiteY145" fmla="*/ 2143 h 10000"/>
              <a:gd name="connsiteX146" fmla="*/ 9898 w 10000"/>
              <a:gd name="connsiteY146" fmla="*/ 1918 h 10000"/>
              <a:gd name="connsiteX147" fmla="*/ 9936 w 10000"/>
              <a:gd name="connsiteY147" fmla="*/ 1690 h 10000"/>
              <a:gd name="connsiteX148" fmla="*/ 9970 w 10000"/>
              <a:gd name="connsiteY148" fmla="*/ 1457 h 10000"/>
              <a:gd name="connsiteX149" fmla="*/ 10000 w 10000"/>
              <a:gd name="connsiteY149" fmla="*/ 1222 h 10000"/>
              <a:gd name="connsiteX150" fmla="*/ 7611 w 10000"/>
              <a:gd name="connsiteY150" fmla="*/ 1876 h 10000"/>
              <a:gd name="connsiteX151" fmla="*/ 5615 w 10000"/>
              <a:gd name="connsiteY151"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0 w 10000"/>
              <a:gd name="connsiteY67" fmla="*/ 6085 h 10000"/>
              <a:gd name="connsiteX68" fmla="*/ 209 w 10000"/>
              <a:gd name="connsiteY68" fmla="*/ 9512 h 10000"/>
              <a:gd name="connsiteX69" fmla="*/ 344 w 10000"/>
              <a:gd name="connsiteY69" fmla="*/ 9569 h 10000"/>
              <a:gd name="connsiteX70" fmla="*/ 481 w 10000"/>
              <a:gd name="connsiteY70" fmla="*/ 9623 h 10000"/>
              <a:gd name="connsiteX71" fmla="*/ 621 w 10000"/>
              <a:gd name="connsiteY71" fmla="*/ 9673 h 10000"/>
              <a:gd name="connsiteX72" fmla="*/ 758 w 10000"/>
              <a:gd name="connsiteY72" fmla="*/ 9720 h 10000"/>
              <a:gd name="connsiteX73" fmla="*/ 899 w 10000"/>
              <a:gd name="connsiteY73" fmla="*/ 9765 h 10000"/>
              <a:gd name="connsiteX74" fmla="*/ 1040 w 10000"/>
              <a:gd name="connsiteY74" fmla="*/ 9804 h 10000"/>
              <a:gd name="connsiteX75" fmla="*/ 1182 w 10000"/>
              <a:gd name="connsiteY75" fmla="*/ 9839 h 10000"/>
              <a:gd name="connsiteX76" fmla="*/ 1325 w 10000"/>
              <a:gd name="connsiteY76" fmla="*/ 9874 h 10000"/>
              <a:gd name="connsiteX77" fmla="*/ 1471 w 10000"/>
              <a:gd name="connsiteY77" fmla="*/ 9903 h 10000"/>
              <a:gd name="connsiteX78" fmla="*/ 1614 w 10000"/>
              <a:gd name="connsiteY78" fmla="*/ 9926 h 10000"/>
              <a:gd name="connsiteX79" fmla="*/ 1760 w 10000"/>
              <a:gd name="connsiteY79" fmla="*/ 9948 h 10000"/>
              <a:gd name="connsiteX80" fmla="*/ 1906 w 10000"/>
              <a:gd name="connsiteY80" fmla="*/ 9965 h 10000"/>
              <a:gd name="connsiteX81" fmla="*/ 2052 w 10000"/>
              <a:gd name="connsiteY81" fmla="*/ 9980 h 10000"/>
              <a:gd name="connsiteX82" fmla="*/ 2202 w 10000"/>
              <a:gd name="connsiteY82" fmla="*/ 9990 h 10000"/>
              <a:gd name="connsiteX83" fmla="*/ 2350 w 10000"/>
              <a:gd name="connsiteY83" fmla="*/ 9995 h 10000"/>
              <a:gd name="connsiteX84" fmla="*/ 2498 w 10000"/>
              <a:gd name="connsiteY84" fmla="*/ 10000 h 10000"/>
              <a:gd name="connsiteX85" fmla="*/ 2677 w 10000"/>
              <a:gd name="connsiteY85" fmla="*/ 9995 h 10000"/>
              <a:gd name="connsiteX86" fmla="*/ 2850 w 10000"/>
              <a:gd name="connsiteY86" fmla="*/ 9988 h 10000"/>
              <a:gd name="connsiteX87" fmla="*/ 3024 w 10000"/>
              <a:gd name="connsiteY87" fmla="*/ 9975 h 10000"/>
              <a:gd name="connsiteX88" fmla="*/ 3195 w 10000"/>
              <a:gd name="connsiteY88" fmla="*/ 9953 h 10000"/>
              <a:gd name="connsiteX89" fmla="*/ 3368 w 10000"/>
              <a:gd name="connsiteY89" fmla="*/ 9931 h 10000"/>
              <a:gd name="connsiteX90" fmla="*/ 3538 w 10000"/>
              <a:gd name="connsiteY90" fmla="*/ 9898 h 10000"/>
              <a:gd name="connsiteX91" fmla="*/ 3709 w 10000"/>
              <a:gd name="connsiteY91" fmla="*/ 9866 h 10000"/>
              <a:gd name="connsiteX92" fmla="*/ 3877 w 10000"/>
              <a:gd name="connsiteY92" fmla="*/ 9824 h 10000"/>
              <a:gd name="connsiteX93" fmla="*/ 4042 w 10000"/>
              <a:gd name="connsiteY93" fmla="*/ 9779 h 10000"/>
              <a:gd name="connsiteX94" fmla="*/ 4210 w 10000"/>
              <a:gd name="connsiteY94" fmla="*/ 9730 h 10000"/>
              <a:gd name="connsiteX95" fmla="*/ 4372 w 10000"/>
              <a:gd name="connsiteY95" fmla="*/ 9673 h 10000"/>
              <a:gd name="connsiteX96" fmla="*/ 4536 w 10000"/>
              <a:gd name="connsiteY96" fmla="*/ 9616 h 10000"/>
              <a:gd name="connsiteX97" fmla="*/ 4697 w 10000"/>
              <a:gd name="connsiteY97" fmla="*/ 9552 h 10000"/>
              <a:gd name="connsiteX98" fmla="*/ 4857 w 10000"/>
              <a:gd name="connsiteY98" fmla="*/ 9482 h 10000"/>
              <a:gd name="connsiteX99" fmla="*/ 5014 w 10000"/>
              <a:gd name="connsiteY99" fmla="*/ 9405 h 10000"/>
              <a:gd name="connsiteX100" fmla="*/ 5171 w 10000"/>
              <a:gd name="connsiteY100" fmla="*/ 9329 h 10000"/>
              <a:gd name="connsiteX101" fmla="*/ 5326 w 10000"/>
              <a:gd name="connsiteY101" fmla="*/ 9244 h 10000"/>
              <a:gd name="connsiteX102" fmla="*/ 5480 w 10000"/>
              <a:gd name="connsiteY102" fmla="*/ 9158 h 10000"/>
              <a:gd name="connsiteX103" fmla="*/ 5631 w 10000"/>
              <a:gd name="connsiteY103" fmla="*/ 9063 h 10000"/>
              <a:gd name="connsiteX104" fmla="*/ 5781 w 10000"/>
              <a:gd name="connsiteY104" fmla="*/ 8967 h 10000"/>
              <a:gd name="connsiteX105" fmla="*/ 5931 w 10000"/>
              <a:gd name="connsiteY105" fmla="*/ 8865 h 10000"/>
              <a:gd name="connsiteX106" fmla="*/ 6075 w 10000"/>
              <a:gd name="connsiteY106" fmla="*/ 8759 h 10000"/>
              <a:gd name="connsiteX107" fmla="*/ 6221 w 10000"/>
              <a:gd name="connsiteY107" fmla="*/ 8652 h 10000"/>
              <a:gd name="connsiteX108" fmla="*/ 6364 w 10000"/>
              <a:gd name="connsiteY108" fmla="*/ 8536 h 10000"/>
              <a:gd name="connsiteX109" fmla="*/ 6505 w 10000"/>
              <a:gd name="connsiteY109" fmla="*/ 8417 h 10000"/>
              <a:gd name="connsiteX110" fmla="*/ 6642 w 10000"/>
              <a:gd name="connsiteY110" fmla="*/ 8295 h 10000"/>
              <a:gd name="connsiteX111" fmla="*/ 6780 w 10000"/>
              <a:gd name="connsiteY111" fmla="*/ 8169 h 10000"/>
              <a:gd name="connsiteX112" fmla="*/ 6913 w 10000"/>
              <a:gd name="connsiteY112" fmla="*/ 8040 h 10000"/>
              <a:gd name="connsiteX113" fmla="*/ 7045 w 10000"/>
              <a:gd name="connsiteY113" fmla="*/ 7904 h 10000"/>
              <a:gd name="connsiteX114" fmla="*/ 7175 w 10000"/>
              <a:gd name="connsiteY114" fmla="*/ 7768 h 10000"/>
              <a:gd name="connsiteX115" fmla="*/ 7304 w 10000"/>
              <a:gd name="connsiteY115" fmla="*/ 7624 h 10000"/>
              <a:gd name="connsiteX116" fmla="*/ 7429 w 10000"/>
              <a:gd name="connsiteY116" fmla="*/ 7480 h 10000"/>
              <a:gd name="connsiteX117" fmla="*/ 7552 w 10000"/>
              <a:gd name="connsiteY117" fmla="*/ 7329 h 10000"/>
              <a:gd name="connsiteX118" fmla="*/ 7673 w 10000"/>
              <a:gd name="connsiteY118" fmla="*/ 7178 h 10000"/>
              <a:gd name="connsiteX119" fmla="*/ 7792 w 10000"/>
              <a:gd name="connsiteY119" fmla="*/ 7024 h 10000"/>
              <a:gd name="connsiteX120" fmla="*/ 7907 w 10000"/>
              <a:gd name="connsiteY120" fmla="*/ 6861 h 10000"/>
              <a:gd name="connsiteX121" fmla="*/ 8022 w 10000"/>
              <a:gd name="connsiteY121" fmla="*/ 6697 h 10000"/>
              <a:gd name="connsiteX122" fmla="*/ 8133 w 10000"/>
              <a:gd name="connsiteY122" fmla="*/ 6534 h 10000"/>
              <a:gd name="connsiteX123" fmla="*/ 8240 w 10000"/>
              <a:gd name="connsiteY123" fmla="*/ 6365 h 10000"/>
              <a:gd name="connsiteX124" fmla="*/ 8347 w 10000"/>
              <a:gd name="connsiteY124" fmla="*/ 6189 h 10000"/>
              <a:gd name="connsiteX125" fmla="*/ 8450 w 10000"/>
              <a:gd name="connsiteY125" fmla="*/ 6016 h 10000"/>
              <a:gd name="connsiteX126" fmla="*/ 8552 w 10000"/>
              <a:gd name="connsiteY126" fmla="*/ 5835 h 10000"/>
              <a:gd name="connsiteX127" fmla="*/ 8650 w 10000"/>
              <a:gd name="connsiteY127" fmla="*/ 5652 h 10000"/>
              <a:gd name="connsiteX128" fmla="*/ 8745 w 10000"/>
              <a:gd name="connsiteY128" fmla="*/ 5468 h 10000"/>
              <a:gd name="connsiteX129" fmla="*/ 8837 w 10000"/>
              <a:gd name="connsiteY129" fmla="*/ 5278 h 10000"/>
              <a:gd name="connsiteX130" fmla="*/ 8927 w 10000"/>
              <a:gd name="connsiteY130" fmla="*/ 5089 h 10000"/>
              <a:gd name="connsiteX131" fmla="*/ 9014 w 10000"/>
              <a:gd name="connsiteY131" fmla="*/ 4893 h 10000"/>
              <a:gd name="connsiteX132" fmla="*/ 9098 w 10000"/>
              <a:gd name="connsiteY132" fmla="*/ 4698 h 10000"/>
              <a:gd name="connsiteX133" fmla="*/ 9178 w 10000"/>
              <a:gd name="connsiteY133" fmla="*/ 4500 h 10000"/>
              <a:gd name="connsiteX134" fmla="*/ 9256 w 10000"/>
              <a:gd name="connsiteY134" fmla="*/ 4294 h 10000"/>
              <a:gd name="connsiteX135" fmla="*/ 9330 w 10000"/>
              <a:gd name="connsiteY135" fmla="*/ 4091 h 10000"/>
              <a:gd name="connsiteX136" fmla="*/ 9401 w 10000"/>
              <a:gd name="connsiteY136" fmla="*/ 3885 h 10000"/>
              <a:gd name="connsiteX137" fmla="*/ 9470 w 10000"/>
              <a:gd name="connsiteY137" fmla="*/ 3674 h 10000"/>
              <a:gd name="connsiteX138" fmla="*/ 9535 w 10000"/>
              <a:gd name="connsiteY138" fmla="*/ 3464 h 10000"/>
              <a:gd name="connsiteX139" fmla="*/ 9599 w 10000"/>
              <a:gd name="connsiteY139" fmla="*/ 3248 h 10000"/>
              <a:gd name="connsiteX140" fmla="*/ 9656 w 10000"/>
              <a:gd name="connsiteY140" fmla="*/ 3030 h 10000"/>
              <a:gd name="connsiteX141" fmla="*/ 9711 w 10000"/>
              <a:gd name="connsiteY141" fmla="*/ 2815 h 10000"/>
              <a:gd name="connsiteX142" fmla="*/ 9763 w 10000"/>
              <a:gd name="connsiteY142" fmla="*/ 2592 h 10000"/>
              <a:gd name="connsiteX143" fmla="*/ 9813 w 10000"/>
              <a:gd name="connsiteY143" fmla="*/ 2369 h 10000"/>
              <a:gd name="connsiteX144" fmla="*/ 9856 w 10000"/>
              <a:gd name="connsiteY144" fmla="*/ 2143 h 10000"/>
              <a:gd name="connsiteX145" fmla="*/ 9898 w 10000"/>
              <a:gd name="connsiteY145" fmla="*/ 1918 h 10000"/>
              <a:gd name="connsiteX146" fmla="*/ 9936 w 10000"/>
              <a:gd name="connsiteY146" fmla="*/ 1690 h 10000"/>
              <a:gd name="connsiteX147" fmla="*/ 9970 w 10000"/>
              <a:gd name="connsiteY147" fmla="*/ 1457 h 10000"/>
              <a:gd name="connsiteX148" fmla="*/ 10000 w 10000"/>
              <a:gd name="connsiteY148" fmla="*/ 1222 h 10000"/>
              <a:gd name="connsiteX149" fmla="*/ 7611 w 10000"/>
              <a:gd name="connsiteY149" fmla="*/ 1876 h 10000"/>
              <a:gd name="connsiteX150" fmla="*/ 5615 w 10000"/>
              <a:gd name="connsiteY150"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0 w 10000"/>
              <a:gd name="connsiteY66" fmla="*/ 6085 h 10000"/>
              <a:gd name="connsiteX67" fmla="*/ 209 w 10000"/>
              <a:gd name="connsiteY67" fmla="*/ 9512 h 10000"/>
              <a:gd name="connsiteX68" fmla="*/ 344 w 10000"/>
              <a:gd name="connsiteY68" fmla="*/ 9569 h 10000"/>
              <a:gd name="connsiteX69" fmla="*/ 481 w 10000"/>
              <a:gd name="connsiteY69" fmla="*/ 9623 h 10000"/>
              <a:gd name="connsiteX70" fmla="*/ 621 w 10000"/>
              <a:gd name="connsiteY70" fmla="*/ 9673 h 10000"/>
              <a:gd name="connsiteX71" fmla="*/ 758 w 10000"/>
              <a:gd name="connsiteY71" fmla="*/ 9720 h 10000"/>
              <a:gd name="connsiteX72" fmla="*/ 899 w 10000"/>
              <a:gd name="connsiteY72" fmla="*/ 9765 h 10000"/>
              <a:gd name="connsiteX73" fmla="*/ 1040 w 10000"/>
              <a:gd name="connsiteY73" fmla="*/ 9804 h 10000"/>
              <a:gd name="connsiteX74" fmla="*/ 1182 w 10000"/>
              <a:gd name="connsiteY74" fmla="*/ 9839 h 10000"/>
              <a:gd name="connsiteX75" fmla="*/ 1325 w 10000"/>
              <a:gd name="connsiteY75" fmla="*/ 9874 h 10000"/>
              <a:gd name="connsiteX76" fmla="*/ 1471 w 10000"/>
              <a:gd name="connsiteY76" fmla="*/ 9903 h 10000"/>
              <a:gd name="connsiteX77" fmla="*/ 1614 w 10000"/>
              <a:gd name="connsiteY77" fmla="*/ 9926 h 10000"/>
              <a:gd name="connsiteX78" fmla="*/ 1760 w 10000"/>
              <a:gd name="connsiteY78" fmla="*/ 9948 h 10000"/>
              <a:gd name="connsiteX79" fmla="*/ 1906 w 10000"/>
              <a:gd name="connsiteY79" fmla="*/ 9965 h 10000"/>
              <a:gd name="connsiteX80" fmla="*/ 2052 w 10000"/>
              <a:gd name="connsiteY80" fmla="*/ 9980 h 10000"/>
              <a:gd name="connsiteX81" fmla="*/ 2202 w 10000"/>
              <a:gd name="connsiteY81" fmla="*/ 9990 h 10000"/>
              <a:gd name="connsiteX82" fmla="*/ 2350 w 10000"/>
              <a:gd name="connsiteY82" fmla="*/ 9995 h 10000"/>
              <a:gd name="connsiteX83" fmla="*/ 2498 w 10000"/>
              <a:gd name="connsiteY83" fmla="*/ 10000 h 10000"/>
              <a:gd name="connsiteX84" fmla="*/ 2677 w 10000"/>
              <a:gd name="connsiteY84" fmla="*/ 9995 h 10000"/>
              <a:gd name="connsiteX85" fmla="*/ 2850 w 10000"/>
              <a:gd name="connsiteY85" fmla="*/ 9988 h 10000"/>
              <a:gd name="connsiteX86" fmla="*/ 3024 w 10000"/>
              <a:gd name="connsiteY86" fmla="*/ 9975 h 10000"/>
              <a:gd name="connsiteX87" fmla="*/ 3195 w 10000"/>
              <a:gd name="connsiteY87" fmla="*/ 9953 h 10000"/>
              <a:gd name="connsiteX88" fmla="*/ 3368 w 10000"/>
              <a:gd name="connsiteY88" fmla="*/ 9931 h 10000"/>
              <a:gd name="connsiteX89" fmla="*/ 3538 w 10000"/>
              <a:gd name="connsiteY89" fmla="*/ 9898 h 10000"/>
              <a:gd name="connsiteX90" fmla="*/ 3709 w 10000"/>
              <a:gd name="connsiteY90" fmla="*/ 9866 h 10000"/>
              <a:gd name="connsiteX91" fmla="*/ 3877 w 10000"/>
              <a:gd name="connsiteY91" fmla="*/ 9824 h 10000"/>
              <a:gd name="connsiteX92" fmla="*/ 4042 w 10000"/>
              <a:gd name="connsiteY92" fmla="*/ 9779 h 10000"/>
              <a:gd name="connsiteX93" fmla="*/ 4210 w 10000"/>
              <a:gd name="connsiteY93" fmla="*/ 9730 h 10000"/>
              <a:gd name="connsiteX94" fmla="*/ 4372 w 10000"/>
              <a:gd name="connsiteY94" fmla="*/ 9673 h 10000"/>
              <a:gd name="connsiteX95" fmla="*/ 4536 w 10000"/>
              <a:gd name="connsiteY95" fmla="*/ 9616 h 10000"/>
              <a:gd name="connsiteX96" fmla="*/ 4697 w 10000"/>
              <a:gd name="connsiteY96" fmla="*/ 9552 h 10000"/>
              <a:gd name="connsiteX97" fmla="*/ 4857 w 10000"/>
              <a:gd name="connsiteY97" fmla="*/ 9482 h 10000"/>
              <a:gd name="connsiteX98" fmla="*/ 5014 w 10000"/>
              <a:gd name="connsiteY98" fmla="*/ 9405 h 10000"/>
              <a:gd name="connsiteX99" fmla="*/ 5171 w 10000"/>
              <a:gd name="connsiteY99" fmla="*/ 9329 h 10000"/>
              <a:gd name="connsiteX100" fmla="*/ 5326 w 10000"/>
              <a:gd name="connsiteY100" fmla="*/ 9244 h 10000"/>
              <a:gd name="connsiteX101" fmla="*/ 5480 w 10000"/>
              <a:gd name="connsiteY101" fmla="*/ 9158 h 10000"/>
              <a:gd name="connsiteX102" fmla="*/ 5631 w 10000"/>
              <a:gd name="connsiteY102" fmla="*/ 9063 h 10000"/>
              <a:gd name="connsiteX103" fmla="*/ 5781 w 10000"/>
              <a:gd name="connsiteY103" fmla="*/ 8967 h 10000"/>
              <a:gd name="connsiteX104" fmla="*/ 5931 w 10000"/>
              <a:gd name="connsiteY104" fmla="*/ 8865 h 10000"/>
              <a:gd name="connsiteX105" fmla="*/ 6075 w 10000"/>
              <a:gd name="connsiteY105" fmla="*/ 8759 h 10000"/>
              <a:gd name="connsiteX106" fmla="*/ 6221 w 10000"/>
              <a:gd name="connsiteY106" fmla="*/ 8652 h 10000"/>
              <a:gd name="connsiteX107" fmla="*/ 6364 w 10000"/>
              <a:gd name="connsiteY107" fmla="*/ 8536 h 10000"/>
              <a:gd name="connsiteX108" fmla="*/ 6505 w 10000"/>
              <a:gd name="connsiteY108" fmla="*/ 8417 h 10000"/>
              <a:gd name="connsiteX109" fmla="*/ 6642 w 10000"/>
              <a:gd name="connsiteY109" fmla="*/ 8295 h 10000"/>
              <a:gd name="connsiteX110" fmla="*/ 6780 w 10000"/>
              <a:gd name="connsiteY110" fmla="*/ 8169 h 10000"/>
              <a:gd name="connsiteX111" fmla="*/ 6913 w 10000"/>
              <a:gd name="connsiteY111" fmla="*/ 8040 h 10000"/>
              <a:gd name="connsiteX112" fmla="*/ 7045 w 10000"/>
              <a:gd name="connsiteY112" fmla="*/ 7904 h 10000"/>
              <a:gd name="connsiteX113" fmla="*/ 7175 w 10000"/>
              <a:gd name="connsiteY113" fmla="*/ 7768 h 10000"/>
              <a:gd name="connsiteX114" fmla="*/ 7304 w 10000"/>
              <a:gd name="connsiteY114" fmla="*/ 7624 h 10000"/>
              <a:gd name="connsiteX115" fmla="*/ 7429 w 10000"/>
              <a:gd name="connsiteY115" fmla="*/ 7480 h 10000"/>
              <a:gd name="connsiteX116" fmla="*/ 7552 w 10000"/>
              <a:gd name="connsiteY116" fmla="*/ 7329 h 10000"/>
              <a:gd name="connsiteX117" fmla="*/ 7673 w 10000"/>
              <a:gd name="connsiteY117" fmla="*/ 7178 h 10000"/>
              <a:gd name="connsiteX118" fmla="*/ 7792 w 10000"/>
              <a:gd name="connsiteY118" fmla="*/ 7024 h 10000"/>
              <a:gd name="connsiteX119" fmla="*/ 7907 w 10000"/>
              <a:gd name="connsiteY119" fmla="*/ 6861 h 10000"/>
              <a:gd name="connsiteX120" fmla="*/ 8022 w 10000"/>
              <a:gd name="connsiteY120" fmla="*/ 6697 h 10000"/>
              <a:gd name="connsiteX121" fmla="*/ 8133 w 10000"/>
              <a:gd name="connsiteY121" fmla="*/ 6534 h 10000"/>
              <a:gd name="connsiteX122" fmla="*/ 8240 w 10000"/>
              <a:gd name="connsiteY122" fmla="*/ 6365 h 10000"/>
              <a:gd name="connsiteX123" fmla="*/ 8347 w 10000"/>
              <a:gd name="connsiteY123" fmla="*/ 6189 h 10000"/>
              <a:gd name="connsiteX124" fmla="*/ 8450 w 10000"/>
              <a:gd name="connsiteY124" fmla="*/ 6016 h 10000"/>
              <a:gd name="connsiteX125" fmla="*/ 8552 w 10000"/>
              <a:gd name="connsiteY125" fmla="*/ 5835 h 10000"/>
              <a:gd name="connsiteX126" fmla="*/ 8650 w 10000"/>
              <a:gd name="connsiteY126" fmla="*/ 5652 h 10000"/>
              <a:gd name="connsiteX127" fmla="*/ 8745 w 10000"/>
              <a:gd name="connsiteY127" fmla="*/ 5468 h 10000"/>
              <a:gd name="connsiteX128" fmla="*/ 8837 w 10000"/>
              <a:gd name="connsiteY128" fmla="*/ 5278 h 10000"/>
              <a:gd name="connsiteX129" fmla="*/ 8927 w 10000"/>
              <a:gd name="connsiteY129" fmla="*/ 5089 h 10000"/>
              <a:gd name="connsiteX130" fmla="*/ 9014 w 10000"/>
              <a:gd name="connsiteY130" fmla="*/ 4893 h 10000"/>
              <a:gd name="connsiteX131" fmla="*/ 9098 w 10000"/>
              <a:gd name="connsiteY131" fmla="*/ 4698 h 10000"/>
              <a:gd name="connsiteX132" fmla="*/ 9178 w 10000"/>
              <a:gd name="connsiteY132" fmla="*/ 4500 h 10000"/>
              <a:gd name="connsiteX133" fmla="*/ 9256 w 10000"/>
              <a:gd name="connsiteY133" fmla="*/ 4294 h 10000"/>
              <a:gd name="connsiteX134" fmla="*/ 9330 w 10000"/>
              <a:gd name="connsiteY134" fmla="*/ 4091 h 10000"/>
              <a:gd name="connsiteX135" fmla="*/ 9401 w 10000"/>
              <a:gd name="connsiteY135" fmla="*/ 3885 h 10000"/>
              <a:gd name="connsiteX136" fmla="*/ 9470 w 10000"/>
              <a:gd name="connsiteY136" fmla="*/ 3674 h 10000"/>
              <a:gd name="connsiteX137" fmla="*/ 9535 w 10000"/>
              <a:gd name="connsiteY137" fmla="*/ 3464 h 10000"/>
              <a:gd name="connsiteX138" fmla="*/ 9599 w 10000"/>
              <a:gd name="connsiteY138" fmla="*/ 3248 h 10000"/>
              <a:gd name="connsiteX139" fmla="*/ 9656 w 10000"/>
              <a:gd name="connsiteY139" fmla="*/ 3030 h 10000"/>
              <a:gd name="connsiteX140" fmla="*/ 9711 w 10000"/>
              <a:gd name="connsiteY140" fmla="*/ 2815 h 10000"/>
              <a:gd name="connsiteX141" fmla="*/ 9763 w 10000"/>
              <a:gd name="connsiteY141" fmla="*/ 2592 h 10000"/>
              <a:gd name="connsiteX142" fmla="*/ 9813 w 10000"/>
              <a:gd name="connsiteY142" fmla="*/ 2369 h 10000"/>
              <a:gd name="connsiteX143" fmla="*/ 9856 w 10000"/>
              <a:gd name="connsiteY143" fmla="*/ 2143 h 10000"/>
              <a:gd name="connsiteX144" fmla="*/ 9898 w 10000"/>
              <a:gd name="connsiteY144" fmla="*/ 1918 h 10000"/>
              <a:gd name="connsiteX145" fmla="*/ 9936 w 10000"/>
              <a:gd name="connsiteY145" fmla="*/ 1690 h 10000"/>
              <a:gd name="connsiteX146" fmla="*/ 9970 w 10000"/>
              <a:gd name="connsiteY146" fmla="*/ 1457 h 10000"/>
              <a:gd name="connsiteX147" fmla="*/ 10000 w 10000"/>
              <a:gd name="connsiteY147" fmla="*/ 1222 h 10000"/>
              <a:gd name="connsiteX148" fmla="*/ 7611 w 10000"/>
              <a:gd name="connsiteY148" fmla="*/ 1876 h 10000"/>
              <a:gd name="connsiteX149" fmla="*/ 5615 w 10000"/>
              <a:gd name="connsiteY149"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0 w 10000"/>
              <a:gd name="connsiteY65" fmla="*/ 6085 h 10000"/>
              <a:gd name="connsiteX66" fmla="*/ 209 w 10000"/>
              <a:gd name="connsiteY66" fmla="*/ 9512 h 10000"/>
              <a:gd name="connsiteX67" fmla="*/ 344 w 10000"/>
              <a:gd name="connsiteY67" fmla="*/ 9569 h 10000"/>
              <a:gd name="connsiteX68" fmla="*/ 481 w 10000"/>
              <a:gd name="connsiteY68" fmla="*/ 9623 h 10000"/>
              <a:gd name="connsiteX69" fmla="*/ 621 w 10000"/>
              <a:gd name="connsiteY69" fmla="*/ 9673 h 10000"/>
              <a:gd name="connsiteX70" fmla="*/ 758 w 10000"/>
              <a:gd name="connsiteY70" fmla="*/ 9720 h 10000"/>
              <a:gd name="connsiteX71" fmla="*/ 899 w 10000"/>
              <a:gd name="connsiteY71" fmla="*/ 9765 h 10000"/>
              <a:gd name="connsiteX72" fmla="*/ 1040 w 10000"/>
              <a:gd name="connsiteY72" fmla="*/ 9804 h 10000"/>
              <a:gd name="connsiteX73" fmla="*/ 1182 w 10000"/>
              <a:gd name="connsiteY73" fmla="*/ 9839 h 10000"/>
              <a:gd name="connsiteX74" fmla="*/ 1325 w 10000"/>
              <a:gd name="connsiteY74" fmla="*/ 9874 h 10000"/>
              <a:gd name="connsiteX75" fmla="*/ 1471 w 10000"/>
              <a:gd name="connsiteY75" fmla="*/ 9903 h 10000"/>
              <a:gd name="connsiteX76" fmla="*/ 1614 w 10000"/>
              <a:gd name="connsiteY76" fmla="*/ 9926 h 10000"/>
              <a:gd name="connsiteX77" fmla="*/ 1760 w 10000"/>
              <a:gd name="connsiteY77" fmla="*/ 9948 h 10000"/>
              <a:gd name="connsiteX78" fmla="*/ 1906 w 10000"/>
              <a:gd name="connsiteY78" fmla="*/ 9965 h 10000"/>
              <a:gd name="connsiteX79" fmla="*/ 2052 w 10000"/>
              <a:gd name="connsiteY79" fmla="*/ 9980 h 10000"/>
              <a:gd name="connsiteX80" fmla="*/ 2202 w 10000"/>
              <a:gd name="connsiteY80" fmla="*/ 9990 h 10000"/>
              <a:gd name="connsiteX81" fmla="*/ 2350 w 10000"/>
              <a:gd name="connsiteY81" fmla="*/ 9995 h 10000"/>
              <a:gd name="connsiteX82" fmla="*/ 2498 w 10000"/>
              <a:gd name="connsiteY82" fmla="*/ 10000 h 10000"/>
              <a:gd name="connsiteX83" fmla="*/ 2677 w 10000"/>
              <a:gd name="connsiteY83" fmla="*/ 9995 h 10000"/>
              <a:gd name="connsiteX84" fmla="*/ 2850 w 10000"/>
              <a:gd name="connsiteY84" fmla="*/ 9988 h 10000"/>
              <a:gd name="connsiteX85" fmla="*/ 3024 w 10000"/>
              <a:gd name="connsiteY85" fmla="*/ 9975 h 10000"/>
              <a:gd name="connsiteX86" fmla="*/ 3195 w 10000"/>
              <a:gd name="connsiteY86" fmla="*/ 9953 h 10000"/>
              <a:gd name="connsiteX87" fmla="*/ 3368 w 10000"/>
              <a:gd name="connsiteY87" fmla="*/ 9931 h 10000"/>
              <a:gd name="connsiteX88" fmla="*/ 3538 w 10000"/>
              <a:gd name="connsiteY88" fmla="*/ 9898 h 10000"/>
              <a:gd name="connsiteX89" fmla="*/ 3709 w 10000"/>
              <a:gd name="connsiteY89" fmla="*/ 9866 h 10000"/>
              <a:gd name="connsiteX90" fmla="*/ 3877 w 10000"/>
              <a:gd name="connsiteY90" fmla="*/ 9824 h 10000"/>
              <a:gd name="connsiteX91" fmla="*/ 4042 w 10000"/>
              <a:gd name="connsiteY91" fmla="*/ 9779 h 10000"/>
              <a:gd name="connsiteX92" fmla="*/ 4210 w 10000"/>
              <a:gd name="connsiteY92" fmla="*/ 9730 h 10000"/>
              <a:gd name="connsiteX93" fmla="*/ 4372 w 10000"/>
              <a:gd name="connsiteY93" fmla="*/ 9673 h 10000"/>
              <a:gd name="connsiteX94" fmla="*/ 4536 w 10000"/>
              <a:gd name="connsiteY94" fmla="*/ 9616 h 10000"/>
              <a:gd name="connsiteX95" fmla="*/ 4697 w 10000"/>
              <a:gd name="connsiteY95" fmla="*/ 9552 h 10000"/>
              <a:gd name="connsiteX96" fmla="*/ 4857 w 10000"/>
              <a:gd name="connsiteY96" fmla="*/ 9482 h 10000"/>
              <a:gd name="connsiteX97" fmla="*/ 5014 w 10000"/>
              <a:gd name="connsiteY97" fmla="*/ 9405 h 10000"/>
              <a:gd name="connsiteX98" fmla="*/ 5171 w 10000"/>
              <a:gd name="connsiteY98" fmla="*/ 9329 h 10000"/>
              <a:gd name="connsiteX99" fmla="*/ 5326 w 10000"/>
              <a:gd name="connsiteY99" fmla="*/ 9244 h 10000"/>
              <a:gd name="connsiteX100" fmla="*/ 5480 w 10000"/>
              <a:gd name="connsiteY100" fmla="*/ 9158 h 10000"/>
              <a:gd name="connsiteX101" fmla="*/ 5631 w 10000"/>
              <a:gd name="connsiteY101" fmla="*/ 9063 h 10000"/>
              <a:gd name="connsiteX102" fmla="*/ 5781 w 10000"/>
              <a:gd name="connsiteY102" fmla="*/ 8967 h 10000"/>
              <a:gd name="connsiteX103" fmla="*/ 5931 w 10000"/>
              <a:gd name="connsiteY103" fmla="*/ 8865 h 10000"/>
              <a:gd name="connsiteX104" fmla="*/ 6075 w 10000"/>
              <a:gd name="connsiteY104" fmla="*/ 8759 h 10000"/>
              <a:gd name="connsiteX105" fmla="*/ 6221 w 10000"/>
              <a:gd name="connsiteY105" fmla="*/ 8652 h 10000"/>
              <a:gd name="connsiteX106" fmla="*/ 6364 w 10000"/>
              <a:gd name="connsiteY106" fmla="*/ 8536 h 10000"/>
              <a:gd name="connsiteX107" fmla="*/ 6505 w 10000"/>
              <a:gd name="connsiteY107" fmla="*/ 8417 h 10000"/>
              <a:gd name="connsiteX108" fmla="*/ 6642 w 10000"/>
              <a:gd name="connsiteY108" fmla="*/ 8295 h 10000"/>
              <a:gd name="connsiteX109" fmla="*/ 6780 w 10000"/>
              <a:gd name="connsiteY109" fmla="*/ 8169 h 10000"/>
              <a:gd name="connsiteX110" fmla="*/ 6913 w 10000"/>
              <a:gd name="connsiteY110" fmla="*/ 8040 h 10000"/>
              <a:gd name="connsiteX111" fmla="*/ 7045 w 10000"/>
              <a:gd name="connsiteY111" fmla="*/ 7904 h 10000"/>
              <a:gd name="connsiteX112" fmla="*/ 7175 w 10000"/>
              <a:gd name="connsiteY112" fmla="*/ 7768 h 10000"/>
              <a:gd name="connsiteX113" fmla="*/ 7304 w 10000"/>
              <a:gd name="connsiteY113" fmla="*/ 7624 h 10000"/>
              <a:gd name="connsiteX114" fmla="*/ 7429 w 10000"/>
              <a:gd name="connsiteY114" fmla="*/ 7480 h 10000"/>
              <a:gd name="connsiteX115" fmla="*/ 7552 w 10000"/>
              <a:gd name="connsiteY115" fmla="*/ 7329 h 10000"/>
              <a:gd name="connsiteX116" fmla="*/ 7673 w 10000"/>
              <a:gd name="connsiteY116" fmla="*/ 7178 h 10000"/>
              <a:gd name="connsiteX117" fmla="*/ 7792 w 10000"/>
              <a:gd name="connsiteY117" fmla="*/ 7024 h 10000"/>
              <a:gd name="connsiteX118" fmla="*/ 7907 w 10000"/>
              <a:gd name="connsiteY118" fmla="*/ 6861 h 10000"/>
              <a:gd name="connsiteX119" fmla="*/ 8022 w 10000"/>
              <a:gd name="connsiteY119" fmla="*/ 6697 h 10000"/>
              <a:gd name="connsiteX120" fmla="*/ 8133 w 10000"/>
              <a:gd name="connsiteY120" fmla="*/ 6534 h 10000"/>
              <a:gd name="connsiteX121" fmla="*/ 8240 w 10000"/>
              <a:gd name="connsiteY121" fmla="*/ 6365 h 10000"/>
              <a:gd name="connsiteX122" fmla="*/ 8347 w 10000"/>
              <a:gd name="connsiteY122" fmla="*/ 6189 h 10000"/>
              <a:gd name="connsiteX123" fmla="*/ 8450 w 10000"/>
              <a:gd name="connsiteY123" fmla="*/ 6016 h 10000"/>
              <a:gd name="connsiteX124" fmla="*/ 8552 w 10000"/>
              <a:gd name="connsiteY124" fmla="*/ 5835 h 10000"/>
              <a:gd name="connsiteX125" fmla="*/ 8650 w 10000"/>
              <a:gd name="connsiteY125" fmla="*/ 5652 h 10000"/>
              <a:gd name="connsiteX126" fmla="*/ 8745 w 10000"/>
              <a:gd name="connsiteY126" fmla="*/ 5468 h 10000"/>
              <a:gd name="connsiteX127" fmla="*/ 8837 w 10000"/>
              <a:gd name="connsiteY127" fmla="*/ 5278 h 10000"/>
              <a:gd name="connsiteX128" fmla="*/ 8927 w 10000"/>
              <a:gd name="connsiteY128" fmla="*/ 5089 h 10000"/>
              <a:gd name="connsiteX129" fmla="*/ 9014 w 10000"/>
              <a:gd name="connsiteY129" fmla="*/ 4893 h 10000"/>
              <a:gd name="connsiteX130" fmla="*/ 9098 w 10000"/>
              <a:gd name="connsiteY130" fmla="*/ 4698 h 10000"/>
              <a:gd name="connsiteX131" fmla="*/ 9178 w 10000"/>
              <a:gd name="connsiteY131" fmla="*/ 4500 h 10000"/>
              <a:gd name="connsiteX132" fmla="*/ 9256 w 10000"/>
              <a:gd name="connsiteY132" fmla="*/ 4294 h 10000"/>
              <a:gd name="connsiteX133" fmla="*/ 9330 w 10000"/>
              <a:gd name="connsiteY133" fmla="*/ 4091 h 10000"/>
              <a:gd name="connsiteX134" fmla="*/ 9401 w 10000"/>
              <a:gd name="connsiteY134" fmla="*/ 3885 h 10000"/>
              <a:gd name="connsiteX135" fmla="*/ 9470 w 10000"/>
              <a:gd name="connsiteY135" fmla="*/ 3674 h 10000"/>
              <a:gd name="connsiteX136" fmla="*/ 9535 w 10000"/>
              <a:gd name="connsiteY136" fmla="*/ 3464 h 10000"/>
              <a:gd name="connsiteX137" fmla="*/ 9599 w 10000"/>
              <a:gd name="connsiteY137" fmla="*/ 3248 h 10000"/>
              <a:gd name="connsiteX138" fmla="*/ 9656 w 10000"/>
              <a:gd name="connsiteY138" fmla="*/ 3030 h 10000"/>
              <a:gd name="connsiteX139" fmla="*/ 9711 w 10000"/>
              <a:gd name="connsiteY139" fmla="*/ 2815 h 10000"/>
              <a:gd name="connsiteX140" fmla="*/ 9763 w 10000"/>
              <a:gd name="connsiteY140" fmla="*/ 2592 h 10000"/>
              <a:gd name="connsiteX141" fmla="*/ 9813 w 10000"/>
              <a:gd name="connsiteY141" fmla="*/ 2369 h 10000"/>
              <a:gd name="connsiteX142" fmla="*/ 9856 w 10000"/>
              <a:gd name="connsiteY142" fmla="*/ 2143 h 10000"/>
              <a:gd name="connsiteX143" fmla="*/ 9898 w 10000"/>
              <a:gd name="connsiteY143" fmla="*/ 1918 h 10000"/>
              <a:gd name="connsiteX144" fmla="*/ 9936 w 10000"/>
              <a:gd name="connsiteY144" fmla="*/ 1690 h 10000"/>
              <a:gd name="connsiteX145" fmla="*/ 9970 w 10000"/>
              <a:gd name="connsiteY145" fmla="*/ 1457 h 10000"/>
              <a:gd name="connsiteX146" fmla="*/ 10000 w 10000"/>
              <a:gd name="connsiteY146" fmla="*/ 1222 h 10000"/>
              <a:gd name="connsiteX147" fmla="*/ 7611 w 10000"/>
              <a:gd name="connsiteY147" fmla="*/ 1876 h 10000"/>
              <a:gd name="connsiteX148" fmla="*/ 5615 w 10000"/>
              <a:gd name="connsiteY148"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0 w 10000"/>
              <a:gd name="connsiteY64" fmla="*/ 6085 h 10000"/>
              <a:gd name="connsiteX65" fmla="*/ 209 w 10000"/>
              <a:gd name="connsiteY65" fmla="*/ 9512 h 10000"/>
              <a:gd name="connsiteX66" fmla="*/ 344 w 10000"/>
              <a:gd name="connsiteY66" fmla="*/ 9569 h 10000"/>
              <a:gd name="connsiteX67" fmla="*/ 481 w 10000"/>
              <a:gd name="connsiteY67" fmla="*/ 9623 h 10000"/>
              <a:gd name="connsiteX68" fmla="*/ 621 w 10000"/>
              <a:gd name="connsiteY68" fmla="*/ 9673 h 10000"/>
              <a:gd name="connsiteX69" fmla="*/ 758 w 10000"/>
              <a:gd name="connsiteY69" fmla="*/ 9720 h 10000"/>
              <a:gd name="connsiteX70" fmla="*/ 899 w 10000"/>
              <a:gd name="connsiteY70" fmla="*/ 9765 h 10000"/>
              <a:gd name="connsiteX71" fmla="*/ 1040 w 10000"/>
              <a:gd name="connsiteY71" fmla="*/ 9804 h 10000"/>
              <a:gd name="connsiteX72" fmla="*/ 1182 w 10000"/>
              <a:gd name="connsiteY72" fmla="*/ 9839 h 10000"/>
              <a:gd name="connsiteX73" fmla="*/ 1325 w 10000"/>
              <a:gd name="connsiteY73" fmla="*/ 9874 h 10000"/>
              <a:gd name="connsiteX74" fmla="*/ 1471 w 10000"/>
              <a:gd name="connsiteY74" fmla="*/ 9903 h 10000"/>
              <a:gd name="connsiteX75" fmla="*/ 1614 w 10000"/>
              <a:gd name="connsiteY75" fmla="*/ 9926 h 10000"/>
              <a:gd name="connsiteX76" fmla="*/ 1760 w 10000"/>
              <a:gd name="connsiteY76" fmla="*/ 9948 h 10000"/>
              <a:gd name="connsiteX77" fmla="*/ 1906 w 10000"/>
              <a:gd name="connsiteY77" fmla="*/ 9965 h 10000"/>
              <a:gd name="connsiteX78" fmla="*/ 2052 w 10000"/>
              <a:gd name="connsiteY78" fmla="*/ 9980 h 10000"/>
              <a:gd name="connsiteX79" fmla="*/ 2202 w 10000"/>
              <a:gd name="connsiteY79" fmla="*/ 9990 h 10000"/>
              <a:gd name="connsiteX80" fmla="*/ 2350 w 10000"/>
              <a:gd name="connsiteY80" fmla="*/ 9995 h 10000"/>
              <a:gd name="connsiteX81" fmla="*/ 2498 w 10000"/>
              <a:gd name="connsiteY81" fmla="*/ 10000 h 10000"/>
              <a:gd name="connsiteX82" fmla="*/ 2677 w 10000"/>
              <a:gd name="connsiteY82" fmla="*/ 9995 h 10000"/>
              <a:gd name="connsiteX83" fmla="*/ 2850 w 10000"/>
              <a:gd name="connsiteY83" fmla="*/ 9988 h 10000"/>
              <a:gd name="connsiteX84" fmla="*/ 3024 w 10000"/>
              <a:gd name="connsiteY84" fmla="*/ 9975 h 10000"/>
              <a:gd name="connsiteX85" fmla="*/ 3195 w 10000"/>
              <a:gd name="connsiteY85" fmla="*/ 9953 h 10000"/>
              <a:gd name="connsiteX86" fmla="*/ 3368 w 10000"/>
              <a:gd name="connsiteY86" fmla="*/ 9931 h 10000"/>
              <a:gd name="connsiteX87" fmla="*/ 3538 w 10000"/>
              <a:gd name="connsiteY87" fmla="*/ 9898 h 10000"/>
              <a:gd name="connsiteX88" fmla="*/ 3709 w 10000"/>
              <a:gd name="connsiteY88" fmla="*/ 9866 h 10000"/>
              <a:gd name="connsiteX89" fmla="*/ 3877 w 10000"/>
              <a:gd name="connsiteY89" fmla="*/ 9824 h 10000"/>
              <a:gd name="connsiteX90" fmla="*/ 4042 w 10000"/>
              <a:gd name="connsiteY90" fmla="*/ 9779 h 10000"/>
              <a:gd name="connsiteX91" fmla="*/ 4210 w 10000"/>
              <a:gd name="connsiteY91" fmla="*/ 9730 h 10000"/>
              <a:gd name="connsiteX92" fmla="*/ 4372 w 10000"/>
              <a:gd name="connsiteY92" fmla="*/ 9673 h 10000"/>
              <a:gd name="connsiteX93" fmla="*/ 4536 w 10000"/>
              <a:gd name="connsiteY93" fmla="*/ 9616 h 10000"/>
              <a:gd name="connsiteX94" fmla="*/ 4697 w 10000"/>
              <a:gd name="connsiteY94" fmla="*/ 9552 h 10000"/>
              <a:gd name="connsiteX95" fmla="*/ 4857 w 10000"/>
              <a:gd name="connsiteY95" fmla="*/ 9482 h 10000"/>
              <a:gd name="connsiteX96" fmla="*/ 5014 w 10000"/>
              <a:gd name="connsiteY96" fmla="*/ 9405 h 10000"/>
              <a:gd name="connsiteX97" fmla="*/ 5171 w 10000"/>
              <a:gd name="connsiteY97" fmla="*/ 9329 h 10000"/>
              <a:gd name="connsiteX98" fmla="*/ 5326 w 10000"/>
              <a:gd name="connsiteY98" fmla="*/ 9244 h 10000"/>
              <a:gd name="connsiteX99" fmla="*/ 5480 w 10000"/>
              <a:gd name="connsiteY99" fmla="*/ 9158 h 10000"/>
              <a:gd name="connsiteX100" fmla="*/ 5631 w 10000"/>
              <a:gd name="connsiteY100" fmla="*/ 9063 h 10000"/>
              <a:gd name="connsiteX101" fmla="*/ 5781 w 10000"/>
              <a:gd name="connsiteY101" fmla="*/ 8967 h 10000"/>
              <a:gd name="connsiteX102" fmla="*/ 5931 w 10000"/>
              <a:gd name="connsiteY102" fmla="*/ 8865 h 10000"/>
              <a:gd name="connsiteX103" fmla="*/ 6075 w 10000"/>
              <a:gd name="connsiteY103" fmla="*/ 8759 h 10000"/>
              <a:gd name="connsiteX104" fmla="*/ 6221 w 10000"/>
              <a:gd name="connsiteY104" fmla="*/ 8652 h 10000"/>
              <a:gd name="connsiteX105" fmla="*/ 6364 w 10000"/>
              <a:gd name="connsiteY105" fmla="*/ 8536 h 10000"/>
              <a:gd name="connsiteX106" fmla="*/ 6505 w 10000"/>
              <a:gd name="connsiteY106" fmla="*/ 8417 h 10000"/>
              <a:gd name="connsiteX107" fmla="*/ 6642 w 10000"/>
              <a:gd name="connsiteY107" fmla="*/ 8295 h 10000"/>
              <a:gd name="connsiteX108" fmla="*/ 6780 w 10000"/>
              <a:gd name="connsiteY108" fmla="*/ 8169 h 10000"/>
              <a:gd name="connsiteX109" fmla="*/ 6913 w 10000"/>
              <a:gd name="connsiteY109" fmla="*/ 8040 h 10000"/>
              <a:gd name="connsiteX110" fmla="*/ 7045 w 10000"/>
              <a:gd name="connsiteY110" fmla="*/ 7904 h 10000"/>
              <a:gd name="connsiteX111" fmla="*/ 7175 w 10000"/>
              <a:gd name="connsiteY111" fmla="*/ 7768 h 10000"/>
              <a:gd name="connsiteX112" fmla="*/ 7304 w 10000"/>
              <a:gd name="connsiteY112" fmla="*/ 7624 h 10000"/>
              <a:gd name="connsiteX113" fmla="*/ 7429 w 10000"/>
              <a:gd name="connsiteY113" fmla="*/ 7480 h 10000"/>
              <a:gd name="connsiteX114" fmla="*/ 7552 w 10000"/>
              <a:gd name="connsiteY114" fmla="*/ 7329 h 10000"/>
              <a:gd name="connsiteX115" fmla="*/ 7673 w 10000"/>
              <a:gd name="connsiteY115" fmla="*/ 7178 h 10000"/>
              <a:gd name="connsiteX116" fmla="*/ 7792 w 10000"/>
              <a:gd name="connsiteY116" fmla="*/ 7024 h 10000"/>
              <a:gd name="connsiteX117" fmla="*/ 7907 w 10000"/>
              <a:gd name="connsiteY117" fmla="*/ 6861 h 10000"/>
              <a:gd name="connsiteX118" fmla="*/ 8022 w 10000"/>
              <a:gd name="connsiteY118" fmla="*/ 6697 h 10000"/>
              <a:gd name="connsiteX119" fmla="*/ 8133 w 10000"/>
              <a:gd name="connsiteY119" fmla="*/ 6534 h 10000"/>
              <a:gd name="connsiteX120" fmla="*/ 8240 w 10000"/>
              <a:gd name="connsiteY120" fmla="*/ 6365 h 10000"/>
              <a:gd name="connsiteX121" fmla="*/ 8347 w 10000"/>
              <a:gd name="connsiteY121" fmla="*/ 6189 h 10000"/>
              <a:gd name="connsiteX122" fmla="*/ 8450 w 10000"/>
              <a:gd name="connsiteY122" fmla="*/ 6016 h 10000"/>
              <a:gd name="connsiteX123" fmla="*/ 8552 w 10000"/>
              <a:gd name="connsiteY123" fmla="*/ 5835 h 10000"/>
              <a:gd name="connsiteX124" fmla="*/ 8650 w 10000"/>
              <a:gd name="connsiteY124" fmla="*/ 5652 h 10000"/>
              <a:gd name="connsiteX125" fmla="*/ 8745 w 10000"/>
              <a:gd name="connsiteY125" fmla="*/ 5468 h 10000"/>
              <a:gd name="connsiteX126" fmla="*/ 8837 w 10000"/>
              <a:gd name="connsiteY126" fmla="*/ 5278 h 10000"/>
              <a:gd name="connsiteX127" fmla="*/ 8927 w 10000"/>
              <a:gd name="connsiteY127" fmla="*/ 5089 h 10000"/>
              <a:gd name="connsiteX128" fmla="*/ 9014 w 10000"/>
              <a:gd name="connsiteY128" fmla="*/ 4893 h 10000"/>
              <a:gd name="connsiteX129" fmla="*/ 9098 w 10000"/>
              <a:gd name="connsiteY129" fmla="*/ 4698 h 10000"/>
              <a:gd name="connsiteX130" fmla="*/ 9178 w 10000"/>
              <a:gd name="connsiteY130" fmla="*/ 4500 h 10000"/>
              <a:gd name="connsiteX131" fmla="*/ 9256 w 10000"/>
              <a:gd name="connsiteY131" fmla="*/ 4294 h 10000"/>
              <a:gd name="connsiteX132" fmla="*/ 9330 w 10000"/>
              <a:gd name="connsiteY132" fmla="*/ 4091 h 10000"/>
              <a:gd name="connsiteX133" fmla="*/ 9401 w 10000"/>
              <a:gd name="connsiteY133" fmla="*/ 3885 h 10000"/>
              <a:gd name="connsiteX134" fmla="*/ 9470 w 10000"/>
              <a:gd name="connsiteY134" fmla="*/ 3674 h 10000"/>
              <a:gd name="connsiteX135" fmla="*/ 9535 w 10000"/>
              <a:gd name="connsiteY135" fmla="*/ 3464 h 10000"/>
              <a:gd name="connsiteX136" fmla="*/ 9599 w 10000"/>
              <a:gd name="connsiteY136" fmla="*/ 3248 h 10000"/>
              <a:gd name="connsiteX137" fmla="*/ 9656 w 10000"/>
              <a:gd name="connsiteY137" fmla="*/ 3030 h 10000"/>
              <a:gd name="connsiteX138" fmla="*/ 9711 w 10000"/>
              <a:gd name="connsiteY138" fmla="*/ 2815 h 10000"/>
              <a:gd name="connsiteX139" fmla="*/ 9763 w 10000"/>
              <a:gd name="connsiteY139" fmla="*/ 2592 h 10000"/>
              <a:gd name="connsiteX140" fmla="*/ 9813 w 10000"/>
              <a:gd name="connsiteY140" fmla="*/ 2369 h 10000"/>
              <a:gd name="connsiteX141" fmla="*/ 9856 w 10000"/>
              <a:gd name="connsiteY141" fmla="*/ 2143 h 10000"/>
              <a:gd name="connsiteX142" fmla="*/ 9898 w 10000"/>
              <a:gd name="connsiteY142" fmla="*/ 1918 h 10000"/>
              <a:gd name="connsiteX143" fmla="*/ 9936 w 10000"/>
              <a:gd name="connsiteY143" fmla="*/ 1690 h 10000"/>
              <a:gd name="connsiteX144" fmla="*/ 9970 w 10000"/>
              <a:gd name="connsiteY144" fmla="*/ 1457 h 10000"/>
              <a:gd name="connsiteX145" fmla="*/ 10000 w 10000"/>
              <a:gd name="connsiteY145" fmla="*/ 1222 h 10000"/>
              <a:gd name="connsiteX146" fmla="*/ 7611 w 10000"/>
              <a:gd name="connsiteY146" fmla="*/ 1876 h 10000"/>
              <a:gd name="connsiteX147" fmla="*/ 5615 w 10000"/>
              <a:gd name="connsiteY147"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0 w 10000"/>
              <a:gd name="connsiteY63" fmla="*/ 6085 h 10000"/>
              <a:gd name="connsiteX64" fmla="*/ 209 w 10000"/>
              <a:gd name="connsiteY64" fmla="*/ 9512 h 10000"/>
              <a:gd name="connsiteX65" fmla="*/ 344 w 10000"/>
              <a:gd name="connsiteY65" fmla="*/ 9569 h 10000"/>
              <a:gd name="connsiteX66" fmla="*/ 481 w 10000"/>
              <a:gd name="connsiteY66" fmla="*/ 9623 h 10000"/>
              <a:gd name="connsiteX67" fmla="*/ 621 w 10000"/>
              <a:gd name="connsiteY67" fmla="*/ 9673 h 10000"/>
              <a:gd name="connsiteX68" fmla="*/ 758 w 10000"/>
              <a:gd name="connsiteY68" fmla="*/ 9720 h 10000"/>
              <a:gd name="connsiteX69" fmla="*/ 899 w 10000"/>
              <a:gd name="connsiteY69" fmla="*/ 9765 h 10000"/>
              <a:gd name="connsiteX70" fmla="*/ 1040 w 10000"/>
              <a:gd name="connsiteY70" fmla="*/ 9804 h 10000"/>
              <a:gd name="connsiteX71" fmla="*/ 1182 w 10000"/>
              <a:gd name="connsiteY71" fmla="*/ 9839 h 10000"/>
              <a:gd name="connsiteX72" fmla="*/ 1325 w 10000"/>
              <a:gd name="connsiteY72" fmla="*/ 9874 h 10000"/>
              <a:gd name="connsiteX73" fmla="*/ 1471 w 10000"/>
              <a:gd name="connsiteY73" fmla="*/ 9903 h 10000"/>
              <a:gd name="connsiteX74" fmla="*/ 1614 w 10000"/>
              <a:gd name="connsiteY74" fmla="*/ 9926 h 10000"/>
              <a:gd name="connsiteX75" fmla="*/ 1760 w 10000"/>
              <a:gd name="connsiteY75" fmla="*/ 9948 h 10000"/>
              <a:gd name="connsiteX76" fmla="*/ 1906 w 10000"/>
              <a:gd name="connsiteY76" fmla="*/ 9965 h 10000"/>
              <a:gd name="connsiteX77" fmla="*/ 2052 w 10000"/>
              <a:gd name="connsiteY77" fmla="*/ 9980 h 10000"/>
              <a:gd name="connsiteX78" fmla="*/ 2202 w 10000"/>
              <a:gd name="connsiteY78" fmla="*/ 9990 h 10000"/>
              <a:gd name="connsiteX79" fmla="*/ 2350 w 10000"/>
              <a:gd name="connsiteY79" fmla="*/ 9995 h 10000"/>
              <a:gd name="connsiteX80" fmla="*/ 2498 w 10000"/>
              <a:gd name="connsiteY80" fmla="*/ 10000 h 10000"/>
              <a:gd name="connsiteX81" fmla="*/ 2677 w 10000"/>
              <a:gd name="connsiteY81" fmla="*/ 9995 h 10000"/>
              <a:gd name="connsiteX82" fmla="*/ 2850 w 10000"/>
              <a:gd name="connsiteY82" fmla="*/ 9988 h 10000"/>
              <a:gd name="connsiteX83" fmla="*/ 3024 w 10000"/>
              <a:gd name="connsiteY83" fmla="*/ 9975 h 10000"/>
              <a:gd name="connsiteX84" fmla="*/ 3195 w 10000"/>
              <a:gd name="connsiteY84" fmla="*/ 9953 h 10000"/>
              <a:gd name="connsiteX85" fmla="*/ 3368 w 10000"/>
              <a:gd name="connsiteY85" fmla="*/ 9931 h 10000"/>
              <a:gd name="connsiteX86" fmla="*/ 3538 w 10000"/>
              <a:gd name="connsiteY86" fmla="*/ 9898 h 10000"/>
              <a:gd name="connsiteX87" fmla="*/ 3709 w 10000"/>
              <a:gd name="connsiteY87" fmla="*/ 9866 h 10000"/>
              <a:gd name="connsiteX88" fmla="*/ 3877 w 10000"/>
              <a:gd name="connsiteY88" fmla="*/ 9824 h 10000"/>
              <a:gd name="connsiteX89" fmla="*/ 4042 w 10000"/>
              <a:gd name="connsiteY89" fmla="*/ 9779 h 10000"/>
              <a:gd name="connsiteX90" fmla="*/ 4210 w 10000"/>
              <a:gd name="connsiteY90" fmla="*/ 9730 h 10000"/>
              <a:gd name="connsiteX91" fmla="*/ 4372 w 10000"/>
              <a:gd name="connsiteY91" fmla="*/ 9673 h 10000"/>
              <a:gd name="connsiteX92" fmla="*/ 4536 w 10000"/>
              <a:gd name="connsiteY92" fmla="*/ 9616 h 10000"/>
              <a:gd name="connsiteX93" fmla="*/ 4697 w 10000"/>
              <a:gd name="connsiteY93" fmla="*/ 9552 h 10000"/>
              <a:gd name="connsiteX94" fmla="*/ 4857 w 10000"/>
              <a:gd name="connsiteY94" fmla="*/ 9482 h 10000"/>
              <a:gd name="connsiteX95" fmla="*/ 5014 w 10000"/>
              <a:gd name="connsiteY95" fmla="*/ 9405 h 10000"/>
              <a:gd name="connsiteX96" fmla="*/ 5171 w 10000"/>
              <a:gd name="connsiteY96" fmla="*/ 9329 h 10000"/>
              <a:gd name="connsiteX97" fmla="*/ 5326 w 10000"/>
              <a:gd name="connsiteY97" fmla="*/ 9244 h 10000"/>
              <a:gd name="connsiteX98" fmla="*/ 5480 w 10000"/>
              <a:gd name="connsiteY98" fmla="*/ 9158 h 10000"/>
              <a:gd name="connsiteX99" fmla="*/ 5631 w 10000"/>
              <a:gd name="connsiteY99" fmla="*/ 9063 h 10000"/>
              <a:gd name="connsiteX100" fmla="*/ 5781 w 10000"/>
              <a:gd name="connsiteY100" fmla="*/ 8967 h 10000"/>
              <a:gd name="connsiteX101" fmla="*/ 5931 w 10000"/>
              <a:gd name="connsiteY101" fmla="*/ 8865 h 10000"/>
              <a:gd name="connsiteX102" fmla="*/ 6075 w 10000"/>
              <a:gd name="connsiteY102" fmla="*/ 8759 h 10000"/>
              <a:gd name="connsiteX103" fmla="*/ 6221 w 10000"/>
              <a:gd name="connsiteY103" fmla="*/ 8652 h 10000"/>
              <a:gd name="connsiteX104" fmla="*/ 6364 w 10000"/>
              <a:gd name="connsiteY104" fmla="*/ 8536 h 10000"/>
              <a:gd name="connsiteX105" fmla="*/ 6505 w 10000"/>
              <a:gd name="connsiteY105" fmla="*/ 8417 h 10000"/>
              <a:gd name="connsiteX106" fmla="*/ 6642 w 10000"/>
              <a:gd name="connsiteY106" fmla="*/ 8295 h 10000"/>
              <a:gd name="connsiteX107" fmla="*/ 6780 w 10000"/>
              <a:gd name="connsiteY107" fmla="*/ 8169 h 10000"/>
              <a:gd name="connsiteX108" fmla="*/ 6913 w 10000"/>
              <a:gd name="connsiteY108" fmla="*/ 8040 h 10000"/>
              <a:gd name="connsiteX109" fmla="*/ 7045 w 10000"/>
              <a:gd name="connsiteY109" fmla="*/ 7904 h 10000"/>
              <a:gd name="connsiteX110" fmla="*/ 7175 w 10000"/>
              <a:gd name="connsiteY110" fmla="*/ 7768 h 10000"/>
              <a:gd name="connsiteX111" fmla="*/ 7304 w 10000"/>
              <a:gd name="connsiteY111" fmla="*/ 7624 h 10000"/>
              <a:gd name="connsiteX112" fmla="*/ 7429 w 10000"/>
              <a:gd name="connsiteY112" fmla="*/ 7480 h 10000"/>
              <a:gd name="connsiteX113" fmla="*/ 7552 w 10000"/>
              <a:gd name="connsiteY113" fmla="*/ 7329 h 10000"/>
              <a:gd name="connsiteX114" fmla="*/ 7673 w 10000"/>
              <a:gd name="connsiteY114" fmla="*/ 7178 h 10000"/>
              <a:gd name="connsiteX115" fmla="*/ 7792 w 10000"/>
              <a:gd name="connsiteY115" fmla="*/ 7024 h 10000"/>
              <a:gd name="connsiteX116" fmla="*/ 7907 w 10000"/>
              <a:gd name="connsiteY116" fmla="*/ 6861 h 10000"/>
              <a:gd name="connsiteX117" fmla="*/ 8022 w 10000"/>
              <a:gd name="connsiteY117" fmla="*/ 6697 h 10000"/>
              <a:gd name="connsiteX118" fmla="*/ 8133 w 10000"/>
              <a:gd name="connsiteY118" fmla="*/ 6534 h 10000"/>
              <a:gd name="connsiteX119" fmla="*/ 8240 w 10000"/>
              <a:gd name="connsiteY119" fmla="*/ 6365 h 10000"/>
              <a:gd name="connsiteX120" fmla="*/ 8347 w 10000"/>
              <a:gd name="connsiteY120" fmla="*/ 6189 h 10000"/>
              <a:gd name="connsiteX121" fmla="*/ 8450 w 10000"/>
              <a:gd name="connsiteY121" fmla="*/ 6016 h 10000"/>
              <a:gd name="connsiteX122" fmla="*/ 8552 w 10000"/>
              <a:gd name="connsiteY122" fmla="*/ 5835 h 10000"/>
              <a:gd name="connsiteX123" fmla="*/ 8650 w 10000"/>
              <a:gd name="connsiteY123" fmla="*/ 5652 h 10000"/>
              <a:gd name="connsiteX124" fmla="*/ 8745 w 10000"/>
              <a:gd name="connsiteY124" fmla="*/ 5468 h 10000"/>
              <a:gd name="connsiteX125" fmla="*/ 8837 w 10000"/>
              <a:gd name="connsiteY125" fmla="*/ 5278 h 10000"/>
              <a:gd name="connsiteX126" fmla="*/ 8927 w 10000"/>
              <a:gd name="connsiteY126" fmla="*/ 5089 h 10000"/>
              <a:gd name="connsiteX127" fmla="*/ 9014 w 10000"/>
              <a:gd name="connsiteY127" fmla="*/ 4893 h 10000"/>
              <a:gd name="connsiteX128" fmla="*/ 9098 w 10000"/>
              <a:gd name="connsiteY128" fmla="*/ 4698 h 10000"/>
              <a:gd name="connsiteX129" fmla="*/ 9178 w 10000"/>
              <a:gd name="connsiteY129" fmla="*/ 4500 h 10000"/>
              <a:gd name="connsiteX130" fmla="*/ 9256 w 10000"/>
              <a:gd name="connsiteY130" fmla="*/ 4294 h 10000"/>
              <a:gd name="connsiteX131" fmla="*/ 9330 w 10000"/>
              <a:gd name="connsiteY131" fmla="*/ 4091 h 10000"/>
              <a:gd name="connsiteX132" fmla="*/ 9401 w 10000"/>
              <a:gd name="connsiteY132" fmla="*/ 3885 h 10000"/>
              <a:gd name="connsiteX133" fmla="*/ 9470 w 10000"/>
              <a:gd name="connsiteY133" fmla="*/ 3674 h 10000"/>
              <a:gd name="connsiteX134" fmla="*/ 9535 w 10000"/>
              <a:gd name="connsiteY134" fmla="*/ 3464 h 10000"/>
              <a:gd name="connsiteX135" fmla="*/ 9599 w 10000"/>
              <a:gd name="connsiteY135" fmla="*/ 3248 h 10000"/>
              <a:gd name="connsiteX136" fmla="*/ 9656 w 10000"/>
              <a:gd name="connsiteY136" fmla="*/ 3030 h 10000"/>
              <a:gd name="connsiteX137" fmla="*/ 9711 w 10000"/>
              <a:gd name="connsiteY137" fmla="*/ 2815 h 10000"/>
              <a:gd name="connsiteX138" fmla="*/ 9763 w 10000"/>
              <a:gd name="connsiteY138" fmla="*/ 2592 h 10000"/>
              <a:gd name="connsiteX139" fmla="*/ 9813 w 10000"/>
              <a:gd name="connsiteY139" fmla="*/ 2369 h 10000"/>
              <a:gd name="connsiteX140" fmla="*/ 9856 w 10000"/>
              <a:gd name="connsiteY140" fmla="*/ 2143 h 10000"/>
              <a:gd name="connsiteX141" fmla="*/ 9898 w 10000"/>
              <a:gd name="connsiteY141" fmla="*/ 1918 h 10000"/>
              <a:gd name="connsiteX142" fmla="*/ 9936 w 10000"/>
              <a:gd name="connsiteY142" fmla="*/ 1690 h 10000"/>
              <a:gd name="connsiteX143" fmla="*/ 9970 w 10000"/>
              <a:gd name="connsiteY143" fmla="*/ 1457 h 10000"/>
              <a:gd name="connsiteX144" fmla="*/ 10000 w 10000"/>
              <a:gd name="connsiteY144" fmla="*/ 1222 h 10000"/>
              <a:gd name="connsiteX145" fmla="*/ 7611 w 10000"/>
              <a:gd name="connsiteY145" fmla="*/ 1876 h 10000"/>
              <a:gd name="connsiteX146" fmla="*/ 5615 w 10000"/>
              <a:gd name="connsiteY146"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0 w 10000"/>
              <a:gd name="connsiteY62" fmla="*/ 6085 h 10000"/>
              <a:gd name="connsiteX63" fmla="*/ 209 w 10000"/>
              <a:gd name="connsiteY63" fmla="*/ 9512 h 10000"/>
              <a:gd name="connsiteX64" fmla="*/ 344 w 10000"/>
              <a:gd name="connsiteY64" fmla="*/ 9569 h 10000"/>
              <a:gd name="connsiteX65" fmla="*/ 481 w 10000"/>
              <a:gd name="connsiteY65" fmla="*/ 9623 h 10000"/>
              <a:gd name="connsiteX66" fmla="*/ 621 w 10000"/>
              <a:gd name="connsiteY66" fmla="*/ 9673 h 10000"/>
              <a:gd name="connsiteX67" fmla="*/ 758 w 10000"/>
              <a:gd name="connsiteY67" fmla="*/ 9720 h 10000"/>
              <a:gd name="connsiteX68" fmla="*/ 899 w 10000"/>
              <a:gd name="connsiteY68" fmla="*/ 9765 h 10000"/>
              <a:gd name="connsiteX69" fmla="*/ 1040 w 10000"/>
              <a:gd name="connsiteY69" fmla="*/ 9804 h 10000"/>
              <a:gd name="connsiteX70" fmla="*/ 1182 w 10000"/>
              <a:gd name="connsiteY70" fmla="*/ 9839 h 10000"/>
              <a:gd name="connsiteX71" fmla="*/ 1325 w 10000"/>
              <a:gd name="connsiteY71" fmla="*/ 9874 h 10000"/>
              <a:gd name="connsiteX72" fmla="*/ 1471 w 10000"/>
              <a:gd name="connsiteY72" fmla="*/ 9903 h 10000"/>
              <a:gd name="connsiteX73" fmla="*/ 1614 w 10000"/>
              <a:gd name="connsiteY73" fmla="*/ 9926 h 10000"/>
              <a:gd name="connsiteX74" fmla="*/ 1760 w 10000"/>
              <a:gd name="connsiteY74" fmla="*/ 9948 h 10000"/>
              <a:gd name="connsiteX75" fmla="*/ 1906 w 10000"/>
              <a:gd name="connsiteY75" fmla="*/ 9965 h 10000"/>
              <a:gd name="connsiteX76" fmla="*/ 2052 w 10000"/>
              <a:gd name="connsiteY76" fmla="*/ 9980 h 10000"/>
              <a:gd name="connsiteX77" fmla="*/ 2202 w 10000"/>
              <a:gd name="connsiteY77" fmla="*/ 9990 h 10000"/>
              <a:gd name="connsiteX78" fmla="*/ 2350 w 10000"/>
              <a:gd name="connsiteY78" fmla="*/ 9995 h 10000"/>
              <a:gd name="connsiteX79" fmla="*/ 2498 w 10000"/>
              <a:gd name="connsiteY79" fmla="*/ 10000 h 10000"/>
              <a:gd name="connsiteX80" fmla="*/ 2677 w 10000"/>
              <a:gd name="connsiteY80" fmla="*/ 9995 h 10000"/>
              <a:gd name="connsiteX81" fmla="*/ 2850 w 10000"/>
              <a:gd name="connsiteY81" fmla="*/ 9988 h 10000"/>
              <a:gd name="connsiteX82" fmla="*/ 3024 w 10000"/>
              <a:gd name="connsiteY82" fmla="*/ 9975 h 10000"/>
              <a:gd name="connsiteX83" fmla="*/ 3195 w 10000"/>
              <a:gd name="connsiteY83" fmla="*/ 9953 h 10000"/>
              <a:gd name="connsiteX84" fmla="*/ 3368 w 10000"/>
              <a:gd name="connsiteY84" fmla="*/ 9931 h 10000"/>
              <a:gd name="connsiteX85" fmla="*/ 3538 w 10000"/>
              <a:gd name="connsiteY85" fmla="*/ 9898 h 10000"/>
              <a:gd name="connsiteX86" fmla="*/ 3709 w 10000"/>
              <a:gd name="connsiteY86" fmla="*/ 9866 h 10000"/>
              <a:gd name="connsiteX87" fmla="*/ 3877 w 10000"/>
              <a:gd name="connsiteY87" fmla="*/ 9824 h 10000"/>
              <a:gd name="connsiteX88" fmla="*/ 4042 w 10000"/>
              <a:gd name="connsiteY88" fmla="*/ 9779 h 10000"/>
              <a:gd name="connsiteX89" fmla="*/ 4210 w 10000"/>
              <a:gd name="connsiteY89" fmla="*/ 9730 h 10000"/>
              <a:gd name="connsiteX90" fmla="*/ 4372 w 10000"/>
              <a:gd name="connsiteY90" fmla="*/ 9673 h 10000"/>
              <a:gd name="connsiteX91" fmla="*/ 4536 w 10000"/>
              <a:gd name="connsiteY91" fmla="*/ 9616 h 10000"/>
              <a:gd name="connsiteX92" fmla="*/ 4697 w 10000"/>
              <a:gd name="connsiteY92" fmla="*/ 9552 h 10000"/>
              <a:gd name="connsiteX93" fmla="*/ 4857 w 10000"/>
              <a:gd name="connsiteY93" fmla="*/ 9482 h 10000"/>
              <a:gd name="connsiteX94" fmla="*/ 5014 w 10000"/>
              <a:gd name="connsiteY94" fmla="*/ 9405 h 10000"/>
              <a:gd name="connsiteX95" fmla="*/ 5171 w 10000"/>
              <a:gd name="connsiteY95" fmla="*/ 9329 h 10000"/>
              <a:gd name="connsiteX96" fmla="*/ 5326 w 10000"/>
              <a:gd name="connsiteY96" fmla="*/ 9244 h 10000"/>
              <a:gd name="connsiteX97" fmla="*/ 5480 w 10000"/>
              <a:gd name="connsiteY97" fmla="*/ 9158 h 10000"/>
              <a:gd name="connsiteX98" fmla="*/ 5631 w 10000"/>
              <a:gd name="connsiteY98" fmla="*/ 9063 h 10000"/>
              <a:gd name="connsiteX99" fmla="*/ 5781 w 10000"/>
              <a:gd name="connsiteY99" fmla="*/ 8967 h 10000"/>
              <a:gd name="connsiteX100" fmla="*/ 5931 w 10000"/>
              <a:gd name="connsiteY100" fmla="*/ 8865 h 10000"/>
              <a:gd name="connsiteX101" fmla="*/ 6075 w 10000"/>
              <a:gd name="connsiteY101" fmla="*/ 8759 h 10000"/>
              <a:gd name="connsiteX102" fmla="*/ 6221 w 10000"/>
              <a:gd name="connsiteY102" fmla="*/ 8652 h 10000"/>
              <a:gd name="connsiteX103" fmla="*/ 6364 w 10000"/>
              <a:gd name="connsiteY103" fmla="*/ 8536 h 10000"/>
              <a:gd name="connsiteX104" fmla="*/ 6505 w 10000"/>
              <a:gd name="connsiteY104" fmla="*/ 8417 h 10000"/>
              <a:gd name="connsiteX105" fmla="*/ 6642 w 10000"/>
              <a:gd name="connsiteY105" fmla="*/ 8295 h 10000"/>
              <a:gd name="connsiteX106" fmla="*/ 6780 w 10000"/>
              <a:gd name="connsiteY106" fmla="*/ 8169 h 10000"/>
              <a:gd name="connsiteX107" fmla="*/ 6913 w 10000"/>
              <a:gd name="connsiteY107" fmla="*/ 8040 h 10000"/>
              <a:gd name="connsiteX108" fmla="*/ 7045 w 10000"/>
              <a:gd name="connsiteY108" fmla="*/ 7904 h 10000"/>
              <a:gd name="connsiteX109" fmla="*/ 7175 w 10000"/>
              <a:gd name="connsiteY109" fmla="*/ 7768 h 10000"/>
              <a:gd name="connsiteX110" fmla="*/ 7304 w 10000"/>
              <a:gd name="connsiteY110" fmla="*/ 7624 h 10000"/>
              <a:gd name="connsiteX111" fmla="*/ 7429 w 10000"/>
              <a:gd name="connsiteY111" fmla="*/ 7480 h 10000"/>
              <a:gd name="connsiteX112" fmla="*/ 7552 w 10000"/>
              <a:gd name="connsiteY112" fmla="*/ 7329 h 10000"/>
              <a:gd name="connsiteX113" fmla="*/ 7673 w 10000"/>
              <a:gd name="connsiteY113" fmla="*/ 7178 h 10000"/>
              <a:gd name="connsiteX114" fmla="*/ 7792 w 10000"/>
              <a:gd name="connsiteY114" fmla="*/ 7024 h 10000"/>
              <a:gd name="connsiteX115" fmla="*/ 7907 w 10000"/>
              <a:gd name="connsiteY115" fmla="*/ 6861 h 10000"/>
              <a:gd name="connsiteX116" fmla="*/ 8022 w 10000"/>
              <a:gd name="connsiteY116" fmla="*/ 6697 h 10000"/>
              <a:gd name="connsiteX117" fmla="*/ 8133 w 10000"/>
              <a:gd name="connsiteY117" fmla="*/ 6534 h 10000"/>
              <a:gd name="connsiteX118" fmla="*/ 8240 w 10000"/>
              <a:gd name="connsiteY118" fmla="*/ 6365 h 10000"/>
              <a:gd name="connsiteX119" fmla="*/ 8347 w 10000"/>
              <a:gd name="connsiteY119" fmla="*/ 6189 h 10000"/>
              <a:gd name="connsiteX120" fmla="*/ 8450 w 10000"/>
              <a:gd name="connsiteY120" fmla="*/ 6016 h 10000"/>
              <a:gd name="connsiteX121" fmla="*/ 8552 w 10000"/>
              <a:gd name="connsiteY121" fmla="*/ 5835 h 10000"/>
              <a:gd name="connsiteX122" fmla="*/ 8650 w 10000"/>
              <a:gd name="connsiteY122" fmla="*/ 5652 h 10000"/>
              <a:gd name="connsiteX123" fmla="*/ 8745 w 10000"/>
              <a:gd name="connsiteY123" fmla="*/ 5468 h 10000"/>
              <a:gd name="connsiteX124" fmla="*/ 8837 w 10000"/>
              <a:gd name="connsiteY124" fmla="*/ 5278 h 10000"/>
              <a:gd name="connsiteX125" fmla="*/ 8927 w 10000"/>
              <a:gd name="connsiteY125" fmla="*/ 5089 h 10000"/>
              <a:gd name="connsiteX126" fmla="*/ 9014 w 10000"/>
              <a:gd name="connsiteY126" fmla="*/ 4893 h 10000"/>
              <a:gd name="connsiteX127" fmla="*/ 9098 w 10000"/>
              <a:gd name="connsiteY127" fmla="*/ 4698 h 10000"/>
              <a:gd name="connsiteX128" fmla="*/ 9178 w 10000"/>
              <a:gd name="connsiteY128" fmla="*/ 4500 h 10000"/>
              <a:gd name="connsiteX129" fmla="*/ 9256 w 10000"/>
              <a:gd name="connsiteY129" fmla="*/ 4294 h 10000"/>
              <a:gd name="connsiteX130" fmla="*/ 9330 w 10000"/>
              <a:gd name="connsiteY130" fmla="*/ 4091 h 10000"/>
              <a:gd name="connsiteX131" fmla="*/ 9401 w 10000"/>
              <a:gd name="connsiteY131" fmla="*/ 3885 h 10000"/>
              <a:gd name="connsiteX132" fmla="*/ 9470 w 10000"/>
              <a:gd name="connsiteY132" fmla="*/ 3674 h 10000"/>
              <a:gd name="connsiteX133" fmla="*/ 9535 w 10000"/>
              <a:gd name="connsiteY133" fmla="*/ 3464 h 10000"/>
              <a:gd name="connsiteX134" fmla="*/ 9599 w 10000"/>
              <a:gd name="connsiteY134" fmla="*/ 3248 h 10000"/>
              <a:gd name="connsiteX135" fmla="*/ 9656 w 10000"/>
              <a:gd name="connsiteY135" fmla="*/ 3030 h 10000"/>
              <a:gd name="connsiteX136" fmla="*/ 9711 w 10000"/>
              <a:gd name="connsiteY136" fmla="*/ 2815 h 10000"/>
              <a:gd name="connsiteX137" fmla="*/ 9763 w 10000"/>
              <a:gd name="connsiteY137" fmla="*/ 2592 h 10000"/>
              <a:gd name="connsiteX138" fmla="*/ 9813 w 10000"/>
              <a:gd name="connsiteY138" fmla="*/ 2369 h 10000"/>
              <a:gd name="connsiteX139" fmla="*/ 9856 w 10000"/>
              <a:gd name="connsiteY139" fmla="*/ 2143 h 10000"/>
              <a:gd name="connsiteX140" fmla="*/ 9898 w 10000"/>
              <a:gd name="connsiteY140" fmla="*/ 1918 h 10000"/>
              <a:gd name="connsiteX141" fmla="*/ 9936 w 10000"/>
              <a:gd name="connsiteY141" fmla="*/ 1690 h 10000"/>
              <a:gd name="connsiteX142" fmla="*/ 9970 w 10000"/>
              <a:gd name="connsiteY142" fmla="*/ 1457 h 10000"/>
              <a:gd name="connsiteX143" fmla="*/ 10000 w 10000"/>
              <a:gd name="connsiteY143" fmla="*/ 1222 h 10000"/>
              <a:gd name="connsiteX144" fmla="*/ 7611 w 10000"/>
              <a:gd name="connsiteY144" fmla="*/ 1876 h 10000"/>
              <a:gd name="connsiteX145" fmla="*/ 5615 w 10000"/>
              <a:gd name="connsiteY145"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0 w 10000"/>
              <a:gd name="connsiteY61" fmla="*/ 6085 h 10000"/>
              <a:gd name="connsiteX62" fmla="*/ 209 w 10000"/>
              <a:gd name="connsiteY62" fmla="*/ 9512 h 10000"/>
              <a:gd name="connsiteX63" fmla="*/ 344 w 10000"/>
              <a:gd name="connsiteY63" fmla="*/ 9569 h 10000"/>
              <a:gd name="connsiteX64" fmla="*/ 481 w 10000"/>
              <a:gd name="connsiteY64" fmla="*/ 9623 h 10000"/>
              <a:gd name="connsiteX65" fmla="*/ 621 w 10000"/>
              <a:gd name="connsiteY65" fmla="*/ 9673 h 10000"/>
              <a:gd name="connsiteX66" fmla="*/ 758 w 10000"/>
              <a:gd name="connsiteY66" fmla="*/ 9720 h 10000"/>
              <a:gd name="connsiteX67" fmla="*/ 899 w 10000"/>
              <a:gd name="connsiteY67" fmla="*/ 9765 h 10000"/>
              <a:gd name="connsiteX68" fmla="*/ 1040 w 10000"/>
              <a:gd name="connsiteY68" fmla="*/ 9804 h 10000"/>
              <a:gd name="connsiteX69" fmla="*/ 1182 w 10000"/>
              <a:gd name="connsiteY69" fmla="*/ 9839 h 10000"/>
              <a:gd name="connsiteX70" fmla="*/ 1325 w 10000"/>
              <a:gd name="connsiteY70" fmla="*/ 9874 h 10000"/>
              <a:gd name="connsiteX71" fmla="*/ 1471 w 10000"/>
              <a:gd name="connsiteY71" fmla="*/ 9903 h 10000"/>
              <a:gd name="connsiteX72" fmla="*/ 1614 w 10000"/>
              <a:gd name="connsiteY72" fmla="*/ 9926 h 10000"/>
              <a:gd name="connsiteX73" fmla="*/ 1760 w 10000"/>
              <a:gd name="connsiteY73" fmla="*/ 9948 h 10000"/>
              <a:gd name="connsiteX74" fmla="*/ 1906 w 10000"/>
              <a:gd name="connsiteY74" fmla="*/ 9965 h 10000"/>
              <a:gd name="connsiteX75" fmla="*/ 2052 w 10000"/>
              <a:gd name="connsiteY75" fmla="*/ 9980 h 10000"/>
              <a:gd name="connsiteX76" fmla="*/ 2202 w 10000"/>
              <a:gd name="connsiteY76" fmla="*/ 9990 h 10000"/>
              <a:gd name="connsiteX77" fmla="*/ 2350 w 10000"/>
              <a:gd name="connsiteY77" fmla="*/ 9995 h 10000"/>
              <a:gd name="connsiteX78" fmla="*/ 2498 w 10000"/>
              <a:gd name="connsiteY78" fmla="*/ 10000 h 10000"/>
              <a:gd name="connsiteX79" fmla="*/ 2677 w 10000"/>
              <a:gd name="connsiteY79" fmla="*/ 9995 h 10000"/>
              <a:gd name="connsiteX80" fmla="*/ 2850 w 10000"/>
              <a:gd name="connsiteY80" fmla="*/ 9988 h 10000"/>
              <a:gd name="connsiteX81" fmla="*/ 3024 w 10000"/>
              <a:gd name="connsiteY81" fmla="*/ 9975 h 10000"/>
              <a:gd name="connsiteX82" fmla="*/ 3195 w 10000"/>
              <a:gd name="connsiteY82" fmla="*/ 9953 h 10000"/>
              <a:gd name="connsiteX83" fmla="*/ 3368 w 10000"/>
              <a:gd name="connsiteY83" fmla="*/ 9931 h 10000"/>
              <a:gd name="connsiteX84" fmla="*/ 3538 w 10000"/>
              <a:gd name="connsiteY84" fmla="*/ 9898 h 10000"/>
              <a:gd name="connsiteX85" fmla="*/ 3709 w 10000"/>
              <a:gd name="connsiteY85" fmla="*/ 9866 h 10000"/>
              <a:gd name="connsiteX86" fmla="*/ 3877 w 10000"/>
              <a:gd name="connsiteY86" fmla="*/ 9824 h 10000"/>
              <a:gd name="connsiteX87" fmla="*/ 4042 w 10000"/>
              <a:gd name="connsiteY87" fmla="*/ 9779 h 10000"/>
              <a:gd name="connsiteX88" fmla="*/ 4210 w 10000"/>
              <a:gd name="connsiteY88" fmla="*/ 9730 h 10000"/>
              <a:gd name="connsiteX89" fmla="*/ 4372 w 10000"/>
              <a:gd name="connsiteY89" fmla="*/ 9673 h 10000"/>
              <a:gd name="connsiteX90" fmla="*/ 4536 w 10000"/>
              <a:gd name="connsiteY90" fmla="*/ 9616 h 10000"/>
              <a:gd name="connsiteX91" fmla="*/ 4697 w 10000"/>
              <a:gd name="connsiteY91" fmla="*/ 9552 h 10000"/>
              <a:gd name="connsiteX92" fmla="*/ 4857 w 10000"/>
              <a:gd name="connsiteY92" fmla="*/ 9482 h 10000"/>
              <a:gd name="connsiteX93" fmla="*/ 5014 w 10000"/>
              <a:gd name="connsiteY93" fmla="*/ 9405 h 10000"/>
              <a:gd name="connsiteX94" fmla="*/ 5171 w 10000"/>
              <a:gd name="connsiteY94" fmla="*/ 9329 h 10000"/>
              <a:gd name="connsiteX95" fmla="*/ 5326 w 10000"/>
              <a:gd name="connsiteY95" fmla="*/ 9244 h 10000"/>
              <a:gd name="connsiteX96" fmla="*/ 5480 w 10000"/>
              <a:gd name="connsiteY96" fmla="*/ 9158 h 10000"/>
              <a:gd name="connsiteX97" fmla="*/ 5631 w 10000"/>
              <a:gd name="connsiteY97" fmla="*/ 9063 h 10000"/>
              <a:gd name="connsiteX98" fmla="*/ 5781 w 10000"/>
              <a:gd name="connsiteY98" fmla="*/ 8967 h 10000"/>
              <a:gd name="connsiteX99" fmla="*/ 5931 w 10000"/>
              <a:gd name="connsiteY99" fmla="*/ 8865 h 10000"/>
              <a:gd name="connsiteX100" fmla="*/ 6075 w 10000"/>
              <a:gd name="connsiteY100" fmla="*/ 8759 h 10000"/>
              <a:gd name="connsiteX101" fmla="*/ 6221 w 10000"/>
              <a:gd name="connsiteY101" fmla="*/ 8652 h 10000"/>
              <a:gd name="connsiteX102" fmla="*/ 6364 w 10000"/>
              <a:gd name="connsiteY102" fmla="*/ 8536 h 10000"/>
              <a:gd name="connsiteX103" fmla="*/ 6505 w 10000"/>
              <a:gd name="connsiteY103" fmla="*/ 8417 h 10000"/>
              <a:gd name="connsiteX104" fmla="*/ 6642 w 10000"/>
              <a:gd name="connsiteY104" fmla="*/ 8295 h 10000"/>
              <a:gd name="connsiteX105" fmla="*/ 6780 w 10000"/>
              <a:gd name="connsiteY105" fmla="*/ 8169 h 10000"/>
              <a:gd name="connsiteX106" fmla="*/ 6913 w 10000"/>
              <a:gd name="connsiteY106" fmla="*/ 8040 h 10000"/>
              <a:gd name="connsiteX107" fmla="*/ 7045 w 10000"/>
              <a:gd name="connsiteY107" fmla="*/ 7904 h 10000"/>
              <a:gd name="connsiteX108" fmla="*/ 7175 w 10000"/>
              <a:gd name="connsiteY108" fmla="*/ 7768 h 10000"/>
              <a:gd name="connsiteX109" fmla="*/ 7304 w 10000"/>
              <a:gd name="connsiteY109" fmla="*/ 7624 h 10000"/>
              <a:gd name="connsiteX110" fmla="*/ 7429 w 10000"/>
              <a:gd name="connsiteY110" fmla="*/ 7480 h 10000"/>
              <a:gd name="connsiteX111" fmla="*/ 7552 w 10000"/>
              <a:gd name="connsiteY111" fmla="*/ 7329 h 10000"/>
              <a:gd name="connsiteX112" fmla="*/ 7673 w 10000"/>
              <a:gd name="connsiteY112" fmla="*/ 7178 h 10000"/>
              <a:gd name="connsiteX113" fmla="*/ 7792 w 10000"/>
              <a:gd name="connsiteY113" fmla="*/ 7024 h 10000"/>
              <a:gd name="connsiteX114" fmla="*/ 7907 w 10000"/>
              <a:gd name="connsiteY114" fmla="*/ 6861 h 10000"/>
              <a:gd name="connsiteX115" fmla="*/ 8022 w 10000"/>
              <a:gd name="connsiteY115" fmla="*/ 6697 h 10000"/>
              <a:gd name="connsiteX116" fmla="*/ 8133 w 10000"/>
              <a:gd name="connsiteY116" fmla="*/ 6534 h 10000"/>
              <a:gd name="connsiteX117" fmla="*/ 8240 w 10000"/>
              <a:gd name="connsiteY117" fmla="*/ 6365 h 10000"/>
              <a:gd name="connsiteX118" fmla="*/ 8347 w 10000"/>
              <a:gd name="connsiteY118" fmla="*/ 6189 h 10000"/>
              <a:gd name="connsiteX119" fmla="*/ 8450 w 10000"/>
              <a:gd name="connsiteY119" fmla="*/ 6016 h 10000"/>
              <a:gd name="connsiteX120" fmla="*/ 8552 w 10000"/>
              <a:gd name="connsiteY120" fmla="*/ 5835 h 10000"/>
              <a:gd name="connsiteX121" fmla="*/ 8650 w 10000"/>
              <a:gd name="connsiteY121" fmla="*/ 5652 h 10000"/>
              <a:gd name="connsiteX122" fmla="*/ 8745 w 10000"/>
              <a:gd name="connsiteY122" fmla="*/ 5468 h 10000"/>
              <a:gd name="connsiteX123" fmla="*/ 8837 w 10000"/>
              <a:gd name="connsiteY123" fmla="*/ 5278 h 10000"/>
              <a:gd name="connsiteX124" fmla="*/ 8927 w 10000"/>
              <a:gd name="connsiteY124" fmla="*/ 5089 h 10000"/>
              <a:gd name="connsiteX125" fmla="*/ 9014 w 10000"/>
              <a:gd name="connsiteY125" fmla="*/ 4893 h 10000"/>
              <a:gd name="connsiteX126" fmla="*/ 9098 w 10000"/>
              <a:gd name="connsiteY126" fmla="*/ 4698 h 10000"/>
              <a:gd name="connsiteX127" fmla="*/ 9178 w 10000"/>
              <a:gd name="connsiteY127" fmla="*/ 4500 h 10000"/>
              <a:gd name="connsiteX128" fmla="*/ 9256 w 10000"/>
              <a:gd name="connsiteY128" fmla="*/ 4294 h 10000"/>
              <a:gd name="connsiteX129" fmla="*/ 9330 w 10000"/>
              <a:gd name="connsiteY129" fmla="*/ 4091 h 10000"/>
              <a:gd name="connsiteX130" fmla="*/ 9401 w 10000"/>
              <a:gd name="connsiteY130" fmla="*/ 3885 h 10000"/>
              <a:gd name="connsiteX131" fmla="*/ 9470 w 10000"/>
              <a:gd name="connsiteY131" fmla="*/ 3674 h 10000"/>
              <a:gd name="connsiteX132" fmla="*/ 9535 w 10000"/>
              <a:gd name="connsiteY132" fmla="*/ 3464 h 10000"/>
              <a:gd name="connsiteX133" fmla="*/ 9599 w 10000"/>
              <a:gd name="connsiteY133" fmla="*/ 3248 h 10000"/>
              <a:gd name="connsiteX134" fmla="*/ 9656 w 10000"/>
              <a:gd name="connsiteY134" fmla="*/ 3030 h 10000"/>
              <a:gd name="connsiteX135" fmla="*/ 9711 w 10000"/>
              <a:gd name="connsiteY135" fmla="*/ 2815 h 10000"/>
              <a:gd name="connsiteX136" fmla="*/ 9763 w 10000"/>
              <a:gd name="connsiteY136" fmla="*/ 2592 h 10000"/>
              <a:gd name="connsiteX137" fmla="*/ 9813 w 10000"/>
              <a:gd name="connsiteY137" fmla="*/ 2369 h 10000"/>
              <a:gd name="connsiteX138" fmla="*/ 9856 w 10000"/>
              <a:gd name="connsiteY138" fmla="*/ 2143 h 10000"/>
              <a:gd name="connsiteX139" fmla="*/ 9898 w 10000"/>
              <a:gd name="connsiteY139" fmla="*/ 1918 h 10000"/>
              <a:gd name="connsiteX140" fmla="*/ 9936 w 10000"/>
              <a:gd name="connsiteY140" fmla="*/ 1690 h 10000"/>
              <a:gd name="connsiteX141" fmla="*/ 9970 w 10000"/>
              <a:gd name="connsiteY141" fmla="*/ 1457 h 10000"/>
              <a:gd name="connsiteX142" fmla="*/ 10000 w 10000"/>
              <a:gd name="connsiteY142" fmla="*/ 1222 h 10000"/>
              <a:gd name="connsiteX143" fmla="*/ 7611 w 10000"/>
              <a:gd name="connsiteY143" fmla="*/ 1876 h 10000"/>
              <a:gd name="connsiteX144" fmla="*/ 5615 w 10000"/>
              <a:gd name="connsiteY144"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0 w 10000"/>
              <a:gd name="connsiteY60" fmla="*/ 6085 h 10000"/>
              <a:gd name="connsiteX61" fmla="*/ 209 w 10000"/>
              <a:gd name="connsiteY61" fmla="*/ 9512 h 10000"/>
              <a:gd name="connsiteX62" fmla="*/ 344 w 10000"/>
              <a:gd name="connsiteY62" fmla="*/ 9569 h 10000"/>
              <a:gd name="connsiteX63" fmla="*/ 481 w 10000"/>
              <a:gd name="connsiteY63" fmla="*/ 9623 h 10000"/>
              <a:gd name="connsiteX64" fmla="*/ 621 w 10000"/>
              <a:gd name="connsiteY64" fmla="*/ 9673 h 10000"/>
              <a:gd name="connsiteX65" fmla="*/ 758 w 10000"/>
              <a:gd name="connsiteY65" fmla="*/ 9720 h 10000"/>
              <a:gd name="connsiteX66" fmla="*/ 899 w 10000"/>
              <a:gd name="connsiteY66" fmla="*/ 9765 h 10000"/>
              <a:gd name="connsiteX67" fmla="*/ 1040 w 10000"/>
              <a:gd name="connsiteY67" fmla="*/ 9804 h 10000"/>
              <a:gd name="connsiteX68" fmla="*/ 1182 w 10000"/>
              <a:gd name="connsiteY68" fmla="*/ 9839 h 10000"/>
              <a:gd name="connsiteX69" fmla="*/ 1325 w 10000"/>
              <a:gd name="connsiteY69" fmla="*/ 9874 h 10000"/>
              <a:gd name="connsiteX70" fmla="*/ 1471 w 10000"/>
              <a:gd name="connsiteY70" fmla="*/ 9903 h 10000"/>
              <a:gd name="connsiteX71" fmla="*/ 1614 w 10000"/>
              <a:gd name="connsiteY71" fmla="*/ 9926 h 10000"/>
              <a:gd name="connsiteX72" fmla="*/ 1760 w 10000"/>
              <a:gd name="connsiteY72" fmla="*/ 9948 h 10000"/>
              <a:gd name="connsiteX73" fmla="*/ 1906 w 10000"/>
              <a:gd name="connsiteY73" fmla="*/ 9965 h 10000"/>
              <a:gd name="connsiteX74" fmla="*/ 2052 w 10000"/>
              <a:gd name="connsiteY74" fmla="*/ 9980 h 10000"/>
              <a:gd name="connsiteX75" fmla="*/ 2202 w 10000"/>
              <a:gd name="connsiteY75" fmla="*/ 9990 h 10000"/>
              <a:gd name="connsiteX76" fmla="*/ 2350 w 10000"/>
              <a:gd name="connsiteY76" fmla="*/ 9995 h 10000"/>
              <a:gd name="connsiteX77" fmla="*/ 2498 w 10000"/>
              <a:gd name="connsiteY77" fmla="*/ 10000 h 10000"/>
              <a:gd name="connsiteX78" fmla="*/ 2677 w 10000"/>
              <a:gd name="connsiteY78" fmla="*/ 9995 h 10000"/>
              <a:gd name="connsiteX79" fmla="*/ 2850 w 10000"/>
              <a:gd name="connsiteY79" fmla="*/ 9988 h 10000"/>
              <a:gd name="connsiteX80" fmla="*/ 3024 w 10000"/>
              <a:gd name="connsiteY80" fmla="*/ 9975 h 10000"/>
              <a:gd name="connsiteX81" fmla="*/ 3195 w 10000"/>
              <a:gd name="connsiteY81" fmla="*/ 9953 h 10000"/>
              <a:gd name="connsiteX82" fmla="*/ 3368 w 10000"/>
              <a:gd name="connsiteY82" fmla="*/ 9931 h 10000"/>
              <a:gd name="connsiteX83" fmla="*/ 3538 w 10000"/>
              <a:gd name="connsiteY83" fmla="*/ 9898 h 10000"/>
              <a:gd name="connsiteX84" fmla="*/ 3709 w 10000"/>
              <a:gd name="connsiteY84" fmla="*/ 9866 h 10000"/>
              <a:gd name="connsiteX85" fmla="*/ 3877 w 10000"/>
              <a:gd name="connsiteY85" fmla="*/ 9824 h 10000"/>
              <a:gd name="connsiteX86" fmla="*/ 4042 w 10000"/>
              <a:gd name="connsiteY86" fmla="*/ 9779 h 10000"/>
              <a:gd name="connsiteX87" fmla="*/ 4210 w 10000"/>
              <a:gd name="connsiteY87" fmla="*/ 9730 h 10000"/>
              <a:gd name="connsiteX88" fmla="*/ 4372 w 10000"/>
              <a:gd name="connsiteY88" fmla="*/ 9673 h 10000"/>
              <a:gd name="connsiteX89" fmla="*/ 4536 w 10000"/>
              <a:gd name="connsiteY89" fmla="*/ 9616 h 10000"/>
              <a:gd name="connsiteX90" fmla="*/ 4697 w 10000"/>
              <a:gd name="connsiteY90" fmla="*/ 9552 h 10000"/>
              <a:gd name="connsiteX91" fmla="*/ 4857 w 10000"/>
              <a:gd name="connsiteY91" fmla="*/ 9482 h 10000"/>
              <a:gd name="connsiteX92" fmla="*/ 5014 w 10000"/>
              <a:gd name="connsiteY92" fmla="*/ 9405 h 10000"/>
              <a:gd name="connsiteX93" fmla="*/ 5171 w 10000"/>
              <a:gd name="connsiteY93" fmla="*/ 9329 h 10000"/>
              <a:gd name="connsiteX94" fmla="*/ 5326 w 10000"/>
              <a:gd name="connsiteY94" fmla="*/ 9244 h 10000"/>
              <a:gd name="connsiteX95" fmla="*/ 5480 w 10000"/>
              <a:gd name="connsiteY95" fmla="*/ 9158 h 10000"/>
              <a:gd name="connsiteX96" fmla="*/ 5631 w 10000"/>
              <a:gd name="connsiteY96" fmla="*/ 9063 h 10000"/>
              <a:gd name="connsiteX97" fmla="*/ 5781 w 10000"/>
              <a:gd name="connsiteY97" fmla="*/ 8967 h 10000"/>
              <a:gd name="connsiteX98" fmla="*/ 5931 w 10000"/>
              <a:gd name="connsiteY98" fmla="*/ 8865 h 10000"/>
              <a:gd name="connsiteX99" fmla="*/ 6075 w 10000"/>
              <a:gd name="connsiteY99" fmla="*/ 8759 h 10000"/>
              <a:gd name="connsiteX100" fmla="*/ 6221 w 10000"/>
              <a:gd name="connsiteY100" fmla="*/ 8652 h 10000"/>
              <a:gd name="connsiteX101" fmla="*/ 6364 w 10000"/>
              <a:gd name="connsiteY101" fmla="*/ 8536 h 10000"/>
              <a:gd name="connsiteX102" fmla="*/ 6505 w 10000"/>
              <a:gd name="connsiteY102" fmla="*/ 8417 h 10000"/>
              <a:gd name="connsiteX103" fmla="*/ 6642 w 10000"/>
              <a:gd name="connsiteY103" fmla="*/ 8295 h 10000"/>
              <a:gd name="connsiteX104" fmla="*/ 6780 w 10000"/>
              <a:gd name="connsiteY104" fmla="*/ 8169 h 10000"/>
              <a:gd name="connsiteX105" fmla="*/ 6913 w 10000"/>
              <a:gd name="connsiteY105" fmla="*/ 8040 h 10000"/>
              <a:gd name="connsiteX106" fmla="*/ 7045 w 10000"/>
              <a:gd name="connsiteY106" fmla="*/ 7904 h 10000"/>
              <a:gd name="connsiteX107" fmla="*/ 7175 w 10000"/>
              <a:gd name="connsiteY107" fmla="*/ 7768 h 10000"/>
              <a:gd name="connsiteX108" fmla="*/ 7304 w 10000"/>
              <a:gd name="connsiteY108" fmla="*/ 7624 h 10000"/>
              <a:gd name="connsiteX109" fmla="*/ 7429 w 10000"/>
              <a:gd name="connsiteY109" fmla="*/ 7480 h 10000"/>
              <a:gd name="connsiteX110" fmla="*/ 7552 w 10000"/>
              <a:gd name="connsiteY110" fmla="*/ 7329 h 10000"/>
              <a:gd name="connsiteX111" fmla="*/ 7673 w 10000"/>
              <a:gd name="connsiteY111" fmla="*/ 7178 h 10000"/>
              <a:gd name="connsiteX112" fmla="*/ 7792 w 10000"/>
              <a:gd name="connsiteY112" fmla="*/ 7024 h 10000"/>
              <a:gd name="connsiteX113" fmla="*/ 7907 w 10000"/>
              <a:gd name="connsiteY113" fmla="*/ 6861 h 10000"/>
              <a:gd name="connsiteX114" fmla="*/ 8022 w 10000"/>
              <a:gd name="connsiteY114" fmla="*/ 6697 h 10000"/>
              <a:gd name="connsiteX115" fmla="*/ 8133 w 10000"/>
              <a:gd name="connsiteY115" fmla="*/ 6534 h 10000"/>
              <a:gd name="connsiteX116" fmla="*/ 8240 w 10000"/>
              <a:gd name="connsiteY116" fmla="*/ 6365 h 10000"/>
              <a:gd name="connsiteX117" fmla="*/ 8347 w 10000"/>
              <a:gd name="connsiteY117" fmla="*/ 6189 h 10000"/>
              <a:gd name="connsiteX118" fmla="*/ 8450 w 10000"/>
              <a:gd name="connsiteY118" fmla="*/ 6016 h 10000"/>
              <a:gd name="connsiteX119" fmla="*/ 8552 w 10000"/>
              <a:gd name="connsiteY119" fmla="*/ 5835 h 10000"/>
              <a:gd name="connsiteX120" fmla="*/ 8650 w 10000"/>
              <a:gd name="connsiteY120" fmla="*/ 5652 h 10000"/>
              <a:gd name="connsiteX121" fmla="*/ 8745 w 10000"/>
              <a:gd name="connsiteY121" fmla="*/ 5468 h 10000"/>
              <a:gd name="connsiteX122" fmla="*/ 8837 w 10000"/>
              <a:gd name="connsiteY122" fmla="*/ 5278 h 10000"/>
              <a:gd name="connsiteX123" fmla="*/ 8927 w 10000"/>
              <a:gd name="connsiteY123" fmla="*/ 5089 h 10000"/>
              <a:gd name="connsiteX124" fmla="*/ 9014 w 10000"/>
              <a:gd name="connsiteY124" fmla="*/ 4893 h 10000"/>
              <a:gd name="connsiteX125" fmla="*/ 9098 w 10000"/>
              <a:gd name="connsiteY125" fmla="*/ 4698 h 10000"/>
              <a:gd name="connsiteX126" fmla="*/ 9178 w 10000"/>
              <a:gd name="connsiteY126" fmla="*/ 4500 h 10000"/>
              <a:gd name="connsiteX127" fmla="*/ 9256 w 10000"/>
              <a:gd name="connsiteY127" fmla="*/ 4294 h 10000"/>
              <a:gd name="connsiteX128" fmla="*/ 9330 w 10000"/>
              <a:gd name="connsiteY128" fmla="*/ 4091 h 10000"/>
              <a:gd name="connsiteX129" fmla="*/ 9401 w 10000"/>
              <a:gd name="connsiteY129" fmla="*/ 3885 h 10000"/>
              <a:gd name="connsiteX130" fmla="*/ 9470 w 10000"/>
              <a:gd name="connsiteY130" fmla="*/ 3674 h 10000"/>
              <a:gd name="connsiteX131" fmla="*/ 9535 w 10000"/>
              <a:gd name="connsiteY131" fmla="*/ 3464 h 10000"/>
              <a:gd name="connsiteX132" fmla="*/ 9599 w 10000"/>
              <a:gd name="connsiteY132" fmla="*/ 3248 h 10000"/>
              <a:gd name="connsiteX133" fmla="*/ 9656 w 10000"/>
              <a:gd name="connsiteY133" fmla="*/ 3030 h 10000"/>
              <a:gd name="connsiteX134" fmla="*/ 9711 w 10000"/>
              <a:gd name="connsiteY134" fmla="*/ 2815 h 10000"/>
              <a:gd name="connsiteX135" fmla="*/ 9763 w 10000"/>
              <a:gd name="connsiteY135" fmla="*/ 2592 h 10000"/>
              <a:gd name="connsiteX136" fmla="*/ 9813 w 10000"/>
              <a:gd name="connsiteY136" fmla="*/ 2369 h 10000"/>
              <a:gd name="connsiteX137" fmla="*/ 9856 w 10000"/>
              <a:gd name="connsiteY137" fmla="*/ 2143 h 10000"/>
              <a:gd name="connsiteX138" fmla="*/ 9898 w 10000"/>
              <a:gd name="connsiteY138" fmla="*/ 1918 h 10000"/>
              <a:gd name="connsiteX139" fmla="*/ 9936 w 10000"/>
              <a:gd name="connsiteY139" fmla="*/ 1690 h 10000"/>
              <a:gd name="connsiteX140" fmla="*/ 9970 w 10000"/>
              <a:gd name="connsiteY140" fmla="*/ 1457 h 10000"/>
              <a:gd name="connsiteX141" fmla="*/ 10000 w 10000"/>
              <a:gd name="connsiteY141" fmla="*/ 1222 h 10000"/>
              <a:gd name="connsiteX142" fmla="*/ 7611 w 10000"/>
              <a:gd name="connsiteY142" fmla="*/ 1876 h 10000"/>
              <a:gd name="connsiteX143" fmla="*/ 5615 w 10000"/>
              <a:gd name="connsiteY143"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0 w 10000"/>
              <a:gd name="connsiteY59" fmla="*/ 6085 h 10000"/>
              <a:gd name="connsiteX60" fmla="*/ 209 w 10000"/>
              <a:gd name="connsiteY60" fmla="*/ 9512 h 10000"/>
              <a:gd name="connsiteX61" fmla="*/ 344 w 10000"/>
              <a:gd name="connsiteY61" fmla="*/ 9569 h 10000"/>
              <a:gd name="connsiteX62" fmla="*/ 481 w 10000"/>
              <a:gd name="connsiteY62" fmla="*/ 9623 h 10000"/>
              <a:gd name="connsiteX63" fmla="*/ 621 w 10000"/>
              <a:gd name="connsiteY63" fmla="*/ 9673 h 10000"/>
              <a:gd name="connsiteX64" fmla="*/ 758 w 10000"/>
              <a:gd name="connsiteY64" fmla="*/ 9720 h 10000"/>
              <a:gd name="connsiteX65" fmla="*/ 899 w 10000"/>
              <a:gd name="connsiteY65" fmla="*/ 9765 h 10000"/>
              <a:gd name="connsiteX66" fmla="*/ 1040 w 10000"/>
              <a:gd name="connsiteY66" fmla="*/ 9804 h 10000"/>
              <a:gd name="connsiteX67" fmla="*/ 1182 w 10000"/>
              <a:gd name="connsiteY67" fmla="*/ 9839 h 10000"/>
              <a:gd name="connsiteX68" fmla="*/ 1325 w 10000"/>
              <a:gd name="connsiteY68" fmla="*/ 9874 h 10000"/>
              <a:gd name="connsiteX69" fmla="*/ 1471 w 10000"/>
              <a:gd name="connsiteY69" fmla="*/ 9903 h 10000"/>
              <a:gd name="connsiteX70" fmla="*/ 1614 w 10000"/>
              <a:gd name="connsiteY70" fmla="*/ 9926 h 10000"/>
              <a:gd name="connsiteX71" fmla="*/ 1760 w 10000"/>
              <a:gd name="connsiteY71" fmla="*/ 9948 h 10000"/>
              <a:gd name="connsiteX72" fmla="*/ 1906 w 10000"/>
              <a:gd name="connsiteY72" fmla="*/ 9965 h 10000"/>
              <a:gd name="connsiteX73" fmla="*/ 2052 w 10000"/>
              <a:gd name="connsiteY73" fmla="*/ 9980 h 10000"/>
              <a:gd name="connsiteX74" fmla="*/ 2202 w 10000"/>
              <a:gd name="connsiteY74" fmla="*/ 9990 h 10000"/>
              <a:gd name="connsiteX75" fmla="*/ 2350 w 10000"/>
              <a:gd name="connsiteY75" fmla="*/ 9995 h 10000"/>
              <a:gd name="connsiteX76" fmla="*/ 2498 w 10000"/>
              <a:gd name="connsiteY76" fmla="*/ 10000 h 10000"/>
              <a:gd name="connsiteX77" fmla="*/ 2677 w 10000"/>
              <a:gd name="connsiteY77" fmla="*/ 9995 h 10000"/>
              <a:gd name="connsiteX78" fmla="*/ 2850 w 10000"/>
              <a:gd name="connsiteY78" fmla="*/ 9988 h 10000"/>
              <a:gd name="connsiteX79" fmla="*/ 3024 w 10000"/>
              <a:gd name="connsiteY79" fmla="*/ 9975 h 10000"/>
              <a:gd name="connsiteX80" fmla="*/ 3195 w 10000"/>
              <a:gd name="connsiteY80" fmla="*/ 9953 h 10000"/>
              <a:gd name="connsiteX81" fmla="*/ 3368 w 10000"/>
              <a:gd name="connsiteY81" fmla="*/ 9931 h 10000"/>
              <a:gd name="connsiteX82" fmla="*/ 3538 w 10000"/>
              <a:gd name="connsiteY82" fmla="*/ 9898 h 10000"/>
              <a:gd name="connsiteX83" fmla="*/ 3709 w 10000"/>
              <a:gd name="connsiteY83" fmla="*/ 9866 h 10000"/>
              <a:gd name="connsiteX84" fmla="*/ 3877 w 10000"/>
              <a:gd name="connsiteY84" fmla="*/ 9824 h 10000"/>
              <a:gd name="connsiteX85" fmla="*/ 4042 w 10000"/>
              <a:gd name="connsiteY85" fmla="*/ 9779 h 10000"/>
              <a:gd name="connsiteX86" fmla="*/ 4210 w 10000"/>
              <a:gd name="connsiteY86" fmla="*/ 9730 h 10000"/>
              <a:gd name="connsiteX87" fmla="*/ 4372 w 10000"/>
              <a:gd name="connsiteY87" fmla="*/ 9673 h 10000"/>
              <a:gd name="connsiteX88" fmla="*/ 4536 w 10000"/>
              <a:gd name="connsiteY88" fmla="*/ 9616 h 10000"/>
              <a:gd name="connsiteX89" fmla="*/ 4697 w 10000"/>
              <a:gd name="connsiteY89" fmla="*/ 9552 h 10000"/>
              <a:gd name="connsiteX90" fmla="*/ 4857 w 10000"/>
              <a:gd name="connsiteY90" fmla="*/ 9482 h 10000"/>
              <a:gd name="connsiteX91" fmla="*/ 5014 w 10000"/>
              <a:gd name="connsiteY91" fmla="*/ 9405 h 10000"/>
              <a:gd name="connsiteX92" fmla="*/ 5171 w 10000"/>
              <a:gd name="connsiteY92" fmla="*/ 9329 h 10000"/>
              <a:gd name="connsiteX93" fmla="*/ 5326 w 10000"/>
              <a:gd name="connsiteY93" fmla="*/ 9244 h 10000"/>
              <a:gd name="connsiteX94" fmla="*/ 5480 w 10000"/>
              <a:gd name="connsiteY94" fmla="*/ 9158 h 10000"/>
              <a:gd name="connsiteX95" fmla="*/ 5631 w 10000"/>
              <a:gd name="connsiteY95" fmla="*/ 9063 h 10000"/>
              <a:gd name="connsiteX96" fmla="*/ 5781 w 10000"/>
              <a:gd name="connsiteY96" fmla="*/ 8967 h 10000"/>
              <a:gd name="connsiteX97" fmla="*/ 5931 w 10000"/>
              <a:gd name="connsiteY97" fmla="*/ 8865 h 10000"/>
              <a:gd name="connsiteX98" fmla="*/ 6075 w 10000"/>
              <a:gd name="connsiteY98" fmla="*/ 8759 h 10000"/>
              <a:gd name="connsiteX99" fmla="*/ 6221 w 10000"/>
              <a:gd name="connsiteY99" fmla="*/ 8652 h 10000"/>
              <a:gd name="connsiteX100" fmla="*/ 6364 w 10000"/>
              <a:gd name="connsiteY100" fmla="*/ 8536 h 10000"/>
              <a:gd name="connsiteX101" fmla="*/ 6505 w 10000"/>
              <a:gd name="connsiteY101" fmla="*/ 8417 h 10000"/>
              <a:gd name="connsiteX102" fmla="*/ 6642 w 10000"/>
              <a:gd name="connsiteY102" fmla="*/ 8295 h 10000"/>
              <a:gd name="connsiteX103" fmla="*/ 6780 w 10000"/>
              <a:gd name="connsiteY103" fmla="*/ 8169 h 10000"/>
              <a:gd name="connsiteX104" fmla="*/ 6913 w 10000"/>
              <a:gd name="connsiteY104" fmla="*/ 8040 h 10000"/>
              <a:gd name="connsiteX105" fmla="*/ 7045 w 10000"/>
              <a:gd name="connsiteY105" fmla="*/ 7904 h 10000"/>
              <a:gd name="connsiteX106" fmla="*/ 7175 w 10000"/>
              <a:gd name="connsiteY106" fmla="*/ 7768 h 10000"/>
              <a:gd name="connsiteX107" fmla="*/ 7304 w 10000"/>
              <a:gd name="connsiteY107" fmla="*/ 7624 h 10000"/>
              <a:gd name="connsiteX108" fmla="*/ 7429 w 10000"/>
              <a:gd name="connsiteY108" fmla="*/ 7480 h 10000"/>
              <a:gd name="connsiteX109" fmla="*/ 7552 w 10000"/>
              <a:gd name="connsiteY109" fmla="*/ 7329 h 10000"/>
              <a:gd name="connsiteX110" fmla="*/ 7673 w 10000"/>
              <a:gd name="connsiteY110" fmla="*/ 7178 h 10000"/>
              <a:gd name="connsiteX111" fmla="*/ 7792 w 10000"/>
              <a:gd name="connsiteY111" fmla="*/ 7024 h 10000"/>
              <a:gd name="connsiteX112" fmla="*/ 7907 w 10000"/>
              <a:gd name="connsiteY112" fmla="*/ 6861 h 10000"/>
              <a:gd name="connsiteX113" fmla="*/ 8022 w 10000"/>
              <a:gd name="connsiteY113" fmla="*/ 6697 h 10000"/>
              <a:gd name="connsiteX114" fmla="*/ 8133 w 10000"/>
              <a:gd name="connsiteY114" fmla="*/ 6534 h 10000"/>
              <a:gd name="connsiteX115" fmla="*/ 8240 w 10000"/>
              <a:gd name="connsiteY115" fmla="*/ 6365 h 10000"/>
              <a:gd name="connsiteX116" fmla="*/ 8347 w 10000"/>
              <a:gd name="connsiteY116" fmla="*/ 6189 h 10000"/>
              <a:gd name="connsiteX117" fmla="*/ 8450 w 10000"/>
              <a:gd name="connsiteY117" fmla="*/ 6016 h 10000"/>
              <a:gd name="connsiteX118" fmla="*/ 8552 w 10000"/>
              <a:gd name="connsiteY118" fmla="*/ 5835 h 10000"/>
              <a:gd name="connsiteX119" fmla="*/ 8650 w 10000"/>
              <a:gd name="connsiteY119" fmla="*/ 5652 h 10000"/>
              <a:gd name="connsiteX120" fmla="*/ 8745 w 10000"/>
              <a:gd name="connsiteY120" fmla="*/ 5468 h 10000"/>
              <a:gd name="connsiteX121" fmla="*/ 8837 w 10000"/>
              <a:gd name="connsiteY121" fmla="*/ 5278 h 10000"/>
              <a:gd name="connsiteX122" fmla="*/ 8927 w 10000"/>
              <a:gd name="connsiteY122" fmla="*/ 5089 h 10000"/>
              <a:gd name="connsiteX123" fmla="*/ 9014 w 10000"/>
              <a:gd name="connsiteY123" fmla="*/ 4893 h 10000"/>
              <a:gd name="connsiteX124" fmla="*/ 9098 w 10000"/>
              <a:gd name="connsiteY124" fmla="*/ 4698 h 10000"/>
              <a:gd name="connsiteX125" fmla="*/ 9178 w 10000"/>
              <a:gd name="connsiteY125" fmla="*/ 4500 h 10000"/>
              <a:gd name="connsiteX126" fmla="*/ 9256 w 10000"/>
              <a:gd name="connsiteY126" fmla="*/ 4294 h 10000"/>
              <a:gd name="connsiteX127" fmla="*/ 9330 w 10000"/>
              <a:gd name="connsiteY127" fmla="*/ 4091 h 10000"/>
              <a:gd name="connsiteX128" fmla="*/ 9401 w 10000"/>
              <a:gd name="connsiteY128" fmla="*/ 3885 h 10000"/>
              <a:gd name="connsiteX129" fmla="*/ 9470 w 10000"/>
              <a:gd name="connsiteY129" fmla="*/ 3674 h 10000"/>
              <a:gd name="connsiteX130" fmla="*/ 9535 w 10000"/>
              <a:gd name="connsiteY130" fmla="*/ 3464 h 10000"/>
              <a:gd name="connsiteX131" fmla="*/ 9599 w 10000"/>
              <a:gd name="connsiteY131" fmla="*/ 3248 h 10000"/>
              <a:gd name="connsiteX132" fmla="*/ 9656 w 10000"/>
              <a:gd name="connsiteY132" fmla="*/ 3030 h 10000"/>
              <a:gd name="connsiteX133" fmla="*/ 9711 w 10000"/>
              <a:gd name="connsiteY133" fmla="*/ 2815 h 10000"/>
              <a:gd name="connsiteX134" fmla="*/ 9763 w 10000"/>
              <a:gd name="connsiteY134" fmla="*/ 2592 h 10000"/>
              <a:gd name="connsiteX135" fmla="*/ 9813 w 10000"/>
              <a:gd name="connsiteY135" fmla="*/ 2369 h 10000"/>
              <a:gd name="connsiteX136" fmla="*/ 9856 w 10000"/>
              <a:gd name="connsiteY136" fmla="*/ 2143 h 10000"/>
              <a:gd name="connsiteX137" fmla="*/ 9898 w 10000"/>
              <a:gd name="connsiteY137" fmla="*/ 1918 h 10000"/>
              <a:gd name="connsiteX138" fmla="*/ 9936 w 10000"/>
              <a:gd name="connsiteY138" fmla="*/ 1690 h 10000"/>
              <a:gd name="connsiteX139" fmla="*/ 9970 w 10000"/>
              <a:gd name="connsiteY139" fmla="*/ 1457 h 10000"/>
              <a:gd name="connsiteX140" fmla="*/ 10000 w 10000"/>
              <a:gd name="connsiteY140" fmla="*/ 1222 h 10000"/>
              <a:gd name="connsiteX141" fmla="*/ 7611 w 10000"/>
              <a:gd name="connsiteY141" fmla="*/ 1876 h 10000"/>
              <a:gd name="connsiteX142" fmla="*/ 5615 w 10000"/>
              <a:gd name="connsiteY142"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0 w 10000"/>
              <a:gd name="connsiteY58" fmla="*/ 6085 h 10000"/>
              <a:gd name="connsiteX59" fmla="*/ 209 w 10000"/>
              <a:gd name="connsiteY59" fmla="*/ 9512 h 10000"/>
              <a:gd name="connsiteX60" fmla="*/ 344 w 10000"/>
              <a:gd name="connsiteY60" fmla="*/ 9569 h 10000"/>
              <a:gd name="connsiteX61" fmla="*/ 481 w 10000"/>
              <a:gd name="connsiteY61" fmla="*/ 9623 h 10000"/>
              <a:gd name="connsiteX62" fmla="*/ 621 w 10000"/>
              <a:gd name="connsiteY62" fmla="*/ 9673 h 10000"/>
              <a:gd name="connsiteX63" fmla="*/ 758 w 10000"/>
              <a:gd name="connsiteY63" fmla="*/ 9720 h 10000"/>
              <a:gd name="connsiteX64" fmla="*/ 899 w 10000"/>
              <a:gd name="connsiteY64" fmla="*/ 9765 h 10000"/>
              <a:gd name="connsiteX65" fmla="*/ 1040 w 10000"/>
              <a:gd name="connsiteY65" fmla="*/ 9804 h 10000"/>
              <a:gd name="connsiteX66" fmla="*/ 1182 w 10000"/>
              <a:gd name="connsiteY66" fmla="*/ 9839 h 10000"/>
              <a:gd name="connsiteX67" fmla="*/ 1325 w 10000"/>
              <a:gd name="connsiteY67" fmla="*/ 9874 h 10000"/>
              <a:gd name="connsiteX68" fmla="*/ 1471 w 10000"/>
              <a:gd name="connsiteY68" fmla="*/ 9903 h 10000"/>
              <a:gd name="connsiteX69" fmla="*/ 1614 w 10000"/>
              <a:gd name="connsiteY69" fmla="*/ 9926 h 10000"/>
              <a:gd name="connsiteX70" fmla="*/ 1760 w 10000"/>
              <a:gd name="connsiteY70" fmla="*/ 9948 h 10000"/>
              <a:gd name="connsiteX71" fmla="*/ 1906 w 10000"/>
              <a:gd name="connsiteY71" fmla="*/ 9965 h 10000"/>
              <a:gd name="connsiteX72" fmla="*/ 2052 w 10000"/>
              <a:gd name="connsiteY72" fmla="*/ 9980 h 10000"/>
              <a:gd name="connsiteX73" fmla="*/ 2202 w 10000"/>
              <a:gd name="connsiteY73" fmla="*/ 9990 h 10000"/>
              <a:gd name="connsiteX74" fmla="*/ 2350 w 10000"/>
              <a:gd name="connsiteY74" fmla="*/ 9995 h 10000"/>
              <a:gd name="connsiteX75" fmla="*/ 2498 w 10000"/>
              <a:gd name="connsiteY75" fmla="*/ 10000 h 10000"/>
              <a:gd name="connsiteX76" fmla="*/ 2677 w 10000"/>
              <a:gd name="connsiteY76" fmla="*/ 9995 h 10000"/>
              <a:gd name="connsiteX77" fmla="*/ 2850 w 10000"/>
              <a:gd name="connsiteY77" fmla="*/ 9988 h 10000"/>
              <a:gd name="connsiteX78" fmla="*/ 3024 w 10000"/>
              <a:gd name="connsiteY78" fmla="*/ 9975 h 10000"/>
              <a:gd name="connsiteX79" fmla="*/ 3195 w 10000"/>
              <a:gd name="connsiteY79" fmla="*/ 9953 h 10000"/>
              <a:gd name="connsiteX80" fmla="*/ 3368 w 10000"/>
              <a:gd name="connsiteY80" fmla="*/ 9931 h 10000"/>
              <a:gd name="connsiteX81" fmla="*/ 3538 w 10000"/>
              <a:gd name="connsiteY81" fmla="*/ 9898 h 10000"/>
              <a:gd name="connsiteX82" fmla="*/ 3709 w 10000"/>
              <a:gd name="connsiteY82" fmla="*/ 9866 h 10000"/>
              <a:gd name="connsiteX83" fmla="*/ 3877 w 10000"/>
              <a:gd name="connsiteY83" fmla="*/ 9824 h 10000"/>
              <a:gd name="connsiteX84" fmla="*/ 4042 w 10000"/>
              <a:gd name="connsiteY84" fmla="*/ 9779 h 10000"/>
              <a:gd name="connsiteX85" fmla="*/ 4210 w 10000"/>
              <a:gd name="connsiteY85" fmla="*/ 9730 h 10000"/>
              <a:gd name="connsiteX86" fmla="*/ 4372 w 10000"/>
              <a:gd name="connsiteY86" fmla="*/ 9673 h 10000"/>
              <a:gd name="connsiteX87" fmla="*/ 4536 w 10000"/>
              <a:gd name="connsiteY87" fmla="*/ 9616 h 10000"/>
              <a:gd name="connsiteX88" fmla="*/ 4697 w 10000"/>
              <a:gd name="connsiteY88" fmla="*/ 9552 h 10000"/>
              <a:gd name="connsiteX89" fmla="*/ 4857 w 10000"/>
              <a:gd name="connsiteY89" fmla="*/ 9482 h 10000"/>
              <a:gd name="connsiteX90" fmla="*/ 5014 w 10000"/>
              <a:gd name="connsiteY90" fmla="*/ 9405 h 10000"/>
              <a:gd name="connsiteX91" fmla="*/ 5171 w 10000"/>
              <a:gd name="connsiteY91" fmla="*/ 9329 h 10000"/>
              <a:gd name="connsiteX92" fmla="*/ 5326 w 10000"/>
              <a:gd name="connsiteY92" fmla="*/ 9244 h 10000"/>
              <a:gd name="connsiteX93" fmla="*/ 5480 w 10000"/>
              <a:gd name="connsiteY93" fmla="*/ 9158 h 10000"/>
              <a:gd name="connsiteX94" fmla="*/ 5631 w 10000"/>
              <a:gd name="connsiteY94" fmla="*/ 9063 h 10000"/>
              <a:gd name="connsiteX95" fmla="*/ 5781 w 10000"/>
              <a:gd name="connsiteY95" fmla="*/ 8967 h 10000"/>
              <a:gd name="connsiteX96" fmla="*/ 5931 w 10000"/>
              <a:gd name="connsiteY96" fmla="*/ 8865 h 10000"/>
              <a:gd name="connsiteX97" fmla="*/ 6075 w 10000"/>
              <a:gd name="connsiteY97" fmla="*/ 8759 h 10000"/>
              <a:gd name="connsiteX98" fmla="*/ 6221 w 10000"/>
              <a:gd name="connsiteY98" fmla="*/ 8652 h 10000"/>
              <a:gd name="connsiteX99" fmla="*/ 6364 w 10000"/>
              <a:gd name="connsiteY99" fmla="*/ 8536 h 10000"/>
              <a:gd name="connsiteX100" fmla="*/ 6505 w 10000"/>
              <a:gd name="connsiteY100" fmla="*/ 8417 h 10000"/>
              <a:gd name="connsiteX101" fmla="*/ 6642 w 10000"/>
              <a:gd name="connsiteY101" fmla="*/ 8295 h 10000"/>
              <a:gd name="connsiteX102" fmla="*/ 6780 w 10000"/>
              <a:gd name="connsiteY102" fmla="*/ 8169 h 10000"/>
              <a:gd name="connsiteX103" fmla="*/ 6913 w 10000"/>
              <a:gd name="connsiteY103" fmla="*/ 8040 h 10000"/>
              <a:gd name="connsiteX104" fmla="*/ 7045 w 10000"/>
              <a:gd name="connsiteY104" fmla="*/ 7904 h 10000"/>
              <a:gd name="connsiteX105" fmla="*/ 7175 w 10000"/>
              <a:gd name="connsiteY105" fmla="*/ 7768 h 10000"/>
              <a:gd name="connsiteX106" fmla="*/ 7304 w 10000"/>
              <a:gd name="connsiteY106" fmla="*/ 7624 h 10000"/>
              <a:gd name="connsiteX107" fmla="*/ 7429 w 10000"/>
              <a:gd name="connsiteY107" fmla="*/ 7480 h 10000"/>
              <a:gd name="connsiteX108" fmla="*/ 7552 w 10000"/>
              <a:gd name="connsiteY108" fmla="*/ 7329 h 10000"/>
              <a:gd name="connsiteX109" fmla="*/ 7673 w 10000"/>
              <a:gd name="connsiteY109" fmla="*/ 7178 h 10000"/>
              <a:gd name="connsiteX110" fmla="*/ 7792 w 10000"/>
              <a:gd name="connsiteY110" fmla="*/ 7024 h 10000"/>
              <a:gd name="connsiteX111" fmla="*/ 7907 w 10000"/>
              <a:gd name="connsiteY111" fmla="*/ 6861 h 10000"/>
              <a:gd name="connsiteX112" fmla="*/ 8022 w 10000"/>
              <a:gd name="connsiteY112" fmla="*/ 6697 h 10000"/>
              <a:gd name="connsiteX113" fmla="*/ 8133 w 10000"/>
              <a:gd name="connsiteY113" fmla="*/ 6534 h 10000"/>
              <a:gd name="connsiteX114" fmla="*/ 8240 w 10000"/>
              <a:gd name="connsiteY114" fmla="*/ 6365 h 10000"/>
              <a:gd name="connsiteX115" fmla="*/ 8347 w 10000"/>
              <a:gd name="connsiteY115" fmla="*/ 6189 h 10000"/>
              <a:gd name="connsiteX116" fmla="*/ 8450 w 10000"/>
              <a:gd name="connsiteY116" fmla="*/ 6016 h 10000"/>
              <a:gd name="connsiteX117" fmla="*/ 8552 w 10000"/>
              <a:gd name="connsiteY117" fmla="*/ 5835 h 10000"/>
              <a:gd name="connsiteX118" fmla="*/ 8650 w 10000"/>
              <a:gd name="connsiteY118" fmla="*/ 5652 h 10000"/>
              <a:gd name="connsiteX119" fmla="*/ 8745 w 10000"/>
              <a:gd name="connsiteY119" fmla="*/ 5468 h 10000"/>
              <a:gd name="connsiteX120" fmla="*/ 8837 w 10000"/>
              <a:gd name="connsiteY120" fmla="*/ 5278 h 10000"/>
              <a:gd name="connsiteX121" fmla="*/ 8927 w 10000"/>
              <a:gd name="connsiteY121" fmla="*/ 5089 h 10000"/>
              <a:gd name="connsiteX122" fmla="*/ 9014 w 10000"/>
              <a:gd name="connsiteY122" fmla="*/ 4893 h 10000"/>
              <a:gd name="connsiteX123" fmla="*/ 9098 w 10000"/>
              <a:gd name="connsiteY123" fmla="*/ 4698 h 10000"/>
              <a:gd name="connsiteX124" fmla="*/ 9178 w 10000"/>
              <a:gd name="connsiteY124" fmla="*/ 4500 h 10000"/>
              <a:gd name="connsiteX125" fmla="*/ 9256 w 10000"/>
              <a:gd name="connsiteY125" fmla="*/ 4294 h 10000"/>
              <a:gd name="connsiteX126" fmla="*/ 9330 w 10000"/>
              <a:gd name="connsiteY126" fmla="*/ 4091 h 10000"/>
              <a:gd name="connsiteX127" fmla="*/ 9401 w 10000"/>
              <a:gd name="connsiteY127" fmla="*/ 3885 h 10000"/>
              <a:gd name="connsiteX128" fmla="*/ 9470 w 10000"/>
              <a:gd name="connsiteY128" fmla="*/ 3674 h 10000"/>
              <a:gd name="connsiteX129" fmla="*/ 9535 w 10000"/>
              <a:gd name="connsiteY129" fmla="*/ 3464 h 10000"/>
              <a:gd name="connsiteX130" fmla="*/ 9599 w 10000"/>
              <a:gd name="connsiteY130" fmla="*/ 3248 h 10000"/>
              <a:gd name="connsiteX131" fmla="*/ 9656 w 10000"/>
              <a:gd name="connsiteY131" fmla="*/ 3030 h 10000"/>
              <a:gd name="connsiteX132" fmla="*/ 9711 w 10000"/>
              <a:gd name="connsiteY132" fmla="*/ 2815 h 10000"/>
              <a:gd name="connsiteX133" fmla="*/ 9763 w 10000"/>
              <a:gd name="connsiteY133" fmla="*/ 2592 h 10000"/>
              <a:gd name="connsiteX134" fmla="*/ 9813 w 10000"/>
              <a:gd name="connsiteY134" fmla="*/ 2369 h 10000"/>
              <a:gd name="connsiteX135" fmla="*/ 9856 w 10000"/>
              <a:gd name="connsiteY135" fmla="*/ 2143 h 10000"/>
              <a:gd name="connsiteX136" fmla="*/ 9898 w 10000"/>
              <a:gd name="connsiteY136" fmla="*/ 1918 h 10000"/>
              <a:gd name="connsiteX137" fmla="*/ 9936 w 10000"/>
              <a:gd name="connsiteY137" fmla="*/ 1690 h 10000"/>
              <a:gd name="connsiteX138" fmla="*/ 9970 w 10000"/>
              <a:gd name="connsiteY138" fmla="*/ 1457 h 10000"/>
              <a:gd name="connsiteX139" fmla="*/ 10000 w 10000"/>
              <a:gd name="connsiteY139" fmla="*/ 1222 h 10000"/>
              <a:gd name="connsiteX140" fmla="*/ 7611 w 10000"/>
              <a:gd name="connsiteY140" fmla="*/ 1876 h 10000"/>
              <a:gd name="connsiteX141" fmla="*/ 5615 w 10000"/>
              <a:gd name="connsiteY141"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0 w 10000"/>
              <a:gd name="connsiteY57" fmla="*/ 6085 h 10000"/>
              <a:gd name="connsiteX58" fmla="*/ 209 w 10000"/>
              <a:gd name="connsiteY58" fmla="*/ 9512 h 10000"/>
              <a:gd name="connsiteX59" fmla="*/ 344 w 10000"/>
              <a:gd name="connsiteY59" fmla="*/ 9569 h 10000"/>
              <a:gd name="connsiteX60" fmla="*/ 481 w 10000"/>
              <a:gd name="connsiteY60" fmla="*/ 9623 h 10000"/>
              <a:gd name="connsiteX61" fmla="*/ 621 w 10000"/>
              <a:gd name="connsiteY61" fmla="*/ 9673 h 10000"/>
              <a:gd name="connsiteX62" fmla="*/ 758 w 10000"/>
              <a:gd name="connsiteY62" fmla="*/ 9720 h 10000"/>
              <a:gd name="connsiteX63" fmla="*/ 899 w 10000"/>
              <a:gd name="connsiteY63" fmla="*/ 9765 h 10000"/>
              <a:gd name="connsiteX64" fmla="*/ 1040 w 10000"/>
              <a:gd name="connsiteY64" fmla="*/ 9804 h 10000"/>
              <a:gd name="connsiteX65" fmla="*/ 1182 w 10000"/>
              <a:gd name="connsiteY65" fmla="*/ 9839 h 10000"/>
              <a:gd name="connsiteX66" fmla="*/ 1325 w 10000"/>
              <a:gd name="connsiteY66" fmla="*/ 9874 h 10000"/>
              <a:gd name="connsiteX67" fmla="*/ 1471 w 10000"/>
              <a:gd name="connsiteY67" fmla="*/ 9903 h 10000"/>
              <a:gd name="connsiteX68" fmla="*/ 1614 w 10000"/>
              <a:gd name="connsiteY68" fmla="*/ 9926 h 10000"/>
              <a:gd name="connsiteX69" fmla="*/ 1760 w 10000"/>
              <a:gd name="connsiteY69" fmla="*/ 9948 h 10000"/>
              <a:gd name="connsiteX70" fmla="*/ 1906 w 10000"/>
              <a:gd name="connsiteY70" fmla="*/ 9965 h 10000"/>
              <a:gd name="connsiteX71" fmla="*/ 2052 w 10000"/>
              <a:gd name="connsiteY71" fmla="*/ 9980 h 10000"/>
              <a:gd name="connsiteX72" fmla="*/ 2202 w 10000"/>
              <a:gd name="connsiteY72" fmla="*/ 9990 h 10000"/>
              <a:gd name="connsiteX73" fmla="*/ 2350 w 10000"/>
              <a:gd name="connsiteY73" fmla="*/ 9995 h 10000"/>
              <a:gd name="connsiteX74" fmla="*/ 2498 w 10000"/>
              <a:gd name="connsiteY74" fmla="*/ 10000 h 10000"/>
              <a:gd name="connsiteX75" fmla="*/ 2677 w 10000"/>
              <a:gd name="connsiteY75" fmla="*/ 9995 h 10000"/>
              <a:gd name="connsiteX76" fmla="*/ 2850 w 10000"/>
              <a:gd name="connsiteY76" fmla="*/ 9988 h 10000"/>
              <a:gd name="connsiteX77" fmla="*/ 3024 w 10000"/>
              <a:gd name="connsiteY77" fmla="*/ 9975 h 10000"/>
              <a:gd name="connsiteX78" fmla="*/ 3195 w 10000"/>
              <a:gd name="connsiteY78" fmla="*/ 9953 h 10000"/>
              <a:gd name="connsiteX79" fmla="*/ 3368 w 10000"/>
              <a:gd name="connsiteY79" fmla="*/ 9931 h 10000"/>
              <a:gd name="connsiteX80" fmla="*/ 3538 w 10000"/>
              <a:gd name="connsiteY80" fmla="*/ 9898 h 10000"/>
              <a:gd name="connsiteX81" fmla="*/ 3709 w 10000"/>
              <a:gd name="connsiteY81" fmla="*/ 9866 h 10000"/>
              <a:gd name="connsiteX82" fmla="*/ 3877 w 10000"/>
              <a:gd name="connsiteY82" fmla="*/ 9824 h 10000"/>
              <a:gd name="connsiteX83" fmla="*/ 4042 w 10000"/>
              <a:gd name="connsiteY83" fmla="*/ 9779 h 10000"/>
              <a:gd name="connsiteX84" fmla="*/ 4210 w 10000"/>
              <a:gd name="connsiteY84" fmla="*/ 9730 h 10000"/>
              <a:gd name="connsiteX85" fmla="*/ 4372 w 10000"/>
              <a:gd name="connsiteY85" fmla="*/ 9673 h 10000"/>
              <a:gd name="connsiteX86" fmla="*/ 4536 w 10000"/>
              <a:gd name="connsiteY86" fmla="*/ 9616 h 10000"/>
              <a:gd name="connsiteX87" fmla="*/ 4697 w 10000"/>
              <a:gd name="connsiteY87" fmla="*/ 9552 h 10000"/>
              <a:gd name="connsiteX88" fmla="*/ 4857 w 10000"/>
              <a:gd name="connsiteY88" fmla="*/ 9482 h 10000"/>
              <a:gd name="connsiteX89" fmla="*/ 5014 w 10000"/>
              <a:gd name="connsiteY89" fmla="*/ 9405 h 10000"/>
              <a:gd name="connsiteX90" fmla="*/ 5171 w 10000"/>
              <a:gd name="connsiteY90" fmla="*/ 9329 h 10000"/>
              <a:gd name="connsiteX91" fmla="*/ 5326 w 10000"/>
              <a:gd name="connsiteY91" fmla="*/ 9244 h 10000"/>
              <a:gd name="connsiteX92" fmla="*/ 5480 w 10000"/>
              <a:gd name="connsiteY92" fmla="*/ 9158 h 10000"/>
              <a:gd name="connsiteX93" fmla="*/ 5631 w 10000"/>
              <a:gd name="connsiteY93" fmla="*/ 9063 h 10000"/>
              <a:gd name="connsiteX94" fmla="*/ 5781 w 10000"/>
              <a:gd name="connsiteY94" fmla="*/ 8967 h 10000"/>
              <a:gd name="connsiteX95" fmla="*/ 5931 w 10000"/>
              <a:gd name="connsiteY95" fmla="*/ 8865 h 10000"/>
              <a:gd name="connsiteX96" fmla="*/ 6075 w 10000"/>
              <a:gd name="connsiteY96" fmla="*/ 8759 h 10000"/>
              <a:gd name="connsiteX97" fmla="*/ 6221 w 10000"/>
              <a:gd name="connsiteY97" fmla="*/ 8652 h 10000"/>
              <a:gd name="connsiteX98" fmla="*/ 6364 w 10000"/>
              <a:gd name="connsiteY98" fmla="*/ 8536 h 10000"/>
              <a:gd name="connsiteX99" fmla="*/ 6505 w 10000"/>
              <a:gd name="connsiteY99" fmla="*/ 8417 h 10000"/>
              <a:gd name="connsiteX100" fmla="*/ 6642 w 10000"/>
              <a:gd name="connsiteY100" fmla="*/ 8295 h 10000"/>
              <a:gd name="connsiteX101" fmla="*/ 6780 w 10000"/>
              <a:gd name="connsiteY101" fmla="*/ 8169 h 10000"/>
              <a:gd name="connsiteX102" fmla="*/ 6913 w 10000"/>
              <a:gd name="connsiteY102" fmla="*/ 8040 h 10000"/>
              <a:gd name="connsiteX103" fmla="*/ 7045 w 10000"/>
              <a:gd name="connsiteY103" fmla="*/ 7904 h 10000"/>
              <a:gd name="connsiteX104" fmla="*/ 7175 w 10000"/>
              <a:gd name="connsiteY104" fmla="*/ 7768 h 10000"/>
              <a:gd name="connsiteX105" fmla="*/ 7304 w 10000"/>
              <a:gd name="connsiteY105" fmla="*/ 7624 h 10000"/>
              <a:gd name="connsiteX106" fmla="*/ 7429 w 10000"/>
              <a:gd name="connsiteY106" fmla="*/ 7480 h 10000"/>
              <a:gd name="connsiteX107" fmla="*/ 7552 w 10000"/>
              <a:gd name="connsiteY107" fmla="*/ 7329 h 10000"/>
              <a:gd name="connsiteX108" fmla="*/ 7673 w 10000"/>
              <a:gd name="connsiteY108" fmla="*/ 7178 h 10000"/>
              <a:gd name="connsiteX109" fmla="*/ 7792 w 10000"/>
              <a:gd name="connsiteY109" fmla="*/ 7024 h 10000"/>
              <a:gd name="connsiteX110" fmla="*/ 7907 w 10000"/>
              <a:gd name="connsiteY110" fmla="*/ 6861 h 10000"/>
              <a:gd name="connsiteX111" fmla="*/ 8022 w 10000"/>
              <a:gd name="connsiteY111" fmla="*/ 6697 h 10000"/>
              <a:gd name="connsiteX112" fmla="*/ 8133 w 10000"/>
              <a:gd name="connsiteY112" fmla="*/ 6534 h 10000"/>
              <a:gd name="connsiteX113" fmla="*/ 8240 w 10000"/>
              <a:gd name="connsiteY113" fmla="*/ 6365 h 10000"/>
              <a:gd name="connsiteX114" fmla="*/ 8347 w 10000"/>
              <a:gd name="connsiteY114" fmla="*/ 6189 h 10000"/>
              <a:gd name="connsiteX115" fmla="*/ 8450 w 10000"/>
              <a:gd name="connsiteY115" fmla="*/ 6016 h 10000"/>
              <a:gd name="connsiteX116" fmla="*/ 8552 w 10000"/>
              <a:gd name="connsiteY116" fmla="*/ 5835 h 10000"/>
              <a:gd name="connsiteX117" fmla="*/ 8650 w 10000"/>
              <a:gd name="connsiteY117" fmla="*/ 5652 h 10000"/>
              <a:gd name="connsiteX118" fmla="*/ 8745 w 10000"/>
              <a:gd name="connsiteY118" fmla="*/ 5468 h 10000"/>
              <a:gd name="connsiteX119" fmla="*/ 8837 w 10000"/>
              <a:gd name="connsiteY119" fmla="*/ 5278 h 10000"/>
              <a:gd name="connsiteX120" fmla="*/ 8927 w 10000"/>
              <a:gd name="connsiteY120" fmla="*/ 5089 h 10000"/>
              <a:gd name="connsiteX121" fmla="*/ 9014 w 10000"/>
              <a:gd name="connsiteY121" fmla="*/ 4893 h 10000"/>
              <a:gd name="connsiteX122" fmla="*/ 9098 w 10000"/>
              <a:gd name="connsiteY122" fmla="*/ 4698 h 10000"/>
              <a:gd name="connsiteX123" fmla="*/ 9178 w 10000"/>
              <a:gd name="connsiteY123" fmla="*/ 4500 h 10000"/>
              <a:gd name="connsiteX124" fmla="*/ 9256 w 10000"/>
              <a:gd name="connsiteY124" fmla="*/ 4294 h 10000"/>
              <a:gd name="connsiteX125" fmla="*/ 9330 w 10000"/>
              <a:gd name="connsiteY125" fmla="*/ 4091 h 10000"/>
              <a:gd name="connsiteX126" fmla="*/ 9401 w 10000"/>
              <a:gd name="connsiteY126" fmla="*/ 3885 h 10000"/>
              <a:gd name="connsiteX127" fmla="*/ 9470 w 10000"/>
              <a:gd name="connsiteY127" fmla="*/ 3674 h 10000"/>
              <a:gd name="connsiteX128" fmla="*/ 9535 w 10000"/>
              <a:gd name="connsiteY128" fmla="*/ 3464 h 10000"/>
              <a:gd name="connsiteX129" fmla="*/ 9599 w 10000"/>
              <a:gd name="connsiteY129" fmla="*/ 3248 h 10000"/>
              <a:gd name="connsiteX130" fmla="*/ 9656 w 10000"/>
              <a:gd name="connsiteY130" fmla="*/ 3030 h 10000"/>
              <a:gd name="connsiteX131" fmla="*/ 9711 w 10000"/>
              <a:gd name="connsiteY131" fmla="*/ 2815 h 10000"/>
              <a:gd name="connsiteX132" fmla="*/ 9763 w 10000"/>
              <a:gd name="connsiteY132" fmla="*/ 2592 h 10000"/>
              <a:gd name="connsiteX133" fmla="*/ 9813 w 10000"/>
              <a:gd name="connsiteY133" fmla="*/ 2369 h 10000"/>
              <a:gd name="connsiteX134" fmla="*/ 9856 w 10000"/>
              <a:gd name="connsiteY134" fmla="*/ 2143 h 10000"/>
              <a:gd name="connsiteX135" fmla="*/ 9898 w 10000"/>
              <a:gd name="connsiteY135" fmla="*/ 1918 h 10000"/>
              <a:gd name="connsiteX136" fmla="*/ 9936 w 10000"/>
              <a:gd name="connsiteY136" fmla="*/ 1690 h 10000"/>
              <a:gd name="connsiteX137" fmla="*/ 9970 w 10000"/>
              <a:gd name="connsiteY137" fmla="*/ 1457 h 10000"/>
              <a:gd name="connsiteX138" fmla="*/ 10000 w 10000"/>
              <a:gd name="connsiteY138" fmla="*/ 1222 h 10000"/>
              <a:gd name="connsiteX139" fmla="*/ 7611 w 10000"/>
              <a:gd name="connsiteY139" fmla="*/ 1876 h 10000"/>
              <a:gd name="connsiteX140" fmla="*/ 5615 w 10000"/>
              <a:gd name="connsiteY140"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0 w 10000"/>
              <a:gd name="connsiteY56" fmla="*/ 6085 h 10000"/>
              <a:gd name="connsiteX57" fmla="*/ 209 w 10000"/>
              <a:gd name="connsiteY57" fmla="*/ 9512 h 10000"/>
              <a:gd name="connsiteX58" fmla="*/ 344 w 10000"/>
              <a:gd name="connsiteY58" fmla="*/ 9569 h 10000"/>
              <a:gd name="connsiteX59" fmla="*/ 481 w 10000"/>
              <a:gd name="connsiteY59" fmla="*/ 9623 h 10000"/>
              <a:gd name="connsiteX60" fmla="*/ 621 w 10000"/>
              <a:gd name="connsiteY60" fmla="*/ 9673 h 10000"/>
              <a:gd name="connsiteX61" fmla="*/ 758 w 10000"/>
              <a:gd name="connsiteY61" fmla="*/ 9720 h 10000"/>
              <a:gd name="connsiteX62" fmla="*/ 899 w 10000"/>
              <a:gd name="connsiteY62" fmla="*/ 9765 h 10000"/>
              <a:gd name="connsiteX63" fmla="*/ 1040 w 10000"/>
              <a:gd name="connsiteY63" fmla="*/ 9804 h 10000"/>
              <a:gd name="connsiteX64" fmla="*/ 1182 w 10000"/>
              <a:gd name="connsiteY64" fmla="*/ 9839 h 10000"/>
              <a:gd name="connsiteX65" fmla="*/ 1325 w 10000"/>
              <a:gd name="connsiteY65" fmla="*/ 9874 h 10000"/>
              <a:gd name="connsiteX66" fmla="*/ 1471 w 10000"/>
              <a:gd name="connsiteY66" fmla="*/ 9903 h 10000"/>
              <a:gd name="connsiteX67" fmla="*/ 1614 w 10000"/>
              <a:gd name="connsiteY67" fmla="*/ 9926 h 10000"/>
              <a:gd name="connsiteX68" fmla="*/ 1760 w 10000"/>
              <a:gd name="connsiteY68" fmla="*/ 9948 h 10000"/>
              <a:gd name="connsiteX69" fmla="*/ 1906 w 10000"/>
              <a:gd name="connsiteY69" fmla="*/ 9965 h 10000"/>
              <a:gd name="connsiteX70" fmla="*/ 2052 w 10000"/>
              <a:gd name="connsiteY70" fmla="*/ 9980 h 10000"/>
              <a:gd name="connsiteX71" fmla="*/ 2202 w 10000"/>
              <a:gd name="connsiteY71" fmla="*/ 9990 h 10000"/>
              <a:gd name="connsiteX72" fmla="*/ 2350 w 10000"/>
              <a:gd name="connsiteY72" fmla="*/ 9995 h 10000"/>
              <a:gd name="connsiteX73" fmla="*/ 2498 w 10000"/>
              <a:gd name="connsiteY73" fmla="*/ 10000 h 10000"/>
              <a:gd name="connsiteX74" fmla="*/ 2677 w 10000"/>
              <a:gd name="connsiteY74" fmla="*/ 9995 h 10000"/>
              <a:gd name="connsiteX75" fmla="*/ 2850 w 10000"/>
              <a:gd name="connsiteY75" fmla="*/ 9988 h 10000"/>
              <a:gd name="connsiteX76" fmla="*/ 3024 w 10000"/>
              <a:gd name="connsiteY76" fmla="*/ 9975 h 10000"/>
              <a:gd name="connsiteX77" fmla="*/ 3195 w 10000"/>
              <a:gd name="connsiteY77" fmla="*/ 9953 h 10000"/>
              <a:gd name="connsiteX78" fmla="*/ 3368 w 10000"/>
              <a:gd name="connsiteY78" fmla="*/ 9931 h 10000"/>
              <a:gd name="connsiteX79" fmla="*/ 3538 w 10000"/>
              <a:gd name="connsiteY79" fmla="*/ 9898 h 10000"/>
              <a:gd name="connsiteX80" fmla="*/ 3709 w 10000"/>
              <a:gd name="connsiteY80" fmla="*/ 9866 h 10000"/>
              <a:gd name="connsiteX81" fmla="*/ 3877 w 10000"/>
              <a:gd name="connsiteY81" fmla="*/ 9824 h 10000"/>
              <a:gd name="connsiteX82" fmla="*/ 4042 w 10000"/>
              <a:gd name="connsiteY82" fmla="*/ 9779 h 10000"/>
              <a:gd name="connsiteX83" fmla="*/ 4210 w 10000"/>
              <a:gd name="connsiteY83" fmla="*/ 9730 h 10000"/>
              <a:gd name="connsiteX84" fmla="*/ 4372 w 10000"/>
              <a:gd name="connsiteY84" fmla="*/ 9673 h 10000"/>
              <a:gd name="connsiteX85" fmla="*/ 4536 w 10000"/>
              <a:gd name="connsiteY85" fmla="*/ 9616 h 10000"/>
              <a:gd name="connsiteX86" fmla="*/ 4697 w 10000"/>
              <a:gd name="connsiteY86" fmla="*/ 9552 h 10000"/>
              <a:gd name="connsiteX87" fmla="*/ 4857 w 10000"/>
              <a:gd name="connsiteY87" fmla="*/ 9482 h 10000"/>
              <a:gd name="connsiteX88" fmla="*/ 5014 w 10000"/>
              <a:gd name="connsiteY88" fmla="*/ 9405 h 10000"/>
              <a:gd name="connsiteX89" fmla="*/ 5171 w 10000"/>
              <a:gd name="connsiteY89" fmla="*/ 9329 h 10000"/>
              <a:gd name="connsiteX90" fmla="*/ 5326 w 10000"/>
              <a:gd name="connsiteY90" fmla="*/ 9244 h 10000"/>
              <a:gd name="connsiteX91" fmla="*/ 5480 w 10000"/>
              <a:gd name="connsiteY91" fmla="*/ 9158 h 10000"/>
              <a:gd name="connsiteX92" fmla="*/ 5631 w 10000"/>
              <a:gd name="connsiteY92" fmla="*/ 9063 h 10000"/>
              <a:gd name="connsiteX93" fmla="*/ 5781 w 10000"/>
              <a:gd name="connsiteY93" fmla="*/ 8967 h 10000"/>
              <a:gd name="connsiteX94" fmla="*/ 5931 w 10000"/>
              <a:gd name="connsiteY94" fmla="*/ 8865 h 10000"/>
              <a:gd name="connsiteX95" fmla="*/ 6075 w 10000"/>
              <a:gd name="connsiteY95" fmla="*/ 8759 h 10000"/>
              <a:gd name="connsiteX96" fmla="*/ 6221 w 10000"/>
              <a:gd name="connsiteY96" fmla="*/ 8652 h 10000"/>
              <a:gd name="connsiteX97" fmla="*/ 6364 w 10000"/>
              <a:gd name="connsiteY97" fmla="*/ 8536 h 10000"/>
              <a:gd name="connsiteX98" fmla="*/ 6505 w 10000"/>
              <a:gd name="connsiteY98" fmla="*/ 8417 h 10000"/>
              <a:gd name="connsiteX99" fmla="*/ 6642 w 10000"/>
              <a:gd name="connsiteY99" fmla="*/ 8295 h 10000"/>
              <a:gd name="connsiteX100" fmla="*/ 6780 w 10000"/>
              <a:gd name="connsiteY100" fmla="*/ 8169 h 10000"/>
              <a:gd name="connsiteX101" fmla="*/ 6913 w 10000"/>
              <a:gd name="connsiteY101" fmla="*/ 8040 h 10000"/>
              <a:gd name="connsiteX102" fmla="*/ 7045 w 10000"/>
              <a:gd name="connsiteY102" fmla="*/ 7904 h 10000"/>
              <a:gd name="connsiteX103" fmla="*/ 7175 w 10000"/>
              <a:gd name="connsiteY103" fmla="*/ 7768 h 10000"/>
              <a:gd name="connsiteX104" fmla="*/ 7304 w 10000"/>
              <a:gd name="connsiteY104" fmla="*/ 7624 h 10000"/>
              <a:gd name="connsiteX105" fmla="*/ 7429 w 10000"/>
              <a:gd name="connsiteY105" fmla="*/ 7480 h 10000"/>
              <a:gd name="connsiteX106" fmla="*/ 7552 w 10000"/>
              <a:gd name="connsiteY106" fmla="*/ 7329 h 10000"/>
              <a:gd name="connsiteX107" fmla="*/ 7673 w 10000"/>
              <a:gd name="connsiteY107" fmla="*/ 7178 h 10000"/>
              <a:gd name="connsiteX108" fmla="*/ 7792 w 10000"/>
              <a:gd name="connsiteY108" fmla="*/ 7024 h 10000"/>
              <a:gd name="connsiteX109" fmla="*/ 7907 w 10000"/>
              <a:gd name="connsiteY109" fmla="*/ 6861 h 10000"/>
              <a:gd name="connsiteX110" fmla="*/ 8022 w 10000"/>
              <a:gd name="connsiteY110" fmla="*/ 6697 h 10000"/>
              <a:gd name="connsiteX111" fmla="*/ 8133 w 10000"/>
              <a:gd name="connsiteY111" fmla="*/ 6534 h 10000"/>
              <a:gd name="connsiteX112" fmla="*/ 8240 w 10000"/>
              <a:gd name="connsiteY112" fmla="*/ 6365 h 10000"/>
              <a:gd name="connsiteX113" fmla="*/ 8347 w 10000"/>
              <a:gd name="connsiteY113" fmla="*/ 6189 h 10000"/>
              <a:gd name="connsiteX114" fmla="*/ 8450 w 10000"/>
              <a:gd name="connsiteY114" fmla="*/ 6016 h 10000"/>
              <a:gd name="connsiteX115" fmla="*/ 8552 w 10000"/>
              <a:gd name="connsiteY115" fmla="*/ 5835 h 10000"/>
              <a:gd name="connsiteX116" fmla="*/ 8650 w 10000"/>
              <a:gd name="connsiteY116" fmla="*/ 5652 h 10000"/>
              <a:gd name="connsiteX117" fmla="*/ 8745 w 10000"/>
              <a:gd name="connsiteY117" fmla="*/ 5468 h 10000"/>
              <a:gd name="connsiteX118" fmla="*/ 8837 w 10000"/>
              <a:gd name="connsiteY118" fmla="*/ 5278 h 10000"/>
              <a:gd name="connsiteX119" fmla="*/ 8927 w 10000"/>
              <a:gd name="connsiteY119" fmla="*/ 5089 h 10000"/>
              <a:gd name="connsiteX120" fmla="*/ 9014 w 10000"/>
              <a:gd name="connsiteY120" fmla="*/ 4893 h 10000"/>
              <a:gd name="connsiteX121" fmla="*/ 9098 w 10000"/>
              <a:gd name="connsiteY121" fmla="*/ 4698 h 10000"/>
              <a:gd name="connsiteX122" fmla="*/ 9178 w 10000"/>
              <a:gd name="connsiteY122" fmla="*/ 4500 h 10000"/>
              <a:gd name="connsiteX123" fmla="*/ 9256 w 10000"/>
              <a:gd name="connsiteY123" fmla="*/ 4294 h 10000"/>
              <a:gd name="connsiteX124" fmla="*/ 9330 w 10000"/>
              <a:gd name="connsiteY124" fmla="*/ 4091 h 10000"/>
              <a:gd name="connsiteX125" fmla="*/ 9401 w 10000"/>
              <a:gd name="connsiteY125" fmla="*/ 3885 h 10000"/>
              <a:gd name="connsiteX126" fmla="*/ 9470 w 10000"/>
              <a:gd name="connsiteY126" fmla="*/ 3674 h 10000"/>
              <a:gd name="connsiteX127" fmla="*/ 9535 w 10000"/>
              <a:gd name="connsiteY127" fmla="*/ 3464 h 10000"/>
              <a:gd name="connsiteX128" fmla="*/ 9599 w 10000"/>
              <a:gd name="connsiteY128" fmla="*/ 3248 h 10000"/>
              <a:gd name="connsiteX129" fmla="*/ 9656 w 10000"/>
              <a:gd name="connsiteY129" fmla="*/ 3030 h 10000"/>
              <a:gd name="connsiteX130" fmla="*/ 9711 w 10000"/>
              <a:gd name="connsiteY130" fmla="*/ 2815 h 10000"/>
              <a:gd name="connsiteX131" fmla="*/ 9763 w 10000"/>
              <a:gd name="connsiteY131" fmla="*/ 2592 h 10000"/>
              <a:gd name="connsiteX132" fmla="*/ 9813 w 10000"/>
              <a:gd name="connsiteY132" fmla="*/ 2369 h 10000"/>
              <a:gd name="connsiteX133" fmla="*/ 9856 w 10000"/>
              <a:gd name="connsiteY133" fmla="*/ 2143 h 10000"/>
              <a:gd name="connsiteX134" fmla="*/ 9898 w 10000"/>
              <a:gd name="connsiteY134" fmla="*/ 1918 h 10000"/>
              <a:gd name="connsiteX135" fmla="*/ 9936 w 10000"/>
              <a:gd name="connsiteY135" fmla="*/ 1690 h 10000"/>
              <a:gd name="connsiteX136" fmla="*/ 9970 w 10000"/>
              <a:gd name="connsiteY136" fmla="*/ 1457 h 10000"/>
              <a:gd name="connsiteX137" fmla="*/ 10000 w 10000"/>
              <a:gd name="connsiteY137" fmla="*/ 1222 h 10000"/>
              <a:gd name="connsiteX138" fmla="*/ 7611 w 10000"/>
              <a:gd name="connsiteY138" fmla="*/ 1876 h 10000"/>
              <a:gd name="connsiteX139" fmla="*/ 5615 w 10000"/>
              <a:gd name="connsiteY139"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0 w 10000"/>
              <a:gd name="connsiteY55" fmla="*/ 6085 h 10000"/>
              <a:gd name="connsiteX56" fmla="*/ 209 w 10000"/>
              <a:gd name="connsiteY56" fmla="*/ 9512 h 10000"/>
              <a:gd name="connsiteX57" fmla="*/ 344 w 10000"/>
              <a:gd name="connsiteY57" fmla="*/ 9569 h 10000"/>
              <a:gd name="connsiteX58" fmla="*/ 481 w 10000"/>
              <a:gd name="connsiteY58" fmla="*/ 9623 h 10000"/>
              <a:gd name="connsiteX59" fmla="*/ 621 w 10000"/>
              <a:gd name="connsiteY59" fmla="*/ 9673 h 10000"/>
              <a:gd name="connsiteX60" fmla="*/ 758 w 10000"/>
              <a:gd name="connsiteY60" fmla="*/ 9720 h 10000"/>
              <a:gd name="connsiteX61" fmla="*/ 899 w 10000"/>
              <a:gd name="connsiteY61" fmla="*/ 9765 h 10000"/>
              <a:gd name="connsiteX62" fmla="*/ 1040 w 10000"/>
              <a:gd name="connsiteY62" fmla="*/ 9804 h 10000"/>
              <a:gd name="connsiteX63" fmla="*/ 1182 w 10000"/>
              <a:gd name="connsiteY63" fmla="*/ 9839 h 10000"/>
              <a:gd name="connsiteX64" fmla="*/ 1325 w 10000"/>
              <a:gd name="connsiteY64" fmla="*/ 9874 h 10000"/>
              <a:gd name="connsiteX65" fmla="*/ 1471 w 10000"/>
              <a:gd name="connsiteY65" fmla="*/ 9903 h 10000"/>
              <a:gd name="connsiteX66" fmla="*/ 1614 w 10000"/>
              <a:gd name="connsiteY66" fmla="*/ 9926 h 10000"/>
              <a:gd name="connsiteX67" fmla="*/ 1760 w 10000"/>
              <a:gd name="connsiteY67" fmla="*/ 9948 h 10000"/>
              <a:gd name="connsiteX68" fmla="*/ 1906 w 10000"/>
              <a:gd name="connsiteY68" fmla="*/ 9965 h 10000"/>
              <a:gd name="connsiteX69" fmla="*/ 2052 w 10000"/>
              <a:gd name="connsiteY69" fmla="*/ 9980 h 10000"/>
              <a:gd name="connsiteX70" fmla="*/ 2202 w 10000"/>
              <a:gd name="connsiteY70" fmla="*/ 9990 h 10000"/>
              <a:gd name="connsiteX71" fmla="*/ 2350 w 10000"/>
              <a:gd name="connsiteY71" fmla="*/ 9995 h 10000"/>
              <a:gd name="connsiteX72" fmla="*/ 2498 w 10000"/>
              <a:gd name="connsiteY72" fmla="*/ 10000 h 10000"/>
              <a:gd name="connsiteX73" fmla="*/ 2677 w 10000"/>
              <a:gd name="connsiteY73" fmla="*/ 9995 h 10000"/>
              <a:gd name="connsiteX74" fmla="*/ 2850 w 10000"/>
              <a:gd name="connsiteY74" fmla="*/ 9988 h 10000"/>
              <a:gd name="connsiteX75" fmla="*/ 3024 w 10000"/>
              <a:gd name="connsiteY75" fmla="*/ 9975 h 10000"/>
              <a:gd name="connsiteX76" fmla="*/ 3195 w 10000"/>
              <a:gd name="connsiteY76" fmla="*/ 9953 h 10000"/>
              <a:gd name="connsiteX77" fmla="*/ 3368 w 10000"/>
              <a:gd name="connsiteY77" fmla="*/ 9931 h 10000"/>
              <a:gd name="connsiteX78" fmla="*/ 3538 w 10000"/>
              <a:gd name="connsiteY78" fmla="*/ 9898 h 10000"/>
              <a:gd name="connsiteX79" fmla="*/ 3709 w 10000"/>
              <a:gd name="connsiteY79" fmla="*/ 9866 h 10000"/>
              <a:gd name="connsiteX80" fmla="*/ 3877 w 10000"/>
              <a:gd name="connsiteY80" fmla="*/ 9824 h 10000"/>
              <a:gd name="connsiteX81" fmla="*/ 4042 w 10000"/>
              <a:gd name="connsiteY81" fmla="*/ 9779 h 10000"/>
              <a:gd name="connsiteX82" fmla="*/ 4210 w 10000"/>
              <a:gd name="connsiteY82" fmla="*/ 9730 h 10000"/>
              <a:gd name="connsiteX83" fmla="*/ 4372 w 10000"/>
              <a:gd name="connsiteY83" fmla="*/ 9673 h 10000"/>
              <a:gd name="connsiteX84" fmla="*/ 4536 w 10000"/>
              <a:gd name="connsiteY84" fmla="*/ 9616 h 10000"/>
              <a:gd name="connsiteX85" fmla="*/ 4697 w 10000"/>
              <a:gd name="connsiteY85" fmla="*/ 9552 h 10000"/>
              <a:gd name="connsiteX86" fmla="*/ 4857 w 10000"/>
              <a:gd name="connsiteY86" fmla="*/ 9482 h 10000"/>
              <a:gd name="connsiteX87" fmla="*/ 5014 w 10000"/>
              <a:gd name="connsiteY87" fmla="*/ 9405 h 10000"/>
              <a:gd name="connsiteX88" fmla="*/ 5171 w 10000"/>
              <a:gd name="connsiteY88" fmla="*/ 9329 h 10000"/>
              <a:gd name="connsiteX89" fmla="*/ 5326 w 10000"/>
              <a:gd name="connsiteY89" fmla="*/ 9244 h 10000"/>
              <a:gd name="connsiteX90" fmla="*/ 5480 w 10000"/>
              <a:gd name="connsiteY90" fmla="*/ 9158 h 10000"/>
              <a:gd name="connsiteX91" fmla="*/ 5631 w 10000"/>
              <a:gd name="connsiteY91" fmla="*/ 9063 h 10000"/>
              <a:gd name="connsiteX92" fmla="*/ 5781 w 10000"/>
              <a:gd name="connsiteY92" fmla="*/ 8967 h 10000"/>
              <a:gd name="connsiteX93" fmla="*/ 5931 w 10000"/>
              <a:gd name="connsiteY93" fmla="*/ 8865 h 10000"/>
              <a:gd name="connsiteX94" fmla="*/ 6075 w 10000"/>
              <a:gd name="connsiteY94" fmla="*/ 8759 h 10000"/>
              <a:gd name="connsiteX95" fmla="*/ 6221 w 10000"/>
              <a:gd name="connsiteY95" fmla="*/ 8652 h 10000"/>
              <a:gd name="connsiteX96" fmla="*/ 6364 w 10000"/>
              <a:gd name="connsiteY96" fmla="*/ 8536 h 10000"/>
              <a:gd name="connsiteX97" fmla="*/ 6505 w 10000"/>
              <a:gd name="connsiteY97" fmla="*/ 8417 h 10000"/>
              <a:gd name="connsiteX98" fmla="*/ 6642 w 10000"/>
              <a:gd name="connsiteY98" fmla="*/ 8295 h 10000"/>
              <a:gd name="connsiteX99" fmla="*/ 6780 w 10000"/>
              <a:gd name="connsiteY99" fmla="*/ 8169 h 10000"/>
              <a:gd name="connsiteX100" fmla="*/ 6913 w 10000"/>
              <a:gd name="connsiteY100" fmla="*/ 8040 h 10000"/>
              <a:gd name="connsiteX101" fmla="*/ 7045 w 10000"/>
              <a:gd name="connsiteY101" fmla="*/ 7904 h 10000"/>
              <a:gd name="connsiteX102" fmla="*/ 7175 w 10000"/>
              <a:gd name="connsiteY102" fmla="*/ 7768 h 10000"/>
              <a:gd name="connsiteX103" fmla="*/ 7304 w 10000"/>
              <a:gd name="connsiteY103" fmla="*/ 7624 h 10000"/>
              <a:gd name="connsiteX104" fmla="*/ 7429 w 10000"/>
              <a:gd name="connsiteY104" fmla="*/ 7480 h 10000"/>
              <a:gd name="connsiteX105" fmla="*/ 7552 w 10000"/>
              <a:gd name="connsiteY105" fmla="*/ 7329 h 10000"/>
              <a:gd name="connsiteX106" fmla="*/ 7673 w 10000"/>
              <a:gd name="connsiteY106" fmla="*/ 7178 h 10000"/>
              <a:gd name="connsiteX107" fmla="*/ 7792 w 10000"/>
              <a:gd name="connsiteY107" fmla="*/ 7024 h 10000"/>
              <a:gd name="connsiteX108" fmla="*/ 7907 w 10000"/>
              <a:gd name="connsiteY108" fmla="*/ 6861 h 10000"/>
              <a:gd name="connsiteX109" fmla="*/ 8022 w 10000"/>
              <a:gd name="connsiteY109" fmla="*/ 6697 h 10000"/>
              <a:gd name="connsiteX110" fmla="*/ 8133 w 10000"/>
              <a:gd name="connsiteY110" fmla="*/ 6534 h 10000"/>
              <a:gd name="connsiteX111" fmla="*/ 8240 w 10000"/>
              <a:gd name="connsiteY111" fmla="*/ 6365 h 10000"/>
              <a:gd name="connsiteX112" fmla="*/ 8347 w 10000"/>
              <a:gd name="connsiteY112" fmla="*/ 6189 h 10000"/>
              <a:gd name="connsiteX113" fmla="*/ 8450 w 10000"/>
              <a:gd name="connsiteY113" fmla="*/ 6016 h 10000"/>
              <a:gd name="connsiteX114" fmla="*/ 8552 w 10000"/>
              <a:gd name="connsiteY114" fmla="*/ 5835 h 10000"/>
              <a:gd name="connsiteX115" fmla="*/ 8650 w 10000"/>
              <a:gd name="connsiteY115" fmla="*/ 5652 h 10000"/>
              <a:gd name="connsiteX116" fmla="*/ 8745 w 10000"/>
              <a:gd name="connsiteY116" fmla="*/ 5468 h 10000"/>
              <a:gd name="connsiteX117" fmla="*/ 8837 w 10000"/>
              <a:gd name="connsiteY117" fmla="*/ 5278 h 10000"/>
              <a:gd name="connsiteX118" fmla="*/ 8927 w 10000"/>
              <a:gd name="connsiteY118" fmla="*/ 5089 h 10000"/>
              <a:gd name="connsiteX119" fmla="*/ 9014 w 10000"/>
              <a:gd name="connsiteY119" fmla="*/ 4893 h 10000"/>
              <a:gd name="connsiteX120" fmla="*/ 9098 w 10000"/>
              <a:gd name="connsiteY120" fmla="*/ 4698 h 10000"/>
              <a:gd name="connsiteX121" fmla="*/ 9178 w 10000"/>
              <a:gd name="connsiteY121" fmla="*/ 4500 h 10000"/>
              <a:gd name="connsiteX122" fmla="*/ 9256 w 10000"/>
              <a:gd name="connsiteY122" fmla="*/ 4294 h 10000"/>
              <a:gd name="connsiteX123" fmla="*/ 9330 w 10000"/>
              <a:gd name="connsiteY123" fmla="*/ 4091 h 10000"/>
              <a:gd name="connsiteX124" fmla="*/ 9401 w 10000"/>
              <a:gd name="connsiteY124" fmla="*/ 3885 h 10000"/>
              <a:gd name="connsiteX125" fmla="*/ 9470 w 10000"/>
              <a:gd name="connsiteY125" fmla="*/ 3674 h 10000"/>
              <a:gd name="connsiteX126" fmla="*/ 9535 w 10000"/>
              <a:gd name="connsiteY126" fmla="*/ 3464 h 10000"/>
              <a:gd name="connsiteX127" fmla="*/ 9599 w 10000"/>
              <a:gd name="connsiteY127" fmla="*/ 3248 h 10000"/>
              <a:gd name="connsiteX128" fmla="*/ 9656 w 10000"/>
              <a:gd name="connsiteY128" fmla="*/ 3030 h 10000"/>
              <a:gd name="connsiteX129" fmla="*/ 9711 w 10000"/>
              <a:gd name="connsiteY129" fmla="*/ 2815 h 10000"/>
              <a:gd name="connsiteX130" fmla="*/ 9763 w 10000"/>
              <a:gd name="connsiteY130" fmla="*/ 2592 h 10000"/>
              <a:gd name="connsiteX131" fmla="*/ 9813 w 10000"/>
              <a:gd name="connsiteY131" fmla="*/ 2369 h 10000"/>
              <a:gd name="connsiteX132" fmla="*/ 9856 w 10000"/>
              <a:gd name="connsiteY132" fmla="*/ 2143 h 10000"/>
              <a:gd name="connsiteX133" fmla="*/ 9898 w 10000"/>
              <a:gd name="connsiteY133" fmla="*/ 1918 h 10000"/>
              <a:gd name="connsiteX134" fmla="*/ 9936 w 10000"/>
              <a:gd name="connsiteY134" fmla="*/ 1690 h 10000"/>
              <a:gd name="connsiteX135" fmla="*/ 9970 w 10000"/>
              <a:gd name="connsiteY135" fmla="*/ 1457 h 10000"/>
              <a:gd name="connsiteX136" fmla="*/ 10000 w 10000"/>
              <a:gd name="connsiteY136" fmla="*/ 1222 h 10000"/>
              <a:gd name="connsiteX137" fmla="*/ 7611 w 10000"/>
              <a:gd name="connsiteY137" fmla="*/ 1876 h 10000"/>
              <a:gd name="connsiteX138" fmla="*/ 5615 w 10000"/>
              <a:gd name="connsiteY138"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0 w 10000"/>
              <a:gd name="connsiteY54" fmla="*/ 6085 h 10000"/>
              <a:gd name="connsiteX55" fmla="*/ 209 w 10000"/>
              <a:gd name="connsiteY55" fmla="*/ 9512 h 10000"/>
              <a:gd name="connsiteX56" fmla="*/ 344 w 10000"/>
              <a:gd name="connsiteY56" fmla="*/ 9569 h 10000"/>
              <a:gd name="connsiteX57" fmla="*/ 481 w 10000"/>
              <a:gd name="connsiteY57" fmla="*/ 9623 h 10000"/>
              <a:gd name="connsiteX58" fmla="*/ 621 w 10000"/>
              <a:gd name="connsiteY58" fmla="*/ 9673 h 10000"/>
              <a:gd name="connsiteX59" fmla="*/ 758 w 10000"/>
              <a:gd name="connsiteY59" fmla="*/ 9720 h 10000"/>
              <a:gd name="connsiteX60" fmla="*/ 899 w 10000"/>
              <a:gd name="connsiteY60" fmla="*/ 9765 h 10000"/>
              <a:gd name="connsiteX61" fmla="*/ 1040 w 10000"/>
              <a:gd name="connsiteY61" fmla="*/ 9804 h 10000"/>
              <a:gd name="connsiteX62" fmla="*/ 1182 w 10000"/>
              <a:gd name="connsiteY62" fmla="*/ 9839 h 10000"/>
              <a:gd name="connsiteX63" fmla="*/ 1325 w 10000"/>
              <a:gd name="connsiteY63" fmla="*/ 9874 h 10000"/>
              <a:gd name="connsiteX64" fmla="*/ 1471 w 10000"/>
              <a:gd name="connsiteY64" fmla="*/ 9903 h 10000"/>
              <a:gd name="connsiteX65" fmla="*/ 1614 w 10000"/>
              <a:gd name="connsiteY65" fmla="*/ 9926 h 10000"/>
              <a:gd name="connsiteX66" fmla="*/ 1760 w 10000"/>
              <a:gd name="connsiteY66" fmla="*/ 9948 h 10000"/>
              <a:gd name="connsiteX67" fmla="*/ 1906 w 10000"/>
              <a:gd name="connsiteY67" fmla="*/ 9965 h 10000"/>
              <a:gd name="connsiteX68" fmla="*/ 2052 w 10000"/>
              <a:gd name="connsiteY68" fmla="*/ 9980 h 10000"/>
              <a:gd name="connsiteX69" fmla="*/ 2202 w 10000"/>
              <a:gd name="connsiteY69" fmla="*/ 9990 h 10000"/>
              <a:gd name="connsiteX70" fmla="*/ 2350 w 10000"/>
              <a:gd name="connsiteY70" fmla="*/ 9995 h 10000"/>
              <a:gd name="connsiteX71" fmla="*/ 2498 w 10000"/>
              <a:gd name="connsiteY71" fmla="*/ 10000 h 10000"/>
              <a:gd name="connsiteX72" fmla="*/ 2677 w 10000"/>
              <a:gd name="connsiteY72" fmla="*/ 9995 h 10000"/>
              <a:gd name="connsiteX73" fmla="*/ 2850 w 10000"/>
              <a:gd name="connsiteY73" fmla="*/ 9988 h 10000"/>
              <a:gd name="connsiteX74" fmla="*/ 3024 w 10000"/>
              <a:gd name="connsiteY74" fmla="*/ 9975 h 10000"/>
              <a:gd name="connsiteX75" fmla="*/ 3195 w 10000"/>
              <a:gd name="connsiteY75" fmla="*/ 9953 h 10000"/>
              <a:gd name="connsiteX76" fmla="*/ 3368 w 10000"/>
              <a:gd name="connsiteY76" fmla="*/ 9931 h 10000"/>
              <a:gd name="connsiteX77" fmla="*/ 3538 w 10000"/>
              <a:gd name="connsiteY77" fmla="*/ 9898 h 10000"/>
              <a:gd name="connsiteX78" fmla="*/ 3709 w 10000"/>
              <a:gd name="connsiteY78" fmla="*/ 9866 h 10000"/>
              <a:gd name="connsiteX79" fmla="*/ 3877 w 10000"/>
              <a:gd name="connsiteY79" fmla="*/ 9824 h 10000"/>
              <a:gd name="connsiteX80" fmla="*/ 4042 w 10000"/>
              <a:gd name="connsiteY80" fmla="*/ 9779 h 10000"/>
              <a:gd name="connsiteX81" fmla="*/ 4210 w 10000"/>
              <a:gd name="connsiteY81" fmla="*/ 9730 h 10000"/>
              <a:gd name="connsiteX82" fmla="*/ 4372 w 10000"/>
              <a:gd name="connsiteY82" fmla="*/ 9673 h 10000"/>
              <a:gd name="connsiteX83" fmla="*/ 4536 w 10000"/>
              <a:gd name="connsiteY83" fmla="*/ 9616 h 10000"/>
              <a:gd name="connsiteX84" fmla="*/ 4697 w 10000"/>
              <a:gd name="connsiteY84" fmla="*/ 9552 h 10000"/>
              <a:gd name="connsiteX85" fmla="*/ 4857 w 10000"/>
              <a:gd name="connsiteY85" fmla="*/ 9482 h 10000"/>
              <a:gd name="connsiteX86" fmla="*/ 5014 w 10000"/>
              <a:gd name="connsiteY86" fmla="*/ 9405 h 10000"/>
              <a:gd name="connsiteX87" fmla="*/ 5171 w 10000"/>
              <a:gd name="connsiteY87" fmla="*/ 9329 h 10000"/>
              <a:gd name="connsiteX88" fmla="*/ 5326 w 10000"/>
              <a:gd name="connsiteY88" fmla="*/ 9244 h 10000"/>
              <a:gd name="connsiteX89" fmla="*/ 5480 w 10000"/>
              <a:gd name="connsiteY89" fmla="*/ 9158 h 10000"/>
              <a:gd name="connsiteX90" fmla="*/ 5631 w 10000"/>
              <a:gd name="connsiteY90" fmla="*/ 9063 h 10000"/>
              <a:gd name="connsiteX91" fmla="*/ 5781 w 10000"/>
              <a:gd name="connsiteY91" fmla="*/ 8967 h 10000"/>
              <a:gd name="connsiteX92" fmla="*/ 5931 w 10000"/>
              <a:gd name="connsiteY92" fmla="*/ 8865 h 10000"/>
              <a:gd name="connsiteX93" fmla="*/ 6075 w 10000"/>
              <a:gd name="connsiteY93" fmla="*/ 8759 h 10000"/>
              <a:gd name="connsiteX94" fmla="*/ 6221 w 10000"/>
              <a:gd name="connsiteY94" fmla="*/ 8652 h 10000"/>
              <a:gd name="connsiteX95" fmla="*/ 6364 w 10000"/>
              <a:gd name="connsiteY95" fmla="*/ 8536 h 10000"/>
              <a:gd name="connsiteX96" fmla="*/ 6505 w 10000"/>
              <a:gd name="connsiteY96" fmla="*/ 8417 h 10000"/>
              <a:gd name="connsiteX97" fmla="*/ 6642 w 10000"/>
              <a:gd name="connsiteY97" fmla="*/ 8295 h 10000"/>
              <a:gd name="connsiteX98" fmla="*/ 6780 w 10000"/>
              <a:gd name="connsiteY98" fmla="*/ 8169 h 10000"/>
              <a:gd name="connsiteX99" fmla="*/ 6913 w 10000"/>
              <a:gd name="connsiteY99" fmla="*/ 8040 h 10000"/>
              <a:gd name="connsiteX100" fmla="*/ 7045 w 10000"/>
              <a:gd name="connsiteY100" fmla="*/ 7904 h 10000"/>
              <a:gd name="connsiteX101" fmla="*/ 7175 w 10000"/>
              <a:gd name="connsiteY101" fmla="*/ 7768 h 10000"/>
              <a:gd name="connsiteX102" fmla="*/ 7304 w 10000"/>
              <a:gd name="connsiteY102" fmla="*/ 7624 h 10000"/>
              <a:gd name="connsiteX103" fmla="*/ 7429 w 10000"/>
              <a:gd name="connsiteY103" fmla="*/ 7480 h 10000"/>
              <a:gd name="connsiteX104" fmla="*/ 7552 w 10000"/>
              <a:gd name="connsiteY104" fmla="*/ 7329 h 10000"/>
              <a:gd name="connsiteX105" fmla="*/ 7673 w 10000"/>
              <a:gd name="connsiteY105" fmla="*/ 7178 h 10000"/>
              <a:gd name="connsiteX106" fmla="*/ 7792 w 10000"/>
              <a:gd name="connsiteY106" fmla="*/ 7024 h 10000"/>
              <a:gd name="connsiteX107" fmla="*/ 7907 w 10000"/>
              <a:gd name="connsiteY107" fmla="*/ 6861 h 10000"/>
              <a:gd name="connsiteX108" fmla="*/ 8022 w 10000"/>
              <a:gd name="connsiteY108" fmla="*/ 6697 h 10000"/>
              <a:gd name="connsiteX109" fmla="*/ 8133 w 10000"/>
              <a:gd name="connsiteY109" fmla="*/ 6534 h 10000"/>
              <a:gd name="connsiteX110" fmla="*/ 8240 w 10000"/>
              <a:gd name="connsiteY110" fmla="*/ 6365 h 10000"/>
              <a:gd name="connsiteX111" fmla="*/ 8347 w 10000"/>
              <a:gd name="connsiteY111" fmla="*/ 6189 h 10000"/>
              <a:gd name="connsiteX112" fmla="*/ 8450 w 10000"/>
              <a:gd name="connsiteY112" fmla="*/ 6016 h 10000"/>
              <a:gd name="connsiteX113" fmla="*/ 8552 w 10000"/>
              <a:gd name="connsiteY113" fmla="*/ 5835 h 10000"/>
              <a:gd name="connsiteX114" fmla="*/ 8650 w 10000"/>
              <a:gd name="connsiteY114" fmla="*/ 5652 h 10000"/>
              <a:gd name="connsiteX115" fmla="*/ 8745 w 10000"/>
              <a:gd name="connsiteY115" fmla="*/ 5468 h 10000"/>
              <a:gd name="connsiteX116" fmla="*/ 8837 w 10000"/>
              <a:gd name="connsiteY116" fmla="*/ 5278 h 10000"/>
              <a:gd name="connsiteX117" fmla="*/ 8927 w 10000"/>
              <a:gd name="connsiteY117" fmla="*/ 5089 h 10000"/>
              <a:gd name="connsiteX118" fmla="*/ 9014 w 10000"/>
              <a:gd name="connsiteY118" fmla="*/ 4893 h 10000"/>
              <a:gd name="connsiteX119" fmla="*/ 9098 w 10000"/>
              <a:gd name="connsiteY119" fmla="*/ 4698 h 10000"/>
              <a:gd name="connsiteX120" fmla="*/ 9178 w 10000"/>
              <a:gd name="connsiteY120" fmla="*/ 4500 h 10000"/>
              <a:gd name="connsiteX121" fmla="*/ 9256 w 10000"/>
              <a:gd name="connsiteY121" fmla="*/ 4294 h 10000"/>
              <a:gd name="connsiteX122" fmla="*/ 9330 w 10000"/>
              <a:gd name="connsiteY122" fmla="*/ 4091 h 10000"/>
              <a:gd name="connsiteX123" fmla="*/ 9401 w 10000"/>
              <a:gd name="connsiteY123" fmla="*/ 3885 h 10000"/>
              <a:gd name="connsiteX124" fmla="*/ 9470 w 10000"/>
              <a:gd name="connsiteY124" fmla="*/ 3674 h 10000"/>
              <a:gd name="connsiteX125" fmla="*/ 9535 w 10000"/>
              <a:gd name="connsiteY125" fmla="*/ 3464 h 10000"/>
              <a:gd name="connsiteX126" fmla="*/ 9599 w 10000"/>
              <a:gd name="connsiteY126" fmla="*/ 3248 h 10000"/>
              <a:gd name="connsiteX127" fmla="*/ 9656 w 10000"/>
              <a:gd name="connsiteY127" fmla="*/ 3030 h 10000"/>
              <a:gd name="connsiteX128" fmla="*/ 9711 w 10000"/>
              <a:gd name="connsiteY128" fmla="*/ 2815 h 10000"/>
              <a:gd name="connsiteX129" fmla="*/ 9763 w 10000"/>
              <a:gd name="connsiteY129" fmla="*/ 2592 h 10000"/>
              <a:gd name="connsiteX130" fmla="*/ 9813 w 10000"/>
              <a:gd name="connsiteY130" fmla="*/ 2369 h 10000"/>
              <a:gd name="connsiteX131" fmla="*/ 9856 w 10000"/>
              <a:gd name="connsiteY131" fmla="*/ 2143 h 10000"/>
              <a:gd name="connsiteX132" fmla="*/ 9898 w 10000"/>
              <a:gd name="connsiteY132" fmla="*/ 1918 h 10000"/>
              <a:gd name="connsiteX133" fmla="*/ 9936 w 10000"/>
              <a:gd name="connsiteY133" fmla="*/ 1690 h 10000"/>
              <a:gd name="connsiteX134" fmla="*/ 9970 w 10000"/>
              <a:gd name="connsiteY134" fmla="*/ 1457 h 10000"/>
              <a:gd name="connsiteX135" fmla="*/ 10000 w 10000"/>
              <a:gd name="connsiteY135" fmla="*/ 1222 h 10000"/>
              <a:gd name="connsiteX136" fmla="*/ 7611 w 10000"/>
              <a:gd name="connsiteY136" fmla="*/ 1876 h 10000"/>
              <a:gd name="connsiteX137" fmla="*/ 5615 w 10000"/>
              <a:gd name="connsiteY137"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0 w 10000"/>
              <a:gd name="connsiteY53" fmla="*/ 6085 h 10000"/>
              <a:gd name="connsiteX54" fmla="*/ 209 w 10000"/>
              <a:gd name="connsiteY54" fmla="*/ 9512 h 10000"/>
              <a:gd name="connsiteX55" fmla="*/ 344 w 10000"/>
              <a:gd name="connsiteY55" fmla="*/ 9569 h 10000"/>
              <a:gd name="connsiteX56" fmla="*/ 481 w 10000"/>
              <a:gd name="connsiteY56" fmla="*/ 9623 h 10000"/>
              <a:gd name="connsiteX57" fmla="*/ 621 w 10000"/>
              <a:gd name="connsiteY57" fmla="*/ 9673 h 10000"/>
              <a:gd name="connsiteX58" fmla="*/ 758 w 10000"/>
              <a:gd name="connsiteY58" fmla="*/ 9720 h 10000"/>
              <a:gd name="connsiteX59" fmla="*/ 899 w 10000"/>
              <a:gd name="connsiteY59" fmla="*/ 9765 h 10000"/>
              <a:gd name="connsiteX60" fmla="*/ 1040 w 10000"/>
              <a:gd name="connsiteY60" fmla="*/ 9804 h 10000"/>
              <a:gd name="connsiteX61" fmla="*/ 1182 w 10000"/>
              <a:gd name="connsiteY61" fmla="*/ 9839 h 10000"/>
              <a:gd name="connsiteX62" fmla="*/ 1325 w 10000"/>
              <a:gd name="connsiteY62" fmla="*/ 9874 h 10000"/>
              <a:gd name="connsiteX63" fmla="*/ 1471 w 10000"/>
              <a:gd name="connsiteY63" fmla="*/ 9903 h 10000"/>
              <a:gd name="connsiteX64" fmla="*/ 1614 w 10000"/>
              <a:gd name="connsiteY64" fmla="*/ 9926 h 10000"/>
              <a:gd name="connsiteX65" fmla="*/ 1760 w 10000"/>
              <a:gd name="connsiteY65" fmla="*/ 9948 h 10000"/>
              <a:gd name="connsiteX66" fmla="*/ 1906 w 10000"/>
              <a:gd name="connsiteY66" fmla="*/ 9965 h 10000"/>
              <a:gd name="connsiteX67" fmla="*/ 2052 w 10000"/>
              <a:gd name="connsiteY67" fmla="*/ 9980 h 10000"/>
              <a:gd name="connsiteX68" fmla="*/ 2202 w 10000"/>
              <a:gd name="connsiteY68" fmla="*/ 9990 h 10000"/>
              <a:gd name="connsiteX69" fmla="*/ 2350 w 10000"/>
              <a:gd name="connsiteY69" fmla="*/ 9995 h 10000"/>
              <a:gd name="connsiteX70" fmla="*/ 2498 w 10000"/>
              <a:gd name="connsiteY70" fmla="*/ 10000 h 10000"/>
              <a:gd name="connsiteX71" fmla="*/ 2677 w 10000"/>
              <a:gd name="connsiteY71" fmla="*/ 9995 h 10000"/>
              <a:gd name="connsiteX72" fmla="*/ 2850 w 10000"/>
              <a:gd name="connsiteY72" fmla="*/ 9988 h 10000"/>
              <a:gd name="connsiteX73" fmla="*/ 3024 w 10000"/>
              <a:gd name="connsiteY73" fmla="*/ 9975 h 10000"/>
              <a:gd name="connsiteX74" fmla="*/ 3195 w 10000"/>
              <a:gd name="connsiteY74" fmla="*/ 9953 h 10000"/>
              <a:gd name="connsiteX75" fmla="*/ 3368 w 10000"/>
              <a:gd name="connsiteY75" fmla="*/ 9931 h 10000"/>
              <a:gd name="connsiteX76" fmla="*/ 3538 w 10000"/>
              <a:gd name="connsiteY76" fmla="*/ 9898 h 10000"/>
              <a:gd name="connsiteX77" fmla="*/ 3709 w 10000"/>
              <a:gd name="connsiteY77" fmla="*/ 9866 h 10000"/>
              <a:gd name="connsiteX78" fmla="*/ 3877 w 10000"/>
              <a:gd name="connsiteY78" fmla="*/ 9824 h 10000"/>
              <a:gd name="connsiteX79" fmla="*/ 4042 w 10000"/>
              <a:gd name="connsiteY79" fmla="*/ 9779 h 10000"/>
              <a:gd name="connsiteX80" fmla="*/ 4210 w 10000"/>
              <a:gd name="connsiteY80" fmla="*/ 9730 h 10000"/>
              <a:gd name="connsiteX81" fmla="*/ 4372 w 10000"/>
              <a:gd name="connsiteY81" fmla="*/ 9673 h 10000"/>
              <a:gd name="connsiteX82" fmla="*/ 4536 w 10000"/>
              <a:gd name="connsiteY82" fmla="*/ 9616 h 10000"/>
              <a:gd name="connsiteX83" fmla="*/ 4697 w 10000"/>
              <a:gd name="connsiteY83" fmla="*/ 9552 h 10000"/>
              <a:gd name="connsiteX84" fmla="*/ 4857 w 10000"/>
              <a:gd name="connsiteY84" fmla="*/ 9482 h 10000"/>
              <a:gd name="connsiteX85" fmla="*/ 5014 w 10000"/>
              <a:gd name="connsiteY85" fmla="*/ 9405 h 10000"/>
              <a:gd name="connsiteX86" fmla="*/ 5171 w 10000"/>
              <a:gd name="connsiteY86" fmla="*/ 9329 h 10000"/>
              <a:gd name="connsiteX87" fmla="*/ 5326 w 10000"/>
              <a:gd name="connsiteY87" fmla="*/ 9244 h 10000"/>
              <a:gd name="connsiteX88" fmla="*/ 5480 w 10000"/>
              <a:gd name="connsiteY88" fmla="*/ 9158 h 10000"/>
              <a:gd name="connsiteX89" fmla="*/ 5631 w 10000"/>
              <a:gd name="connsiteY89" fmla="*/ 9063 h 10000"/>
              <a:gd name="connsiteX90" fmla="*/ 5781 w 10000"/>
              <a:gd name="connsiteY90" fmla="*/ 8967 h 10000"/>
              <a:gd name="connsiteX91" fmla="*/ 5931 w 10000"/>
              <a:gd name="connsiteY91" fmla="*/ 8865 h 10000"/>
              <a:gd name="connsiteX92" fmla="*/ 6075 w 10000"/>
              <a:gd name="connsiteY92" fmla="*/ 8759 h 10000"/>
              <a:gd name="connsiteX93" fmla="*/ 6221 w 10000"/>
              <a:gd name="connsiteY93" fmla="*/ 8652 h 10000"/>
              <a:gd name="connsiteX94" fmla="*/ 6364 w 10000"/>
              <a:gd name="connsiteY94" fmla="*/ 8536 h 10000"/>
              <a:gd name="connsiteX95" fmla="*/ 6505 w 10000"/>
              <a:gd name="connsiteY95" fmla="*/ 8417 h 10000"/>
              <a:gd name="connsiteX96" fmla="*/ 6642 w 10000"/>
              <a:gd name="connsiteY96" fmla="*/ 8295 h 10000"/>
              <a:gd name="connsiteX97" fmla="*/ 6780 w 10000"/>
              <a:gd name="connsiteY97" fmla="*/ 8169 h 10000"/>
              <a:gd name="connsiteX98" fmla="*/ 6913 w 10000"/>
              <a:gd name="connsiteY98" fmla="*/ 8040 h 10000"/>
              <a:gd name="connsiteX99" fmla="*/ 7045 w 10000"/>
              <a:gd name="connsiteY99" fmla="*/ 7904 h 10000"/>
              <a:gd name="connsiteX100" fmla="*/ 7175 w 10000"/>
              <a:gd name="connsiteY100" fmla="*/ 7768 h 10000"/>
              <a:gd name="connsiteX101" fmla="*/ 7304 w 10000"/>
              <a:gd name="connsiteY101" fmla="*/ 7624 h 10000"/>
              <a:gd name="connsiteX102" fmla="*/ 7429 w 10000"/>
              <a:gd name="connsiteY102" fmla="*/ 7480 h 10000"/>
              <a:gd name="connsiteX103" fmla="*/ 7552 w 10000"/>
              <a:gd name="connsiteY103" fmla="*/ 7329 h 10000"/>
              <a:gd name="connsiteX104" fmla="*/ 7673 w 10000"/>
              <a:gd name="connsiteY104" fmla="*/ 7178 h 10000"/>
              <a:gd name="connsiteX105" fmla="*/ 7792 w 10000"/>
              <a:gd name="connsiteY105" fmla="*/ 7024 h 10000"/>
              <a:gd name="connsiteX106" fmla="*/ 7907 w 10000"/>
              <a:gd name="connsiteY106" fmla="*/ 6861 h 10000"/>
              <a:gd name="connsiteX107" fmla="*/ 8022 w 10000"/>
              <a:gd name="connsiteY107" fmla="*/ 6697 h 10000"/>
              <a:gd name="connsiteX108" fmla="*/ 8133 w 10000"/>
              <a:gd name="connsiteY108" fmla="*/ 6534 h 10000"/>
              <a:gd name="connsiteX109" fmla="*/ 8240 w 10000"/>
              <a:gd name="connsiteY109" fmla="*/ 6365 h 10000"/>
              <a:gd name="connsiteX110" fmla="*/ 8347 w 10000"/>
              <a:gd name="connsiteY110" fmla="*/ 6189 h 10000"/>
              <a:gd name="connsiteX111" fmla="*/ 8450 w 10000"/>
              <a:gd name="connsiteY111" fmla="*/ 6016 h 10000"/>
              <a:gd name="connsiteX112" fmla="*/ 8552 w 10000"/>
              <a:gd name="connsiteY112" fmla="*/ 5835 h 10000"/>
              <a:gd name="connsiteX113" fmla="*/ 8650 w 10000"/>
              <a:gd name="connsiteY113" fmla="*/ 5652 h 10000"/>
              <a:gd name="connsiteX114" fmla="*/ 8745 w 10000"/>
              <a:gd name="connsiteY114" fmla="*/ 5468 h 10000"/>
              <a:gd name="connsiteX115" fmla="*/ 8837 w 10000"/>
              <a:gd name="connsiteY115" fmla="*/ 5278 h 10000"/>
              <a:gd name="connsiteX116" fmla="*/ 8927 w 10000"/>
              <a:gd name="connsiteY116" fmla="*/ 5089 h 10000"/>
              <a:gd name="connsiteX117" fmla="*/ 9014 w 10000"/>
              <a:gd name="connsiteY117" fmla="*/ 4893 h 10000"/>
              <a:gd name="connsiteX118" fmla="*/ 9098 w 10000"/>
              <a:gd name="connsiteY118" fmla="*/ 4698 h 10000"/>
              <a:gd name="connsiteX119" fmla="*/ 9178 w 10000"/>
              <a:gd name="connsiteY119" fmla="*/ 4500 h 10000"/>
              <a:gd name="connsiteX120" fmla="*/ 9256 w 10000"/>
              <a:gd name="connsiteY120" fmla="*/ 4294 h 10000"/>
              <a:gd name="connsiteX121" fmla="*/ 9330 w 10000"/>
              <a:gd name="connsiteY121" fmla="*/ 4091 h 10000"/>
              <a:gd name="connsiteX122" fmla="*/ 9401 w 10000"/>
              <a:gd name="connsiteY122" fmla="*/ 3885 h 10000"/>
              <a:gd name="connsiteX123" fmla="*/ 9470 w 10000"/>
              <a:gd name="connsiteY123" fmla="*/ 3674 h 10000"/>
              <a:gd name="connsiteX124" fmla="*/ 9535 w 10000"/>
              <a:gd name="connsiteY124" fmla="*/ 3464 h 10000"/>
              <a:gd name="connsiteX125" fmla="*/ 9599 w 10000"/>
              <a:gd name="connsiteY125" fmla="*/ 3248 h 10000"/>
              <a:gd name="connsiteX126" fmla="*/ 9656 w 10000"/>
              <a:gd name="connsiteY126" fmla="*/ 3030 h 10000"/>
              <a:gd name="connsiteX127" fmla="*/ 9711 w 10000"/>
              <a:gd name="connsiteY127" fmla="*/ 2815 h 10000"/>
              <a:gd name="connsiteX128" fmla="*/ 9763 w 10000"/>
              <a:gd name="connsiteY128" fmla="*/ 2592 h 10000"/>
              <a:gd name="connsiteX129" fmla="*/ 9813 w 10000"/>
              <a:gd name="connsiteY129" fmla="*/ 2369 h 10000"/>
              <a:gd name="connsiteX130" fmla="*/ 9856 w 10000"/>
              <a:gd name="connsiteY130" fmla="*/ 2143 h 10000"/>
              <a:gd name="connsiteX131" fmla="*/ 9898 w 10000"/>
              <a:gd name="connsiteY131" fmla="*/ 1918 h 10000"/>
              <a:gd name="connsiteX132" fmla="*/ 9936 w 10000"/>
              <a:gd name="connsiteY132" fmla="*/ 1690 h 10000"/>
              <a:gd name="connsiteX133" fmla="*/ 9970 w 10000"/>
              <a:gd name="connsiteY133" fmla="*/ 1457 h 10000"/>
              <a:gd name="connsiteX134" fmla="*/ 10000 w 10000"/>
              <a:gd name="connsiteY134" fmla="*/ 1222 h 10000"/>
              <a:gd name="connsiteX135" fmla="*/ 7611 w 10000"/>
              <a:gd name="connsiteY135" fmla="*/ 1876 h 10000"/>
              <a:gd name="connsiteX136" fmla="*/ 5615 w 10000"/>
              <a:gd name="connsiteY136"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58 w 10000"/>
              <a:gd name="connsiteY53" fmla="*/ 3583 h 10000"/>
              <a:gd name="connsiteX54" fmla="*/ 0 w 10000"/>
              <a:gd name="connsiteY54" fmla="*/ 6085 h 10000"/>
              <a:gd name="connsiteX55" fmla="*/ 209 w 10000"/>
              <a:gd name="connsiteY55" fmla="*/ 9512 h 10000"/>
              <a:gd name="connsiteX56" fmla="*/ 344 w 10000"/>
              <a:gd name="connsiteY56" fmla="*/ 9569 h 10000"/>
              <a:gd name="connsiteX57" fmla="*/ 481 w 10000"/>
              <a:gd name="connsiteY57" fmla="*/ 9623 h 10000"/>
              <a:gd name="connsiteX58" fmla="*/ 621 w 10000"/>
              <a:gd name="connsiteY58" fmla="*/ 9673 h 10000"/>
              <a:gd name="connsiteX59" fmla="*/ 758 w 10000"/>
              <a:gd name="connsiteY59" fmla="*/ 9720 h 10000"/>
              <a:gd name="connsiteX60" fmla="*/ 899 w 10000"/>
              <a:gd name="connsiteY60" fmla="*/ 9765 h 10000"/>
              <a:gd name="connsiteX61" fmla="*/ 1040 w 10000"/>
              <a:gd name="connsiteY61" fmla="*/ 9804 h 10000"/>
              <a:gd name="connsiteX62" fmla="*/ 1182 w 10000"/>
              <a:gd name="connsiteY62" fmla="*/ 9839 h 10000"/>
              <a:gd name="connsiteX63" fmla="*/ 1325 w 10000"/>
              <a:gd name="connsiteY63" fmla="*/ 9874 h 10000"/>
              <a:gd name="connsiteX64" fmla="*/ 1471 w 10000"/>
              <a:gd name="connsiteY64" fmla="*/ 9903 h 10000"/>
              <a:gd name="connsiteX65" fmla="*/ 1614 w 10000"/>
              <a:gd name="connsiteY65" fmla="*/ 9926 h 10000"/>
              <a:gd name="connsiteX66" fmla="*/ 1760 w 10000"/>
              <a:gd name="connsiteY66" fmla="*/ 9948 h 10000"/>
              <a:gd name="connsiteX67" fmla="*/ 1906 w 10000"/>
              <a:gd name="connsiteY67" fmla="*/ 9965 h 10000"/>
              <a:gd name="connsiteX68" fmla="*/ 2052 w 10000"/>
              <a:gd name="connsiteY68" fmla="*/ 9980 h 10000"/>
              <a:gd name="connsiteX69" fmla="*/ 2202 w 10000"/>
              <a:gd name="connsiteY69" fmla="*/ 9990 h 10000"/>
              <a:gd name="connsiteX70" fmla="*/ 2350 w 10000"/>
              <a:gd name="connsiteY70" fmla="*/ 9995 h 10000"/>
              <a:gd name="connsiteX71" fmla="*/ 2498 w 10000"/>
              <a:gd name="connsiteY71" fmla="*/ 10000 h 10000"/>
              <a:gd name="connsiteX72" fmla="*/ 2677 w 10000"/>
              <a:gd name="connsiteY72" fmla="*/ 9995 h 10000"/>
              <a:gd name="connsiteX73" fmla="*/ 2850 w 10000"/>
              <a:gd name="connsiteY73" fmla="*/ 9988 h 10000"/>
              <a:gd name="connsiteX74" fmla="*/ 3024 w 10000"/>
              <a:gd name="connsiteY74" fmla="*/ 9975 h 10000"/>
              <a:gd name="connsiteX75" fmla="*/ 3195 w 10000"/>
              <a:gd name="connsiteY75" fmla="*/ 9953 h 10000"/>
              <a:gd name="connsiteX76" fmla="*/ 3368 w 10000"/>
              <a:gd name="connsiteY76" fmla="*/ 9931 h 10000"/>
              <a:gd name="connsiteX77" fmla="*/ 3538 w 10000"/>
              <a:gd name="connsiteY77" fmla="*/ 9898 h 10000"/>
              <a:gd name="connsiteX78" fmla="*/ 3709 w 10000"/>
              <a:gd name="connsiteY78" fmla="*/ 9866 h 10000"/>
              <a:gd name="connsiteX79" fmla="*/ 3877 w 10000"/>
              <a:gd name="connsiteY79" fmla="*/ 9824 h 10000"/>
              <a:gd name="connsiteX80" fmla="*/ 4042 w 10000"/>
              <a:gd name="connsiteY80" fmla="*/ 9779 h 10000"/>
              <a:gd name="connsiteX81" fmla="*/ 4210 w 10000"/>
              <a:gd name="connsiteY81" fmla="*/ 9730 h 10000"/>
              <a:gd name="connsiteX82" fmla="*/ 4372 w 10000"/>
              <a:gd name="connsiteY82" fmla="*/ 9673 h 10000"/>
              <a:gd name="connsiteX83" fmla="*/ 4536 w 10000"/>
              <a:gd name="connsiteY83" fmla="*/ 9616 h 10000"/>
              <a:gd name="connsiteX84" fmla="*/ 4697 w 10000"/>
              <a:gd name="connsiteY84" fmla="*/ 9552 h 10000"/>
              <a:gd name="connsiteX85" fmla="*/ 4857 w 10000"/>
              <a:gd name="connsiteY85" fmla="*/ 9482 h 10000"/>
              <a:gd name="connsiteX86" fmla="*/ 5014 w 10000"/>
              <a:gd name="connsiteY86" fmla="*/ 9405 h 10000"/>
              <a:gd name="connsiteX87" fmla="*/ 5171 w 10000"/>
              <a:gd name="connsiteY87" fmla="*/ 9329 h 10000"/>
              <a:gd name="connsiteX88" fmla="*/ 5326 w 10000"/>
              <a:gd name="connsiteY88" fmla="*/ 9244 h 10000"/>
              <a:gd name="connsiteX89" fmla="*/ 5480 w 10000"/>
              <a:gd name="connsiteY89" fmla="*/ 9158 h 10000"/>
              <a:gd name="connsiteX90" fmla="*/ 5631 w 10000"/>
              <a:gd name="connsiteY90" fmla="*/ 9063 h 10000"/>
              <a:gd name="connsiteX91" fmla="*/ 5781 w 10000"/>
              <a:gd name="connsiteY91" fmla="*/ 8967 h 10000"/>
              <a:gd name="connsiteX92" fmla="*/ 5931 w 10000"/>
              <a:gd name="connsiteY92" fmla="*/ 8865 h 10000"/>
              <a:gd name="connsiteX93" fmla="*/ 6075 w 10000"/>
              <a:gd name="connsiteY93" fmla="*/ 8759 h 10000"/>
              <a:gd name="connsiteX94" fmla="*/ 6221 w 10000"/>
              <a:gd name="connsiteY94" fmla="*/ 8652 h 10000"/>
              <a:gd name="connsiteX95" fmla="*/ 6364 w 10000"/>
              <a:gd name="connsiteY95" fmla="*/ 8536 h 10000"/>
              <a:gd name="connsiteX96" fmla="*/ 6505 w 10000"/>
              <a:gd name="connsiteY96" fmla="*/ 8417 h 10000"/>
              <a:gd name="connsiteX97" fmla="*/ 6642 w 10000"/>
              <a:gd name="connsiteY97" fmla="*/ 8295 h 10000"/>
              <a:gd name="connsiteX98" fmla="*/ 6780 w 10000"/>
              <a:gd name="connsiteY98" fmla="*/ 8169 h 10000"/>
              <a:gd name="connsiteX99" fmla="*/ 6913 w 10000"/>
              <a:gd name="connsiteY99" fmla="*/ 8040 h 10000"/>
              <a:gd name="connsiteX100" fmla="*/ 7045 w 10000"/>
              <a:gd name="connsiteY100" fmla="*/ 7904 h 10000"/>
              <a:gd name="connsiteX101" fmla="*/ 7175 w 10000"/>
              <a:gd name="connsiteY101" fmla="*/ 7768 h 10000"/>
              <a:gd name="connsiteX102" fmla="*/ 7304 w 10000"/>
              <a:gd name="connsiteY102" fmla="*/ 7624 h 10000"/>
              <a:gd name="connsiteX103" fmla="*/ 7429 w 10000"/>
              <a:gd name="connsiteY103" fmla="*/ 7480 h 10000"/>
              <a:gd name="connsiteX104" fmla="*/ 7552 w 10000"/>
              <a:gd name="connsiteY104" fmla="*/ 7329 h 10000"/>
              <a:gd name="connsiteX105" fmla="*/ 7673 w 10000"/>
              <a:gd name="connsiteY105" fmla="*/ 7178 h 10000"/>
              <a:gd name="connsiteX106" fmla="*/ 7792 w 10000"/>
              <a:gd name="connsiteY106" fmla="*/ 7024 h 10000"/>
              <a:gd name="connsiteX107" fmla="*/ 7907 w 10000"/>
              <a:gd name="connsiteY107" fmla="*/ 6861 h 10000"/>
              <a:gd name="connsiteX108" fmla="*/ 8022 w 10000"/>
              <a:gd name="connsiteY108" fmla="*/ 6697 h 10000"/>
              <a:gd name="connsiteX109" fmla="*/ 8133 w 10000"/>
              <a:gd name="connsiteY109" fmla="*/ 6534 h 10000"/>
              <a:gd name="connsiteX110" fmla="*/ 8240 w 10000"/>
              <a:gd name="connsiteY110" fmla="*/ 6365 h 10000"/>
              <a:gd name="connsiteX111" fmla="*/ 8347 w 10000"/>
              <a:gd name="connsiteY111" fmla="*/ 6189 h 10000"/>
              <a:gd name="connsiteX112" fmla="*/ 8450 w 10000"/>
              <a:gd name="connsiteY112" fmla="*/ 6016 h 10000"/>
              <a:gd name="connsiteX113" fmla="*/ 8552 w 10000"/>
              <a:gd name="connsiteY113" fmla="*/ 5835 h 10000"/>
              <a:gd name="connsiteX114" fmla="*/ 8650 w 10000"/>
              <a:gd name="connsiteY114" fmla="*/ 5652 h 10000"/>
              <a:gd name="connsiteX115" fmla="*/ 8745 w 10000"/>
              <a:gd name="connsiteY115" fmla="*/ 5468 h 10000"/>
              <a:gd name="connsiteX116" fmla="*/ 8837 w 10000"/>
              <a:gd name="connsiteY116" fmla="*/ 5278 h 10000"/>
              <a:gd name="connsiteX117" fmla="*/ 8927 w 10000"/>
              <a:gd name="connsiteY117" fmla="*/ 5089 h 10000"/>
              <a:gd name="connsiteX118" fmla="*/ 9014 w 10000"/>
              <a:gd name="connsiteY118" fmla="*/ 4893 h 10000"/>
              <a:gd name="connsiteX119" fmla="*/ 9098 w 10000"/>
              <a:gd name="connsiteY119" fmla="*/ 4698 h 10000"/>
              <a:gd name="connsiteX120" fmla="*/ 9178 w 10000"/>
              <a:gd name="connsiteY120" fmla="*/ 4500 h 10000"/>
              <a:gd name="connsiteX121" fmla="*/ 9256 w 10000"/>
              <a:gd name="connsiteY121" fmla="*/ 4294 h 10000"/>
              <a:gd name="connsiteX122" fmla="*/ 9330 w 10000"/>
              <a:gd name="connsiteY122" fmla="*/ 4091 h 10000"/>
              <a:gd name="connsiteX123" fmla="*/ 9401 w 10000"/>
              <a:gd name="connsiteY123" fmla="*/ 3885 h 10000"/>
              <a:gd name="connsiteX124" fmla="*/ 9470 w 10000"/>
              <a:gd name="connsiteY124" fmla="*/ 3674 h 10000"/>
              <a:gd name="connsiteX125" fmla="*/ 9535 w 10000"/>
              <a:gd name="connsiteY125" fmla="*/ 3464 h 10000"/>
              <a:gd name="connsiteX126" fmla="*/ 9599 w 10000"/>
              <a:gd name="connsiteY126" fmla="*/ 3248 h 10000"/>
              <a:gd name="connsiteX127" fmla="*/ 9656 w 10000"/>
              <a:gd name="connsiteY127" fmla="*/ 3030 h 10000"/>
              <a:gd name="connsiteX128" fmla="*/ 9711 w 10000"/>
              <a:gd name="connsiteY128" fmla="*/ 2815 h 10000"/>
              <a:gd name="connsiteX129" fmla="*/ 9763 w 10000"/>
              <a:gd name="connsiteY129" fmla="*/ 2592 h 10000"/>
              <a:gd name="connsiteX130" fmla="*/ 9813 w 10000"/>
              <a:gd name="connsiteY130" fmla="*/ 2369 h 10000"/>
              <a:gd name="connsiteX131" fmla="*/ 9856 w 10000"/>
              <a:gd name="connsiteY131" fmla="*/ 2143 h 10000"/>
              <a:gd name="connsiteX132" fmla="*/ 9898 w 10000"/>
              <a:gd name="connsiteY132" fmla="*/ 1918 h 10000"/>
              <a:gd name="connsiteX133" fmla="*/ 9936 w 10000"/>
              <a:gd name="connsiteY133" fmla="*/ 1690 h 10000"/>
              <a:gd name="connsiteX134" fmla="*/ 9970 w 10000"/>
              <a:gd name="connsiteY134" fmla="*/ 1457 h 10000"/>
              <a:gd name="connsiteX135" fmla="*/ 10000 w 10000"/>
              <a:gd name="connsiteY135" fmla="*/ 1222 h 10000"/>
              <a:gd name="connsiteX136" fmla="*/ 7611 w 10000"/>
              <a:gd name="connsiteY136" fmla="*/ 1876 h 10000"/>
              <a:gd name="connsiteX137" fmla="*/ 5615 w 10000"/>
              <a:gd name="connsiteY137"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0 w 10000"/>
              <a:gd name="connsiteY53" fmla="*/ 6085 h 10000"/>
              <a:gd name="connsiteX54" fmla="*/ 209 w 10000"/>
              <a:gd name="connsiteY54" fmla="*/ 9512 h 10000"/>
              <a:gd name="connsiteX55" fmla="*/ 344 w 10000"/>
              <a:gd name="connsiteY55" fmla="*/ 9569 h 10000"/>
              <a:gd name="connsiteX56" fmla="*/ 481 w 10000"/>
              <a:gd name="connsiteY56" fmla="*/ 9623 h 10000"/>
              <a:gd name="connsiteX57" fmla="*/ 621 w 10000"/>
              <a:gd name="connsiteY57" fmla="*/ 9673 h 10000"/>
              <a:gd name="connsiteX58" fmla="*/ 758 w 10000"/>
              <a:gd name="connsiteY58" fmla="*/ 9720 h 10000"/>
              <a:gd name="connsiteX59" fmla="*/ 899 w 10000"/>
              <a:gd name="connsiteY59" fmla="*/ 9765 h 10000"/>
              <a:gd name="connsiteX60" fmla="*/ 1040 w 10000"/>
              <a:gd name="connsiteY60" fmla="*/ 9804 h 10000"/>
              <a:gd name="connsiteX61" fmla="*/ 1182 w 10000"/>
              <a:gd name="connsiteY61" fmla="*/ 9839 h 10000"/>
              <a:gd name="connsiteX62" fmla="*/ 1325 w 10000"/>
              <a:gd name="connsiteY62" fmla="*/ 9874 h 10000"/>
              <a:gd name="connsiteX63" fmla="*/ 1471 w 10000"/>
              <a:gd name="connsiteY63" fmla="*/ 9903 h 10000"/>
              <a:gd name="connsiteX64" fmla="*/ 1614 w 10000"/>
              <a:gd name="connsiteY64" fmla="*/ 9926 h 10000"/>
              <a:gd name="connsiteX65" fmla="*/ 1760 w 10000"/>
              <a:gd name="connsiteY65" fmla="*/ 9948 h 10000"/>
              <a:gd name="connsiteX66" fmla="*/ 1906 w 10000"/>
              <a:gd name="connsiteY66" fmla="*/ 9965 h 10000"/>
              <a:gd name="connsiteX67" fmla="*/ 2052 w 10000"/>
              <a:gd name="connsiteY67" fmla="*/ 9980 h 10000"/>
              <a:gd name="connsiteX68" fmla="*/ 2202 w 10000"/>
              <a:gd name="connsiteY68" fmla="*/ 9990 h 10000"/>
              <a:gd name="connsiteX69" fmla="*/ 2350 w 10000"/>
              <a:gd name="connsiteY69" fmla="*/ 9995 h 10000"/>
              <a:gd name="connsiteX70" fmla="*/ 2498 w 10000"/>
              <a:gd name="connsiteY70" fmla="*/ 10000 h 10000"/>
              <a:gd name="connsiteX71" fmla="*/ 2677 w 10000"/>
              <a:gd name="connsiteY71" fmla="*/ 9995 h 10000"/>
              <a:gd name="connsiteX72" fmla="*/ 2850 w 10000"/>
              <a:gd name="connsiteY72" fmla="*/ 9988 h 10000"/>
              <a:gd name="connsiteX73" fmla="*/ 3024 w 10000"/>
              <a:gd name="connsiteY73" fmla="*/ 9975 h 10000"/>
              <a:gd name="connsiteX74" fmla="*/ 3195 w 10000"/>
              <a:gd name="connsiteY74" fmla="*/ 9953 h 10000"/>
              <a:gd name="connsiteX75" fmla="*/ 3368 w 10000"/>
              <a:gd name="connsiteY75" fmla="*/ 9931 h 10000"/>
              <a:gd name="connsiteX76" fmla="*/ 3538 w 10000"/>
              <a:gd name="connsiteY76" fmla="*/ 9898 h 10000"/>
              <a:gd name="connsiteX77" fmla="*/ 3709 w 10000"/>
              <a:gd name="connsiteY77" fmla="*/ 9866 h 10000"/>
              <a:gd name="connsiteX78" fmla="*/ 3877 w 10000"/>
              <a:gd name="connsiteY78" fmla="*/ 9824 h 10000"/>
              <a:gd name="connsiteX79" fmla="*/ 4042 w 10000"/>
              <a:gd name="connsiteY79" fmla="*/ 9779 h 10000"/>
              <a:gd name="connsiteX80" fmla="*/ 4210 w 10000"/>
              <a:gd name="connsiteY80" fmla="*/ 9730 h 10000"/>
              <a:gd name="connsiteX81" fmla="*/ 4372 w 10000"/>
              <a:gd name="connsiteY81" fmla="*/ 9673 h 10000"/>
              <a:gd name="connsiteX82" fmla="*/ 4536 w 10000"/>
              <a:gd name="connsiteY82" fmla="*/ 9616 h 10000"/>
              <a:gd name="connsiteX83" fmla="*/ 4697 w 10000"/>
              <a:gd name="connsiteY83" fmla="*/ 9552 h 10000"/>
              <a:gd name="connsiteX84" fmla="*/ 4857 w 10000"/>
              <a:gd name="connsiteY84" fmla="*/ 9482 h 10000"/>
              <a:gd name="connsiteX85" fmla="*/ 5014 w 10000"/>
              <a:gd name="connsiteY85" fmla="*/ 9405 h 10000"/>
              <a:gd name="connsiteX86" fmla="*/ 5171 w 10000"/>
              <a:gd name="connsiteY86" fmla="*/ 9329 h 10000"/>
              <a:gd name="connsiteX87" fmla="*/ 5326 w 10000"/>
              <a:gd name="connsiteY87" fmla="*/ 9244 h 10000"/>
              <a:gd name="connsiteX88" fmla="*/ 5480 w 10000"/>
              <a:gd name="connsiteY88" fmla="*/ 9158 h 10000"/>
              <a:gd name="connsiteX89" fmla="*/ 5631 w 10000"/>
              <a:gd name="connsiteY89" fmla="*/ 9063 h 10000"/>
              <a:gd name="connsiteX90" fmla="*/ 5781 w 10000"/>
              <a:gd name="connsiteY90" fmla="*/ 8967 h 10000"/>
              <a:gd name="connsiteX91" fmla="*/ 5931 w 10000"/>
              <a:gd name="connsiteY91" fmla="*/ 8865 h 10000"/>
              <a:gd name="connsiteX92" fmla="*/ 6075 w 10000"/>
              <a:gd name="connsiteY92" fmla="*/ 8759 h 10000"/>
              <a:gd name="connsiteX93" fmla="*/ 6221 w 10000"/>
              <a:gd name="connsiteY93" fmla="*/ 8652 h 10000"/>
              <a:gd name="connsiteX94" fmla="*/ 6364 w 10000"/>
              <a:gd name="connsiteY94" fmla="*/ 8536 h 10000"/>
              <a:gd name="connsiteX95" fmla="*/ 6505 w 10000"/>
              <a:gd name="connsiteY95" fmla="*/ 8417 h 10000"/>
              <a:gd name="connsiteX96" fmla="*/ 6642 w 10000"/>
              <a:gd name="connsiteY96" fmla="*/ 8295 h 10000"/>
              <a:gd name="connsiteX97" fmla="*/ 6780 w 10000"/>
              <a:gd name="connsiteY97" fmla="*/ 8169 h 10000"/>
              <a:gd name="connsiteX98" fmla="*/ 6913 w 10000"/>
              <a:gd name="connsiteY98" fmla="*/ 8040 h 10000"/>
              <a:gd name="connsiteX99" fmla="*/ 7045 w 10000"/>
              <a:gd name="connsiteY99" fmla="*/ 7904 h 10000"/>
              <a:gd name="connsiteX100" fmla="*/ 7175 w 10000"/>
              <a:gd name="connsiteY100" fmla="*/ 7768 h 10000"/>
              <a:gd name="connsiteX101" fmla="*/ 7304 w 10000"/>
              <a:gd name="connsiteY101" fmla="*/ 7624 h 10000"/>
              <a:gd name="connsiteX102" fmla="*/ 7429 w 10000"/>
              <a:gd name="connsiteY102" fmla="*/ 7480 h 10000"/>
              <a:gd name="connsiteX103" fmla="*/ 7552 w 10000"/>
              <a:gd name="connsiteY103" fmla="*/ 7329 h 10000"/>
              <a:gd name="connsiteX104" fmla="*/ 7673 w 10000"/>
              <a:gd name="connsiteY104" fmla="*/ 7178 h 10000"/>
              <a:gd name="connsiteX105" fmla="*/ 7792 w 10000"/>
              <a:gd name="connsiteY105" fmla="*/ 7024 h 10000"/>
              <a:gd name="connsiteX106" fmla="*/ 7907 w 10000"/>
              <a:gd name="connsiteY106" fmla="*/ 6861 h 10000"/>
              <a:gd name="connsiteX107" fmla="*/ 8022 w 10000"/>
              <a:gd name="connsiteY107" fmla="*/ 6697 h 10000"/>
              <a:gd name="connsiteX108" fmla="*/ 8133 w 10000"/>
              <a:gd name="connsiteY108" fmla="*/ 6534 h 10000"/>
              <a:gd name="connsiteX109" fmla="*/ 8240 w 10000"/>
              <a:gd name="connsiteY109" fmla="*/ 6365 h 10000"/>
              <a:gd name="connsiteX110" fmla="*/ 8347 w 10000"/>
              <a:gd name="connsiteY110" fmla="*/ 6189 h 10000"/>
              <a:gd name="connsiteX111" fmla="*/ 8450 w 10000"/>
              <a:gd name="connsiteY111" fmla="*/ 6016 h 10000"/>
              <a:gd name="connsiteX112" fmla="*/ 8552 w 10000"/>
              <a:gd name="connsiteY112" fmla="*/ 5835 h 10000"/>
              <a:gd name="connsiteX113" fmla="*/ 8650 w 10000"/>
              <a:gd name="connsiteY113" fmla="*/ 5652 h 10000"/>
              <a:gd name="connsiteX114" fmla="*/ 8745 w 10000"/>
              <a:gd name="connsiteY114" fmla="*/ 5468 h 10000"/>
              <a:gd name="connsiteX115" fmla="*/ 8837 w 10000"/>
              <a:gd name="connsiteY115" fmla="*/ 5278 h 10000"/>
              <a:gd name="connsiteX116" fmla="*/ 8927 w 10000"/>
              <a:gd name="connsiteY116" fmla="*/ 5089 h 10000"/>
              <a:gd name="connsiteX117" fmla="*/ 9014 w 10000"/>
              <a:gd name="connsiteY117" fmla="*/ 4893 h 10000"/>
              <a:gd name="connsiteX118" fmla="*/ 9098 w 10000"/>
              <a:gd name="connsiteY118" fmla="*/ 4698 h 10000"/>
              <a:gd name="connsiteX119" fmla="*/ 9178 w 10000"/>
              <a:gd name="connsiteY119" fmla="*/ 4500 h 10000"/>
              <a:gd name="connsiteX120" fmla="*/ 9256 w 10000"/>
              <a:gd name="connsiteY120" fmla="*/ 4294 h 10000"/>
              <a:gd name="connsiteX121" fmla="*/ 9330 w 10000"/>
              <a:gd name="connsiteY121" fmla="*/ 4091 h 10000"/>
              <a:gd name="connsiteX122" fmla="*/ 9401 w 10000"/>
              <a:gd name="connsiteY122" fmla="*/ 3885 h 10000"/>
              <a:gd name="connsiteX123" fmla="*/ 9470 w 10000"/>
              <a:gd name="connsiteY123" fmla="*/ 3674 h 10000"/>
              <a:gd name="connsiteX124" fmla="*/ 9535 w 10000"/>
              <a:gd name="connsiteY124" fmla="*/ 3464 h 10000"/>
              <a:gd name="connsiteX125" fmla="*/ 9599 w 10000"/>
              <a:gd name="connsiteY125" fmla="*/ 3248 h 10000"/>
              <a:gd name="connsiteX126" fmla="*/ 9656 w 10000"/>
              <a:gd name="connsiteY126" fmla="*/ 3030 h 10000"/>
              <a:gd name="connsiteX127" fmla="*/ 9711 w 10000"/>
              <a:gd name="connsiteY127" fmla="*/ 2815 h 10000"/>
              <a:gd name="connsiteX128" fmla="*/ 9763 w 10000"/>
              <a:gd name="connsiteY128" fmla="*/ 2592 h 10000"/>
              <a:gd name="connsiteX129" fmla="*/ 9813 w 10000"/>
              <a:gd name="connsiteY129" fmla="*/ 2369 h 10000"/>
              <a:gd name="connsiteX130" fmla="*/ 9856 w 10000"/>
              <a:gd name="connsiteY130" fmla="*/ 2143 h 10000"/>
              <a:gd name="connsiteX131" fmla="*/ 9898 w 10000"/>
              <a:gd name="connsiteY131" fmla="*/ 1918 h 10000"/>
              <a:gd name="connsiteX132" fmla="*/ 9936 w 10000"/>
              <a:gd name="connsiteY132" fmla="*/ 1690 h 10000"/>
              <a:gd name="connsiteX133" fmla="*/ 9970 w 10000"/>
              <a:gd name="connsiteY133" fmla="*/ 1457 h 10000"/>
              <a:gd name="connsiteX134" fmla="*/ 10000 w 10000"/>
              <a:gd name="connsiteY134" fmla="*/ 1222 h 10000"/>
              <a:gd name="connsiteX135" fmla="*/ 7611 w 10000"/>
              <a:gd name="connsiteY135" fmla="*/ 1876 h 10000"/>
              <a:gd name="connsiteX136" fmla="*/ 5615 w 10000"/>
              <a:gd name="connsiteY136"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0 w 10000"/>
              <a:gd name="connsiteY52" fmla="*/ 6085 h 10000"/>
              <a:gd name="connsiteX53" fmla="*/ 209 w 10000"/>
              <a:gd name="connsiteY53" fmla="*/ 9512 h 10000"/>
              <a:gd name="connsiteX54" fmla="*/ 344 w 10000"/>
              <a:gd name="connsiteY54" fmla="*/ 9569 h 10000"/>
              <a:gd name="connsiteX55" fmla="*/ 481 w 10000"/>
              <a:gd name="connsiteY55" fmla="*/ 9623 h 10000"/>
              <a:gd name="connsiteX56" fmla="*/ 621 w 10000"/>
              <a:gd name="connsiteY56" fmla="*/ 9673 h 10000"/>
              <a:gd name="connsiteX57" fmla="*/ 758 w 10000"/>
              <a:gd name="connsiteY57" fmla="*/ 9720 h 10000"/>
              <a:gd name="connsiteX58" fmla="*/ 899 w 10000"/>
              <a:gd name="connsiteY58" fmla="*/ 9765 h 10000"/>
              <a:gd name="connsiteX59" fmla="*/ 1040 w 10000"/>
              <a:gd name="connsiteY59" fmla="*/ 9804 h 10000"/>
              <a:gd name="connsiteX60" fmla="*/ 1182 w 10000"/>
              <a:gd name="connsiteY60" fmla="*/ 9839 h 10000"/>
              <a:gd name="connsiteX61" fmla="*/ 1325 w 10000"/>
              <a:gd name="connsiteY61" fmla="*/ 9874 h 10000"/>
              <a:gd name="connsiteX62" fmla="*/ 1471 w 10000"/>
              <a:gd name="connsiteY62" fmla="*/ 9903 h 10000"/>
              <a:gd name="connsiteX63" fmla="*/ 1614 w 10000"/>
              <a:gd name="connsiteY63" fmla="*/ 9926 h 10000"/>
              <a:gd name="connsiteX64" fmla="*/ 1760 w 10000"/>
              <a:gd name="connsiteY64" fmla="*/ 9948 h 10000"/>
              <a:gd name="connsiteX65" fmla="*/ 1906 w 10000"/>
              <a:gd name="connsiteY65" fmla="*/ 9965 h 10000"/>
              <a:gd name="connsiteX66" fmla="*/ 2052 w 10000"/>
              <a:gd name="connsiteY66" fmla="*/ 9980 h 10000"/>
              <a:gd name="connsiteX67" fmla="*/ 2202 w 10000"/>
              <a:gd name="connsiteY67" fmla="*/ 9990 h 10000"/>
              <a:gd name="connsiteX68" fmla="*/ 2350 w 10000"/>
              <a:gd name="connsiteY68" fmla="*/ 9995 h 10000"/>
              <a:gd name="connsiteX69" fmla="*/ 2498 w 10000"/>
              <a:gd name="connsiteY69" fmla="*/ 10000 h 10000"/>
              <a:gd name="connsiteX70" fmla="*/ 2677 w 10000"/>
              <a:gd name="connsiteY70" fmla="*/ 9995 h 10000"/>
              <a:gd name="connsiteX71" fmla="*/ 2850 w 10000"/>
              <a:gd name="connsiteY71" fmla="*/ 9988 h 10000"/>
              <a:gd name="connsiteX72" fmla="*/ 3024 w 10000"/>
              <a:gd name="connsiteY72" fmla="*/ 9975 h 10000"/>
              <a:gd name="connsiteX73" fmla="*/ 3195 w 10000"/>
              <a:gd name="connsiteY73" fmla="*/ 9953 h 10000"/>
              <a:gd name="connsiteX74" fmla="*/ 3368 w 10000"/>
              <a:gd name="connsiteY74" fmla="*/ 9931 h 10000"/>
              <a:gd name="connsiteX75" fmla="*/ 3538 w 10000"/>
              <a:gd name="connsiteY75" fmla="*/ 9898 h 10000"/>
              <a:gd name="connsiteX76" fmla="*/ 3709 w 10000"/>
              <a:gd name="connsiteY76" fmla="*/ 9866 h 10000"/>
              <a:gd name="connsiteX77" fmla="*/ 3877 w 10000"/>
              <a:gd name="connsiteY77" fmla="*/ 9824 h 10000"/>
              <a:gd name="connsiteX78" fmla="*/ 4042 w 10000"/>
              <a:gd name="connsiteY78" fmla="*/ 9779 h 10000"/>
              <a:gd name="connsiteX79" fmla="*/ 4210 w 10000"/>
              <a:gd name="connsiteY79" fmla="*/ 9730 h 10000"/>
              <a:gd name="connsiteX80" fmla="*/ 4372 w 10000"/>
              <a:gd name="connsiteY80" fmla="*/ 9673 h 10000"/>
              <a:gd name="connsiteX81" fmla="*/ 4536 w 10000"/>
              <a:gd name="connsiteY81" fmla="*/ 9616 h 10000"/>
              <a:gd name="connsiteX82" fmla="*/ 4697 w 10000"/>
              <a:gd name="connsiteY82" fmla="*/ 9552 h 10000"/>
              <a:gd name="connsiteX83" fmla="*/ 4857 w 10000"/>
              <a:gd name="connsiteY83" fmla="*/ 9482 h 10000"/>
              <a:gd name="connsiteX84" fmla="*/ 5014 w 10000"/>
              <a:gd name="connsiteY84" fmla="*/ 9405 h 10000"/>
              <a:gd name="connsiteX85" fmla="*/ 5171 w 10000"/>
              <a:gd name="connsiteY85" fmla="*/ 9329 h 10000"/>
              <a:gd name="connsiteX86" fmla="*/ 5326 w 10000"/>
              <a:gd name="connsiteY86" fmla="*/ 9244 h 10000"/>
              <a:gd name="connsiteX87" fmla="*/ 5480 w 10000"/>
              <a:gd name="connsiteY87" fmla="*/ 9158 h 10000"/>
              <a:gd name="connsiteX88" fmla="*/ 5631 w 10000"/>
              <a:gd name="connsiteY88" fmla="*/ 9063 h 10000"/>
              <a:gd name="connsiteX89" fmla="*/ 5781 w 10000"/>
              <a:gd name="connsiteY89" fmla="*/ 8967 h 10000"/>
              <a:gd name="connsiteX90" fmla="*/ 5931 w 10000"/>
              <a:gd name="connsiteY90" fmla="*/ 8865 h 10000"/>
              <a:gd name="connsiteX91" fmla="*/ 6075 w 10000"/>
              <a:gd name="connsiteY91" fmla="*/ 8759 h 10000"/>
              <a:gd name="connsiteX92" fmla="*/ 6221 w 10000"/>
              <a:gd name="connsiteY92" fmla="*/ 8652 h 10000"/>
              <a:gd name="connsiteX93" fmla="*/ 6364 w 10000"/>
              <a:gd name="connsiteY93" fmla="*/ 8536 h 10000"/>
              <a:gd name="connsiteX94" fmla="*/ 6505 w 10000"/>
              <a:gd name="connsiteY94" fmla="*/ 8417 h 10000"/>
              <a:gd name="connsiteX95" fmla="*/ 6642 w 10000"/>
              <a:gd name="connsiteY95" fmla="*/ 8295 h 10000"/>
              <a:gd name="connsiteX96" fmla="*/ 6780 w 10000"/>
              <a:gd name="connsiteY96" fmla="*/ 8169 h 10000"/>
              <a:gd name="connsiteX97" fmla="*/ 6913 w 10000"/>
              <a:gd name="connsiteY97" fmla="*/ 8040 h 10000"/>
              <a:gd name="connsiteX98" fmla="*/ 7045 w 10000"/>
              <a:gd name="connsiteY98" fmla="*/ 7904 h 10000"/>
              <a:gd name="connsiteX99" fmla="*/ 7175 w 10000"/>
              <a:gd name="connsiteY99" fmla="*/ 7768 h 10000"/>
              <a:gd name="connsiteX100" fmla="*/ 7304 w 10000"/>
              <a:gd name="connsiteY100" fmla="*/ 7624 h 10000"/>
              <a:gd name="connsiteX101" fmla="*/ 7429 w 10000"/>
              <a:gd name="connsiteY101" fmla="*/ 7480 h 10000"/>
              <a:gd name="connsiteX102" fmla="*/ 7552 w 10000"/>
              <a:gd name="connsiteY102" fmla="*/ 7329 h 10000"/>
              <a:gd name="connsiteX103" fmla="*/ 7673 w 10000"/>
              <a:gd name="connsiteY103" fmla="*/ 7178 h 10000"/>
              <a:gd name="connsiteX104" fmla="*/ 7792 w 10000"/>
              <a:gd name="connsiteY104" fmla="*/ 7024 h 10000"/>
              <a:gd name="connsiteX105" fmla="*/ 7907 w 10000"/>
              <a:gd name="connsiteY105" fmla="*/ 6861 h 10000"/>
              <a:gd name="connsiteX106" fmla="*/ 8022 w 10000"/>
              <a:gd name="connsiteY106" fmla="*/ 6697 h 10000"/>
              <a:gd name="connsiteX107" fmla="*/ 8133 w 10000"/>
              <a:gd name="connsiteY107" fmla="*/ 6534 h 10000"/>
              <a:gd name="connsiteX108" fmla="*/ 8240 w 10000"/>
              <a:gd name="connsiteY108" fmla="*/ 6365 h 10000"/>
              <a:gd name="connsiteX109" fmla="*/ 8347 w 10000"/>
              <a:gd name="connsiteY109" fmla="*/ 6189 h 10000"/>
              <a:gd name="connsiteX110" fmla="*/ 8450 w 10000"/>
              <a:gd name="connsiteY110" fmla="*/ 6016 h 10000"/>
              <a:gd name="connsiteX111" fmla="*/ 8552 w 10000"/>
              <a:gd name="connsiteY111" fmla="*/ 5835 h 10000"/>
              <a:gd name="connsiteX112" fmla="*/ 8650 w 10000"/>
              <a:gd name="connsiteY112" fmla="*/ 5652 h 10000"/>
              <a:gd name="connsiteX113" fmla="*/ 8745 w 10000"/>
              <a:gd name="connsiteY113" fmla="*/ 5468 h 10000"/>
              <a:gd name="connsiteX114" fmla="*/ 8837 w 10000"/>
              <a:gd name="connsiteY114" fmla="*/ 5278 h 10000"/>
              <a:gd name="connsiteX115" fmla="*/ 8927 w 10000"/>
              <a:gd name="connsiteY115" fmla="*/ 5089 h 10000"/>
              <a:gd name="connsiteX116" fmla="*/ 9014 w 10000"/>
              <a:gd name="connsiteY116" fmla="*/ 4893 h 10000"/>
              <a:gd name="connsiteX117" fmla="*/ 9098 w 10000"/>
              <a:gd name="connsiteY117" fmla="*/ 4698 h 10000"/>
              <a:gd name="connsiteX118" fmla="*/ 9178 w 10000"/>
              <a:gd name="connsiteY118" fmla="*/ 4500 h 10000"/>
              <a:gd name="connsiteX119" fmla="*/ 9256 w 10000"/>
              <a:gd name="connsiteY119" fmla="*/ 4294 h 10000"/>
              <a:gd name="connsiteX120" fmla="*/ 9330 w 10000"/>
              <a:gd name="connsiteY120" fmla="*/ 4091 h 10000"/>
              <a:gd name="connsiteX121" fmla="*/ 9401 w 10000"/>
              <a:gd name="connsiteY121" fmla="*/ 3885 h 10000"/>
              <a:gd name="connsiteX122" fmla="*/ 9470 w 10000"/>
              <a:gd name="connsiteY122" fmla="*/ 3674 h 10000"/>
              <a:gd name="connsiteX123" fmla="*/ 9535 w 10000"/>
              <a:gd name="connsiteY123" fmla="*/ 3464 h 10000"/>
              <a:gd name="connsiteX124" fmla="*/ 9599 w 10000"/>
              <a:gd name="connsiteY124" fmla="*/ 3248 h 10000"/>
              <a:gd name="connsiteX125" fmla="*/ 9656 w 10000"/>
              <a:gd name="connsiteY125" fmla="*/ 3030 h 10000"/>
              <a:gd name="connsiteX126" fmla="*/ 9711 w 10000"/>
              <a:gd name="connsiteY126" fmla="*/ 2815 h 10000"/>
              <a:gd name="connsiteX127" fmla="*/ 9763 w 10000"/>
              <a:gd name="connsiteY127" fmla="*/ 2592 h 10000"/>
              <a:gd name="connsiteX128" fmla="*/ 9813 w 10000"/>
              <a:gd name="connsiteY128" fmla="*/ 2369 h 10000"/>
              <a:gd name="connsiteX129" fmla="*/ 9856 w 10000"/>
              <a:gd name="connsiteY129" fmla="*/ 2143 h 10000"/>
              <a:gd name="connsiteX130" fmla="*/ 9898 w 10000"/>
              <a:gd name="connsiteY130" fmla="*/ 1918 h 10000"/>
              <a:gd name="connsiteX131" fmla="*/ 9936 w 10000"/>
              <a:gd name="connsiteY131" fmla="*/ 1690 h 10000"/>
              <a:gd name="connsiteX132" fmla="*/ 9970 w 10000"/>
              <a:gd name="connsiteY132" fmla="*/ 1457 h 10000"/>
              <a:gd name="connsiteX133" fmla="*/ 10000 w 10000"/>
              <a:gd name="connsiteY133" fmla="*/ 1222 h 10000"/>
              <a:gd name="connsiteX134" fmla="*/ 7611 w 10000"/>
              <a:gd name="connsiteY134" fmla="*/ 1876 h 10000"/>
              <a:gd name="connsiteX135" fmla="*/ 5615 w 10000"/>
              <a:gd name="connsiteY135"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0 w 10000"/>
              <a:gd name="connsiteY51" fmla="*/ 6085 h 10000"/>
              <a:gd name="connsiteX52" fmla="*/ 209 w 10000"/>
              <a:gd name="connsiteY52" fmla="*/ 9512 h 10000"/>
              <a:gd name="connsiteX53" fmla="*/ 344 w 10000"/>
              <a:gd name="connsiteY53" fmla="*/ 9569 h 10000"/>
              <a:gd name="connsiteX54" fmla="*/ 481 w 10000"/>
              <a:gd name="connsiteY54" fmla="*/ 9623 h 10000"/>
              <a:gd name="connsiteX55" fmla="*/ 621 w 10000"/>
              <a:gd name="connsiteY55" fmla="*/ 9673 h 10000"/>
              <a:gd name="connsiteX56" fmla="*/ 758 w 10000"/>
              <a:gd name="connsiteY56" fmla="*/ 9720 h 10000"/>
              <a:gd name="connsiteX57" fmla="*/ 899 w 10000"/>
              <a:gd name="connsiteY57" fmla="*/ 9765 h 10000"/>
              <a:gd name="connsiteX58" fmla="*/ 1040 w 10000"/>
              <a:gd name="connsiteY58" fmla="*/ 9804 h 10000"/>
              <a:gd name="connsiteX59" fmla="*/ 1182 w 10000"/>
              <a:gd name="connsiteY59" fmla="*/ 9839 h 10000"/>
              <a:gd name="connsiteX60" fmla="*/ 1325 w 10000"/>
              <a:gd name="connsiteY60" fmla="*/ 9874 h 10000"/>
              <a:gd name="connsiteX61" fmla="*/ 1471 w 10000"/>
              <a:gd name="connsiteY61" fmla="*/ 9903 h 10000"/>
              <a:gd name="connsiteX62" fmla="*/ 1614 w 10000"/>
              <a:gd name="connsiteY62" fmla="*/ 9926 h 10000"/>
              <a:gd name="connsiteX63" fmla="*/ 1760 w 10000"/>
              <a:gd name="connsiteY63" fmla="*/ 9948 h 10000"/>
              <a:gd name="connsiteX64" fmla="*/ 1906 w 10000"/>
              <a:gd name="connsiteY64" fmla="*/ 9965 h 10000"/>
              <a:gd name="connsiteX65" fmla="*/ 2052 w 10000"/>
              <a:gd name="connsiteY65" fmla="*/ 9980 h 10000"/>
              <a:gd name="connsiteX66" fmla="*/ 2202 w 10000"/>
              <a:gd name="connsiteY66" fmla="*/ 9990 h 10000"/>
              <a:gd name="connsiteX67" fmla="*/ 2350 w 10000"/>
              <a:gd name="connsiteY67" fmla="*/ 9995 h 10000"/>
              <a:gd name="connsiteX68" fmla="*/ 2498 w 10000"/>
              <a:gd name="connsiteY68" fmla="*/ 10000 h 10000"/>
              <a:gd name="connsiteX69" fmla="*/ 2677 w 10000"/>
              <a:gd name="connsiteY69" fmla="*/ 9995 h 10000"/>
              <a:gd name="connsiteX70" fmla="*/ 2850 w 10000"/>
              <a:gd name="connsiteY70" fmla="*/ 9988 h 10000"/>
              <a:gd name="connsiteX71" fmla="*/ 3024 w 10000"/>
              <a:gd name="connsiteY71" fmla="*/ 9975 h 10000"/>
              <a:gd name="connsiteX72" fmla="*/ 3195 w 10000"/>
              <a:gd name="connsiteY72" fmla="*/ 9953 h 10000"/>
              <a:gd name="connsiteX73" fmla="*/ 3368 w 10000"/>
              <a:gd name="connsiteY73" fmla="*/ 9931 h 10000"/>
              <a:gd name="connsiteX74" fmla="*/ 3538 w 10000"/>
              <a:gd name="connsiteY74" fmla="*/ 9898 h 10000"/>
              <a:gd name="connsiteX75" fmla="*/ 3709 w 10000"/>
              <a:gd name="connsiteY75" fmla="*/ 9866 h 10000"/>
              <a:gd name="connsiteX76" fmla="*/ 3877 w 10000"/>
              <a:gd name="connsiteY76" fmla="*/ 9824 h 10000"/>
              <a:gd name="connsiteX77" fmla="*/ 4042 w 10000"/>
              <a:gd name="connsiteY77" fmla="*/ 9779 h 10000"/>
              <a:gd name="connsiteX78" fmla="*/ 4210 w 10000"/>
              <a:gd name="connsiteY78" fmla="*/ 9730 h 10000"/>
              <a:gd name="connsiteX79" fmla="*/ 4372 w 10000"/>
              <a:gd name="connsiteY79" fmla="*/ 9673 h 10000"/>
              <a:gd name="connsiteX80" fmla="*/ 4536 w 10000"/>
              <a:gd name="connsiteY80" fmla="*/ 9616 h 10000"/>
              <a:gd name="connsiteX81" fmla="*/ 4697 w 10000"/>
              <a:gd name="connsiteY81" fmla="*/ 9552 h 10000"/>
              <a:gd name="connsiteX82" fmla="*/ 4857 w 10000"/>
              <a:gd name="connsiteY82" fmla="*/ 9482 h 10000"/>
              <a:gd name="connsiteX83" fmla="*/ 5014 w 10000"/>
              <a:gd name="connsiteY83" fmla="*/ 9405 h 10000"/>
              <a:gd name="connsiteX84" fmla="*/ 5171 w 10000"/>
              <a:gd name="connsiteY84" fmla="*/ 9329 h 10000"/>
              <a:gd name="connsiteX85" fmla="*/ 5326 w 10000"/>
              <a:gd name="connsiteY85" fmla="*/ 9244 h 10000"/>
              <a:gd name="connsiteX86" fmla="*/ 5480 w 10000"/>
              <a:gd name="connsiteY86" fmla="*/ 9158 h 10000"/>
              <a:gd name="connsiteX87" fmla="*/ 5631 w 10000"/>
              <a:gd name="connsiteY87" fmla="*/ 9063 h 10000"/>
              <a:gd name="connsiteX88" fmla="*/ 5781 w 10000"/>
              <a:gd name="connsiteY88" fmla="*/ 8967 h 10000"/>
              <a:gd name="connsiteX89" fmla="*/ 5931 w 10000"/>
              <a:gd name="connsiteY89" fmla="*/ 8865 h 10000"/>
              <a:gd name="connsiteX90" fmla="*/ 6075 w 10000"/>
              <a:gd name="connsiteY90" fmla="*/ 8759 h 10000"/>
              <a:gd name="connsiteX91" fmla="*/ 6221 w 10000"/>
              <a:gd name="connsiteY91" fmla="*/ 8652 h 10000"/>
              <a:gd name="connsiteX92" fmla="*/ 6364 w 10000"/>
              <a:gd name="connsiteY92" fmla="*/ 8536 h 10000"/>
              <a:gd name="connsiteX93" fmla="*/ 6505 w 10000"/>
              <a:gd name="connsiteY93" fmla="*/ 8417 h 10000"/>
              <a:gd name="connsiteX94" fmla="*/ 6642 w 10000"/>
              <a:gd name="connsiteY94" fmla="*/ 8295 h 10000"/>
              <a:gd name="connsiteX95" fmla="*/ 6780 w 10000"/>
              <a:gd name="connsiteY95" fmla="*/ 8169 h 10000"/>
              <a:gd name="connsiteX96" fmla="*/ 6913 w 10000"/>
              <a:gd name="connsiteY96" fmla="*/ 8040 h 10000"/>
              <a:gd name="connsiteX97" fmla="*/ 7045 w 10000"/>
              <a:gd name="connsiteY97" fmla="*/ 7904 h 10000"/>
              <a:gd name="connsiteX98" fmla="*/ 7175 w 10000"/>
              <a:gd name="connsiteY98" fmla="*/ 7768 h 10000"/>
              <a:gd name="connsiteX99" fmla="*/ 7304 w 10000"/>
              <a:gd name="connsiteY99" fmla="*/ 7624 h 10000"/>
              <a:gd name="connsiteX100" fmla="*/ 7429 w 10000"/>
              <a:gd name="connsiteY100" fmla="*/ 7480 h 10000"/>
              <a:gd name="connsiteX101" fmla="*/ 7552 w 10000"/>
              <a:gd name="connsiteY101" fmla="*/ 7329 h 10000"/>
              <a:gd name="connsiteX102" fmla="*/ 7673 w 10000"/>
              <a:gd name="connsiteY102" fmla="*/ 7178 h 10000"/>
              <a:gd name="connsiteX103" fmla="*/ 7792 w 10000"/>
              <a:gd name="connsiteY103" fmla="*/ 7024 h 10000"/>
              <a:gd name="connsiteX104" fmla="*/ 7907 w 10000"/>
              <a:gd name="connsiteY104" fmla="*/ 6861 h 10000"/>
              <a:gd name="connsiteX105" fmla="*/ 8022 w 10000"/>
              <a:gd name="connsiteY105" fmla="*/ 6697 h 10000"/>
              <a:gd name="connsiteX106" fmla="*/ 8133 w 10000"/>
              <a:gd name="connsiteY106" fmla="*/ 6534 h 10000"/>
              <a:gd name="connsiteX107" fmla="*/ 8240 w 10000"/>
              <a:gd name="connsiteY107" fmla="*/ 6365 h 10000"/>
              <a:gd name="connsiteX108" fmla="*/ 8347 w 10000"/>
              <a:gd name="connsiteY108" fmla="*/ 6189 h 10000"/>
              <a:gd name="connsiteX109" fmla="*/ 8450 w 10000"/>
              <a:gd name="connsiteY109" fmla="*/ 6016 h 10000"/>
              <a:gd name="connsiteX110" fmla="*/ 8552 w 10000"/>
              <a:gd name="connsiteY110" fmla="*/ 5835 h 10000"/>
              <a:gd name="connsiteX111" fmla="*/ 8650 w 10000"/>
              <a:gd name="connsiteY111" fmla="*/ 5652 h 10000"/>
              <a:gd name="connsiteX112" fmla="*/ 8745 w 10000"/>
              <a:gd name="connsiteY112" fmla="*/ 5468 h 10000"/>
              <a:gd name="connsiteX113" fmla="*/ 8837 w 10000"/>
              <a:gd name="connsiteY113" fmla="*/ 5278 h 10000"/>
              <a:gd name="connsiteX114" fmla="*/ 8927 w 10000"/>
              <a:gd name="connsiteY114" fmla="*/ 5089 h 10000"/>
              <a:gd name="connsiteX115" fmla="*/ 9014 w 10000"/>
              <a:gd name="connsiteY115" fmla="*/ 4893 h 10000"/>
              <a:gd name="connsiteX116" fmla="*/ 9098 w 10000"/>
              <a:gd name="connsiteY116" fmla="*/ 4698 h 10000"/>
              <a:gd name="connsiteX117" fmla="*/ 9178 w 10000"/>
              <a:gd name="connsiteY117" fmla="*/ 4500 h 10000"/>
              <a:gd name="connsiteX118" fmla="*/ 9256 w 10000"/>
              <a:gd name="connsiteY118" fmla="*/ 4294 h 10000"/>
              <a:gd name="connsiteX119" fmla="*/ 9330 w 10000"/>
              <a:gd name="connsiteY119" fmla="*/ 4091 h 10000"/>
              <a:gd name="connsiteX120" fmla="*/ 9401 w 10000"/>
              <a:gd name="connsiteY120" fmla="*/ 3885 h 10000"/>
              <a:gd name="connsiteX121" fmla="*/ 9470 w 10000"/>
              <a:gd name="connsiteY121" fmla="*/ 3674 h 10000"/>
              <a:gd name="connsiteX122" fmla="*/ 9535 w 10000"/>
              <a:gd name="connsiteY122" fmla="*/ 3464 h 10000"/>
              <a:gd name="connsiteX123" fmla="*/ 9599 w 10000"/>
              <a:gd name="connsiteY123" fmla="*/ 3248 h 10000"/>
              <a:gd name="connsiteX124" fmla="*/ 9656 w 10000"/>
              <a:gd name="connsiteY124" fmla="*/ 3030 h 10000"/>
              <a:gd name="connsiteX125" fmla="*/ 9711 w 10000"/>
              <a:gd name="connsiteY125" fmla="*/ 2815 h 10000"/>
              <a:gd name="connsiteX126" fmla="*/ 9763 w 10000"/>
              <a:gd name="connsiteY126" fmla="*/ 2592 h 10000"/>
              <a:gd name="connsiteX127" fmla="*/ 9813 w 10000"/>
              <a:gd name="connsiteY127" fmla="*/ 2369 h 10000"/>
              <a:gd name="connsiteX128" fmla="*/ 9856 w 10000"/>
              <a:gd name="connsiteY128" fmla="*/ 2143 h 10000"/>
              <a:gd name="connsiteX129" fmla="*/ 9898 w 10000"/>
              <a:gd name="connsiteY129" fmla="*/ 1918 h 10000"/>
              <a:gd name="connsiteX130" fmla="*/ 9936 w 10000"/>
              <a:gd name="connsiteY130" fmla="*/ 1690 h 10000"/>
              <a:gd name="connsiteX131" fmla="*/ 9970 w 10000"/>
              <a:gd name="connsiteY131" fmla="*/ 1457 h 10000"/>
              <a:gd name="connsiteX132" fmla="*/ 10000 w 10000"/>
              <a:gd name="connsiteY132" fmla="*/ 1222 h 10000"/>
              <a:gd name="connsiteX133" fmla="*/ 7611 w 10000"/>
              <a:gd name="connsiteY133" fmla="*/ 1876 h 10000"/>
              <a:gd name="connsiteX134" fmla="*/ 5615 w 10000"/>
              <a:gd name="connsiteY134"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0 w 10000"/>
              <a:gd name="connsiteY50" fmla="*/ 6085 h 10000"/>
              <a:gd name="connsiteX51" fmla="*/ 209 w 10000"/>
              <a:gd name="connsiteY51" fmla="*/ 9512 h 10000"/>
              <a:gd name="connsiteX52" fmla="*/ 344 w 10000"/>
              <a:gd name="connsiteY52" fmla="*/ 9569 h 10000"/>
              <a:gd name="connsiteX53" fmla="*/ 481 w 10000"/>
              <a:gd name="connsiteY53" fmla="*/ 9623 h 10000"/>
              <a:gd name="connsiteX54" fmla="*/ 621 w 10000"/>
              <a:gd name="connsiteY54" fmla="*/ 9673 h 10000"/>
              <a:gd name="connsiteX55" fmla="*/ 758 w 10000"/>
              <a:gd name="connsiteY55" fmla="*/ 9720 h 10000"/>
              <a:gd name="connsiteX56" fmla="*/ 899 w 10000"/>
              <a:gd name="connsiteY56" fmla="*/ 9765 h 10000"/>
              <a:gd name="connsiteX57" fmla="*/ 1040 w 10000"/>
              <a:gd name="connsiteY57" fmla="*/ 9804 h 10000"/>
              <a:gd name="connsiteX58" fmla="*/ 1182 w 10000"/>
              <a:gd name="connsiteY58" fmla="*/ 9839 h 10000"/>
              <a:gd name="connsiteX59" fmla="*/ 1325 w 10000"/>
              <a:gd name="connsiteY59" fmla="*/ 9874 h 10000"/>
              <a:gd name="connsiteX60" fmla="*/ 1471 w 10000"/>
              <a:gd name="connsiteY60" fmla="*/ 9903 h 10000"/>
              <a:gd name="connsiteX61" fmla="*/ 1614 w 10000"/>
              <a:gd name="connsiteY61" fmla="*/ 9926 h 10000"/>
              <a:gd name="connsiteX62" fmla="*/ 1760 w 10000"/>
              <a:gd name="connsiteY62" fmla="*/ 9948 h 10000"/>
              <a:gd name="connsiteX63" fmla="*/ 1906 w 10000"/>
              <a:gd name="connsiteY63" fmla="*/ 9965 h 10000"/>
              <a:gd name="connsiteX64" fmla="*/ 2052 w 10000"/>
              <a:gd name="connsiteY64" fmla="*/ 9980 h 10000"/>
              <a:gd name="connsiteX65" fmla="*/ 2202 w 10000"/>
              <a:gd name="connsiteY65" fmla="*/ 9990 h 10000"/>
              <a:gd name="connsiteX66" fmla="*/ 2350 w 10000"/>
              <a:gd name="connsiteY66" fmla="*/ 9995 h 10000"/>
              <a:gd name="connsiteX67" fmla="*/ 2498 w 10000"/>
              <a:gd name="connsiteY67" fmla="*/ 10000 h 10000"/>
              <a:gd name="connsiteX68" fmla="*/ 2677 w 10000"/>
              <a:gd name="connsiteY68" fmla="*/ 9995 h 10000"/>
              <a:gd name="connsiteX69" fmla="*/ 2850 w 10000"/>
              <a:gd name="connsiteY69" fmla="*/ 9988 h 10000"/>
              <a:gd name="connsiteX70" fmla="*/ 3024 w 10000"/>
              <a:gd name="connsiteY70" fmla="*/ 9975 h 10000"/>
              <a:gd name="connsiteX71" fmla="*/ 3195 w 10000"/>
              <a:gd name="connsiteY71" fmla="*/ 9953 h 10000"/>
              <a:gd name="connsiteX72" fmla="*/ 3368 w 10000"/>
              <a:gd name="connsiteY72" fmla="*/ 9931 h 10000"/>
              <a:gd name="connsiteX73" fmla="*/ 3538 w 10000"/>
              <a:gd name="connsiteY73" fmla="*/ 9898 h 10000"/>
              <a:gd name="connsiteX74" fmla="*/ 3709 w 10000"/>
              <a:gd name="connsiteY74" fmla="*/ 9866 h 10000"/>
              <a:gd name="connsiteX75" fmla="*/ 3877 w 10000"/>
              <a:gd name="connsiteY75" fmla="*/ 9824 h 10000"/>
              <a:gd name="connsiteX76" fmla="*/ 4042 w 10000"/>
              <a:gd name="connsiteY76" fmla="*/ 9779 h 10000"/>
              <a:gd name="connsiteX77" fmla="*/ 4210 w 10000"/>
              <a:gd name="connsiteY77" fmla="*/ 9730 h 10000"/>
              <a:gd name="connsiteX78" fmla="*/ 4372 w 10000"/>
              <a:gd name="connsiteY78" fmla="*/ 9673 h 10000"/>
              <a:gd name="connsiteX79" fmla="*/ 4536 w 10000"/>
              <a:gd name="connsiteY79" fmla="*/ 9616 h 10000"/>
              <a:gd name="connsiteX80" fmla="*/ 4697 w 10000"/>
              <a:gd name="connsiteY80" fmla="*/ 9552 h 10000"/>
              <a:gd name="connsiteX81" fmla="*/ 4857 w 10000"/>
              <a:gd name="connsiteY81" fmla="*/ 9482 h 10000"/>
              <a:gd name="connsiteX82" fmla="*/ 5014 w 10000"/>
              <a:gd name="connsiteY82" fmla="*/ 9405 h 10000"/>
              <a:gd name="connsiteX83" fmla="*/ 5171 w 10000"/>
              <a:gd name="connsiteY83" fmla="*/ 9329 h 10000"/>
              <a:gd name="connsiteX84" fmla="*/ 5326 w 10000"/>
              <a:gd name="connsiteY84" fmla="*/ 9244 h 10000"/>
              <a:gd name="connsiteX85" fmla="*/ 5480 w 10000"/>
              <a:gd name="connsiteY85" fmla="*/ 9158 h 10000"/>
              <a:gd name="connsiteX86" fmla="*/ 5631 w 10000"/>
              <a:gd name="connsiteY86" fmla="*/ 9063 h 10000"/>
              <a:gd name="connsiteX87" fmla="*/ 5781 w 10000"/>
              <a:gd name="connsiteY87" fmla="*/ 8967 h 10000"/>
              <a:gd name="connsiteX88" fmla="*/ 5931 w 10000"/>
              <a:gd name="connsiteY88" fmla="*/ 8865 h 10000"/>
              <a:gd name="connsiteX89" fmla="*/ 6075 w 10000"/>
              <a:gd name="connsiteY89" fmla="*/ 8759 h 10000"/>
              <a:gd name="connsiteX90" fmla="*/ 6221 w 10000"/>
              <a:gd name="connsiteY90" fmla="*/ 8652 h 10000"/>
              <a:gd name="connsiteX91" fmla="*/ 6364 w 10000"/>
              <a:gd name="connsiteY91" fmla="*/ 8536 h 10000"/>
              <a:gd name="connsiteX92" fmla="*/ 6505 w 10000"/>
              <a:gd name="connsiteY92" fmla="*/ 8417 h 10000"/>
              <a:gd name="connsiteX93" fmla="*/ 6642 w 10000"/>
              <a:gd name="connsiteY93" fmla="*/ 8295 h 10000"/>
              <a:gd name="connsiteX94" fmla="*/ 6780 w 10000"/>
              <a:gd name="connsiteY94" fmla="*/ 8169 h 10000"/>
              <a:gd name="connsiteX95" fmla="*/ 6913 w 10000"/>
              <a:gd name="connsiteY95" fmla="*/ 8040 h 10000"/>
              <a:gd name="connsiteX96" fmla="*/ 7045 w 10000"/>
              <a:gd name="connsiteY96" fmla="*/ 7904 h 10000"/>
              <a:gd name="connsiteX97" fmla="*/ 7175 w 10000"/>
              <a:gd name="connsiteY97" fmla="*/ 7768 h 10000"/>
              <a:gd name="connsiteX98" fmla="*/ 7304 w 10000"/>
              <a:gd name="connsiteY98" fmla="*/ 7624 h 10000"/>
              <a:gd name="connsiteX99" fmla="*/ 7429 w 10000"/>
              <a:gd name="connsiteY99" fmla="*/ 7480 h 10000"/>
              <a:gd name="connsiteX100" fmla="*/ 7552 w 10000"/>
              <a:gd name="connsiteY100" fmla="*/ 7329 h 10000"/>
              <a:gd name="connsiteX101" fmla="*/ 7673 w 10000"/>
              <a:gd name="connsiteY101" fmla="*/ 7178 h 10000"/>
              <a:gd name="connsiteX102" fmla="*/ 7792 w 10000"/>
              <a:gd name="connsiteY102" fmla="*/ 7024 h 10000"/>
              <a:gd name="connsiteX103" fmla="*/ 7907 w 10000"/>
              <a:gd name="connsiteY103" fmla="*/ 6861 h 10000"/>
              <a:gd name="connsiteX104" fmla="*/ 8022 w 10000"/>
              <a:gd name="connsiteY104" fmla="*/ 6697 h 10000"/>
              <a:gd name="connsiteX105" fmla="*/ 8133 w 10000"/>
              <a:gd name="connsiteY105" fmla="*/ 6534 h 10000"/>
              <a:gd name="connsiteX106" fmla="*/ 8240 w 10000"/>
              <a:gd name="connsiteY106" fmla="*/ 6365 h 10000"/>
              <a:gd name="connsiteX107" fmla="*/ 8347 w 10000"/>
              <a:gd name="connsiteY107" fmla="*/ 6189 h 10000"/>
              <a:gd name="connsiteX108" fmla="*/ 8450 w 10000"/>
              <a:gd name="connsiteY108" fmla="*/ 6016 h 10000"/>
              <a:gd name="connsiteX109" fmla="*/ 8552 w 10000"/>
              <a:gd name="connsiteY109" fmla="*/ 5835 h 10000"/>
              <a:gd name="connsiteX110" fmla="*/ 8650 w 10000"/>
              <a:gd name="connsiteY110" fmla="*/ 5652 h 10000"/>
              <a:gd name="connsiteX111" fmla="*/ 8745 w 10000"/>
              <a:gd name="connsiteY111" fmla="*/ 5468 h 10000"/>
              <a:gd name="connsiteX112" fmla="*/ 8837 w 10000"/>
              <a:gd name="connsiteY112" fmla="*/ 5278 h 10000"/>
              <a:gd name="connsiteX113" fmla="*/ 8927 w 10000"/>
              <a:gd name="connsiteY113" fmla="*/ 5089 h 10000"/>
              <a:gd name="connsiteX114" fmla="*/ 9014 w 10000"/>
              <a:gd name="connsiteY114" fmla="*/ 4893 h 10000"/>
              <a:gd name="connsiteX115" fmla="*/ 9098 w 10000"/>
              <a:gd name="connsiteY115" fmla="*/ 4698 h 10000"/>
              <a:gd name="connsiteX116" fmla="*/ 9178 w 10000"/>
              <a:gd name="connsiteY116" fmla="*/ 4500 h 10000"/>
              <a:gd name="connsiteX117" fmla="*/ 9256 w 10000"/>
              <a:gd name="connsiteY117" fmla="*/ 4294 h 10000"/>
              <a:gd name="connsiteX118" fmla="*/ 9330 w 10000"/>
              <a:gd name="connsiteY118" fmla="*/ 4091 h 10000"/>
              <a:gd name="connsiteX119" fmla="*/ 9401 w 10000"/>
              <a:gd name="connsiteY119" fmla="*/ 3885 h 10000"/>
              <a:gd name="connsiteX120" fmla="*/ 9470 w 10000"/>
              <a:gd name="connsiteY120" fmla="*/ 3674 h 10000"/>
              <a:gd name="connsiteX121" fmla="*/ 9535 w 10000"/>
              <a:gd name="connsiteY121" fmla="*/ 3464 h 10000"/>
              <a:gd name="connsiteX122" fmla="*/ 9599 w 10000"/>
              <a:gd name="connsiteY122" fmla="*/ 3248 h 10000"/>
              <a:gd name="connsiteX123" fmla="*/ 9656 w 10000"/>
              <a:gd name="connsiteY123" fmla="*/ 3030 h 10000"/>
              <a:gd name="connsiteX124" fmla="*/ 9711 w 10000"/>
              <a:gd name="connsiteY124" fmla="*/ 2815 h 10000"/>
              <a:gd name="connsiteX125" fmla="*/ 9763 w 10000"/>
              <a:gd name="connsiteY125" fmla="*/ 2592 h 10000"/>
              <a:gd name="connsiteX126" fmla="*/ 9813 w 10000"/>
              <a:gd name="connsiteY126" fmla="*/ 2369 h 10000"/>
              <a:gd name="connsiteX127" fmla="*/ 9856 w 10000"/>
              <a:gd name="connsiteY127" fmla="*/ 2143 h 10000"/>
              <a:gd name="connsiteX128" fmla="*/ 9898 w 10000"/>
              <a:gd name="connsiteY128" fmla="*/ 1918 h 10000"/>
              <a:gd name="connsiteX129" fmla="*/ 9936 w 10000"/>
              <a:gd name="connsiteY129" fmla="*/ 1690 h 10000"/>
              <a:gd name="connsiteX130" fmla="*/ 9970 w 10000"/>
              <a:gd name="connsiteY130" fmla="*/ 1457 h 10000"/>
              <a:gd name="connsiteX131" fmla="*/ 10000 w 10000"/>
              <a:gd name="connsiteY131" fmla="*/ 1222 h 10000"/>
              <a:gd name="connsiteX132" fmla="*/ 7611 w 10000"/>
              <a:gd name="connsiteY132" fmla="*/ 1876 h 10000"/>
              <a:gd name="connsiteX133" fmla="*/ 5615 w 10000"/>
              <a:gd name="connsiteY133"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0 w 10000"/>
              <a:gd name="connsiteY49" fmla="*/ 6085 h 10000"/>
              <a:gd name="connsiteX50" fmla="*/ 209 w 10000"/>
              <a:gd name="connsiteY50" fmla="*/ 9512 h 10000"/>
              <a:gd name="connsiteX51" fmla="*/ 344 w 10000"/>
              <a:gd name="connsiteY51" fmla="*/ 9569 h 10000"/>
              <a:gd name="connsiteX52" fmla="*/ 481 w 10000"/>
              <a:gd name="connsiteY52" fmla="*/ 9623 h 10000"/>
              <a:gd name="connsiteX53" fmla="*/ 621 w 10000"/>
              <a:gd name="connsiteY53" fmla="*/ 9673 h 10000"/>
              <a:gd name="connsiteX54" fmla="*/ 758 w 10000"/>
              <a:gd name="connsiteY54" fmla="*/ 9720 h 10000"/>
              <a:gd name="connsiteX55" fmla="*/ 899 w 10000"/>
              <a:gd name="connsiteY55" fmla="*/ 9765 h 10000"/>
              <a:gd name="connsiteX56" fmla="*/ 1040 w 10000"/>
              <a:gd name="connsiteY56" fmla="*/ 9804 h 10000"/>
              <a:gd name="connsiteX57" fmla="*/ 1182 w 10000"/>
              <a:gd name="connsiteY57" fmla="*/ 9839 h 10000"/>
              <a:gd name="connsiteX58" fmla="*/ 1325 w 10000"/>
              <a:gd name="connsiteY58" fmla="*/ 9874 h 10000"/>
              <a:gd name="connsiteX59" fmla="*/ 1471 w 10000"/>
              <a:gd name="connsiteY59" fmla="*/ 9903 h 10000"/>
              <a:gd name="connsiteX60" fmla="*/ 1614 w 10000"/>
              <a:gd name="connsiteY60" fmla="*/ 9926 h 10000"/>
              <a:gd name="connsiteX61" fmla="*/ 1760 w 10000"/>
              <a:gd name="connsiteY61" fmla="*/ 9948 h 10000"/>
              <a:gd name="connsiteX62" fmla="*/ 1906 w 10000"/>
              <a:gd name="connsiteY62" fmla="*/ 9965 h 10000"/>
              <a:gd name="connsiteX63" fmla="*/ 2052 w 10000"/>
              <a:gd name="connsiteY63" fmla="*/ 9980 h 10000"/>
              <a:gd name="connsiteX64" fmla="*/ 2202 w 10000"/>
              <a:gd name="connsiteY64" fmla="*/ 9990 h 10000"/>
              <a:gd name="connsiteX65" fmla="*/ 2350 w 10000"/>
              <a:gd name="connsiteY65" fmla="*/ 9995 h 10000"/>
              <a:gd name="connsiteX66" fmla="*/ 2498 w 10000"/>
              <a:gd name="connsiteY66" fmla="*/ 10000 h 10000"/>
              <a:gd name="connsiteX67" fmla="*/ 2677 w 10000"/>
              <a:gd name="connsiteY67" fmla="*/ 9995 h 10000"/>
              <a:gd name="connsiteX68" fmla="*/ 2850 w 10000"/>
              <a:gd name="connsiteY68" fmla="*/ 9988 h 10000"/>
              <a:gd name="connsiteX69" fmla="*/ 3024 w 10000"/>
              <a:gd name="connsiteY69" fmla="*/ 9975 h 10000"/>
              <a:gd name="connsiteX70" fmla="*/ 3195 w 10000"/>
              <a:gd name="connsiteY70" fmla="*/ 9953 h 10000"/>
              <a:gd name="connsiteX71" fmla="*/ 3368 w 10000"/>
              <a:gd name="connsiteY71" fmla="*/ 9931 h 10000"/>
              <a:gd name="connsiteX72" fmla="*/ 3538 w 10000"/>
              <a:gd name="connsiteY72" fmla="*/ 9898 h 10000"/>
              <a:gd name="connsiteX73" fmla="*/ 3709 w 10000"/>
              <a:gd name="connsiteY73" fmla="*/ 9866 h 10000"/>
              <a:gd name="connsiteX74" fmla="*/ 3877 w 10000"/>
              <a:gd name="connsiteY74" fmla="*/ 9824 h 10000"/>
              <a:gd name="connsiteX75" fmla="*/ 4042 w 10000"/>
              <a:gd name="connsiteY75" fmla="*/ 9779 h 10000"/>
              <a:gd name="connsiteX76" fmla="*/ 4210 w 10000"/>
              <a:gd name="connsiteY76" fmla="*/ 9730 h 10000"/>
              <a:gd name="connsiteX77" fmla="*/ 4372 w 10000"/>
              <a:gd name="connsiteY77" fmla="*/ 9673 h 10000"/>
              <a:gd name="connsiteX78" fmla="*/ 4536 w 10000"/>
              <a:gd name="connsiteY78" fmla="*/ 9616 h 10000"/>
              <a:gd name="connsiteX79" fmla="*/ 4697 w 10000"/>
              <a:gd name="connsiteY79" fmla="*/ 9552 h 10000"/>
              <a:gd name="connsiteX80" fmla="*/ 4857 w 10000"/>
              <a:gd name="connsiteY80" fmla="*/ 9482 h 10000"/>
              <a:gd name="connsiteX81" fmla="*/ 5014 w 10000"/>
              <a:gd name="connsiteY81" fmla="*/ 9405 h 10000"/>
              <a:gd name="connsiteX82" fmla="*/ 5171 w 10000"/>
              <a:gd name="connsiteY82" fmla="*/ 9329 h 10000"/>
              <a:gd name="connsiteX83" fmla="*/ 5326 w 10000"/>
              <a:gd name="connsiteY83" fmla="*/ 9244 h 10000"/>
              <a:gd name="connsiteX84" fmla="*/ 5480 w 10000"/>
              <a:gd name="connsiteY84" fmla="*/ 9158 h 10000"/>
              <a:gd name="connsiteX85" fmla="*/ 5631 w 10000"/>
              <a:gd name="connsiteY85" fmla="*/ 9063 h 10000"/>
              <a:gd name="connsiteX86" fmla="*/ 5781 w 10000"/>
              <a:gd name="connsiteY86" fmla="*/ 8967 h 10000"/>
              <a:gd name="connsiteX87" fmla="*/ 5931 w 10000"/>
              <a:gd name="connsiteY87" fmla="*/ 8865 h 10000"/>
              <a:gd name="connsiteX88" fmla="*/ 6075 w 10000"/>
              <a:gd name="connsiteY88" fmla="*/ 8759 h 10000"/>
              <a:gd name="connsiteX89" fmla="*/ 6221 w 10000"/>
              <a:gd name="connsiteY89" fmla="*/ 8652 h 10000"/>
              <a:gd name="connsiteX90" fmla="*/ 6364 w 10000"/>
              <a:gd name="connsiteY90" fmla="*/ 8536 h 10000"/>
              <a:gd name="connsiteX91" fmla="*/ 6505 w 10000"/>
              <a:gd name="connsiteY91" fmla="*/ 8417 h 10000"/>
              <a:gd name="connsiteX92" fmla="*/ 6642 w 10000"/>
              <a:gd name="connsiteY92" fmla="*/ 8295 h 10000"/>
              <a:gd name="connsiteX93" fmla="*/ 6780 w 10000"/>
              <a:gd name="connsiteY93" fmla="*/ 8169 h 10000"/>
              <a:gd name="connsiteX94" fmla="*/ 6913 w 10000"/>
              <a:gd name="connsiteY94" fmla="*/ 8040 h 10000"/>
              <a:gd name="connsiteX95" fmla="*/ 7045 w 10000"/>
              <a:gd name="connsiteY95" fmla="*/ 7904 h 10000"/>
              <a:gd name="connsiteX96" fmla="*/ 7175 w 10000"/>
              <a:gd name="connsiteY96" fmla="*/ 7768 h 10000"/>
              <a:gd name="connsiteX97" fmla="*/ 7304 w 10000"/>
              <a:gd name="connsiteY97" fmla="*/ 7624 h 10000"/>
              <a:gd name="connsiteX98" fmla="*/ 7429 w 10000"/>
              <a:gd name="connsiteY98" fmla="*/ 7480 h 10000"/>
              <a:gd name="connsiteX99" fmla="*/ 7552 w 10000"/>
              <a:gd name="connsiteY99" fmla="*/ 7329 h 10000"/>
              <a:gd name="connsiteX100" fmla="*/ 7673 w 10000"/>
              <a:gd name="connsiteY100" fmla="*/ 7178 h 10000"/>
              <a:gd name="connsiteX101" fmla="*/ 7792 w 10000"/>
              <a:gd name="connsiteY101" fmla="*/ 7024 h 10000"/>
              <a:gd name="connsiteX102" fmla="*/ 7907 w 10000"/>
              <a:gd name="connsiteY102" fmla="*/ 6861 h 10000"/>
              <a:gd name="connsiteX103" fmla="*/ 8022 w 10000"/>
              <a:gd name="connsiteY103" fmla="*/ 6697 h 10000"/>
              <a:gd name="connsiteX104" fmla="*/ 8133 w 10000"/>
              <a:gd name="connsiteY104" fmla="*/ 6534 h 10000"/>
              <a:gd name="connsiteX105" fmla="*/ 8240 w 10000"/>
              <a:gd name="connsiteY105" fmla="*/ 6365 h 10000"/>
              <a:gd name="connsiteX106" fmla="*/ 8347 w 10000"/>
              <a:gd name="connsiteY106" fmla="*/ 6189 h 10000"/>
              <a:gd name="connsiteX107" fmla="*/ 8450 w 10000"/>
              <a:gd name="connsiteY107" fmla="*/ 6016 h 10000"/>
              <a:gd name="connsiteX108" fmla="*/ 8552 w 10000"/>
              <a:gd name="connsiteY108" fmla="*/ 5835 h 10000"/>
              <a:gd name="connsiteX109" fmla="*/ 8650 w 10000"/>
              <a:gd name="connsiteY109" fmla="*/ 5652 h 10000"/>
              <a:gd name="connsiteX110" fmla="*/ 8745 w 10000"/>
              <a:gd name="connsiteY110" fmla="*/ 5468 h 10000"/>
              <a:gd name="connsiteX111" fmla="*/ 8837 w 10000"/>
              <a:gd name="connsiteY111" fmla="*/ 5278 h 10000"/>
              <a:gd name="connsiteX112" fmla="*/ 8927 w 10000"/>
              <a:gd name="connsiteY112" fmla="*/ 5089 h 10000"/>
              <a:gd name="connsiteX113" fmla="*/ 9014 w 10000"/>
              <a:gd name="connsiteY113" fmla="*/ 4893 h 10000"/>
              <a:gd name="connsiteX114" fmla="*/ 9098 w 10000"/>
              <a:gd name="connsiteY114" fmla="*/ 4698 h 10000"/>
              <a:gd name="connsiteX115" fmla="*/ 9178 w 10000"/>
              <a:gd name="connsiteY115" fmla="*/ 4500 h 10000"/>
              <a:gd name="connsiteX116" fmla="*/ 9256 w 10000"/>
              <a:gd name="connsiteY116" fmla="*/ 4294 h 10000"/>
              <a:gd name="connsiteX117" fmla="*/ 9330 w 10000"/>
              <a:gd name="connsiteY117" fmla="*/ 4091 h 10000"/>
              <a:gd name="connsiteX118" fmla="*/ 9401 w 10000"/>
              <a:gd name="connsiteY118" fmla="*/ 3885 h 10000"/>
              <a:gd name="connsiteX119" fmla="*/ 9470 w 10000"/>
              <a:gd name="connsiteY119" fmla="*/ 3674 h 10000"/>
              <a:gd name="connsiteX120" fmla="*/ 9535 w 10000"/>
              <a:gd name="connsiteY120" fmla="*/ 3464 h 10000"/>
              <a:gd name="connsiteX121" fmla="*/ 9599 w 10000"/>
              <a:gd name="connsiteY121" fmla="*/ 3248 h 10000"/>
              <a:gd name="connsiteX122" fmla="*/ 9656 w 10000"/>
              <a:gd name="connsiteY122" fmla="*/ 3030 h 10000"/>
              <a:gd name="connsiteX123" fmla="*/ 9711 w 10000"/>
              <a:gd name="connsiteY123" fmla="*/ 2815 h 10000"/>
              <a:gd name="connsiteX124" fmla="*/ 9763 w 10000"/>
              <a:gd name="connsiteY124" fmla="*/ 2592 h 10000"/>
              <a:gd name="connsiteX125" fmla="*/ 9813 w 10000"/>
              <a:gd name="connsiteY125" fmla="*/ 2369 h 10000"/>
              <a:gd name="connsiteX126" fmla="*/ 9856 w 10000"/>
              <a:gd name="connsiteY126" fmla="*/ 2143 h 10000"/>
              <a:gd name="connsiteX127" fmla="*/ 9898 w 10000"/>
              <a:gd name="connsiteY127" fmla="*/ 1918 h 10000"/>
              <a:gd name="connsiteX128" fmla="*/ 9936 w 10000"/>
              <a:gd name="connsiteY128" fmla="*/ 1690 h 10000"/>
              <a:gd name="connsiteX129" fmla="*/ 9970 w 10000"/>
              <a:gd name="connsiteY129" fmla="*/ 1457 h 10000"/>
              <a:gd name="connsiteX130" fmla="*/ 10000 w 10000"/>
              <a:gd name="connsiteY130" fmla="*/ 1222 h 10000"/>
              <a:gd name="connsiteX131" fmla="*/ 7611 w 10000"/>
              <a:gd name="connsiteY131" fmla="*/ 1876 h 10000"/>
              <a:gd name="connsiteX132" fmla="*/ 5615 w 10000"/>
              <a:gd name="connsiteY132"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0 w 10000"/>
              <a:gd name="connsiteY48" fmla="*/ 6085 h 10000"/>
              <a:gd name="connsiteX49" fmla="*/ 209 w 10000"/>
              <a:gd name="connsiteY49" fmla="*/ 9512 h 10000"/>
              <a:gd name="connsiteX50" fmla="*/ 344 w 10000"/>
              <a:gd name="connsiteY50" fmla="*/ 9569 h 10000"/>
              <a:gd name="connsiteX51" fmla="*/ 481 w 10000"/>
              <a:gd name="connsiteY51" fmla="*/ 9623 h 10000"/>
              <a:gd name="connsiteX52" fmla="*/ 621 w 10000"/>
              <a:gd name="connsiteY52" fmla="*/ 9673 h 10000"/>
              <a:gd name="connsiteX53" fmla="*/ 758 w 10000"/>
              <a:gd name="connsiteY53" fmla="*/ 9720 h 10000"/>
              <a:gd name="connsiteX54" fmla="*/ 899 w 10000"/>
              <a:gd name="connsiteY54" fmla="*/ 9765 h 10000"/>
              <a:gd name="connsiteX55" fmla="*/ 1040 w 10000"/>
              <a:gd name="connsiteY55" fmla="*/ 9804 h 10000"/>
              <a:gd name="connsiteX56" fmla="*/ 1182 w 10000"/>
              <a:gd name="connsiteY56" fmla="*/ 9839 h 10000"/>
              <a:gd name="connsiteX57" fmla="*/ 1325 w 10000"/>
              <a:gd name="connsiteY57" fmla="*/ 9874 h 10000"/>
              <a:gd name="connsiteX58" fmla="*/ 1471 w 10000"/>
              <a:gd name="connsiteY58" fmla="*/ 9903 h 10000"/>
              <a:gd name="connsiteX59" fmla="*/ 1614 w 10000"/>
              <a:gd name="connsiteY59" fmla="*/ 9926 h 10000"/>
              <a:gd name="connsiteX60" fmla="*/ 1760 w 10000"/>
              <a:gd name="connsiteY60" fmla="*/ 9948 h 10000"/>
              <a:gd name="connsiteX61" fmla="*/ 1906 w 10000"/>
              <a:gd name="connsiteY61" fmla="*/ 9965 h 10000"/>
              <a:gd name="connsiteX62" fmla="*/ 2052 w 10000"/>
              <a:gd name="connsiteY62" fmla="*/ 9980 h 10000"/>
              <a:gd name="connsiteX63" fmla="*/ 2202 w 10000"/>
              <a:gd name="connsiteY63" fmla="*/ 9990 h 10000"/>
              <a:gd name="connsiteX64" fmla="*/ 2350 w 10000"/>
              <a:gd name="connsiteY64" fmla="*/ 9995 h 10000"/>
              <a:gd name="connsiteX65" fmla="*/ 2498 w 10000"/>
              <a:gd name="connsiteY65" fmla="*/ 10000 h 10000"/>
              <a:gd name="connsiteX66" fmla="*/ 2677 w 10000"/>
              <a:gd name="connsiteY66" fmla="*/ 9995 h 10000"/>
              <a:gd name="connsiteX67" fmla="*/ 2850 w 10000"/>
              <a:gd name="connsiteY67" fmla="*/ 9988 h 10000"/>
              <a:gd name="connsiteX68" fmla="*/ 3024 w 10000"/>
              <a:gd name="connsiteY68" fmla="*/ 9975 h 10000"/>
              <a:gd name="connsiteX69" fmla="*/ 3195 w 10000"/>
              <a:gd name="connsiteY69" fmla="*/ 9953 h 10000"/>
              <a:gd name="connsiteX70" fmla="*/ 3368 w 10000"/>
              <a:gd name="connsiteY70" fmla="*/ 9931 h 10000"/>
              <a:gd name="connsiteX71" fmla="*/ 3538 w 10000"/>
              <a:gd name="connsiteY71" fmla="*/ 9898 h 10000"/>
              <a:gd name="connsiteX72" fmla="*/ 3709 w 10000"/>
              <a:gd name="connsiteY72" fmla="*/ 9866 h 10000"/>
              <a:gd name="connsiteX73" fmla="*/ 3877 w 10000"/>
              <a:gd name="connsiteY73" fmla="*/ 9824 h 10000"/>
              <a:gd name="connsiteX74" fmla="*/ 4042 w 10000"/>
              <a:gd name="connsiteY74" fmla="*/ 9779 h 10000"/>
              <a:gd name="connsiteX75" fmla="*/ 4210 w 10000"/>
              <a:gd name="connsiteY75" fmla="*/ 9730 h 10000"/>
              <a:gd name="connsiteX76" fmla="*/ 4372 w 10000"/>
              <a:gd name="connsiteY76" fmla="*/ 9673 h 10000"/>
              <a:gd name="connsiteX77" fmla="*/ 4536 w 10000"/>
              <a:gd name="connsiteY77" fmla="*/ 9616 h 10000"/>
              <a:gd name="connsiteX78" fmla="*/ 4697 w 10000"/>
              <a:gd name="connsiteY78" fmla="*/ 9552 h 10000"/>
              <a:gd name="connsiteX79" fmla="*/ 4857 w 10000"/>
              <a:gd name="connsiteY79" fmla="*/ 9482 h 10000"/>
              <a:gd name="connsiteX80" fmla="*/ 5014 w 10000"/>
              <a:gd name="connsiteY80" fmla="*/ 9405 h 10000"/>
              <a:gd name="connsiteX81" fmla="*/ 5171 w 10000"/>
              <a:gd name="connsiteY81" fmla="*/ 9329 h 10000"/>
              <a:gd name="connsiteX82" fmla="*/ 5326 w 10000"/>
              <a:gd name="connsiteY82" fmla="*/ 9244 h 10000"/>
              <a:gd name="connsiteX83" fmla="*/ 5480 w 10000"/>
              <a:gd name="connsiteY83" fmla="*/ 9158 h 10000"/>
              <a:gd name="connsiteX84" fmla="*/ 5631 w 10000"/>
              <a:gd name="connsiteY84" fmla="*/ 9063 h 10000"/>
              <a:gd name="connsiteX85" fmla="*/ 5781 w 10000"/>
              <a:gd name="connsiteY85" fmla="*/ 8967 h 10000"/>
              <a:gd name="connsiteX86" fmla="*/ 5931 w 10000"/>
              <a:gd name="connsiteY86" fmla="*/ 8865 h 10000"/>
              <a:gd name="connsiteX87" fmla="*/ 6075 w 10000"/>
              <a:gd name="connsiteY87" fmla="*/ 8759 h 10000"/>
              <a:gd name="connsiteX88" fmla="*/ 6221 w 10000"/>
              <a:gd name="connsiteY88" fmla="*/ 8652 h 10000"/>
              <a:gd name="connsiteX89" fmla="*/ 6364 w 10000"/>
              <a:gd name="connsiteY89" fmla="*/ 8536 h 10000"/>
              <a:gd name="connsiteX90" fmla="*/ 6505 w 10000"/>
              <a:gd name="connsiteY90" fmla="*/ 8417 h 10000"/>
              <a:gd name="connsiteX91" fmla="*/ 6642 w 10000"/>
              <a:gd name="connsiteY91" fmla="*/ 8295 h 10000"/>
              <a:gd name="connsiteX92" fmla="*/ 6780 w 10000"/>
              <a:gd name="connsiteY92" fmla="*/ 8169 h 10000"/>
              <a:gd name="connsiteX93" fmla="*/ 6913 w 10000"/>
              <a:gd name="connsiteY93" fmla="*/ 8040 h 10000"/>
              <a:gd name="connsiteX94" fmla="*/ 7045 w 10000"/>
              <a:gd name="connsiteY94" fmla="*/ 7904 h 10000"/>
              <a:gd name="connsiteX95" fmla="*/ 7175 w 10000"/>
              <a:gd name="connsiteY95" fmla="*/ 7768 h 10000"/>
              <a:gd name="connsiteX96" fmla="*/ 7304 w 10000"/>
              <a:gd name="connsiteY96" fmla="*/ 7624 h 10000"/>
              <a:gd name="connsiteX97" fmla="*/ 7429 w 10000"/>
              <a:gd name="connsiteY97" fmla="*/ 7480 h 10000"/>
              <a:gd name="connsiteX98" fmla="*/ 7552 w 10000"/>
              <a:gd name="connsiteY98" fmla="*/ 7329 h 10000"/>
              <a:gd name="connsiteX99" fmla="*/ 7673 w 10000"/>
              <a:gd name="connsiteY99" fmla="*/ 7178 h 10000"/>
              <a:gd name="connsiteX100" fmla="*/ 7792 w 10000"/>
              <a:gd name="connsiteY100" fmla="*/ 7024 h 10000"/>
              <a:gd name="connsiteX101" fmla="*/ 7907 w 10000"/>
              <a:gd name="connsiteY101" fmla="*/ 6861 h 10000"/>
              <a:gd name="connsiteX102" fmla="*/ 8022 w 10000"/>
              <a:gd name="connsiteY102" fmla="*/ 6697 h 10000"/>
              <a:gd name="connsiteX103" fmla="*/ 8133 w 10000"/>
              <a:gd name="connsiteY103" fmla="*/ 6534 h 10000"/>
              <a:gd name="connsiteX104" fmla="*/ 8240 w 10000"/>
              <a:gd name="connsiteY104" fmla="*/ 6365 h 10000"/>
              <a:gd name="connsiteX105" fmla="*/ 8347 w 10000"/>
              <a:gd name="connsiteY105" fmla="*/ 6189 h 10000"/>
              <a:gd name="connsiteX106" fmla="*/ 8450 w 10000"/>
              <a:gd name="connsiteY106" fmla="*/ 6016 h 10000"/>
              <a:gd name="connsiteX107" fmla="*/ 8552 w 10000"/>
              <a:gd name="connsiteY107" fmla="*/ 5835 h 10000"/>
              <a:gd name="connsiteX108" fmla="*/ 8650 w 10000"/>
              <a:gd name="connsiteY108" fmla="*/ 5652 h 10000"/>
              <a:gd name="connsiteX109" fmla="*/ 8745 w 10000"/>
              <a:gd name="connsiteY109" fmla="*/ 5468 h 10000"/>
              <a:gd name="connsiteX110" fmla="*/ 8837 w 10000"/>
              <a:gd name="connsiteY110" fmla="*/ 5278 h 10000"/>
              <a:gd name="connsiteX111" fmla="*/ 8927 w 10000"/>
              <a:gd name="connsiteY111" fmla="*/ 5089 h 10000"/>
              <a:gd name="connsiteX112" fmla="*/ 9014 w 10000"/>
              <a:gd name="connsiteY112" fmla="*/ 4893 h 10000"/>
              <a:gd name="connsiteX113" fmla="*/ 9098 w 10000"/>
              <a:gd name="connsiteY113" fmla="*/ 4698 h 10000"/>
              <a:gd name="connsiteX114" fmla="*/ 9178 w 10000"/>
              <a:gd name="connsiteY114" fmla="*/ 4500 h 10000"/>
              <a:gd name="connsiteX115" fmla="*/ 9256 w 10000"/>
              <a:gd name="connsiteY115" fmla="*/ 4294 h 10000"/>
              <a:gd name="connsiteX116" fmla="*/ 9330 w 10000"/>
              <a:gd name="connsiteY116" fmla="*/ 4091 h 10000"/>
              <a:gd name="connsiteX117" fmla="*/ 9401 w 10000"/>
              <a:gd name="connsiteY117" fmla="*/ 3885 h 10000"/>
              <a:gd name="connsiteX118" fmla="*/ 9470 w 10000"/>
              <a:gd name="connsiteY118" fmla="*/ 3674 h 10000"/>
              <a:gd name="connsiteX119" fmla="*/ 9535 w 10000"/>
              <a:gd name="connsiteY119" fmla="*/ 3464 h 10000"/>
              <a:gd name="connsiteX120" fmla="*/ 9599 w 10000"/>
              <a:gd name="connsiteY120" fmla="*/ 3248 h 10000"/>
              <a:gd name="connsiteX121" fmla="*/ 9656 w 10000"/>
              <a:gd name="connsiteY121" fmla="*/ 3030 h 10000"/>
              <a:gd name="connsiteX122" fmla="*/ 9711 w 10000"/>
              <a:gd name="connsiteY122" fmla="*/ 2815 h 10000"/>
              <a:gd name="connsiteX123" fmla="*/ 9763 w 10000"/>
              <a:gd name="connsiteY123" fmla="*/ 2592 h 10000"/>
              <a:gd name="connsiteX124" fmla="*/ 9813 w 10000"/>
              <a:gd name="connsiteY124" fmla="*/ 2369 h 10000"/>
              <a:gd name="connsiteX125" fmla="*/ 9856 w 10000"/>
              <a:gd name="connsiteY125" fmla="*/ 2143 h 10000"/>
              <a:gd name="connsiteX126" fmla="*/ 9898 w 10000"/>
              <a:gd name="connsiteY126" fmla="*/ 1918 h 10000"/>
              <a:gd name="connsiteX127" fmla="*/ 9936 w 10000"/>
              <a:gd name="connsiteY127" fmla="*/ 1690 h 10000"/>
              <a:gd name="connsiteX128" fmla="*/ 9970 w 10000"/>
              <a:gd name="connsiteY128" fmla="*/ 1457 h 10000"/>
              <a:gd name="connsiteX129" fmla="*/ 10000 w 10000"/>
              <a:gd name="connsiteY129" fmla="*/ 1222 h 10000"/>
              <a:gd name="connsiteX130" fmla="*/ 7611 w 10000"/>
              <a:gd name="connsiteY130" fmla="*/ 1876 h 10000"/>
              <a:gd name="connsiteX131" fmla="*/ 5615 w 10000"/>
              <a:gd name="connsiteY131"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0 w 10000"/>
              <a:gd name="connsiteY47" fmla="*/ 6085 h 10000"/>
              <a:gd name="connsiteX48" fmla="*/ 209 w 10000"/>
              <a:gd name="connsiteY48" fmla="*/ 9512 h 10000"/>
              <a:gd name="connsiteX49" fmla="*/ 344 w 10000"/>
              <a:gd name="connsiteY49" fmla="*/ 9569 h 10000"/>
              <a:gd name="connsiteX50" fmla="*/ 481 w 10000"/>
              <a:gd name="connsiteY50" fmla="*/ 9623 h 10000"/>
              <a:gd name="connsiteX51" fmla="*/ 621 w 10000"/>
              <a:gd name="connsiteY51" fmla="*/ 9673 h 10000"/>
              <a:gd name="connsiteX52" fmla="*/ 758 w 10000"/>
              <a:gd name="connsiteY52" fmla="*/ 9720 h 10000"/>
              <a:gd name="connsiteX53" fmla="*/ 899 w 10000"/>
              <a:gd name="connsiteY53" fmla="*/ 9765 h 10000"/>
              <a:gd name="connsiteX54" fmla="*/ 1040 w 10000"/>
              <a:gd name="connsiteY54" fmla="*/ 9804 h 10000"/>
              <a:gd name="connsiteX55" fmla="*/ 1182 w 10000"/>
              <a:gd name="connsiteY55" fmla="*/ 9839 h 10000"/>
              <a:gd name="connsiteX56" fmla="*/ 1325 w 10000"/>
              <a:gd name="connsiteY56" fmla="*/ 9874 h 10000"/>
              <a:gd name="connsiteX57" fmla="*/ 1471 w 10000"/>
              <a:gd name="connsiteY57" fmla="*/ 9903 h 10000"/>
              <a:gd name="connsiteX58" fmla="*/ 1614 w 10000"/>
              <a:gd name="connsiteY58" fmla="*/ 9926 h 10000"/>
              <a:gd name="connsiteX59" fmla="*/ 1760 w 10000"/>
              <a:gd name="connsiteY59" fmla="*/ 9948 h 10000"/>
              <a:gd name="connsiteX60" fmla="*/ 1906 w 10000"/>
              <a:gd name="connsiteY60" fmla="*/ 9965 h 10000"/>
              <a:gd name="connsiteX61" fmla="*/ 2052 w 10000"/>
              <a:gd name="connsiteY61" fmla="*/ 9980 h 10000"/>
              <a:gd name="connsiteX62" fmla="*/ 2202 w 10000"/>
              <a:gd name="connsiteY62" fmla="*/ 9990 h 10000"/>
              <a:gd name="connsiteX63" fmla="*/ 2350 w 10000"/>
              <a:gd name="connsiteY63" fmla="*/ 9995 h 10000"/>
              <a:gd name="connsiteX64" fmla="*/ 2498 w 10000"/>
              <a:gd name="connsiteY64" fmla="*/ 10000 h 10000"/>
              <a:gd name="connsiteX65" fmla="*/ 2677 w 10000"/>
              <a:gd name="connsiteY65" fmla="*/ 9995 h 10000"/>
              <a:gd name="connsiteX66" fmla="*/ 2850 w 10000"/>
              <a:gd name="connsiteY66" fmla="*/ 9988 h 10000"/>
              <a:gd name="connsiteX67" fmla="*/ 3024 w 10000"/>
              <a:gd name="connsiteY67" fmla="*/ 9975 h 10000"/>
              <a:gd name="connsiteX68" fmla="*/ 3195 w 10000"/>
              <a:gd name="connsiteY68" fmla="*/ 9953 h 10000"/>
              <a:gd name="connsiteX69" fmla="*/ 3368 w 10000"/>
              <a:gd name="connsiteY69" fmla="*/ 9931 h 10000"/>
              <a:gd name="connsiteX70" fmla="*/ 3538 w 10000"/>
              <a:gd name="connsiteY70" fmla="*/ 9898 h 10000"/>
              <a:gd name="connsiteX71" fmla="*/ 3709 w 10000"/>
              <a:gd name="connsiteY71" fmla="*/ 9866 h 10000"/>
              <a:gd name="connsiteX72" fmla="*/ 3877 w 10000"/>
              <a:gd name="connsiteY72" fmla="*/ 9824 h 10000"/>
              <a:gd name="connsiteX73" fmla="*/ 4042 w 10000"/>
              <a:gd name="connsiteY73" fmla="*/ 9779 h 10000"/>
              <a:gd name="connsiteX74" fmla="*/ 4210 w 10000"/>
              <a:gd name="connsiteY74" fmla="*/ 9730 h 10000"/>
              <a:gd name="connsiteX75" fmla="*/ 4372 w 10000"/>
              <a:gd name="connsiteY75" fmla="*/ 9673 h 10000"/>
              <a:gd name="connsiteX76" fmla="*/ 4536 w 10000"/>
              <a:gd name="connsiteY76" fmla="*/ 9616 h 10000"/>
              <a:gd name="connsiteX77" fmla="*/ 4697 w 10000"/>
              <a:gd name="connsiteY77" fmla="*/ 9552 h 10000"/>
              <a:gd name="connsiteX78" fmla="*/ 4857 w 10000"/>
              <a:gd name="connsiteY78" fmla="*/ 9482 h 10000"/>
              <a:gd name="connsiteX79" fmla="*/ 5014 w 10000"/>
              <a:gd name="connsiteY79" fmla="*/ 9405 h 10000"/>
              <a:gd name="connsiteX80" fmla="*/ 5171 w 10000"/>
              <a:gd name="connsiteY80" fmla="*/ 9329 h 10000"/>
              <a:gd name="connsiteX81" fmla="*/ 5326 w 10000"/>
              <a:gd name="connsiteY81" fmla="*/ 9244 h 10000"/>
              <a:gd name="connsiteX82" fmla="*/ 5480 w 10000"/>
              <a:gd name="connsiteY82" fmla="*/ 9158 h 10000"/>
              <a:gd name="connsiteX83" fmla="*/ 5631 w 10000"/>
              <a:gd name="connsiteY83" fmla="*/ 9063 h 10000"/>
              <a:gd name="connsiteX84" fmla="*/ 5781 w 10000"/>
              <a:gd name="connsiteY84" fmla="*/ 8967 h 10000"/>
              <a:gd name="connsiteX85" fmla="*/ 5931 w 10000"/>
              <a:gd name="connsiteY85" fmla="*/ 8865 h 10000"/>
              <a:gd name="connsiteX86" fmla="*/ 6075 w 10000"/>
              <a:gd name="connsiteY86" fmla="*/ 8759 h 10000"/>
              <a:gd name="connsiteX87" fmla="*/ 6221 w 10000"/>
              <a:gd name="connsiteY87" fmla="*/ 8652 h 10000"/>
              <a:gd name="connsiteX88" fmla="*/ 6364 w 10000"/>
              <a:gd name="connsiteY88" fmla="*/ 8536 h 10000"/>
              <a:gd name="connsiteX89" fmla="*/ 6505 w 10000"/>
              <a:gd name="connsiteY89" fmla="*/ 8417 h 10000"/>
              <a:gd name="connsiteX90" fmla="*/ 6642 w 10000"/>
              <a:gd name="connsiteY90" fmla="*/ 8295 h 10000"/>
              <a:gd name="connsiteX91" fmla="*/ 6780 w 10000"/>
              <a:gd name="connsiteY91" fmla="*/ 8169 h 10000"/>
              <a:gd name="connsiteX92" fmla="*/ 6913 w 10000"/>
              <a:gd name="connsiteY92" fmla="*/ 8040 h 10000"/>
              <a:gd name="connsiteX93" fmla="*/ 7045 w 10000"/>
              <a:gd name="connsiteY93" fmla="*/ 7904 h 10000"/>
              <a:gd name="connsiteX94" fmla="*/ 7175 w 10000"/>
              <a:gd name="connsiteY94" fmla="*/ 7768 h 10000"/>
              <a:gd name="connsiteX95" fmla="*/ 7304 w 10000"/>
              <a:gd name="connsiteY95" fmla="*/ 7624 h 10000"/>
              <a:gd name="connsiteX96" fmla="*/ 7429 w 10000"/>
              <a:gd name="connsiteY96" fmla="*/ 7480 h 10000"/>
              <a:gd name="connsiteX97" fmla="*/ 7552 w 10000"/>
              <a:gd name="connsiteY97" fmla="*/ 7329 h 10000"/>
              <a:gd name="connsiteX98" fmla="*/ 7673 w 10000"/>
              <a:gd name="connsiteY98" fmla="*/ 7178 h 10000"/>
              <a:gd name="connsiteX99" fmla="*/ 7792 w 10000"/>
              <a:gd name="connsiteY99" fmla="*/ 7024 h 10000"/>
              <a:gd name="connsiteX100" fmla="*/ 7907 w 10000"/>
              <a:gd name="connsiteY100" fmla="*/ 6861 h 10000"/>
              <a:gd name="connsiteX101" fmla="*/ 8022 w 10000"/>
              <a:gd name="connsiteY101" fmla="*/ 6697 h 10000"/>
              <a:gd name="connsiteX102" fmla="*/ 8133 w 10000"/>
              <a:gd name="connsiteY102" fmla="*/ 6534 h 10000"/>
              <a:gd name="connsiteX103" fmla="*/ 8240 w 10000"/>
              <a:gd name="connsiteY103" fmla="*/ 6365 h 10000"/>
              <a:gd name="connsiteX104" fmla="*/ 8347 w 10000"/>
              <a:gd name="connsiteY104" fmla="*/ 6189 h 10000"/>
              <a:gd name="connsiteX105" fmla="*/ 8450 w 10000"/>
              <a:gd name="connsiteY105" fmla="*/ 6016 h 10000"/>
              <a:gd name="connsiteX106" fmla="*/ 8552 w 10000"/>
              <a:gd name="connsiteY106" fmla="*/ 5835 h 10000"/>
              <a:gd name="connsiteX107" fmla="*/ 8650 w 10000"/>
              <a:gd name="connsiteY107" fmla="*/ 5652 h 10000"/>
              <a:gd name="connsiteX108" fmla="*/ 8745 w 10000"/>
              <a:gd name="connsiteY108" fmla="*/ 5468 h 10000"/>
              <a:gd name="connsiteX109" fmla="*/ 8837 w 10000"/>
              <a:gd name="connsiteY109" fmla="*/ 5278 h 10000"/>
              <a:gd name="connsiteX110" fmla="*/ 8927 w 10000"/>
              <a:gd name="connsiteY110" fmla="*/ 5089 h 10000"/>
              <a:gd name="connsiteX111" fmla="*/ 9014 w 10000"/>
              <a:gd name="connsiteY111" fmla="*/ 4893 h 10000"/>
              <a:gd name="connsiteX112" fmla="*/ 9098 w 10000"/>
              <a:gd name="connsiteY112" fmla="*/ 4698 h 10000"/>
              <a:gd name="connsiteX113" fmla="*/ 9178 w 10000"/>
              <a:gd name="connsiteY113" fmla="*/ 4500 h 10000"/>
              <a:gd name="connsiteX114" fmla="*/ 9256 w 10000"/>
              <a:gd name="connsiteY114" fmla="*/ 4294 h 10000"/>
              <a:gd name="connsiteX115" fmla="*/ 9330 w 10000"/>
              <a:gd name="connsiteY115" fmla="*/ 4091 h 10000"/>
              <a:gd name="connsiteX116" fmla="*/ 9401 w 10000"/>
              <a:gd name="connsiteY116" fmla="*/ 3885 h 10000"/>
              <a:gd name="connsiteX117" fmla="*/ 9470 w 10000"/>
              <a:gd name="connsiteY117" fmla="*/ 3674 h 10000"/>
              <a:gd name="connsiteX118" fmla="*/ 9535 w 10000"/>
              <a:gd name="connsiteY118" fmla="*/ 3464 h 10000"/>
              <a:gd name="connsiteX119" fmla="*/ 9599 w 10000"/>
              <a:gd name="connsiteY119" fmla="*/ 3248 h 10000"/>
              <a:gd name="connsiteX120" fmla="*/ 9656 w 10000"/>
              <a:gd name="connsiteY120" fmla="*/ 3030 h 10000"/>
              <a:gd name="connsiteX121" fmla="*/ 9711 w 10000"/>
              <a:gd name="connsiteY121" fmla="*/ 2815 h 10000"/>
              <a:gd name="connsiteX122" fmla="*/ 9763 w 10000"/>
              <a:gd name="connsiteY122" fmla="*/ 2592 h 10000"/>
              <a:gd name="connsiteX123" fmla="*/ 9813 w 10000"/>
              <a:gd name="connsiteY123" fmla="*/ 2369 h 10000"/>
              <a:gd name="connsiteX124" fmla="*/ 9856 w 10000"/>
              <a:gd name="connsiteY124" fmla="*/ 2143 h 10000"/>
              <a:gd name="connsiteX125" fmla="*/ 9898 w 10000"/>
              <a:gd name="connsiteY125" fmla="*/ 1918 h 10000"/>
              <a:gd name="connsiteX126" fmla="*/ 9936 w 10000"/>
              <a:gd name="connsiteY126" fmla="*/ 1690 h 10000"/>
              <a:gd name="connsiteX127" fmla="*/ 9970 w 10000"/>
              <a:gd name="connsiteY127" fmla="*/ 1457 h 10000"/>
              <a:gd name="connsiteX128" fmla="*/ 10000 w 10000"/>
              <a:gd name="connsiteY128" fmla="*/ 1222 h 10000"/>
              <a:gd name="connsiteX129" fmla="*/ 7611 w 10000"/>
              <a:gd name="connsiteY129" fmla="*/ 1876 h 10000"/>
              <a:gd name="connsiteX130" fmla="*/ 5615 w 10000"/>
              <a:gd name="connsiteY130"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0 w 10000"/>
              <a:gd name="connsiteY46" fmla="*/ 6085 h 10000"/>
              <a:gd name="connsiteX47" fmla="*/ 209 w 10000"/>
              <a:gd name="connsiteY47" fmla="*/ 9512 h 10000"/>
              <a:gd name="connsiteX48" fmla="*/ 344 w 10000"/>
              <a:gd name="connsiteY48" fmla="*/ 9569 h 10000"/>
              <a:gd name="connsiteX49" fmla="*/ 481 w 10000"/>
              <a:gd name="connsiteY49" fmla="*/ 9623 h 10000"/>
              <a:gd name="connsiteX50" fmla="*/ 621 w 10000"/>
              <a:gd name="connsiteY50" fmla="*/ 9673 h 10000"/>
              <a:gd name="connsiteX51" fmla="*/ 758 w 10000"/>
              <a:gd name="connsiteY51" fmla="*/ 9720 h 10000"/>
              <a:gd name="connsiteX52" fmla="*/ 899 w 10000"/>
              <a:gd name="connsiteY52" fmla="*/ 9765 h 10000"/>
              <a:gd name="connsiteX53" fmla="*/ 1040 w 10000"/>
              <a:gd name="connsiteY53" fmla="*/ 9804 h 10000"/>
              <a:gd name="connsiteX54" fmla="*/ 1182 w 10000"/>
              <a:gd name="connsiteY54" fmla="*/ 9839 h 10000"/>
              <a:gd name="connsiteX55" fmla="*/ 1325 w 10000"/>
              <a:gd name="connsiteY55" fmla="*/ 9874 h 10000"/>
              <a:gd name="connsiteX56" fmla="*/ 1471 w 10000"/>
              <a:gd name="connsiteY56" fmla="*/ 9903 h 10000"/>
              <a:gd name="connsiteX57" fmla="*/ 1614 w 10000"/>
              <a:gd name="connsiteY57" fmla="*/ 9926 h 10000"/>
              <a:gd name="connsiteX58" fmla="*/ 1760 w 10000"/>
              <a:gd name="connsiteY58" fmla="*/ 9948 h 10000"/>
              <a:gd name="connsiteX59" fmla="*/ 1906 w 10000"/>
              <a:gd name="connsiteY59" fmla="*/ 9965 h 10000"/>
              <a:gd name="connsiteX60" fmla="*/ 2052 w 10000"/>
              <a:gd name="connsiteY60" fmla="*/ 9980 h 10000"/>
              <a:gd name="connsiteX61" fmla="*/ 2202 w 10000"/>
              <a:gd name="connsiteY61" fmla="*/ 9990 h 10000"/>
              <a:gd name="connsiteX62" fmla="*/ 2350 w 10000"/>
              <a:gd name="connsiteY62" fmla="*/ 9995 h 10000"/>
              <a:gd name="connsiteX63" fmla="*/ 2498 w 10000"/>
              <a:gd name="connsiteY63" fmla="*/ 10000 h 10000"/>
              <a:gd name="connsiteX64" fmla="*/ 2677 w 10000"/>
              <a:gd name="connsiteY64" fmla="*/ 9995 h 10000"/>
              <a:gd name="connsiteX65" fmla="*/ 2850 w 10000"/>
              <a:gd name="connsiteY65" fmla="*/ 9988 h 10000"/>
              <a:gd name="connsiteX66" fmla="*/ 3024 w 10000"/>
              <a:gd name="connsiteY66" fmla="*/ 9975 h 10000"/>
              <a:gd name="connsiteX67" fmla="*/ 3195 w 10000"/>
              <a:gd name="connsiteY67" fmla="*/ 9953 h 10000"/>
              <a:gd name="connsiteX68" fmla="*/ 3368 w 10000"/>
              <a:gd name="connsiteY68" fmla="*/ 9931 h 10000"/>
              <a:gd name="connsiteX69" fmla="*/ 3538 w 10000"/>
              <a:gd name="connsiteY69" fmla="*/ 9898 h 10000"/>
              <a:gd name="connsiteX70" fmla="*/ 3709 w 10000"/>
              <a:gd name="connsiteY70" fmla="*/ 9866 h 10000"/>
              <a:gd name="connsiteX71" fmla="*/ 3877 w 10000"/>
              <a:gd name="connsiteY71" fmla="*/ 9824 h 10000"/>
              <a:gd name="connsiteX72" fmla="*/ 4042 w 10000"/>
              <a:gd name="connsiteY72" fmla="*/ 9779 h 10000"/>
              <a:gd name="connsiteX73" fmla="*/ 4210 w 10000"/>
              <a:gd name="connsiteY73" fmla="*/ 9730 h 10000"/>
              <a:gd name="connsiteX74" fmla="*/ 4372 w 10000"/>
              <a:gd name="connsiteY74" fmla="*/ 9673 h 10000"/>
              <a:gd name="connsiteX75" fmla="*/ 4536 w 10000"/>
              <a:gd name="connsiteY75" fmla="*/ 9616 h 10000"/>
              <a:gd name="connsiteX76" fmla="*/ 4697 w 10000"/>
              <a:gd name="connsiteY76" fmla="*/ 9552 h 10000"/>
              <a:gd name="connsiteX77" fmla="*/ 4857 w 10000"/>
              <a:gd name="connsiteY77" fmla="*/ 9482 h 10000"/>
              <a:gd name="connsiteX78" fmla="*/ 5014 w 10000"/>
              <a:gd name="connsiteY78" fmla="*/ 9405 h 10000"/>
              <a:gd name="connsiteX79" fmla="*/ 5171 w 10000"/>
              <a:gd name="connsiteY79" fmla="*/ 9329 h 10000"/>
              <a:gd name="connsiteX80" fmla="*/ 5326 w 10000"/>
              <a:gd name="connsiteY80" fmla="*/ 9244 h 10000"/>
              <a:gd name="connsiteX81" fmla="*/ 5480 w 10000"/>
              <a:gd name="connsiteY81" fmla="*/ 9158 h 10000"/>
              <a:gd name="connsiteX82" fmla="*/ 5631 w 10000"/>
              <a:gd name="connsiteY82" fmla="*/ 9063 h 10000"/>
              <a:gd name="connsiteX83" fmla="*/ 5781 w 10000"/>
              <a:gd name="connsiteY83" fmla="*/ 8967 h 10000"/>
              <a:gd name="connsiteX84" fmla="*/ 5931 w 10000"/>
              <a:gd name="connsiteY84" fmla="*/ 8865 h 10000"/>
              <a:gd name="connsiteX85" fmla="*/ 6075 w 10000"/>
              <a:gd name="connsiteY85" fmla="*/ 8759 h 10000"/>
              <a:gd name="connsiteX86" fmla="*/ 6221 w 10000"/>
              <a:gd name="connsiteY86" fmla="*/ 8652 h 10000"/>
              <a:gd name="connsiteX87" fmla="*/ 6364 w 10000"/>
              <a:gd name="connsiteY87" fmla="*/ 8536 h 10000"/>
              <a:gd name="connsiteX88" fmla="*/ 6505 w 10000"/>
              <a:gd name="connsiteY88" fmla="*/ 8417 h 10000"/>
              <a:gd name="connsiteX89" fmla="*/ 6642 w 10000"/>
              <a:gd name="connsiteY89" fmla="*/ 8295 h 10000"/>
              <a:gd name="connsiteX90" fmla="*/ 6780 w 10000"/>
              <a:gd name="connsiteY90" fmla="*/ 8169 h 10000"/>
              <a:gd name="connsiteX91" fmla="*/ 6913 w 10000"/>
              <a:gd name="connsiteY91" fmla="*/ 8040 h 10000"/>
              <a:gd name="connsiteX92" fmla="*/ 7045 w 10000"/>
              <a:gd name="connsiteY92" fmla="*/ 7904 h 10000"/>
              <a:gd name="connsiteX93" fmla="*/ 7175 w 10000"/>
              <a:gd name="connsiteY93" fmla="*/ 7768 h 10000"/>
              <a:gd name="connsiteX94" fmla="*/ 7304 w 10000"/>
              <a:gd name="connsiteY94" fmla="*/ 7624 h 10000"/>
              <a:gd name="connsiteX95" fmla="*/ 7429 w 10000"/>
              <a:gd name="connsiteY95" fmla="*/ 7480 h 10000"/>
              <a:gd name="connsiteX96" fmla="*/ 7552 w 10000"/>
              <a:gd name="connsiteY96" fmla="*/ 7329 h 10000"/>
              <a:gd name="connsiteX97" fmla="*/ 7673 w 10000"/>
              <a:gd name="connsiteY97" fmla="*/ 7178 h 10000"/>
              <a:gd name="connsiteX98" fmla="*/ 7792 w 10000"/>
              <a:gd name="connsiteY98" fmla="*/ 7024 h 10000"/>
              <a:gd name="connsiteX99" fmla="*/ 7907 w 10000"/>
              <a:gd name="connsiteY99" fmla="*/ 6861 h 10000"/>
              <a:gd name="connsiteX100" fmla="*/ 8022 w 10000"/>
              <a:gd name="connsiteY100" fmla="*/ 6697 h 10000"/>
              <a:gd name="connsiteX101" fmla="*/ 8133 w 10000"/>
              <a:gd name="connsiteY101" fmla="*/ 6534 h 10000"/>
              <a:gd name="connsiteX102" fmla="*/ 8240 w 10000"/>
              <a:gd name="connsiteY102" fmla="*/ 6365 h 10000"/>
              <a:gd name="connsiteX103" fmla="*/ 8347 w 10000"/>
              <a:gd name="connsiteY103" fmla="*/ 6189 h 10000"/>
              <a:gd name="connsiteX104" fmla="*/ 8450 w 10000"/>
              <a:gd name="connsiteY104" fmla="*/ 6016 h 10000"/>
              <a:gd name="connsiteX105" fmla="*/ 8552 w 10000"/>
              <a:gd name="connsiteY105" fmla="*/ 5835 h 10000"/>
              <a:gd name="connsiteX106" fmla="*/ 8650 w 10000"/>
              <a:gd name="connsiteY106" fmla="*/ 5652 h 10000"/>
              <a:gd name="connsiteX107" fmla="*/ 8745 w 10000"/>
              <a:gd name="connsiteY107" fmla="*/ 5468 h 10000"/>
              <a:gd name="connsiteX108" fmla="*/ 8837 w 10000"/>
              <a:gd name="connsiteY108" fmla="*/ 5278 h 10000"/>
              <a:gd name="connsiteX109" fmla="*/ 8927 w 10000"/>
              <a:gd name="connsiteY109" fmla="*/ 5089 h 10000"/>
              <a:gd name="connsiteX110" fmla="*/ 9014 w 10000"/>
              <a:gd name="connsiteY110" fmla="*/ 4893 h 10000"/>
              <a:gd name="connsiteX111" fmla="*/ 9098 w 10000"/>
              <a:gd name="connsiteY111" fmla="*/ 4698 h 10000"/>
              <a:gd name="connsiteX112" fmla="*/ 9178 w 10000"/>
              <a:gd name="connsiteY112" fmla="*/ 4500 h 10000"/>
              <a:gd name="connsiteX113" fmla="*/ 9256 w 10000"/>
              <a:gd name="connsiteY113" fmla="*/ 4294 h 10000"/>
              <a:gd name="connsiteX114" fmla="*/ 9330 w 10000"/>
              <a:gd name="connsiteY114" fmla="*/ 4091 h 10000"/>
              <a:gd name="connsiteX115" fmla="*/ 9401 w 10000"/>
              <a:gd name="connsiteY115" fmla="*/ 3885 h 10000"/>
              <a:gd name="connsiteX116" fmla="*/ 9470 w 10000"/>
              <a:gd name="connsiteY116" fmla="*/ 3674 h 10000"/>
              <a:gd name="connsiteX117" fmla="*/ 9535 w 10000"/>
              <a:gd name="connsiteY117" fmla="*/ 3464 h 10000"/>
              <a:gd name="connsiteX118" fmla="*/ 9599 w 10000"/>
              <a:gd name="connsiteY118" fmla="*/ 3248 h 10000"/>
              <a:gd name="connsiteX119" fmla="*/ 9656 w 10000"/>
              <a:gd name="connsiteY119" fmla="*/ 3030 h 10000"/>
              <a:gd name="connsiteX120" fmla="*/ 9711 w 10000"/>
              <a:gd name="connsiteY120" fmla="*/ 2815 h 10000"/>
              <a:gd name="connsiteX121" fmla="*/ 9763 w 10000"/>
              <a:gd name="connsiteY121" fmla="*/ 2592 h 10000"/>
              <a:gd name="connsiteX122" fmla="*/ 9813 w 10000"/>
              <a:gd name="connsiteY122" fmla="*/ 2369 h 10000"/>
              <a:gd name="connsiteX123" fmla="*/ 9856 w 10000"/>
              <a:gd name="connsiteY123" fmla="*/ 2143 h 10000"/>
              <a:gd name="connsiteX124" fmla="*/ 9898 w 10000"/>
              <a:gd name="connsiteY124" fmla="*/ 1918 h 10000"/>
              <a:gd name="connsiteX125" fmla="*/ 9936 w 10000"/>
              <a:gd name="connsiteY125" fmla="*/ 1690 h 10000"/>
              <a:gd name="connsiteX126" fmla="*/ 9970 w 10000"/>
              <a:gd name="connsiteY126" fmla="*/ 1457 h 10000"/>
              <a:gd name="connsiteX127" fmla="*/ 10000 w 10000"/>
              <a:gd name="connsiteY127" fmla="*/ 1222 h 10000"/>
              <a:gd name="connsiteX128" fmla="*/ 7611 w 10000"/>
              <a:gd name="connsiteY128" fmla="*/ 1876 h 10000"/>
              <a:gd name="connsiteX129" fmla="*/ 5615 w 10000"/>
              <a:gd name="connsiteY129"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0 w 10000"/>
              <a:gd name="connsiteY45" fmla="*/ 6085 h 10000"/>
              <a:gd name="connsiteX46" fmla="*/ 209 w 10000"/>
              <a:gd name="connsiteY46" fmla="*/ 9512 h 10000"/>
              <a:gd name="connsiteX47" fmla="*/ 344 w 10000"/>
              <a:gd name="connsiteY47" fmla="*/ 9569 h 10000"/>
              <a:gd name="connsiteX48" fmla="*/ 481 w 10000"/>
              <a:gd name="connsiteY48" fmla="*/ 9623 h 10000"/>
              <a:gd name="connsiteX49" fmla="*/ 621 w 10000"/>
              <a:gd name="connsiteY49" fmla="*/ 9673 h 10000"/>
              <a:gd name="connsiteX50" fmla="*/ 758 w 10000"/>
              <a:gd name="connsiteY50" fmla="*/ 9720 h 10000"/>
              <a:gd name="connsiteX51" fmla="*/ 899 w 10000"/>
              <a:gd name="connsiteY51" fmla="*/ 9765 h 10000"/>
              <a:gd name="connsiteX52" fmla="*/ 1040 w 10000"/>
              <a:gd name="connsiteY52" fmla="*/ 9804 h 10000"/>
              <a:gd name="connsiteX53" fmla="*/ 1182 w 10000"/>
              <a:gd name="connsiteY53" fmla="*/ 9839 h 10000"/>
              <a:gd name="connsiteX54" fmla="*/ 1325 w 10000"/>
              <a:gd name="connsiteY54" fmla="*/ 9874 h 10000"/>
              <a:gd name="connsiteX55" fmla="*/ 1471 w 10000"/>
              <a:gd name="connsiteY55" fmla="*/ 9903 h 10000"/>
              <a:gd name="connsiteX56" fmla="*/ 1614 w 10000"/>
              <a:gd name="connsiteY56" fmla="*/ 9926 h 10000"/>
              <a:gd name="connsiteX57" fmla="*/ 1760 w 10000"/>
              <a:gd name="connsiteY57" fmla="*/ 9948 h 10000"/>
              <a:gd name="connsiteX58" fmla="*/ 1906 w 10000"/>
              <a:gd name="connsiteY58" fmla="*/ 9965 h 10000"/>
              <a:gd name="connsiteX59" fmla="*/ 2052 w 10000"/>
              <a:gd name="connsiteY59" fmla="*/ 9980 h 10000"/>
              <a:gd name="connsiteX60" fmla="*/ 2202 w 10000"/>
              <a:gd name="connsiteY60" fmla="*/ 9990 h 10000"/>
              <a:gd name="connsiteX61" fmla="*/ 2350 w 10000"/>
              <a:gd name="connsiteY61" fmla="*/ 9995 h 10000"/>
              <a:gd name="connsiteX62" fmla="*/ 2498 w 10000"/>
              <a:gd name="connsiteY62" fmla="*/ 10000 h 10000"/>
              <a:gd name="connsiteX63" fmla="*/ 2677 w 10000"/>
              <a:gd name="connsiteY63" fmla="*/ 9995 h 10000"/>
              <a:gd name="connsiteX64" fmla="*/ 2850 w 10000"/>
              <a:gd name="connsiteY64" fmla="*/ 9988 h 10000"/>
              <a:gd name="connsiteX65" fmla="*/ 3024 w 10000"/>
              <a:gd name="connsiteY65" fmla="*/ 9975 h 10000"/>
              <a:gd name="connsiteX66" fmla="*/ 3195 w 10000"/>
              <a:gd name="connsiteY66" fmla="*/ 9953 h 10000"/>
              <a:gd name="connsiteX67" fmla="*/ 3368 w 10000"/>
              <a:gd name="connsiteY67" fmla="*/ 9931 h 10000"/>
              <a:gd name="connsiteX68" fmla="*/ 3538 w 10000"/>
              <a:gd name="connsiteY68" fmla="*/ 9898 h 10000"/>
              <a:gd name="connsiteX69" fmla="*/ 3709 w 10000"/>
              <a:gd name="connsiteY69" fmla="*/ 9866 h 10000"/>
              <a:gd name="connsiteX70" fmla="*/ 3877 w 10000"/>
              <a:gd name="connsiteY70" fmla="*/ 9824 h 10000"/>
              <a:gd name="connsiteX71" fmla="*/ 4042 w 10000"/>
              <a:gd name="connsiteY71" fmla="*/ 9779 h 10000"/>
              <a:gd name="connsiteX72" fmla="*/ 4210 w 10000"/>
              <a:gd name="connsiteY72" fmla="*/ 9730 h 10000"/>
              <a:gd name="connsiteX73" fmla="*/ 4372 w 10000"/>
              <a:gd name="connsiteY73" fmla="*/ 9673 h 10000"/>
              <a:gd name="connsiteX74" fmla="*/ 4536 w 10000"/>
              <a:gd name="connsiteY74" fmla="*/ 9616 h 10000"/>
              <a:gd name="connsiteX75" fmla="*/ 4697 w 10000"/>
              <a:gd name="connsiteY75" fmla="*/ 9552 h 10000"/>
              <a:gd name="connsiteX76" fmla="*/ 4857 w 10000"/>
              <a:gd name="connsiteY76" fmla="*/ 9482 h 10000"/>
              <a:gd name="connsiteX77" fmla="*/ 5014 w 10000"/>
              <a:gd name="connsiteY77" fmla="*/ 9405 h 10000"/>
              <a:gd name="connsiteX78" fmla="*/ 5171 w 10000"/>
              <a:gd name="connsiteY78" fmla="*/ 9329 h 10000"/>
              <a:gd name="connsiteX79" fmla="*/ 5326 w 10000"/>
              <a:gd name="connsiteY79" fmla="*/ 9244 h 10000"/>
              <a:gd name="connsiteX80" fmla="*/ 5480 w 10000"/>
              <a:gd name="connsiteY80" fmla="*/ 9158 h 10000"/>
              <a:gd name="connsiteX81" fmla="*/ 5631 w 10000"/>
              <a:gd name="connsiteY81" fmla="*/ 9063 h 10000"/>
              <a:gd name="connsiteX82" fmla="*/ 5781 w 10000"/>
              <a:gd name="connsiteY82" fmla="*/ 8967 h 10000"/>
              <a:gd name="connsiteX83" fmla="*/ 5931 w 10000"/>
              <a:gd name="connsiteY83" fmla="*/ 8865 h 10000"/>
              <a:gd name="connsiteX84" fmla="*/ 6075 w 10000"/>
              <a:gd name="connsiteY84" fmla="*/ 8759 h 10000"/>
              <a:gd name="connsiteX85" fmla="*/ 6221 w 10000"/>
              <a:gd name="connsiteY85" fmla="*/ 8652 h 10000"/>
              <a:gd name="connsiteX86" fmla="*/ 6364 w 10000"/>
              <a:gd name="connsiteY86" fmla="*/ 8536 h 10000"/>
              <a:gd name="connsiteX87" fmla="*/ 6505 w 10000"/>
              <a:gd name="connsiteY87" fmla="*/ 8417 h 10000"/>
              <a:gd name="connsiteX88" fmla="*/ 6642 w 10000"/>
              <a:gd name="connsiteY88" fmla="*/ 8295 h 10000"/>
              <a:gd name="connsiteX89" fmla="*/ 6780 w 10000"/>
              <a:gd name="connsiteY89" fmla="*/ 8169 h 10000"/>
              <a:gd name="connsiteX90" fmla="*/ 6913 w 10000"/>
              <a:gd name="connsiteY90" fmla="*/ 8040 h 10000"/>
              <a:gd name="connsiteX91" fmla="*/ 7045 w 10000"/>
              <a:gd name="connsiteY91" fmla="*/ 7904 h 10000"/>
              <a:gd name="connsiteX92" fmla="*/ 7175 w 10000"/>
              <a:gd name="connsiteY92" fmla="*/ 7768 h 10000"/>
              <a:gd name="connsiteX93" fmla="*/ 7304 w 10000"/>
              <a:gd name="connsiteY93" fmla="*/ 7624 h 10000"/>
              <a:gd name="connsiteX94" fmla="*/ 7429 w 10000"/>
              <a:gd name="connsiteY94" fmla="*/ 7480 h 10000"/>
              <a:gd name="connsiteX95" fmla="*/ 7552 w 10000"/>
              <a:gd name="connsiteY95" fmla="*/ 7329 h 10000"/>
              <a:gd name="connsiteX96" fmla="*/ 7673 w 10000"/>
              <a:gd name="connsiteY96" fmla="*/ 7178 h 10000"/>
              <a:gd name="connsiteX97" fmla="*/ 7792 w 10000"/>
              <a:gd name="connsiteY97" fmla="*/ 7024 h 10000"/>
              <a:gd name="connsiteX98" fmla="*/ 7907 w 10000"/>
              <a:gd name="connsiteY98" fmla="*/ 6861 h 10000"/>
              <a:gd name="connsiteX99" fmla="*/ 8022 w 10000"/>
              <a:gd name="connsiteY99" fmla="*/ 6697 h 10000"/>
              <a:gd name="connsiteX100" fmla="*/ 8133 w 10000"/>
              <a:gd name="connsiteY100" fmla="*/ 6534 h 10000"/>
              <a:gd name="connsiteX101" fmla="*/ 8240 w 10000"/>
              <a:gd name="connsiteY101" fmla="*/ 6365 h 10000"/>
              <a:gd name="connsiteX102" fmla="*/ 8347 w 10000"/>
              <a:gd name="connsiteY102" fmla="*/ 6189 h 10000"/>
              <a:gd name="connsiteX103" fmla="*/ 8450 w 10000"/>
              <a:gd name="connsiteY103" fmla="*/ 6016 h 10000"/>
              <a:gd name="connsiteX104" fmla="*/ 8552 w 10000"/>
              <a:gd name="connsiteY104" fmla="*/ 5835 h 10000"/>
              <a:gd name="connsiteX105" fmla="*/ 8650 w 10000"/>
              <a:gd name="connsiteY105" fmla="*/ 5652 h 10000"/>
              <a:gd name="connsiteX106" fmla="*/ 8745 w 10000"/>
              <a:gd name="connsiteY106" fmla="*/ 5468 h 10000"/>
              <a:gd name="connsiteX107" fmla="*/ 8837 w 10000"/>
              <a:gd name="connsiteY107" fmla="*/ 5278 h 10000"/>
              <a:gd name="connsiteX108" fmla="*/ 8927 w 10000"/>
              <a:gd name="connsiteY108" fmla="*/ 5089 h 10000"/>
              <a:gd name="connsiteX109" fmla="*/ 9014 w 10000"/>
              <a:gd name="connsiteY109" fmla="*/ 4893 h 10000"/>
              <a:gd name="connsiteX110" fmla="*/ 9098 w 10000"/>
              <a:gd name="connsiteY110" fmla="*/ 4698 h 10000"/>
              <a:gd name="connsiteX111" fmla="*/ 9178 w 10000"/>
              <a:gd name="connsiteY111" fmla="*/ 4500 h 10000"/>
              <a:gd name="connsiteX112" fmla="*/ 9256 w 10000"/>
              <a:gd name="connsiteY112" fmla="*/ 4294 h 10000"/>
              <a:gd name="connsiteX113" fmla="*/ 9330 w 10000"/>
              <a:gd name="connsiteY113" fmla="*/ 4091 h 10000"/>
              <a:gd name="connsiteX114" fmla="*/ 9401 w 10000"/>
              <a:gd name="connsiteY114" fmla="*/ 3885 h 10000"/>
              <a:gd name="connsiteX115" fmla="*/ 9470 w 10000"/>
              <a:gd name="connsiteY115" fmla="*/ 3674 h 10000"/>
              <a:gd name="connsiteX116" fmla="*/ 9535 w 10000"/>
              <a:gd name="connsiteY116" fmla="*/ 3464 h 10000"/>
              <a:gd name="connsiteX117" fmla="*/ 9599 w 10000"/>
              <a:gd name="connsiteY117" fmla="*/ 3248 h 10000"/>
              <a:gd name="connsiteX118" fmla="*/ 9656 w 10000"/>
              <a:gd name="connsiteY118" fmla="*/ 3030 h 10000"/>
              <a:gd name="connsiteX119" fmla="*/ 9711 w 10000"/>
              <a:gd name="connsiteY119" fmla="*/ 2815 h 10000"/>
              <a:gd name="connsiteX120" fmla="*/ 9763 w 10000"/>
              <a:gd name="connsiteY120" fmla="*/ 2592 h 10000"/>
              <a:gd name="connsiteX121" fmla="*/ 9813 w 10000"/>
              <a:gd name="connsiteY121" fmla="*/ 2369 h 10000"/>
              <a:gd name="connsiteX122" fmla="*/ 9856 w 10000"/>
              <a:gd name="connsiteY122" fmla="*/ 2143 h 10000"/>
              <a:gd name="connsiteX123" fmla="*/ 9898 w 10000"/>
              <a:gd name="connsiteY123" fmla="*/ 1918 h 10000"/>
              <a:gd name="connsiteX124" fmla="*/ 9936 w 10000"/>
              <a:gd name="connsiteY124" fmla="*/ 1690 h 10000"/>
              <a:gd name="connsiteX125" fmla="*/ 9970 w 10000"/>
              <a:gd name="connsiteY125" fmla="*/ 1457 h 10000"/>
              <a:gd name="connsiteX126" fmla="*/ 10000 w 10000"/>
              <a:gd name="connsiteY126" fmla="*/ 1222 h 10000"/>
              <a:gd name="connsiteX127" fmla="*/ 7611 w 10000"/>
              <a:gd name="connsiteY127" fmla="*/ 1876 h 10000"/>
              <a:gd name="connsiteX128" fmla="*/ 5615 w 10000"/>
              <a:gd name="connsiteY128"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0 w 10000"/>
              <a:gd name="connsiteY44" fmla="*/ 6085 h 10000"/>
              <a:gd name="connsiteX45" fmla="*/ 209 w 10000"/>
              <a:gd name="connsiteY45" fmla="*/ 9512 h 10000"/>
              <a:gd name="connsiteX46" fmla="*/ 344 w 10000"/>
              <a:gd name="connsiteY46" fmla="*/ 9569 h 10000"/>
              <a:gd name="connsiteX47" fmla="*/ 481 w 10000"/>
              <a:gd name="connsiteY47" fmla="*/ 9623 h 10000"/>
              <a:gd name="connsiteX48" fmla="*/ 621 w 10000"/>
              <a:gd name="connsiteY48" fmla="*/ 9673 h 10000"/>
              <a:gd name="connsiteX49" fmla="*/ 758 w 10000"/>
              <a:gd name="connsiteY49" fmla="*/ 9720 h 10000"/>
              <a:gd name="connsiteX50" fmla="*/ 899 w 10000"/>
              <a:gd name="connsiteY50" fmla="*/ 9765 h 10000"/>
              <a:gd name="connsiteX51" fmla="*/ 1040 w 10000"/>
              <a:gd name="connsiteY51" fmla="*/ 9804 h 10000"/>
              <a:gd name="connsiteX52" fmla="*/ 1182 w 10000"/>
              <a:gd name="connsiteY52" fmla="*/ 9839 h 10000"/>
              <a:gd name="connsiteX53" fmla="*/ 1325 w 10000"/>
              <a:gd name="connsiteY53" fmla="*/ 9874 h 10000"/>
              <a:gd name="connsiteX54" fmla="*/ 1471 w 10000"/>
              <a:gd name="connsiteY54" fmla="*/ 9903 h 10000"/>
              <a:gd name="connsiteX55" fmla="*/ 1614 w 10000"/>
              <a:gd name="connsiteY55" fmla="*/ 9926 h 10000"/>
              <a:gd name="connsiteX56" fmla="*/ 1760 w 10000"/>
              <a:gd name="connsiteY56" fmla="*/ 9948 h 10000"/>
              <a:gd name="connsiteX57" fmla="*/ 1906 w 10000"/>
              <a:gd name="connsiteY57" fmla="*/ 9965 h 10000"/>
              <a:gd name="connsiteX58" fmla="*/ 2052 w 10000"/>
              <a:gd name="connsiteY58" fmla="*/ 9980 h 10000"/>
              <a:gd name="connsiteX59" fmla="*/ 2202 w 10000"/>
              <a:gd name="connsiteY59" fmla="*/ 9990 h 10000"/>
              <a:gd name="connsiteX60" fmla="*/ 2350 w 10000"/>
              <a:gd name="connsiteY60" fmla="*/ 9995 h 10000"/>
              <a:gd name="connsiteX61" fmla="*/ 2498 w 10000"/>
              <a:gd name="connsiteY61" fmla="*/ 10000 h 10000"/>
              <a:gd name="connsiteX62" fmla="*/ 2677 w 10000"/>
              <a:gd name="connsiteY62" fmla="*/ 9995 h 10000"/>
              <a:gd name="connsiteX63" fmla="*/ 2850 w 10000"/>
              <a:gd name="connsiteY63" fmla="*/ 9988 h 10000"/>
              <a:gd name="connsiteX64" fmla="*/ 3024 w 10000"/>
              <a:gd name="connsiteY64" fmla="*/ 9975 h 10000"/>
              <a:gd name="connsiteX65" fmla="*/ 3195 w 10000"/>
              <a:gd name="connsiteY65" fmla="*/ 9953 h 10000"/>
              <a:gd name="connsiteX66" fmla="*/ 3368 w 10000"/>
              <a:gd name="connsiteY66" fmla="*/ 9931 h 10000"/>
              <a:gd name="connsiteX67" fmla="*/ 3538 w 10000"/>
              <a:gd name="connsiteY67" fmla="*/ 9898 h 10000"/>
              <a:gd name="connsiteX68" fmla="*/ 3709 w 10000"/>
              <a:gd name="connsiteY68" fmla="*/ 9866 h 10000"/>
              <a:gd name="connsiteX69" fmla="*/ 3877 w 10000"/>
              <a:gd name="connsiteY69" fmla="*/ 9824 h 10000"/>
              <a:gd name="connsiteX70" fmla="*/ 4042 w 10000"/>
              <a:gd name="connsiteY70" fmla="*/ 9779 h 10000"/>
              <a:gd name="connsiteX71" fmla="*/ 4210 w 10000"/>
              <a:gd name="connsiteY71" fmla="*/ 9730 h 10000"/>
              <a:gd name="connsiteX72" fmla="*/ 4372 w 10000"/>
              <a:gd name="connsiteY72" fmla="*/ 9673 h 10000"/>
              <a:gd name="connsiteX73" fmla="*/ 4536 w 10000"/>
              <a:gd name="connsiteY73" fmla="*/ 9616 h 10000"/>
              <a:gd name="connsiteX74" fmla="*/ 4697 w 10000"/>
              <a:gd name="connsiteY74" fmla="*/ 9552 h 10000"/>
              <a:gd name="connsiteX75" fmla="*/ 4857 w 10000"/>
              <a:gd name="connsiteY75" fmla="*/ 9482 h 10000"/>
              <a:gd name="connsiteX76" fmla="*/ 5014 w 10000"/>
              <a:gd name="connsiteY76" fmla="*/ 9405 h 10000"/>
              <a:gd name="connsiteX77" fmla="*/ 5171 w 10000"/>
              <a:gd name="connsiteY77" fmla="*/ 9329 h 10000"/>
              <a:gd name="connsiteX78" fmla="*/ 5326 w 10000"/>
              <a:gd name="connsiteY78" fmla="*/ 9244 h 10000"/>
              <a:gd name="connsiteX79" fmla="*/ 5480 w 10000"/>
              <a:gd name="connsiteY79" fmla="*/ 9158 h 10000"/>
              <a:gd name="connsiteX80" fmla="*/ 5631 w 10000"/>
              <a:gd name="connsiteY80" fmla="*/ 9063 h 10000"/>
              <a:gd name="connsiteX81" fmla="*/ 5781 w 10000"/>
              <a:gd name="connsiteY81" fmla="*/ 8967 h 10000"/>
              <a:gd name="connsiteX82" fmla="*/ 5931 w 10000"/>
              <a:gd name="connsiteY82" fmla="*/ 8865 h 10000"/>
              <a:gd name="connsiteX83" fmla="*/ 6075 w 10000"/>
              <a:gd name="connsiteY83" fmla="*/ 8759 h 10000"/>
              <a:gd name="connsiteX84" fmla="*/ 6221 w 10000"/>
              <a:gd name="connsiteY84" fmla="*/ 8652 h 10000"/>
              <a:gd name="connsiteX85" fmla="*/ 6364 w 10000"/>
              <a:gd name="connsiteY85" fmla="*/ 8536 h 10000"/>
              <a:gd name="connsiteX86" fmla="*/ 6505 w 10000"/>
              <a:gd name="connsiteY86" fmla="*/ 8417 h 10000"/>
              <a:gd name="connsiteX87" fmla="*/ 6642 w 10000"/>
              <a:gd name="connsiteY87" fmla="*/ 8295 h 10000"/>
              <a:gd name="connsiteX88" fmla="*/ 6780 w 10000"/>
              <a:gd name="connsiteY88" fmla="*/ 8169 h 10000"/>
              <a:gd name="connsiteX89" fmla="*/ 6913 w 10000"/>
              <a:gd name="connsiteY89" fmla="*/ 8040 h 10000"/>
              <a:gd name="connsiteX90" fmla="*/ 7045 w 10000"/>
              <a:gd name="connsiteY90" fmla="*/ 7904 h 10000"/>
              <a:gd name="connsiteX91" fmla="*/ 7175 w 10000"/>
              <a:gd name="connsiteY91" fmla="*/ 7768 h 10000"/>
              <a:gd name="connsiteX92" fmla="*/ 7304 w 10000"/>
              <a:gd name="connsiteY92" fmla="*/ 7624 h 10000"/>
              <a:gd name="connsiteX93" fmla="*/ 7429 w 10000"/>
              <a:gd name="connsiteY93" fmla="*/ 7480 h 10000"/>
              <a:gd name="connsiteX94" fmla="*/ 7552 w 10000"/>
              <a:gd name="connsiteY94" fmla="*/ 7329 h 10000"/>
              <a:gd name="connsiteX95" fmla="*/ 7673 w 10000"/>
              <a:gd name="connsiteY95" fmla="*/ 7178 h 10000"/>
              <a:gd name="connsiteX96" fmla="*/ 7792 w 10000"/>
              <a:gd name="connsiteY96" fmla="*/ 7024 h 10000"/>
              <a:gd name="connsiteX97" fmla="*/ 7907 w 10000"/>
              <a:gd name="connsiteY97" fmla="*/ 6861 h 10000"/>
              <a:gd name="connsiteX98" fmla="*/ 8022 w 10000"/>
              <a:gd name="connsiteY98" fmla="*/ 6697 h 10000"/>
              <a:gd name="connsiteX99" fmla="*/ 8133 w 10000"/>
              <a:gd name="connsiteY99" fmla="*/ 6534 h 10000"/>
              <a:gd name="connsiteX100" fmla="*/ 8240 w 10000"/>
              <a:gd name="connsiteY100" fmla="*/ 6365 h 10000"/>
              <a:gd name="connsiteX101" fmla="*/ 8347 w 10000"/>
              <a:gd name="connsiteY101" fmla="*/ 6189 h 10000"/>
              <a:gd name="connsiteX102" fmla="*/ 8450 w 10000"/>
              <a:gd name="connsiteY102" fmla="*/ 6016 h 10000"/>
              <a:gd name="connsiteX103" fmla="*/ 8552 w 10000"/>
              <a:gd name="connsiteY103" fmla="*/ 5835 h 10000"/>
              <a:gd name="connsiteX104" fmla="*/ 8650 w 10000"/>
              <a:gd name="connsiteY104" fmla="*/ 5652 h 10000"/>
              <a:gd name="connsiteX105" fmla="*/ 8745 w 10000"/>
              <a:gd name="connsiteY105" fmla="*/ 5468 h 10000"/>
              <a:gd name="connsiteX106" fmla="*/ 8837 w 10000"/>
              <a:gd name="connsiteY106" fmla="*/ 5278 h 10000"/>
              <a:gd name="connsiteX107" fmla="*/ 8927 w 10000"/>
              <a:gd name="connsiteY107" fmla="*/ 5089 h 10000"/>
              <a:gd name="connsiteX108" fmla="*/ 9014 w 10000"/>
              <a:gd name="connsiteY108" fmla="*/ 4893 h 10000"/>
              <a:gd name="connsiteX109" fmla="*/ 9098 w 10000"/>
              <a:gd name="connsiteY109" fmla="*/ 4698 h 10000"/>
              <a:gd name="connsiteX110" fmla="*/ 9178 w 10000"/>
              <a:gd name="connsiteY110" fmla="*/ 4500 h 10000"/>
              <a:gd name="connsiteX111" fmla="*/ 9256 w 10000"/>
              <a:gd name="connsiteY111" fmla="*/ 4294 h 10000"/>
              <a:gd name="connsiteX112" fmla="*/ 9330 w 10000"/>
              <a:gd name="connsiteY112" fmla="*/ 4091 h 10000"/>
              <a:gd name="connsiteX113" fmla="*/ 9401 w 10000"/>
              <a:gd name="connsiteY113" fmla="*/ 3885 h 10000"/>
              <a:gd name="connsiteX114" fmla="*/ 9470 w 10000"/>
              <a:gd name="connsiteY114" fmla="*/ 3674 h 10000"/>
              <a:gd name="connsiteX115" fmla="*/ 9535 w 10000"/>
              <a:gd name="connsiteY115" fmla="*/ 3464 h 10000"/>
              <a:gd name="connsiteX116" fmla="*/ 9599 w 10000"/>
              <a:gd name="connsiteY116" fmla="*/ 3248 h 10000"/>
              <a:gd name="connsiteX117" fmla="*/ 9656 w 10000"/>
              <a:gd name="connsiteY117" fmla="*/ 3030 h 10000"/>
              <a:gd name="connsiteX118" fmla="*/ 9711 w 10000"/>
              <a:gd name="connsiteY118" fmla="*/ 2815 h 10000"/>
              <a:gd name="connsiteX119" fmla="*/ 9763 w 10000"/>
              <a:gd name="connsiteY119" fmla="*/ 2592 h 10000"/>
              <a:gd name="connsiteX120" fmla="*/ 9813 w 10000"/>
              <a:gd name="connsiteY120" fmla="*/ 2369 h 10000"/>
              <a:gd name="connsiteX121" fmla="*/ 9856 w 10000"/>
              <a:gd name="connsiteY121" fmla="*/ 2143 h 10000"/>
              <a:gd name="connsiteX122" fmla="*/ 9898 w 10000"/>
              <a:gd name="connsiteY122" fmla="*/ 1918 h 10000"/>
              <a:gd name="connsiteX123" fmla="*/ 9936 w 10000"/>
              <a:gd name="connsiteY123" fmla="*/ 1690 h 10000"/>
              <a:gd name="connsiteX124" fmla="*/ 9970 w 10000"/>
              <a:gd name="connsiteY124" fmla="*/ 1457 h 10000"/>
              <a:gd name="connsiteX125" fmla="*/ 10000 w 10000"/>
              <a:gd name="connsiteY125" fmla="*/ 1222 h 10000"/>
              <a:gd name="connsiteX126" fmla="*/ 7611 w 10000"/>
              <a:gd name="connsiteY126" fmla="*/ 1876 h 10000"/>
              <a:gd name="connsiteX127" fmla="*/ 5615 w 10000"/>
              <a:gd name="connsiteY127" fmla="*/ 0 h 10000"/>
              <a:gd name="connsiteX0" fmla="*/ 5407 w 9792"/>
              <a:gd name="connsiteY0" fmla="*/ 0 h 10000"/>
              <a:gd name="connsiteX1" fmla="*/ 5407 w 9792"/>
              <a:gd name="connsiteY1" fmla="*/ 0 h 10000"/>
              <a:gd name="connsiteX2" fmla="*/ 5398 w 9792"/>
              <a:gd name="connsiteY2" fmla="*/ 99 h 10000"/>
              <a:gd name="connsiteX3" fmla="*/ 5384 w 9792"/>
              <a:gd name="connsiteY3" fmla="*/ 201 h 10000"/>
              <a:gd name="connsiteX4" fmla="*/ 5372 w 9792"/>
              <a:gd name="connsiteY4" fmla="*/ 300 h 10000"/>
              <a:gd name="connsiteX5" fmla="*/ 5357 w 9792"/>
              <a:gd name="connsiteY5" fmla="*/ 394 h 10000"/>
              <a:gd name="connsiteX6" fmla="*/ 5339 w 9792"/>
              <a:gd name="connsiteY6" fmla="*/ 491 h 10000"/>
              <a:gd name="connsiteX7" fmla="*/ 5320 w 9792"/>
              <a:gd name="connsiteY7" fmla="*/ 587 h 10000"/>
              <a:gd name="connsiteX8" fmla="*/ 5300 w 9792"/>
              <a:gd name="connsiteY8" fmla="*/ 684 h 10000"/>
              <a:gd name="connsiteX9" fmla="*/ 5279 w 9792"/>
              <a:gd name="connsiteY9" fmla="*/ 778 h 10000"/>
              <a:gd name="connsiteX10" fmla="*/ 5257 w 9792"/>
              <a:gd name="connsiteY10" fmla="*/ 870 h 10000"/>
              <a:gd name="connsiteX11" fmla="*/ 5231 w 9792"/>
              <a:gd name="connsiteY11" fmla="*/ 961 h 10000"/>
              <a:gd name="connsiteX12" fmla="*/ 5207 w 9792"/>
              <a:gd name="connsiteY12" fmla="*/ 1053 h 10000"/>
              <a:gd name="connsiteX13" fmla="*/ 5179 w 9792"/>
              <a:gd name="connsiteY13" fmla="*/ 1145 h 10000"/>
              <a:gd name="connsiteX14" fmla="*/ 5150 w 9792"/>
              <a:gd name="connsiteY14" fmla="*/ 1231 h 10000"/>
              <a:gd name="connsiteX15" fmla="*/ 5120 w 9792"/>
              <a:gd name="connsiteY15" fmla="*/ 1318 h 10000"/>
              <a:gd name="connsiteX16" fmla="*/ 5090 w 9792"/>
              <a:gd name="connsiteY16" fmla="*/ 1405 h 10000"/>
              <a:gd name="connsiteX17" fmla="*/ 5058 w 9792"/>
              <a:gd name="connsiteY17" fmla="*/ 1494 h 10000"/>
              <a:gd name="connsiteX18" fmla="*/ 5024 w 9792"/>
              <a:gd name="connsiteY18" fmla="*/ 1578 h 10000"/>
              <a:gd name="connsiteX19" fmla="*/ 4988 w 9792"/>
              <a:gd name="connsiteY19" fmla="*/ 1663 h 10000"/>
              <a:gd name="connsiteX20" fmla="*/ 4952 w 9792"/>
              <a:gd name="connsiteY20" fmla="*/ 1742 h 10000"/>
              <a:gd name="connsiteX21" fmla="*/ 4913 w 9792"/>
              <a:gd name="connsiteY21" fmla="*/ 1824 h 10000"/>
              <a:gd name="connsiteX22" fmla="*/ 4874 w 9792"/>
              <a:gd name="connsiteY22" fmla="*/ 1903 h 10000"/>
              <a:gd name="connsiteX23" fmla="*/ 4835 w 9792"/>
              <a:gd name="connsiteY23" fmla="*/ 1985 h 10000"/>
              <a:gd name="connsiteX24" fmla="*/ 4794 w 9792"/>
              <a:gd name="connsiteY24" fmla="*/ 2059 h 10000"/>
              <a:gd name="connsiteX25" fmla="*/ 4751 w 9792"/>
              <a:gd name="connsiteY25" fmla="*/ 2133 h 10000"/>
              <a:gd name="connsiteX26" fmla="*/ 4706 w 9792"/>
              <a:gd name="connsiteY26" fmla="*/ 2210 h 10000"/>
              <a:gd name="connsiteX27" fmla="*/ 4662 w 9792"/>
              <a:gd name="connsiteY27" fmla="*/ 2282 h 10000"/>
              <a:gd name="connsiteX28" fmla="*/ 4615 w 9792"/>
              <a:gd name="connsiteY28" fmla="*/ 2354 h 10000"/>
              <a:gd name="connsiteX29" fmla="*/ 4569 w 9792"/>
              <a:gd name="connsiteY29" fmla="*/ 2426 h 10000"/>
              <a:gd name="connsiteX30" fmla="*/ 4521 w 9792"/>
              <a:gd name="connsiteY30" fmla="*/ 2495 h 10000"/>
              <a:gd name="connsiteX31" fmla="*/ 4471 w 9792"/>
              <a:gd name="connsiteY31" fmla="*/ 2562 h 10000"/>
              <a:gd name="connsiteX32" fmla="*/ 4421 w 9792"/>
              <a:gd name="connsiteY32" fmla="*/ 2626 h 10000"/>
              <a:gd name="connsiteX33" fmla="*/ 4369 w 9792"/>
              <a:gd name="connsiteY33" fmla="*/ 2691 h 10000"/>
              <a:gd name="connsiteX34" fmla="*/ 4318 w 9792"/>
              <a:gd name="connsiteY34" fmla="*/ 2753 h 10000"/>
              <a:gd name="connsiteX35" fmla="*/ 4262 w 9792"/>
              <a:gd name="connsiteY35" fmla="*/ 2817 h 10000"/>
              <a:gd name="connsiteX36" fmla="*/ 4209 w 9792"/>
              <a:gd name="connsiteY36" fmla="*/ 2874 h 10000"/>
              <a:gd name="connsiteX37" fmla="*/ 4154 w 9792"/>
              <a:gd name="connsiteY37" fmla="*/ 2934 h 10000"/>
              <a:gd name="connsiteX38" fmla="*/ 4097 w 9792"/>
              <a:gd name="connsiteY38" fmla="*/ 2988 h 10000"/>
              <a:gd name="connsiteX39" fmla="*/ 4040 w 9792"/>
              <a:gd name="connsiteY39" fmla="*/ 3043 h 10000"/>
              <a:gd name="connsiteX40" fmla="*/ 3982 w 9792"/>
              <a:gd name="connsiteY40" fmla="*/ 3097 h 10000"/>
              <a:gd name="connsiteX41" fmla="*/ 3924 w 9792"/>
              <a:gd name="connsiteY41" fmla="*/ 3149 h 10000"/>
              <a:gd name="connsiteX42" fmla="*/ 3863 w 9792"/>
              <a:gd name="connsiteY42" fmla="*/ 3196 h 10000"/>
              <a:gd name="connsiteX43" fmla="*/ 3802 w 9792"/>
              <a:gd name="connsiteY43" fmla="*/ 3243 h 10000"/>
              <a:gd name="connsiteX44" fmla="*/ 3906 w 9792"/>
              <a:gd name="connsiteY44" fmla="*/ 6588 h 10000"/>
              <a:gd name="connsiteX45" fmla="*/ 1 w 9792"/>
              <a:gd name="connsiteY45" fmla="*/ 9512 h 10000"/>
              <a:gd name="connsiteX46" fmla="*/ 136 w 9792"/>
              <a:gd name="connsiteY46" fmla="*/ 9569 h 10000"/>
              <a:gd name="connsiteX47" fmla="*/ 273 w 9792"/>
              <a:gd name="connsiteY47" fmla="*/ 9623 h 10000"/>
              <a:gd name="connsiteX48" fmla="*/ 413 w 9792"/>
              <a:gd name="connsiteY48" fmla="*/ 9673 h 10000"/>
              <a:gd name="connsiteX49" fmla="*/ 550 w 9792"/>
              <a:gd name="connsiteY49" fmla="*/ 9720 h 10000"/>
              <a:gd name="connsiteX50" fmla="*/ 691 w 9792"/>
              <a:gd name="connsiteY50" fmla="*/ 9765 h 10000"/>
              <a:gd name="connsiteX51" fmla="*/ 832 w 9792"/>
              <a:gd name="connsiteY51" fmla="*/ 9804 h 10000"/>
              <a:gd name="connsiteX52" fmla="*/ 974 w 9792"/>
              <a:gd name="connsiteY52" fmla="*/ 9839 h 10000"/>
              <a:gd name="connsiteX53" fmla="*/ 1117 w 9792"/>
              <a:gd name="connsiteY53" fmla="*/ 9874 h 10000"/>
              <a:gd name="connsiteX54" fmla="*/ 1263 w 9792"/>
              <a:gd name="connsiteY54" fmla="*/ 9903 h 10000"/>
              <a:gd name="connsiteX55" fmla="*/ 1406 w 9792"/>
              <a:gd name="connsiteY55" fmla="*/ 9926 h 10000"/>
              <a:gd name="connsiteX56" fmla="*/ 1552 w 9792"/>
              <a:gd name="connsiteY56" fmla="*/ 9948 h 10000"/>
              <a:gd name="connsiteX57" fmla="*/ 1698 w 9792"/>
              <a:gd name="connsiteY57" fmla="*/ 9965 h 10000"/>
              <a:gd name="connsiteX58" fmla="*/ 1844 w 9792"/>
              <a:gd name="connsiteY58" fmla="*/ 9980 h 10000"/>
              <a:gd name="connsiteX59" fmla="*/ 1994 w 9792"/>
              <a:gd name="connsiteY59" fmla="*/ 9990 h 10000"/>
              <a:gd name="connsiteX60" fmla="*/ 2142 w 9792"/>
              <a:gd name="connsiteY60" fmla="*/ 9995 h 10000"/>
              <a:gd name="connsiteX61" fmla="*/ 2290 w 9792"/>
              <a:gd name="connsiteY61" fmla="*/ 10000 h 10000"/>
              <a:gd name="connsiteX62" fmla="*/ 2469 w 9792"/>
              <a:gd name="connsiteY62" fmla="*/ 9995 h 10000"/>
              <a:gd name="connsiteX63" fmla="*/ 2642 w 9792"/>
              <a:gd name="connsiteY63" fmla="*/ 9988 h 10000"/>
              <a:gd name="connsiteX64" fmla="*/ 2816 w 9792"/>
              <a:gd name="connsiteY64" fmla="*/ 9975 h 10000"/>
              <a:gd name="connsiteX65" fmla="*/ 2987 w 9792"/>
              <a:gd name="connsiteY65" fmla="*/ 9953 h 10000"/>
              <a:gd name="connsiteX66" fmla="*/ 3160 w 9792"/>
              <a:gd name="connsiteY66" fmla="*/ 9931 h 10000"/>
              <a:gd name="connsiteX67" fmla="*/ 3330 w 9792"/>
              <a:gd name="connsiteY67" fmla="*/ 9898 h 10000"/>
              <a:gd name="connsiteX68" fmla="*/ 3501 w 9792"/>
              <a:gd name="connsiteY68" fmla="*/ 9866 h 10000"/>
              <a:gd name="connsiteX69" fmla="*/ 3669 w 9792"/>
              <a:gd name="connsiteY69" fmla="*/ 9824 h 10000"/>
              <a:gd name="connsiteX70" fmla="*/ 3834 w 9792"/>
              <a:gd name="connsiteY70" fmla="*/ 9779 h 10000"/>
              <a:gd name="connsiteX71" fmla="*/ 4002 w 9792"/>
              <a:gd name="connsiteY71" fmla="*/ 9730 h 10000"/>
              <a:gd name="connsiteX72" fmla="*/ 4164 w 9792"/>
              <a:gd name="connsiteY72" fmla="*/ 9673 h 10000"/>
              <a:gd name="connsiteX73" fmla="*/ 4328 w 9792"/>
              <a:gd name="connsiteY73" fmla="*/ 9616 h 10000"/>
              <a:gd name="connsiteX74" fmla="*/ 4489 w 9792"/>
              <a:gd name="connsiteY74" fmla="*/ 9552 h 10000"/>
              <a:gd name="connsiteX75" fmla="*/ 4649 w 9792"/>
              <a:gd name="connsiteY75" fmla="*/ 9482 h 10000"/>
              <a:gd name="connsiteX76" fmla="*/ 4806 w 9792"/>
              <a:gd name="connsiteY76" fmla="*/ 9405 h 10000"/>
              <a:gd name="connsiteX77" fmla="*/ 4963 w 9792"/>
              <a:gd name="connsiteY77" fmla="*/ 9329 h 10000"/>
              <a:gd name="connsiteX78" fmla="*/ 5118 w 9792"/>
              <a:gd name="connsiteY78" fmla="*/ 9244 h 10000"/>
              <a:gd name="connsiteX79" fmla="*/ 5272 w 9792"/>
              <a:gd name="connsiteY79" fmla="*/ 9158 h 10000"/>
              <a:gd name="connsiteX80" fmla="*/ 5423 w 9792"/>
              <a:gd name="connsiteY80" fmla="*/ 9063 h 10000"/>
              <a:gd name="connsiteX81" fmla="*/ 5573 w 9792"/>
              <a:gd name="connsiteY81" fmla="*/ 8967 h 10000"/>
              <a:gd name="connsiteX82" fmla="*/ 5723 w 9792"/>
              <a:gd name="connsiteY82" fmla="*/ 8865 h 10000"/>
              <a:gd name="connsiteX83" fmla="*/ 5867 w 9792"/>
              <a:gd name="connsiteY83" fmla="*/ 8759 h 10000"/>
              <a:gd name="connsiteX84" fmla="*/ 6013 w 9792"/>
              <a:gd name="connsiteY84" fmla="*/ 8652 h 10000"/>
              <a:gd name="connsiteX85" fmla="*/ 6156 w 9792"/>
              <a:gd name="connsiteY85" fmla="*/ 8536 h 10000"/>
              <a:gd name="connsiteX86" fmla="*/ 6297 w 9792"/>
              <a:gd name="connsiteY86" fmla="*/ 8417 h 10000"/>
              <a:gd name="connsiteX87" fmla="*/ 6434 w 9792"/>
              <a:gd name="connsiteY87" fmla="*/ 8295 h 10000"/>
              <a:gd name="connsiteX88" fmla="*/ 6572 w 9792"/>
              <a:gd name="connsiteY88" fmla="*/ 8169 h 10000"/>
              <a:gd name="connsiteX89" fmla="*/ 6705 w 9792"/>
              <a:gd name="connsiteY89" fmla="*/ 8040 h 10000"/>
              <a:gd name="connsiteX90" fmla="*/ 6837 w 9792"/>
              <a:gd name="connsiteY90" fmla="*/ 7904 h 10000"/>
              <a:gd name="connsiteX91" fmla="*/ 6967 w 9792"/>
              <a:gd name="connsiteY91" fmla="*/ 7768 h 10000"/>
              <a:gd name="connsiteX92" fmla="*/ 7096 w 9792"/>
              <a:gd name="connsiteY92" fmla="*/ 7624 h 10000"/>
              <a:gd name="connsiteX93" fmla="*/ 7221 w 9792"/>
              <a:gd name="connsiteY93" fmla="*/ 7480 h 10000"/>
              <a:gd name="connsiteX94" fmla="*/ 7344 w 9792"/>
              <a:gd name="connsiteY94" fmla="*/ 7329 h 10000"/>
              <a:gd name="connsiteX95" fmla="*/ 7465 w 9792"/>
              <a:gd name="connsiteY95" fmla="*/ 7178 h 10000"/>
              <a:gd name="connsiteX96" fmla="*/ 7584 w 9792"/>
              <a:gd name="connsiteY96" fmla="*/ 7024 h 10000"/>
              <a:gd name="connsiteX97" fmla="*/ 7699 w 9792"/>
              <a:gd name="connsiteY97" fmla="*/ 6861 h 10000"/>
              <a:gd name="connsiteX98" fmla="*/ 7814 w 9792"/>
              <a:gd name="connsiteY98" fmla="*/ 6697 h 10000"/>
              <a:gd name="connsiteX99" fmla="*/ 7925 w 9792"/>
              <a:gd name="connsiteY99" fmla="*/ 6534 h 10000"/>
              <a:gd name="connsiteX100" fmla="*/ 8032 w 9792"/>
              <a:gd name="connsiteY100" fmla="*/ 6365 h 10000"/>
              <a:gd name="connsiteX101" fmla="*/ 8139 w 9792"/>
              <a:gd name="connsiteY101" fmla="*/ 6189 h 10000"/>
              <a:gd name="connsiteX102" fmla="*/ 8242 w 9792"/>
              <a:gd name="connsiteY102" fmla="*/ 6016 h 10000"/>
              <a:gd name="connsiteX103" fmla="*/ 8344 w 9792"/>
              <a:gd name="connsiteY103" fmla="*/ 5835 h 10000"/>
              <a:gd name="connsiteX104" fmla="*/ 8442 w 9792"/>
              <a:gd name="connsiteY104" fmla="*/ 5652 h 10000"/>
              <a:gd name="connsiteX105" fmla="*/ 8537 w 9792"/>
              <a:gd name="connsiteY105" fmla="*/ 5468 h 10000"/>
              <a:gd name="connsiteX106" fmla="*/ 8629 w 9792"/>
              <a:gd name="connsiteY106" fmla="*/ 5278 h 10000"/>
              <a:gd name="connsiteX107" fmla="*/ 8719 w 9792"/>
              <a:gd name="connsiteY107" fmla="*/ 5089 h 10000"/>
              <a:gd name="connsiteX108" fmla="*/ 8806 w 9792"/>
              <a:gd name="connsiteY108" fmla="*/ 4893 h 10000"/>
              <a:gd name="connsiteX109" fmla="*/ 8890 w 9792"/>
              <a:gd name="connsiteY109" fmla="*/ 4698 h 10000"/>
              <a:gd name="connsiteX110" fmla="*/ 8970 w 9792"/>
              <a:gd name="connsiteY110" fmla="*/ 4500 h 10000"/>
              <a:gd name="connsiteX111" fmla="*/ 9048 w 9792"/>
              <a:gd name="connsiteY111" fmla="*/ 4294 h 10000"/>
              <a:gd name="connsiteX112" fmla="*/ 9122 w 9792"/>
              <a:gd name="connsiteY112" fmla="*/ 4091 h 10000"/>
              <a:gd name="connsiteX113" fmla="*/ 9193 w 9792"/>
              <a:gd name="connsiteY113" fmla="*/ 3885 h 10000"/>
              <a:gd name="connsiteX114" fmla="*/ 9262 w 9792"/>
              <a:gd name="connsiteY114" fmla="*/ 3674 h 10000"/>
              <a:gd name="connsiteX115" fmla="*/ 9327 w 9792"/>
              <a:gd name="connsiteY115" fmla="*/ 3464 h 10000"/>
              <a:gd name="connsiteX116" fmla="*/ 9391 w 9792"/>
              <a:gd name="connsiteY116" fmla="*/ 3248 h 10000"/>
              <a:gd name="connsiteX117" fmla="*/ 9448 w 9792"/>
              <a:gd name="connsiteY117" fmla="*/ 3030 h 10000"/>
              <a:gd name="connsiteX118" fmla="*/ 9503 w 9792"/>
              <a:gd name="connsiteY118" fmla="*/ 2815 h 10000"/>
              <a:gd name="connsiteX119" fmla="*/ 9555 w 9792"/>
              <a:gd name="connsiteY119" fmla="*/ 2592 h 10000"/>
              <a:gd name="connsiteX120" fmla="*/ 9605 w 9792"/>
              <a:gd name="connsiteY120" fmla="*/ 2369 h 10000"/>
              <a:gd name="connsiteX121" fmla="*/ 9648 w 9792"/>
              <a:gd name="connsiteY121" fmla="*/ 2143 h 10000"/>
              <a:gd name="connsiteX122" fmla="*/ 9690 w 9792"/>
              <a:gd name="connsiteY122" fmla="*/ 1918 h 10000"/>
              <a:gd name="connsiteX123" fmla="*/ 9728 w 9792"/>
              <a:gd name="connsiteY123" fmla="*/ 1690 h 10000"/>
              <a:gd name="connsiteX124" fmla="*/ 9762 w 9792"/>
              <a:gd name="connsiteY124" fmla="*/ 1457 h 10000"/>
              <a:gd name="connsiteX125" fmla="*/ 9792 w 9792"/>
              <a:gd name="connsiteY125" fmla="*/ 1222 h 10000"/>
              <a:gd name="connsiteX126" fmla="*/ 7403 w 9792"/>
              <a:gd name="connsiteY126" fmla="*/ 1876 h 10000"/>
              <a:gd name="connsiteX127" fmla="*/ 5407 w 9792"/>
              <a:gd name="connsiteY127" fmla="*/ 0 h 10000"/>
              <a:gd name="connsiteX0" fmla="*/ 5522 w 10000"/>
              <a:gd name="connsiteY0" fmla="*/ 0 h 10000"/>
              <a:gd name="connsiteX1" fmla="*/ 5522 w 10000"/>
              <a:gd name="connsiteY1" fmla="*/ 0 h 10000"/>
              <a:gd name="connsiteX2" fmla="*/ 5513 w 10000"/>
              <a:gd name="connsiteY2" fmla="*/ 99 h 10000"/>
              <a:gd name="connsiteX3" fmla="*/ 5498 w 10000"/>
              <a:gd name="connsiteY3" fmla="*/ 201 h 10000"/>
              <a:gd name="connsiteX4" fmla="*/ 5486 w 10000"/>
              <a:gd name="connsiteY4" fmla="*/ 300 h 10000"/>
              <a:gd name="connsiteX5" fmla="*/ 5471 w 10000"/>
              <a:gd name="connsiteY5" fmla="*/ 394 h 10000"/>
              <a:gd name="connsiteX6" fmla="*/ 5452 w 10000"/>
              <a:gd name="connsiteY6" fmla="*/ 491 h 10000"/>
              <a:gd name="connsiteX7" fmla="*/ 5433 w 10000"/>
              <a:gd name="connsiteY7" fmla="*/ 587 h 10000"/>
              <a:gd name="connsiteX8" fmla="*/ 5413 w 10000"/>
              <a:gd name="connsiteY8" fmla="*/ 684 h 10000"/>
              <a:gd name="connsiteX9" fmla="*/ 5391 w 10000"/>
              <a:gd name="connsiteY9" fmla="*/ 778 h 10000"/>
              <a:gd name="connsiteX10" fmla="*/ 5369 w 10000"/>
              <a:gd name="connsiteY10" fmla="*/ 870 h 10000"/>
              <a:gd name="connsiteX11" fmla="*/ 5342 w 10000"/>
              <a:gd name="connsiteY11" fmla="*/ 961 h 10000"/>
              <a:gd name="connsiteX12" fmla="*/ 5318 w 10000"/>
              <a:gd name="connsiteY12" fmla="*/ 1053 h 10000"/>
              <a:gd name="connsiteX13" fmla="*/ 5289 w 10000"/>
              <a:gd name="connsiteY13" fmla="*/ 1145 h 10000"/>
              <a:gd name="connsiteX14" fmla="*/ 5259 w 10000"/>
              <a:gd name="connsiteY14" fmla="*/ 1231 h 10000"/>
              <a:gd name="connsiteX15" fmla="*/ 5229 w 10000"/>
              <a:gd name="connsiteY15" fmla="*/ 1318 h 10000"/>
              <a:gd name="connsiteX16" fmla="*/ 5198 w 10000"/>
              <a:gd name="connsiteY16" fmla="*/ 1405 h 10000"/>
              <a:gd name="connsiteX17" fmla="*/ 5165 w 10000"/>
              <a:gd name="connsiteY17" fmla="*/ 1494 h 10000"/>
              <a:gd name="connsiteX18" fmla="*/ 5131 w 10000"/>
              <a:gd name="connsiteY18" fmla="*/ 1578 h 10000"/>
              <a:gd name="connsiteX19" fmla="*/ 5094 w 10000"/>
              <a:gd name="connsiteY19" fmla="*/ 1663 h 10000"/>
              <a:gd name="connsiteX20" fmla="*/ 5057 w 10000"/>
              <a:gd name="connsiteY20" fmla="*/ 1742 h 10000"/>
              <a:gd name="connsiteX21" fmla="*/ 5017 w 10000"/>
              <a:gd name="connsiteY21" fmla="*/ 1824 h 10000"/>
              <a:gd name="connsiteX22" fmla="*/ 4978 w 10000"/>
              <a:gd name="connsiteY22" fmla="*/ 1903 h 10000"/>
              <a:gd name="connsiteX23" fmla="*/ 4938 w 10000"/>
              <a:gd name="connsiteY23" fmla="*/ 1985 h 10000"/>
              <a:gd name="connsiteX24" fmla="*/ 4896 w 10000"/>
              <a:gd name="connsiteY24" fmla="*/ 2059 h 10000"/>
              <a:gd name="connsiteX25" fmla="*/ 4852 w 10000"/>
              <a:gd name="connsiteY25" fmla="*/ 2133 h 10000"/>
              <a:gd name="connsiteX26" fmla="*/ 4806 w 10000"/>
              <a:gd name="connsiteY26" fmla="*/ 2210 h 10000"/>
              <a:gd name="connsiteX27" fmla="*/ 4761 w 10000"/>
              <a:gd name="connsiteY27" fmla="*/ 2282 h 10000"/>
              <a:gd name="connsiteX28" fmla="*/ 4713 w 10000"/>
              <a:gd name="connsiteY28" fmla="*/ 2354 h 10000"/>
              <a:gd name="connsiteX29" fmla="*/ 4666 w 10000"/>
              <a:gd name="connsiteY29" fmla="*/ 2426 h 10000"/>
              <a:gd name="connsiteX30" fmla="*/ 4617 w 10000"/>
              <a:gd name="connsiteY30" fmla="*/ 2495 h 10000"/>
              <a:gd name="connsiteX31" fmla="*/ 4566 w 10000"/>
              <a:gd name="connsiteY31" fmla="*/ 2562 h 10000"/>
              <a:gd name="connsiteX32" fmla="*/ 4515 w 10000"/>
              <a:gd name="connsiteY32" fmla="*/ 2626 h 10000"/>
              <a:gd name="connsiteX33" fmla="*/ 4462 w 10000"/>
              <a:gd name="connsiteY33" fmla="*/ 2691 h 10000"/>
              <a:gd name="connsiteX34" fmla="*/ 4410 w 10000"/>
              <a:gd name="connsiteY34" fmla="*/ 2753 h 10000"/>
              <a:gd name="connsiteX35" fmla="*/ 4353 w 10000"/>
              <a:gd name="connsiteY35" fmla="*/ 2817 h 10000"/>
              <a:gd name="connsiteX36" fmla="*/ 4298 w 10000"/>
              <a:gd name="connsiteY36" fmla="*/ 2874 h 10000"/>
              <a:gd name="connsiteX37" fmla="*/ 4242 w 10000"/>
              <a:gd name="connsiteY37" fmla="*/ 2934 h 10000"/>
              <a:gd name="connsiteX38" fmla="*/ 4184 w 10000"/>
              <a:gd name="connsiteY38" fmla="*/ 2988 h 10000"/>
              <a:gd name="connsiteX39" fmla="*/ 4126 w 10000"/>
              <a:gd name="connsiteY39" fmla="*/ 3043 h 10000"/>
              <a:gd name="connsiteX40" fmla="*/ 4067 w 10000"/>
              <a:gd name="connsiteY40" fmla="*/ 3097 h 10000"/>
              <a:gd name="connsiteX41" fmla="*/ 4007 w 10000"/>
              <a:gd name="connsiteY41" fmla="*/ 3149 h 10000"/>
              <a:gd name="connsiteX42" fmla="*/ 3945 w 10000"/>
              <a:gd name="connsiteY42" fmla="*/ 3196 h 10000"/>
              <a:gd name="connsiteX43" fmla="*/ 3883 w 10000"/>
              <a:gd name="connsiteY43" fmla="*/ 3243 h 10000"/>
              <a:gd name="connsiteX44" fmla="*/ 3989 w 10000"/>
              <a:gd name="connsiteY44" fmla="*/ 6588 h 10000"/>
              <a:gd name="connsiteX45" fmla="*/ 1 w 10000"/>
              <a:gd name="connsiteY45" fmla="*/ 9512 h 10000"/>
              <a:gd name="connsiteX46" fmla="*/ 139 w 10000"/>
              <a:gd name="connsiteY46" fmla="*/ 9569 h 10000"/>
              <a:gd name="connsiteX47" fmla="*/ 279 w 10000"/>
              <a:gd name="connsiteY47" fmla="*/ 9623 h 10000"/>
              <a:gd name="connsiteX48" fmla="*/ 422 w 10000"/>
              <a:gd name="connsiteY48" fmla="*/ 9673 h 10000"/>
              <a:gd name="connsiteX49" fmla="*/ 562 w 10000"/>
              <a:gd name="connsiteY49" fmla="*/ 9720 h 10000"/>
              <a:gd name="connsiteX50" fmla="*/ 706 w 10000"/>
              <a:gd name="connsiteY50" fmla="*/ 9765 h 10000"/>
              <a:gd name="connsiteX51" fmla="*/ 850 w 10000"/>
              <a:gd name="connsiteY51" fmla="*/ 9804 h 10000"/>
              <a:gd name="connsiteX52" fmla="*/ 995 w 10000"/>
              <a:gd name="connsiteY52" fmla="*/ 9839 h 10000"/>
              <a:gd name="connsiteX53" fmla="*/ 1141 w 10000"/>
              <a:gd name="connsiteY53" fmla="*/ 9874 h 10000"/>
              <a:gd name="connsiteX54" fmla="*/ 1290 w 10000"/>
              <a:gd name="connsiteY54" fmla="*/ 9903 h 10000"/>
              <a:gd name="connsiteX55" fmla="*/ 1436 w 10000"/>
              <a:gd name="connsiteY55" fmla="*/ 9926 h 10000"/>
              <a:gd name="connsiteX56" fmla="*/ 1585 w 10000"/>
              <a:gd name="connsiteY56" fmla="*/ 9948 h 10000"/>
              <a:gd name="connsiteX57" fmla="*/ 1734 w 10000"/>
              <a:gd name="connsiteY57" fmla="*/ 9965 h 10000"/>
              <a:gd name="connsiteX58" fmla="*/ 1883 w 10000"/>
              <a:gd name="connsiteY58" fmla="*/ 9980 h 10000"/>
              <a:gd name="connsiteX59" fmla="*/ 2036 w 10000"/>
              <a:gd name="connsiteY59" fmla="*/ 9990 h 10000"/>
              <a:gd name="connsiteX60" fmla="*/ 2188 w 10000"/>
              <a:gd name="connsiteY60" fmla="*/ 9995 h 10000"/>
              <a:gd name="connsiteX61" fmla="*/ 2339 w 10000"/>
              <a:gd name="connsiteY61" fmla="*/ 10000 h 10000"/>
              <a:gd name="connsiteX62" fmla="*/ 2521 w 10000"/>
              <a:gd name="connsiteY62" fmla="*/ 9995 h 10000"/>
              <a:gd name="connsiteX63" fmla="*/ 2698 w 10000"/>
              <a:gd name="connsiteY63" fmla="*/ 9988 h 10000"/>
              <a:gd name="connsiteX64" fmla="*/ 2876 w 10000"/>
              <a:gd name="connsiteY64" fmla="*/ 9975 h 10000"/>
              <a:gd name="connsiteX65" fmla="*/ 3050 w 10000"/>
              <a:gd name="connsiteY65" fmla="*/ 9953 h 10000"/>
              <a:gd name="connsiteX66" fmla="*/ 3227 w 10000"/>
              <a:gd name="connsiteY66" fmla="*/ 9931 h 10000"/>
              <a:gd name="connsiteX67" fmla="*/ 3401 w 10000"/>
              <a:gd name="connsiteY67" fmla="*/ 9898 h 10000"/>
              <a:gd name="connsiteX68" fmla="*/ 3575 w 10000"/>
              <a:gd name="connsiteY68" fmla="*/ 9866 h 10000"/>
              <a:gd name="connsiteX69" fmla="*/ 3747 w 10000"/>
              <a:gd name="connsiteY69" fmla="*/ 9824 h 10000"/>
              <a:gd name="connsiteX70" fmla="*/ 3915 w 10000"/>
              <a:gd name="connsiteY70" fmla="*/ 9779 h 10000"/>
              <a:gd name="connsiteX71" fmla="*/ 4087 w 10000"/>
              <a:gd name="connsiteY71" fmla="*/ 9730 h 10000"/>
              <a:gd name="connsiteX72" fmla="*/ 4252 w 10000"/>
              <a:gd name="connsiteY72" fmla="*/ 9673 h 10000"/>
              <a:gd name="connsiteX73" fmla="*/ 4420 w 10000"/>
              <a:gd name="connsiteY73" fmla="*/ 9616 h 10000"/>
              <a:gd name="connsiteX74" fmla="*/ 4584 w 10000"/>
              <a:gd name="connsiteY74" fmla="*/ 9552 h 10000"/>
              <a:gd name="connsiteX75" fmla="*/ 4748 w 10000"/>
              <a:gd name="connsiteY75" fmla="*/ 9482 h 10000"/>
              <a:gd name="connsiteX76" fmla="*/ 4908 w 10000"/>
              <a:gd name="connsiteY76" fmla="*/ 9405 h 10000"/>
              <a:gd name="connsiteX77" fmla="*/ 5068 w 10000"/>
              <a:gd name="connsiteY77" fmla="*/ 9329 h 10000"/>
              <a:gd name="connsiteX78" fmla="*/ 5227 w 10000"/>
              <a:gd name="connsiteY78" fmla="*/ 9244 h 10000"/>
              <a:gd name="connsiteX79" fmla="*/ 5384 w 10000"/>
              <a:gd name="connsiteY79" fmla="*/ 9158 h 10000"/>
              <a:gd name="connsiteX80" fmla="*/ 5538 w 10000"/>
              <a:gd name="connsiteY80" fmla="*/ 9063 h 10000"/>
              <a:gd name="connsiteX81" fmla="*/ 5691 w 10000"/>
              <a:gd name="connsiteY81" fmla="*/ 8967 h 10000"/>
              <a:gd name="connsiteX82" fmla="*/ 5845 w 10000"/>
              <a:gd name="connsiteY82" fmla="*/ 8865 h 10000"/>
              <a:gd name="connsiteX83" fmla="*/ 5992 w 10000"/>
              <a:gd name="connsiteY83" fmla="*/ 8759 h 10000"/>
              <a:gd name="connsiteX84" fmla="*/ 6141 w 10000"/>
              <a:gd name="connsiteY84" fmla="*/ 8652 h 10000"/>
              <a:gd name="connsiteX85" fmla="*/ 6287 w 10000"/>
              <a:gd name="connsiteY85" fmla="*/ 8536 h 10000"/>
              <a:gd name="connsiteX86" fmla="*/ 6431 w 10000"/>
              <a:gd name="connsiteY86" fmla="*/ 8417 h 10000"/>
              <a:gd name="connsiteX87" fmla="*/ 6571 w 10000"/>
              <a:gd name="connsiteY87" fmla="*/ 8295 h 10000"/>
              <a:gd name="connsiteX88" fmla="*/ 6712 w 10000"/>
              <a:gd name="connsiteY88" fmla="*/ 8169 h 10000"/>
              <a:gd name="connsiteX89" fmla="*/ 6847 w 10000"/>
              <a:gd name="connsiteY89" fmla="*/ 8040 h 10000"/>
              <a:gd name="connsiteX90" fmla="*/ 6982 w 10000"/>
              <a:gd name="connsiteY90" fmla="*/ 7904 h 10000"/>
              <a:gd name="connsiteX91" fmla="*/ 7115 w 10000"/>
              <a:gd name="connsiteY91" fmla="*/ 7768 h 10000"/>
              <a:gd name="connsiteX92" fmla="*/ 7247 w 10000"/>
              <a:gd name="connsiteY92" fmla="*/ 7624 h 10000"/>
              <a:gd name="connsiteX93" fmla="*/ 7374 w 10000"/>
              <a:gd name="connsiteY93" fmla="*/ 7480 h 10000"/>
              <a:gd name="connsiteX94" fmla="*/ 7500 w 10000"/>
              <a:gd name="connsiteY94" fmla="*/ 7329 h 10000"/>
              <a:gd name="connsiteX95" fmla="*/ 7624 w 10000"/>
              <a:gd name="connsiteY95" fmla="*/ 7178 h 10000"/>
              <a:gd name="connsiteX96" fmla="*/ 7745 w 10000"/>
              <a:gd name="connsiteY96" fmla="*/ 7024 h 10000"/>
              <a:gd name="connsiteX97" fmla="*/ 7863 w 10000"/>
              <a:gd name="connsiteY97" fmla="*/ 6861 h 10000"/>
              <a:gd name="connsiteX98" fmla="*/ 7980 w 10000"/>
              <a:gd name="connsiteY98" fmla="*/ 6697 h 10000"/>
              <a:gd name="connsiteX99" fmla="*/ 8093 w 10000"/>
              <a:gd name="connsiteY99" fmla="*/ 6534 h 10000"/>
              <a:gd name="connsiteX100" fmla="*/ 8203 w 10000"/>
              <a:gd name="connsiteY100" fmla="*/ 6365 h 10000"/>
              <a:gd name="connsiteX101" fmla="*/ 8312 w 10000"/>
              <a:gd name="connsiteY101" fmla="*/ 6189 h 10000"/>
              <a:gd name="connsiteX102" fmla="*/ 8417 w 10000"/>
              <a:gd name="connsiteY102" fmla="*/ 6016 h 10000"/>
              <a:gd name="connsiteX103" fmla="*/ 8521 w 10000"/>
              <a:gd name="connsiteY103" fmla="*/ 5835 h 10000"/>
              <a:gd name="connsiteX104" fmla="*/ 8621 w 10000"/>
              <a:gd name="connsiteY104" fmla="*/ 5652 h 10000"/>
              <a:gd name="connsiteX105" fmla="*/ 8718 w 10000"/>
              <a:gd name="connsiteY105" fmla="*/ 5468 h 10000"/>
              <a:gd name="connsiteX106" fmla="*/ 8812 w 10000"/>
              <a:gd name="connsiteY106" fmla="*/ 5278 h 10000"/>
              <a:gd name="connsiteX107" fmla="*/ 8904 w 10000"/>
              <a:gd name="connsiteY107" fmla="*/ 5089 h 10000"/>
              <a:gd name="connsiteX108" fmla="*/ 8993 w 10000"/>
              <a:gd name="connsiteY108" fmla="*/ 4893 h 10000"/>
              <a:gd name="connsiteX109" fmla="*/ 9079 w 10000"/>
              <a:gd name="connsiteY109" fmla="*/ 4698 h 10000"/>
              <a:gd name="connsiteX110" fmla="*/ 9161 w 10000"/>
              <a:gd name="connsiteY110" fmla="*/ 4500 h 10000"/>
              <a:gd name="connsiteX111" fmla="*/ 9240 w 10000"/>
              <a:gd name="connsiteY111" fmla="*/ 4294 h 10000"/>
              <a:gd name="connsiteX112" fmla="*/ 9316 w 10000"/>
              <a:gd name="connsiteY112" fmla="*/ 4091 h 10000"/>
              <a:gd name="connsiteX113" fmla="*/ 9388 w 10000"/>
              <a:gd name="connsiteY113" fmla="*/ 3885 h 10000"/>
              <a:gd name="connsiteX114" fmla="*/ 9459 w 10000"/>
              <a:gd name="connsiteY114" fmla="*/ 3674 h 10000"/>
              <a:gd name="connsiteX115" fmla="*/ 9525 w 10000"/>
              <a:gd name="connsiteY115" fmla="*/ 3464 h 10000"/>
              <a:gd name="connsiteX116" fmla="*/ 9590 w 10000"/>
              <a:gd name="connsiteY116" fmla="*/ 3248 h 10000"/>
              <a:gd name="connsiteX117" fmla="*/ 9649 w 10000"/>
              <a:gd name="connsiteY117" fmla="*/ 3030 h 10000"/>
              <a:gd name="connsiteX118" fmla="*/ 9705 w 10000"/>
              <a:gd name="connsiteY118" fmla="*/ 2815 h 10000"/>
              <a:gd name="connsiteX119" fmla="*/ 9758 w 10000"/>
              <a:gd name="connsiteY119" fmla="*/ 2592 h 10000"/>
              <a:gd name="connsiteX120" fmla="*/ 9809 w 10000"/>
              <a:gd name="connsiteY120" fmla="*/ 2369 h 10000"/>
              <a:gd name="connsiteX121" fmla="*/ 9853 w 10000"/>
              <a:gd name="connsiteY121" fmla="*/ 2143 h 10000"/>
              <a:gd name="connsiteX122" fmla="*/ 9896 w 10000"/>
              <a:gd name="connsiteY122" fmla="*/ 1918 h 10000"/>
              <a:gd name="connsiteX123" fmla="*/ 9935 w 10000"/>
              <a:gd name="connsiteY123" fmla="*/ 1690 h 10000"/>
              <a:gd name="connsiteX124" fmla="*/ 9969 w 10000"/>
              <a:gd name="connsiteY124" fmla="*/ 1457 h 10000"/>
              <a:gd name="connsiteX125" fmla="*/ 10000 w 10000"/>
              <a:gd name="connsiteY125" fmla="*/ 1222 h 10000"/>
              <a:gd name="connsiteX126" fmla="*/ 7560 w 10000"/>
              <a:gd name="connsiteY126" fmla="*/ 1876 h 10000"/>
              <a:gd name="connsiteX127" fmla="*/ 5522 w 10000"/>
              <a:gd name="connsiteY127" fmla="*/ 0 h 10000"/>
              <a:gd name="connsiteX0" fmla="*/ 5522 w 10000"/>
              <a:gd name="connsiteY0" fmla="*/ 0 h 10000"/>
              <a:gd name="connsiteX1" fmla="*/ 5522 w 10000"/>
              <a:gd name="connsiteY1" fmla="*/ 0 h 10000"/>
              <a:gd name="connsiteX2" fmla="*/ 5513 w 10000"/>
              <a:gd name="connsiteY2" fmla="*/ 99 h 10000"/>
              <a:gd name="connsiteX3" fmla="*/ 5498 w 10000"/>
              <a:gd name="connsiteY3" fmla="*/ 201 h 10000"/>
              <a:gd name="connsiteX4" fmla="*/ 5486 w 10000"/>
              <a:gd name="connsiteY4" fmla="*/ 300 h 10000"/>
              <a:gd name="connsiteX5" fmla="*/ 5471 w 10000"/>
              <a:gd name="connsiteY5" fmla="*/ 394 h 10000"/>
              <a:gd name="connsiteX6" fmla="*/ 5452 w 10000"/>
              <a:gd name="connsiteY6" fmla="*/ 491 h 10000"/>
              <a:gd name="connsiteX7" fmla="*/ 5433 w 10000"/>
              <a:gd name="connsiteY7" fmla="*/ 587 h 10000"/>
              <a:gd name="connsiteX8" fmla="*/ 5413 w 10000"/>
              <a:gd name="connsiteY8" fmla="*/ 684 h 10000"/>
              <a:gd name="connsiteX9" fmla="*/ 5391 w 10000"/>
              <a:gd name="connsiteY9" fmla="*/ 778 h 10000"/>
              <a:gd name="connsiteX10" fmla="*/ 5369 w 10000"/>
              <a:gd name="connsiteY10" fmla="*/ 870 h 10000"/>
              <a:gd name="connsiteX11" fmla="*/ 5342 w 10000"/>
              <a:gd name="connsiteY11" fmla="*/ 961 h 10000"/>
              <a:gd name="connsiteX12" fmla="*/ 5318 w 10000"/>
              <a:gd name="connsiteY12" fmla="*/ 1053 h 10000"/>
              <a:gd name="connsiteX13" fmla="*/ 5289 w 10000"/>
              <a:gd name="connsiteY13" fmla="*/ 1145 h 10000"/>
              <a:gd name="connsiteX14" fmla="*/ 5259 w 10000"/>
              <a:gd name="connsiteY14" fmla="*/ 1231 h 10000"/>
              <a:gd name="connsiteX15" fmla="*/ 5229 w 10000"/>
              <a:gd name="connsiteY15" fmla="*/ 1318 h 10000"/>
              <a:gd name="connsiteX16" fmla="*/ 5198 w 10000"/>
              <a:gd name="connsiteY16" fmla="*/ 1405 h 10000"/>
              <a:gd name="connsiteX17" fmla="*/ 5165 w 10000"/>
              <a:gd name="connsiteY17" fmla="*/ 1494 h 10000"/>
              <a:gd name="connsiteX18" fmla="*/ 5131 w 10000"/>
              <a:gd name="connsiteY18" fmla="*/ 1578 h 10000"/>
              <a:gd name="connsiteX19" fmla="*/ 5094 w 10000"/>
              <a:gd name="connsiteY19" fmla="*/ 1663 h 10000"/>
              <a:gd name="connsiteX20" fmla="*/ 5057 w 10000"/>
              <a:gd name="connsiteY20" fmla="*/ 1742 h 10000"/>
              <a:gd name="connsiteX21" fmla="*/ 5017 w 10000"/>
              <a:gd name="connsiteY21" fmla="*/ 1824 h 10000"/>
              <a:gd name="connsiteX22" fmla="*/ 4978 w 10000"/>
              <a:gd name="connsiteY22" fmla="*/ 1903 h 10000"/>
              <a:gd name="connsiteX23" fmla="*/ 4938 w 10000"/>
              <a:gd name="connsiteY23" fmla="*/ 1985 h 10000"/>
              <a:gd name="connsiteX24" fmla="*/ 4896 w 10000"/>
              <a:gd name="connsiteY24" fmla="*/ 2059 h 10000"/>
              <a:gd name="connsiteX25" fmla="*/ 4852 w 10000"/>
              <a:gd name="connsiteY25" fmla="*/ 2133 h 10000"/>
              <a:gd name="connsiteX26" fmla="*/ 4806 w 10000"/>
              <a:gd name="connsiteY26" fmla="*/ 2210 h 10000"/>
              <a:gd name="connsiteX27" fmla="*/ 4761 w 10000"/>
              <a:gd name="connsiteY27" fmla="*/ 2282 h 10000"/>
              <a:gd name="connsiteX28" fmla="*/ 4713 w 10000"/>
              <a:gd name="connsiteY28" fmla="*/ 2354 h 10000"/>
              <a:gd name="connsiteX29" fmla="*/ 4666 w 10000"/>
              <a:gd name="connsiteY29" fmla="*/ 2426 h 10000"/>
              <a:gd name="connsiteX30" fmla="*/ 4617 w 10000"/>
              <a:gd name="connsiteY30" fmla="*/ 2495 h 10000"/>
              <a:gd name="connsiteX31" fmla="*/ 4566 w 10000"/>
              <a:gd name="connsiteY31" fmla="*/ 2562 h 10000"/>
              <a:gd name="connsiteX32" fmla="*/ 4515 w 10000"/>
              <a:gd name="connsiteY32" fmla="*/ 2626 h 10000"/>
              <a:gd name="connsiteX33" fmla="*/ 4462 w 10000"/>
              <a:gd name="connsiteY33" fmla="*/ 2691 h 10000"/>
              <a:gd name="connsiteX34" fmla="*/ 4410 w 10000"/>
              <a:gd name="connsiteY34" fmla="*/ 2753 h 10000"/>
              <a:gd name="connsiteX35" fmla="*/ 4353 w 10000"/>
              <a:gd name="connsiteY35" fmla="*/ 2817 h 10000"/>
              <a:gd name="connsiteX36" fmla="*/ 4298 w 10000"/>
              <a:gd name="connsiteY36" fmla="*/ 2874 h 10000"/>
              <a:gd name="connsiteX37" fmla="*/ 4242 w 10000"/>
              <a:gd name="connsiteY37" fmla="*/ 2934 h 10000"/>
              <a:gd name="connsiteX38" fmla="*/ 4184 w 10000"/>
              <a:gd name="connsiteY38" fmla="*/ 2988 h 10000"/>
              <a:gd name="connsiteX39" fmla="*/ 4126 w 10000"/>
              <a:gd name="connsiteY39" fmla="*/ 3043 h 10000"/>
              <a:gd name="connsiteX40" fmla="*/ 4067 w 10000"/>
              <a:gd name="connsiteY40" fmla="*/ 3097 h 10000"/>
              <a:gd name="connsiteX41" fmla="*/ 4007 w 10000"/>
              <a:gd name="connsiteY41" fmla="*/ 3149 h 10000"/>
              <a:gd name="connsiteX42" fmla="*/ 3945 w 10000"/>
              <a:gd name="connsiteY42" fmla="*/ 3196 h 10000"/>
              <a:gd name="connsiteX43" fmla="*/ 3883 w 10000"/>
              <a:gd name="connsiteY43" fmla="*/ 3243 h 10000"/>
              <a:gd name="connsiteX44" fmla="*/ 3866 w 10000"/>
              <a:gd name="connsiteY44" fmla="*/ 6619 h 10000"/>
              <a:gd name="connsiteX45" fmla="*/ 1 w 10000"/>
              <a:gd name="connsiteY45" fmla="*/ 9512 h 10000"/>
              <a:gd name="connsiteX46" fmla="*/ 139 w 10000"/>
              <a:gd name="connsiteY46" fmla="*/ 9569 h 10000"/>
              <a:gd name="connsiteX47" fmla="*/ 279 w 10000"/>
              <a:gd name="connsiteY47" fmla="*/ 9623 h 10000"/>
              <a:gd name="connsiteX48" fmla="*/ 422 w 10000"/>
              <a:gd name="connsiteY48" fmla="*/ 9673 h 10000"/>
              <a:gd name="connsiteX49" fmla="*/ 562 w 10000"/>
              <a:gd name="connsiteY49" fmla="*/ 9720 h 10000"/>
              <a:gd name="connsiteX50" fmla="*/ 706 w 10000"/>
              <a:gd name="connsiteY50" fmla="*/ 9765 h 10000"/>
              <a:gd name="connsiteX51" fmla="*/ 850 w 10000"/>
              <a:gd name="connsiteY51" fmla="*/ 9804 h 10000"/>
              <a:gd name="connsiteX52" fmla="*/ 995 w 10000"/>
              <a:gd name="connsiteY52" fmla="*/ 9839 h 10000"/>
              <a:gd name="connsiteX53" fmla="*/ 1141 w 10000"/>
              <a:gd name="connsiteY53" fmla="*/ 9874 h 10000"/>
              <a:gd name="connsiteX54" fmla="*/ 1290 w 10000"/>
              <a:gd name="connsiteY54" fmla="*/ 9903 h 10000"/>
              <a:gd name="connsiteX55" fmla="*/ 1436 w 10000"/>
              <a:gd name="connsiteY55" fmla="*/ 9926 h 10000"/>
              <a:gd name="connsiteX56" fmla="*/ 1585 w 10000"/>
              <a:gd name="connsiteY56" fmla="*/ 9948 h 10000"/>
              <a:gd name="connsiteX57" fmla="*/ 1734 w 10000"/>
              <a:gd name="connsiteY57" fmla="*/ 9965 h 10000"/>
              <a:gd name="connsiteX58" fmla="*/ 1883 w 10000"/>
              <a:gd name="connsiteY58" fmla="*/ 9980 h 10000"/>
              <a:gd name="connsiteX59" fmla="*/ 2036 w 10000"/>
              <a:gd name="connsiteY59" fmla="*/ 9990 h 10000"/>
              <a:gd name="connsiteX60" fmla="*/ 2188 w 10000"/>
              <a:gd name="connsiteY60" fmla="*/ 9995 h 10000"/>
              <a:gd name="connsiteX61" fmla="*/ 2339 w 10000"/>
              <a:gd name="connsiteY61" fmla="*/ 10000 h 10000"/>
              <a:gd name="connsiteX62" fmla="*/ 2521 w 10000"/>
              <a:gd name="connsiteY62" fmla="*/ 9995 h 10000"/>
              <a:gd name="connsiteX63" fmla="*/ 2698 w 10000"/>
              <a:gd name="connsiteY63" fmla="*/ 9988 h 10000"/>
              <a:gd name="connsiteX64" fmla="*/ 2876 w 10000"/>
              <a:gd name="connsiteY64" fmla="*/ 9975 h 10000"/>
              <a:gd name="connsiteX65" fmla="*/ 3050 w 10000"/>
              <a:gd name="connsiteY65" fmla="*/ 9953 h 10000"/>
              <a:gd name="connsiteX66" fmla="*/ 3227 w 10000"/>
              <a:gd name="connsiteY66" fmla="*/ 9931 h 10000"/>
              <a:gd name="connsiteX67" fmla="*/ 3401 w 10000"/>
              <a:gd name="connsiteY67" fmla="*/ 9898 h 10000"/>
              <a:gd name="connsiteX68" fmla="*/ 3575 w 10000"/>
              <a:gd name="connsiteY68" fmla="*/ 9866 h 10000"/>
              <a:gd name="connsiteX69" fmla="*/ 3747 w 10000"/>
              <a:gd name="connsiteY69" fmla="*/ 9824 h 10000"/>
              <a:gd name="connsiteX70" fmla="*/ 3915 w 10000"/>
              <a:gd name="connsiteY70" fmla="*/ 9779 h 10000"/>
              <a:gd name="connsiteX71" fmla="*/ 4087 w 10000"/>
              <a:gd name="connsiteY71" fmla="*/ 9730 h 10000"/>
              <a:gd name="connsiteX72" fmla="*/ 4252 w 10000"/>
              <a:gd name="connsiteY72" fmla="*/ 9673 h 10000"/>
              <a:gd name="connsiteX73" fmla="*/ 4420 w 10000"/>
              <a:gd name="connsiteY73" fmla="*/ 9616 h 10000"/>
              <a:gd name="connsiteX74" fmla="*/ 4584 w 10000"/>
              <a:gd name="connsiteY74" fmla="*/ 9552 h 10000"/>
              <a:gd name="connsiteX75" fmla="*/ 4748 w 10000"/>
              <a:gd name="connsiteY75" fmla="*/ 9482 h 10000"/>
              <a:gd name="connsiteX76" fmla="*/ 4908 w 10000"/>
              <a:gd name="connsiteY76" fmla="*/ 9405 h 10000"/>
              <a:gd name="connsiteX77" fmla="*/ 5068 w 10000"/>
              <a:gd name="connsiteY77" fmla="*/ 9329 h 10000"/>
              <a:gd name="connsiteX78" fmla="*/ 5227 w 10000"/>
              <a:gd name="connsiteY78" fmla="*/ 9244 h 10000"/>
              <a:gd name="connsiteX79" fmla="*/ 5384 w 10000"/>
              <a:gd name="connsiteY79" fmla="*/ 9158 h 10000"/>
              <a:gd name="connsiteX80" fmla="*/ 5538 w 10000"/>
              <a:gd name="connsiteY80" fmla="*/ 9063 h 10000"/>
              <a:gd name="connsiteX81" fmla="*/ 5691 w 10000"/>
              <a:gd name="connsiteY81" fmla="*/ 8967 h 10000"/>
              <a:gd name="connsiteX82" fmla="*/ 5845 w 10000"/>
              <a:gd name="connsiteY82" fmla="*/ 8865 h 10000"/>
              <a:gd name="connsiteX83" fmla="*/ 5992 w 10000"/>
              <a:gd name="connsiteY83" fmla="*/ 8759 h 10000"/>
              <a:gd name="connsiteX84" fmla="*/ 6141 w 10000"/>
              <a:gd name="connsiteY84" fmla="*/ 8652 h 10000"/>
              <a:gd name="connsiteX85" fmla="*/ 6287 w 10000"/>
              <a:gd name="connsiteY85" fmla="*/ 8536 h 10000"/>
              <a:gd name="connsiteX86" fmla="*/ 6431 w 10000"/>
              <a:gd name="connsiteY86" fmla="*/ 8417 h 10000"/>
              <a:gd name="connsiteX87" fmla="*/ 6571 w 10000"/>
              <a:gd name="connsiteY87" fmla="*/ 8295 h 10000"/>
              <a:gd name="connsiteX88" fmla="*/ 6712 w 10000"/>
              <a:gd name="connsiteY88" fmla="*/ 8169 h 10000"/>
              <a:gd name="connsiteX89" fmla="*/ 6847 w 10000"/>
              <a:gd name="connsiteY89" fmla="*/ 8040 h 10000"/>
              <a:gd name="connsiteX90" fmla="*/ 6982 w 10000"/>
              <a:gd name="connsiteY90" fmla="*/ 7904 h 10000"/>
              <a:gd name="connsiteX91" fmla="*/ 7115 w 10000"/>
              <a:gd name="connsiteY91" fmla="*/ 7768 h 10000"/>
              <a:gd name="connsiteX92" fmla="*/ 7247 w 10000"/>
              <a:gd name="connsiteY92" fmla="*/ 7624 h 10000"/>
              <a:gd name="connsiteX93" fmla="*/ 7374 w 10000"/>
              <a:gd name="connsiteY93" fmla="*/ 7480 h 10000"/>
              <a:gd name="connsiteX94" fmla="*/ 7500 w 10000"/>
              <a:gd name="connsiteY94" fmla="*/ 7329 h 10000"/>
              <a:gd name="connsiteX95" fmla="*/ 7624 w 10000"/>
              <a:gd name="connsiteY95" fmla="*/ 7178 h 10000"/>
              <a:gd name="connsiteX96" fmla="*/ 7745 w 10000"/>
              <a:gd name="connsiteY96" fmla="*/ 7024 h 10000"/>
              <a:gd name="connsiteX97" fmla="*/ 7863 w 10000"/>
              <a:gd name="connsiteY97" fmla="*/ 6861 h 10000"/>
              <a:gd name="connsiteX98" fmla="*/ 7980 w 10000"/>
              <a:gd name="connsiteY98" fmla="*/ 6697 h 10000"/>
              <a:gd name="connsiteX99" fmla="*/ 8093 w 10000"/>
              <a:gd name="connsiteY99" fmla="*/ 6534 h 10000"/>
              <a:gd name="connsiteX100" fmla="*/ 8203 w 10000"/>
              <a:gd name="connsiteY100" fmla="*/ 6365 h 10000"/>
              <a:gd name="connsiteX101" fmla="*/ 8312 w 10000"/>
              <a:gd name="connsiteY101" fmla="*/ 6189 h 10000"/>
              <a:gd name="connsiteX102" fmla="*/ 8417 w 10000"/>
              <a:gd name="connsiteY102" fmla="*/ 6016 h 10000"/>
              <a:gd name="connsiteX103" fmla="*/ 8521 w 10000"/>
              <a:gd name="connsiteY103" fmla="*/ 5835 h 10000"/>
              <a:gd name="connsiteX104" fmla="*/ 8621 w 10000"/>
              <a:gd name="connsiteY104" fmla="*/ 5652 h 10000"/>
              <a:gd name="connsiteX105" fmla="*/ 8718 w 10000"/>
              <a:gd name="connsiteY105" fmla="*/ 5468 h 10000"/>
              <a:gd name="connsiteX106" fmla="*/ 8812 w 10000"/>
              <a:gd name="connsiteY106" fmla="*/ 5278 h 10000"/>
              <a:gd name="connsiteX107" fmla="*/ 8904 w 10000"/>
              <a:gd name="connsiteY107" fmla="*/ 5089 h 10000"/>
              <a:gd name="connsiteX108" fmla="*/ 8993 w 10000"/>
              <a:gd name="connsiteY108" fmla="*/ 4893 h 10000"/>
              <a:gd name="connsiteX109" fmla="*/ 9079 w 10000"/>
              <a:gd name="connsiteY109" fmla="*/ 4698 h 10000"/>
              <a:gd name="connsiteX110" fmla="*/ 9161 w 10000"/>
              <a:gd name="connsiteY110" fmla="*/ 4500 h 10000"/>
              <a:gd name="connsiteX111" fmla="*/ 9240 w 10000"/>
              <a:gd name="connsiteY111" fmla="*/ 4294 h 10000"/>
              <a:gd name="connsiteX112" fmla="*/ 9316 w 10000"/>
              <a:gd name="connsiteY112" fmla="*/ 4091 h 10000"/>
              <a:gd name="connsiteX113" fmla="*/ 9388 w 10000"/>
              <a:gd name="connsiteY113" fmla="*/ 3885 h 10000"/>
              <a:gd name="connsiteX114" fmla="*/ 9459 w 10000"/>
              <a:gd name="connsiteY114" fmla="*/ 3674 h 10000"/>
              <a:gd name="connsiteX115" fmla="*/ 9525 w 10000"/>
              <a:gd name="connsiteY115" fmla="*/ 3464 h 10000"/>
              <a:gd name="connsiteX116" fmla="*/ 9590 w 10000"/>
              <a:gd name="connsiteY116" fmla="*/ 3248 h 10000"/>
              <a:gd name="connsiteX117" fmla="*/ 9649 w 10000"/>
              <a:gd name="connsiteY117" fmla="*/ 3030 h 10000"/>
              <a:gd name="connsiteX118" fmla="*/ 9705 w 10000"/>
              <a:gd name="connsiteY118" fmla="*/ 2815 h 10000"/>
              <a:gd name="connsiteX119" fmla="*/ 9758 w 10000"/>
              <a:gd name="connsiteY119" fmla="*/ 2592 h 10000"/>
              <a:gd name="connsiteX120" fmla="*/ 9809 w 10000"/>
              <a:gd name="connsiteY120" fmla="*/ 2369 h 10000"/>
              <a:gd name="connsiteX121" fmla="*/ 9853 w 10000"/>
              <a:gd name="connsiteY121" fmla="*/ 2143 h 10000"/>
              <a:gd name="connsiteX122" fmla="*/ 9896 w 10000"/>
              <a:gd name="connsiteY122" fmla="*/ 1918 h 10000"/>
              <a:gd name="connsiteX123" fmla="*/ 9935 w 10000"/>
              <a:gd name="connsiteY123" fmla="*/ 1690 h 10000"/>
              <a:gd name="connsiteX124" fmla="*/ 9969 w 10000"/>
              <a:gd name="connsiteY124" fmla="*/ 1457 h 10000"/>
              <a:gd name="connsiteX125" fmla="*/ 10000 w 10000"/>
              <a:gd name="connsiteY125" fmla="*/ 1222 h 10000"/>
              <a:gd name="connsiteX126" fmla="*/ 7560 w 10000"/>
              <a:gd name="connsiteY126" fmla="*/ 1876 h 10000"/>
              <a:gd name="connsiteX127" fmla="*/ 5522 w 10000"/>
              <a:gd name="connsiteY127" fmla="*/ 0 h 10000"/>
              <a:gd name="connsiteX0" fmla="*/ 5522 w 10000"/>
              <a:gd name="connsiteY0" fmla="*/ 0 h 10000"/>
              <a:gd name="connsiteX1" fmla="*/ 5522 w 10000"/>
              <a:gd name="connsiteY1" fmla="*/ 0 h 10000"/>
              <a:gd name="connsiteX2" fmla="*/ 5513 w 10000"/>
              <a:gd name="connsiteY2" fmla="*/ 99 h 10000"/>
              <a:gd name="connsiteX3" fmla="*/ 5498 w 10000"/>
              <a:gd name="connsiteY3" fmla="*/ 201 h 10000"/>
              <a:gd name="connsiteX4" fmla="*/ 5486 w 10000"/>
              <a:gd name="connsiteY4" fmla="*/ 300 h 10000"/>
              <a:gd name="connsiteX5" fmla="*/ 5471 w 10000"/>
              <a:gd name="connsiteY5" fmla="*/ 394 h 10000"/>
              <a:gd name="connsiteX6" fmla="*/ 5452 w 10000"/>
              <a:gd name="connsiteY6" fmla="*/ 491 h 10000"/>
              <a:gd name="connsiteX7" fmla="*/ 5433 w 10000"/>
              <a:gd name="connsiteY7" fmla="*/ 587 h 10000"/>
              <a:gd name="connsiteX8" fmla="*/ 5413 w 10000"/>
              <a:gd name="connsiteY8" fmla="*/ 684 h 10000"/>
              <a:gd name="connsiteX9" fmla="*/ 5391 w 10000"/>
              <a:gd name="connsiteY9" fmla="*/ 778 h 10000"/>
              <a:gd name="connsiteX10" fmla="*/ 5369 w 10000"/>
              <a:gd name="connsiteY10" fmla="*/ 870 h 10000"/>
              <a:gd name="connsiteX11" fmla="*/ 5342 w 10000"/>
              <a:gd name="connsiteY11" fmla="*/ 961 h 10000"/>
              <a:gd name="connsiteX12" fmla="*/ 5318 w 10000"/>
              <a:gd name="connsiteY12" fmla="*/ 1053 h 10000"/>
              <a:gd name="connsiteX13" fmla="*/ 5289 w 10000"/>
              <a:gd name="connsiteY13" fmla="*/ 1145 h 10000"/>
              <a:gd name="connsiteX14" fmla="*/ 5259 w 10000"/>
              <a:gd name="connsiteY14" fmla="*/ 1231 h 10000"/>
              <a:gd name="connsiteX15" fmla="*/ 5229 w 10000"/>
              <a:gd name="connsiteY15" fmla="*/ 1318 h 10000"/>
              <a:gd name="connsiteX16" fmla="*/ 5198 w 10000"/>
              <a:gd name="connsiteY16" fmla="*/ 1405 h 10000"/>
              <a:gd name="connsiteX17" fmla="*/ 5165 w 10000"/>
              <a:gd name="connsiteY17" fmla="*/ 1494 h 10000"/>
              <a:gd name="connsiteX18" fmla="*/ 5131 w 10000"/>
              <a:gd name="connsiteY18" fmla="*/ 1578 h 10000"/>
              <a:gd name="connsiteX19" fmla="*/ 5094 w 10000"/>
              <a:gd name="connsiteY19" fmla="*/ 1663 h 10000"/>
              <a:gd name="connsiteX20" fmla="*/ 5057 w 10000"/>
              <a:gd name="connsiteY20" fmla="*/ 1742 h 10000"/>
              <a:gd name="connsiteX21" fmla="*/ 5017 w 10000"/>
              <a:gd name="connsiteY21" fmla="*/ 1824 h 10000"/>
              <a:gd name="connsiteX22" fmla="*/ 4978 w 10000"/>
              <a:gd name="connsiteY22" fmla="*/ 1903 h 10000"/>
              <a:gd name="connsiteX23" fmla="*/ 4938 w 10000"/>
              <a:gd name="connsiteY23" fmla="*/ 1985 h 10000"/>
              <a:gd name="connsiteX24" fmla="*/ 4896 w 10000"/>
              <a:gd name="connsiteY24" fmla="*/ 2059 h 10000"/>
              <a:gd name="connsiteX25" fmla="*/ 4852 w 10000"/>
              <a:gd name="connsiteY25" fmla="*/ 2133 h 10000"/>
              <a:gd name="connsiteX26" fmla="*/ 4806 w 10000"/>
              <a:gd name="connsiteY26" fmla="*/ 2210 h 10000"/>
              <a:gd name="connsiteX27" fmla="*/ 4761 w 10000"/>
              <a:gd name="connsiteY27" fmla="*/ 2282 h 10000"/>
              <a:gd name="connsiteX28" fmla="*/ 4713 w 10000"/>
              <a:gd name="connsiteY28" fmla="*/ 2354 h 10000"/>
              <a:gd name="connsiteX29" fmla="*/ 4666 w 10000"/>
              <a:gd name="connsiteY29" fmla="*/ 2426 h 10000"/>
              <a:gd name="connsiteX30" fmla="*/ 4617 w 10000"/>
              <a:gd name="connsiteY30" fmla="*/ 2495 h 10000"/>
              <a:gd name="connsiteX31" fmla="*/ 4566 w 10000"/>
              <a:gd name="connsiteY31" fmla="*/ 2562 h 10000"/>
              <a:gd name="connsiteX32" fmla="*/ 4515 w 10000"/>
              <a:gd name="connsiteY32" fmla="*/ 2626 h 10000"/>
              <a:gd name="connsiteX33" fmla="*/ 4462 w 10000"/>
              <a:gd name="connsiteY33" fmla="*/ 2691 h 10000"/>
              <a:gd name="connsiteX34" fmla="*/ 4410 w 10000"/>
              <a:gd name="connsiteY34" fmla="*/ 2753 h 10000"/>
              <a:gd name="connsiteX35" fmla="*/ 4353 w 10000"/>
              <a:gd name="connsiteY35" fmla="*/ 2817 h 10000"/>
              <a:gd name="connsiteX36" fmla="*/ 4298 w 10000"/>
              <a:gd name="connsiteY36" fmla="*/ 2874 h 10000"/>
              <a:gd name="connsiteX37" fmla="*/ 4242 w 10000"/>
              <a:gd name="connsiteY37" fmla="*/ 2934 h 10000"/>
              <a:gd name="connsiteX38" fmla="*/ 4184 w 10000"/>
              <a:gd name="connsiteY38" fmla="*/ 2988 h 10000"/>
              <a:gd name="connsiteX39" fmla="*/ 4126 w 10000"/>
              <a:gd name="connsiteY39" fmla="*/ 3043 h 10000"/>
              <a:gd name="connsiteX40" fmla="*/ 4067 w 10000"/>
              <a:gd name="connsiteY40" fmla="*/ 3097 h 10000"/>
              <a:gd name="connsiteX41" fmla="*/ 4007 w 10000"/>
              <a:gd name="connsiteY41" fmla="*/ 3149 h 10000"/>
              <a:gd name="connsiteX42" fmla="*/ 3945 w 10000"/>
              <a:gd name="connsiteY42" fmla="*/ 3196 h 10000"/>
              <a:gd name="connsiteX43" fmla="*/ 3883 w 10000"/>
              <a:gd name="connsiteY43" fmla="*/ 3243 h 10000"/>
              <a:gd name="connsiteX44" fmla="*/ 3997 w 10000"/>
              <a:gd name="connsiteY44" fmla="*/ 6577 h 10000"/>
              <a:gd name="connsiteX45" fmla="*/ 1 w 10000"/>
              <a:gd name="connsiteY45" fmla="*/ 9512 h 10000"/>
              <a:gd name="connsiteX46" fmla="*/ 139 w 10000"/>
              <a:gd name="connsiteY46" fmla="*/ 9569 h 10000"/>
              <a:gd name="connsiteX47" fmla="*/ 279 w 10000"/>
              <a:gd name="connsiteY47" fmla="*/ 9623 h 10000"/>
              <a:gd name="connsiteX48" fmla="*/ 422 w 10000"/>
              <a:gd name="connsiteY48" fmla="*/ 9673 h 10000"/>
              <a:gd name="connsiteX49" fmla="*/ 562 w 10000"/>
              <a:gd name="connsiteY49" fmla="*/ 9720 h 10000"/>
              <a:gd name="connsiteX50" fmla="*/ 706 w 10000"/>
              <a:gd name="connsiteY50" fmla="*/ 9765 h 10000"/>
              <a:gd name="connsiteX51" fmla="*/ 850 w 10000"/>
              <a:gd name="connsiteY51" fmla="*/ 9804 h 10000"/>
              <a:gd name="connsiteX52" fmla="*/ 995 w 10000"/>
              <a:gd name="connsiteY52" fmla="*/ 9839 h 10000"/>
              <a:gd name="connsiteX53" fmla="*/ 1141 w 10000"/>
              <a:gd name="connsiteY53" fmla="*/ 9874 h 10000"/>
              <a:gd name="connsiteX54" fmla="*/ 1290 w 10000"/>
              <a:gd name="connsiteY54" fmla="*/ 9903 h 10000"/>
              <a:gd name="connsiteX55" fmla="*/ 1436 w 10000"/>
              <a:gd name="connsiteY55" fmla="*/ 9926 h 10000"/>
              <a:gd name="connsiteX56" fmla="*/ 1585 w 10000"/>
              <a:gd name="connsiteY56" fmla="*/ 9948 h 10000"/>
              <a:gd name="connsiteX57" fmla="*/ 1734 w 10000"/>
              <a:gd name="connsiteY57" fmla="*/ 9965 h 10000"/>
              <a:gd name="connsiteX58" fmla="*/ 1883 w 10000"/>
              <a:gd name="connsiteY58" fmla="*/ 9980 h 10000"/>
              <a:gd name="connsiteX59" fmla="*/ 2036 w 10000"/>
              <a:gd name="connsiteY59" fmla="*/ 9990 h 10000"/>
              <a:gd name="connsiteX60" fmla="*/ 2188 w 10000"/>
              <a:gd name="connsiteY60" fmla="*/ 9995 h 10000"/>
              <a:gd name="connsiteX61" fmla="*/ 2339 w 10000"/>
              <a:gd name="connsiteY61" fmla="*/ 10000 h 10000"/>
              <a:gd name="connsiteX62" fmla="*/ 2521 w 10000"/>
              <a:gd name="connsiteY62" fmla="*/ 9995 h 10000"/>
              <a:gd name="connsiteX63" fmla="*/ 2698 w 10000"/>
              <a:gd name="connsiteY63" fmla="*/ 9988 h 10000"/>
              <a:gd name="connsiteX64" fmla="*/ 2876 w 10000"/>
              <a:gd name="connsiteY64" fmla="*/ 9975 h 10000"/>
              <a:gd name="connsiteX65" fmla="*/ 3050 w 10000"/>
              <a:gd name="connsiteY65" fmla="*/ 9953 h 10000"/>
              <a:gd name="connsiteX66" fmla="*/ 3227 w 10000"/>
              <a:gd name="connsiteY66" fmla="*/ 9931 h 10000"/>
              <a:gd name="connsiteX67" fmla="*/ 3401 w 10000"/>
              <a:gd name="connsiteY67" fmla="*/ 9898 h 10000"/>
              <a:gd name="connsiteX68" fmla="*/ 3575 w 10000"/>
              <a:gd name="connsiteY68" fmla="*/ 9866 h 10000"/>
              <a:gd name="connsiteX69" fmla="*/ 3747 w 10000"/>
              <a:gd name="connsiteY69" fmla="*/ 9824 h 10000"/>
              <a:gd name="connsiteX70" fmla="*/ 3915 w 10000"/>
              <a:gd name="connsiteY70" fmla="*/ 9779 h 10000"/>
              <a:gd name="connsiteX71" fmla="*/ 4087 w 10000"/>
              <a:gd name="connsiteY71" fmla="*/ 9730 h 10000"/>
              <a:gd name="connsiteX72" fmla="*/ 4252 w 10000"/>
              <a:gd name="connsiteY72" fmla="*/ 9673 h 10000"/>
              <a:gd name="connsiteX73" fmla="*/ 4420 w 10000"/>
              <a:gd name="connsiteY73" fmla="*/ 9616 h 10000"/>
              <a:gd name="connsiteX74" fmla="*/ 4584 w 10000"/>
              <a:gd name="connsiteY74" fmla="*/ 9552 h 10000"/>
              <a:gd name="connsiteX75" fmla="*/ 4748 w 10000"/>
              <a:gd name="connsiteY75" fmla="*/ 9482 h 10000"/>
              <a:gd name="connsiteX76" fmla="*/ 4908 w 10000"/>
              <a:gd name="connsiteY76" fmla="*/ 9405 h 10000"/>
              <a:gd name="connsiteX77" fmla="*/ 5068 w 10000"/>
              <a:gd name="connsiteY77" fmla="*/ 9329 h 10000"/>
              <a:gd name="connsiteX78" fmla="*/ 5227 w 10000"/>
              <a:gd name="connsiteY78" fmla="*/ 9244 h 10000"/>
              <a:gd name="connsiteX79" fmla="*/ 5384 w 10000"/>
              <a:gd name="connsiteY79" fmla="*/ 9158 h 10000"/>
              <a:gd name="connsiteX80" fmla="*/ 5538 w 10000"/>
              <a:gd name="connsiteY80" fmla="*/ 9063 h 10000"/>
              <a:gd name="connsiteX81" fmla="*/ 5691 w 10000"/>
              <a:gd name="connsiteY81" fmla="*/ 8967 h 10000"/>
              <a:gd name="connsiteX82" fmla="*/ 5845 w 10000"/>
              <a:gd name="connsiteY82" fmla="*/ 8865 h 10000"/>
              <a:gd name="connsiteX83" fmla="*/ 5992 w 10000"/>
              <a:gd name="connsiteY83" fmla="*/ 8759 h 10000"/>
              <a:gd name="connsiteX84" fmla="*/ 6141 w 10000"/>
              <a:gd name="connsiteY84" fmla="*/ 8652 h 10000"/>
              <a:gd name="connsiteX85" fmla="*/ 6287 w 10000"/>
              <a:gd name="connsiteY85" fmla="*/ 8536 h 10000"/>
              <a:gd name="connsiteX86" fmla="*/ 6431 w 10000"/>
              <a:gd name="connsiteY86" fmla="*/ 8417 h 10000"/>
              <a:gd name="connsiteX87" fmla="*/ 6571 w 10000"/>
              <a:gd name="connsiteY87" fmla="*/ 8295 h 10000"/>
              <a:gd name="connsiteX88" fmla="*/ 6712 w 10000"/>
              <a:gd name="connsiteY88" fmla="*/ 8169 h 10000"/>
              <a:gd name="connsiteX89" fmla="*/ 6847 w 10000"/>
              <a:gd name="connsiteY89" fmla="*/ 8040 h 10000"/>
              <a:gd name="connsiteX90" fmla="*/ 6982 w 10000"/>
              <a:gd name="connsiteY90" fmla="*/ 7904 h 10000"/>
              <a:gd name="connsiteX91" fmla="*/ 7115 w 10000"/>
              <a:gd name="connsiteY91" fmla="*/ 7768 h 10000"/>
              <a:gd name="connsiteX92" fmla="*/ 7247 w 10000"/>
              <a:gd name="connsiteY92" fmla="*/ 7624 h 10000"/>
              <a:gd name="connsiteX93" fmla="*/ 7374 w 10000"/>
              <a:gd name="connsiteY93" fmla="*/ 7480 h 10000"/>
              <a:gd name="connsiteX94" fmla="*/ 7500 w 10000"/>
              <a:gd name="connsiteY94" fmla="*/ 7329 h 10000"/>
              <a:gd name="connsiteX95" fmla="*/ 7624 w 10000"/>
              <a:gd name="connsiteY95" fmla="*/ 7178 h 10000"/>
              <a:gd name="connsiteX96" fmla="*/ 7745 w 10000"/>
              <a:gd name="connsiteY96" fmla="*/ 7024 h 10000"/>
              <a:gd name="connsiteX97" fmla="*/ 7863 w 10000"/>
              <a:gd name="connsiteY97" fmla="*/ 6861 h 10000"/>
              <a:gd name="connsiteX98" fmla="*/ 7980 w 10000"/>
              <a:gd name="connsiteY98" fmla="*/ 6697 h 10000"/>
              <a:gd name="connsiteX99" fmla="*/ 8093 w 10000"/>
              <a:gd name="connsiteY99" fmla="*/ 6534 h 10000"/>
              <a:gd name="connsiteX100" fmla="*/ 8203 w 10000"/>
              <a:gd name="connsiteY100" fmla="*/ 6365 h 10000"/>
              <a:gd name="connsiteX101" fmla="*/ 8312 w 10000"/>
              <a:gd name="connsiteY101" fmla="*/ 6189 h 10000"/>
              <a:gd name="connsiteX102" fmla="*/ 8417 w 10000"/>
              <a:gd name="connsiteY102" fmla="*/ 6016 h 10000"/>
              <a:gd name="connsiteX103" fmla="*/ 8521 w 10000"/>
              <a:gd name="connsiteY103" fmla="*/ 5835 h 10000"/>
              <a:gd name="connsiteX104" fmla="*/ 8621 w 10000"/>
              <a:gd name="connsiteY104" fmla="*/ 5652 h 10000"/>
              <a:gd name="connsiteX105" fmla="*/ 8718 w 10000"/>
              <a:gd name="connsiteY105" fmla="*/ 5468 h 10000"/>
              <a:gd name="connsiteX106" fmla="*/ 8812 w 10000"/>
              <a:gd name="connsiteY106" fmla="*/ 5278 h 10000"/>
              <a:gd name="connsiteX107" fmla="*/ 8904 w 10000"/>
              <a:gd name="connsiteY107" fmla="*/ 5089 h 10000"/>
              <a:gd name="connsiteX108" fmla="*/ 8993 w 10000"/>
              <a:gd name="connsiteY108" fmla="*/ 4893 h 10000"/>
              <a:gd name="connsiteX109" fmla="*/ 9079 w 10000"/>
              <a:gd name="connsiteY109" fmla="*/ 4698 h 10000"/>
              <a:gd name="connsiteX110" fmla="*/ 9161 w 10000"/>
              <a:gd name="connsiteY110" fmla="*/ 4500 h 10000"/>
              <a:gd name="connsiteX111" fmla="*/ 9240 w 10000"/>
              <a:gd name="connsiteY111" fmla="*/ 4294 h 10000"/>
              <a:gd name="connsiteX112" fmla="*/ 9316 w 10000"/>
              <a:gd name="connsiteY112" fmla="*/ 4091 h 10000"/>
              <a:gd name="connsiteX113" fmla="*/ 9388 w 10000"/>
              <a:gd name="connsiteY113" fmla="*/ 3885 h 10000"/>
              <a:gd name="connsiteX114" fmla="*/ 9459 w 10000"/>
              <a:gd name="connsiteY114" fmla="*/ 3674 h 10000"/>
              <a:gd name="connsiteX115" fmla="*/ 9525 w 10000"/>
              <a:gd name="connsiteY115" fmla="*/ 3464 h 10000"/>
              <a:gd name="connsiteX116" fmla="*/ 9590 w 10000"/>
              <a:gd name="connsiteY116" fmla="*/ 3248 h 10000"/>
              <a:gd name="connsiteX117" fmla="*/ 9649 w 10000"/>
              <a:gd name="connsiteY117" fmla="*/ 3030 h 10000"/>
              <a:gd name="connsiteX118" fmla="*/ 9705 w 10000"/>
              <a:gd name="connsiteY118" fmla="*/ 2815 h 10000"/>
              <a:gd name="connsiteX119" fmla="*/ 9758 w 10000"/>
              <a:gd name="connsiteY119" fmla="*/ 2592 h 10000"/>
              <a:gd name="connsiteX120" fmla="*/ 9809 w 10000"/>
              <a:gd name="connsiteY120" fmla="*/ 2369 h 10000"/>
              <a:gd name="connsiteX121" fmla="*/ 9853 w 10000"/>
              <a:gd name="connsiteY121" fmla="*/ 2143 h 10000"/>
              <a:gd name="connsiteX122" fmla="*/ 9896 w 10000"/>
              <a:gd name="connsiteY122" fmla="*/ 1918 h 10000"/>
              <a:gd name="connsiteX123" fmla="*/ 9935 w 10000"/>
              <a:gd name="connsiteY123" fmla="*/ 1690 h 10000"/>
              <a:gd name="connsiteX124" fmla="*/ 9969 w 10000"/>
              <a:gd name="connsiteY124" fmla="*/ 1457 h 10000"/>
              <a:gd name="connsiteX125" fmla="*/ 10000 w 10000"/>
              <a:gd name="connsiteY125" fmla="*/ 1222 h 10000"/>
              <a:gd name="connsiteX126" fmla="*/ 7560 w 10000"/>
              <a:gd name="connsiteY126" fmla="*/ 1876 h 10000"/>
              <a:gd name="connsiteX127" fmla="*/ 5522 w 10000"/>
              <a:gd name="connsiteY127" fmla="*/ 0 h 10000"/>
              <a:gd name="connsiteX0" fmla="*/ 5383 w 9861"/>
              <a:gd name="connsiteY0" fmla="*/ 0 h 10000"/>
              <a:gd name="connsiteX1" fmla="*/ 5383 w 9861"/>
              <a:gd name="connsiteY1" fmla="*/ 0 h 10000"/>
              <a:gd name="connsiteX2" fmla="*/ 5374 w 9861"/>
              <a:gd name="connsiteY2" fmla="*/ 99 h 10000"/>
              <a:gd name="connsiteX3" fmla="*/ 5359 w 9861"/>
              <a:gd name="connsiteY3" fmla="*/ 201 h 10000"/>
              <a:gd name="connsiteX4" fmla="*/ 5347 w 9861"/>
              <a:gd name="connsiteY4" fmla="*/ 300 h 10000"/>
              <a:gd name="connsiteX5" fmla="*/ 5332 w 9861"/>
              <a:gd name="connsiteY5" fmla="*/ 394 h 10000"/>
              <a:gd name="connsiteX6" fmla="*/ 5313 w 9861"/>
              <a:gd name="connsiteY6" fmla="*/ 491 h 10000"/>
              <a:gd name="connsiteX7" fmla="*/ 5294 w 9861"/>
              <a:gd name="connsiteY7" fmla="*/ 587 h 10000"/>
              <a:gd name="connsiteX8" fmla="*/ 5274 w 9861"/>
              <a:gd name="connsiteY8" fmla="*/ 684 h 10000"/>
              <a:gd name="connsiteX9" fmla="*/ 5252 w 9861"/>
              <a:gd name="connsiteY9" fmla="*/ 778 h 10000"/>
              <a:gd name="connsiteX10" fmla="*/ 5230 w 9861"/>
              <a:gd name="connsiteY10" fmla="*/ 870 h 10000"/>
              <a:gd name="connsiteX11" fmla="*/ 5203 w 9861"/>
              <a:gd name="connsiteY11" fmla="*/ 961 h 10000"/>
              <a:gd name="connsiteX12" fmla="*/ 5179 w 9861"/>
              <a:gd name="connsiteY12" fmla="*/ 1053 h 10000"/>
              <a:gd name="connsiteX13" fmla="*/ 5150 w 9861"/>
              <a:gd name="connsiteY13" fmla="*/ 1145 h 10000"/>
              <a:gd name="connsiteX14" fmla="*/ 5120 w 9861"/>
              <a:gd name="connsiteY14" fmla="*/ 1231 h 10000"/>
              <a:gd name="connsiteX15" fmla="*/ 5090 w 9861"/>
              <a:gd name="connsiteY15" fmla="*/ 1318 h 10000"/>
              <a:gd name="connsiteX16" fmla="*/ 5059 w 9861"/>
              <a:gd name="connsiteY16" fmla="*/ 1405 h 10000"/>
              <a:gd name="connsiteX17" fmla="*/ 5026 w 9861"/>
              <a:gd name="connsiteY17" fmla="*/ 1494 h 10000"/>
              <a:gd name="connsiteX18" fmla="*/ 4992 w 9861"/>
              <a:gd name="connsiteY18" fmla="*/ 1578 h 10000"/>
              <a:gd name="connsiteX19" fmla="*/ 4955 w 9861"/>
              <a:gd name="connsiteY19" fmla="*/ 1663 h 10000"/>
              <a:gd name="connsiteX20" fmla="*/ 4918 w 9861"/>
              <a:gd name="connsiteY20" fmla="*/ 1742 h 10000"/>
              <a:gd name="connsiteX21" fmla="*/ 4878 w 9861"/>
              <a:gd name="connsiteY21" fmla="*/ 1824 h 10000"/>
              <a:gd name="connsiteX22" fmla="*/ 4839 w 9861"/>
              <a:gd name="connsiteY22" fmla="*/ 1903 h 10000"/>
              <a:gd name="connsiteX23" fmla="*/ 4799 w 9861"/>
              <a:gd name="connsiteY23" fmla="*/ 1985 h 10000"/>
              <a:gd name="connsiteX24" fmla="*/ 4757 w 9861"/>
              <a:gd name="connsiteY24" fmla="*/ 2059 h 10000"/>
              <a:gd name="connsiteX25" fmla="*/ 4713 w 9861"/>
              <a:gd name="connsiteY25" fmla="*/ 2133 h 10000"/>
              <a:gd name="connsiteX26" fmla="*/ 4667 w 9861"/>
              <a:gd name="connsiteY26" fmla="*/ 2210 h 10000"/>
              <a:gd name="connsiteX27" fmla="*/ 4622 w 9861"/>
              <a:gd name="connsiteY27" fmla="*/ 2282 h 10000"/>
              <a:gd name="connsiteX28" fmla="*/ 4574 w 9861"/>
              <a:gd name="connsiteY28" fmla="*/ 2354 h 10000"/>
              <a:gd name="connsiteX29" fmla="*/ 4527 w 9861"/>
              <a:gd name="connsiteY29" fmla="*/ 2426 h 10000"/>
              <a:gd name="connsiteX30" fmla="*/ 4478 w 9861"/>
              <a:gd name="connsiteY30" fmla="*/ 2495 h 10000"/>
              <a:gd name="connsiteX31" fmla="*/ 4427 w 9861"/>
              <a:gd name="connsiteY31" fmla="*/ 2562 h 10000"/>
              <a:gd name="connsiteX32" fmla="*/ 4376 w 9861"/>
              <a:gd name="connsiteY32" fmla="*/ 2626 h 10000"/>
              <a:gd name="connsiteX33" fmla="*/ 4323 w 9861"/>
              <a:gd name="connsiteY33" fmla="*/ 2691 h 10000"/>
              <a:gd name="connsiteX34" fmla="*/ 4271 w 9861"/>
              <a:gd name="connsiteY34" fmla="*/ 2753 h 10000"/>
              <a:gd name="connsiteX35" fmla="*/ 4214 w 9861"/>
              <a:gd name="connsiteY35" fmla="*/ 2817 h 10000"/>
              <a:gd name="connsiteX36" fmla="*/ 4159 w 9861"/>
              <a:gd name="connsiteY36" fmla="*/ 2874 h 10000"/>
              <a:gd name="connsiteX37" fmla="*/ 4103 w 9861"/>
              <a:gd name="connsiteY37" fmla="*/ 2934 h 10000"/>
              <a:gd name="connsiteX38" fmla="*/ 4045 w 9861"/>
              <a:gd name="connsiteY38" fmla="*/ 2988 h 10000"/>
              <a:gd name="connsiteX39" fmla="*/ 3987 w 9861"/>
              <a:gd name="connsiteY39" fmla="*/ 3043 h 10000"/>
              <a:gd name="connsiteX40" fmla="*/ 3928 w 9861"/>
              <a:gd name="connsiteY40" fmla="*/ 3097 h 10000"/>
              <a:gd name="connsiteX41" fmla="*/ 3868 w 9861"/>
              <a:gd name="connsiteY41" fmla="*/ 3149 h 10000"/>
              <a:gd name="connsiteX42" fmla="*/ 3806 w 9861"/>
              <a:gd name="connsiteY42" fmla="*/ 3196 h 10000"/>
              <a:gd name="connsiteX43" fmla="*/ 3744 w 9861"/>
              <a:gd name="connsiteY43" fmla="*/ 3243 h 10000"/>
              <a:gd name="connsiteX44" fmla="*/ 3858 w 9861"/>
              <a:gd name="connsiteY44" fmla="*/ 6577 h 10000"/>
              <a:gd name="connsiteX45" fmla="*/ 0 w 9861"/>
              <a:gd name="connsiteY45" fmla="*/ 9569 h 10000"/>
              <a:gd name="connsiteX46" fmla="*/ 140 w 9861"/>
              <a:gd name="connsiteY46" fmla="*/ 9623 h 10000"/>
              <a:gd name="connsiteX47" fmla="*/ 283 w 9861"/>
              <a:gd name="connsiteY47" fmla="*/ 9673 h 10000"/>
              <a:gd name="connsiteX48" fmla="*/ 423 w 9861"/>
              <a:gd name="connsiteY48" fmla="*/ 9720 h 10000"/>
              <a:gd name="connsiteX49" fmla="*/ 567 w 9861"/>
              <a:gd name="connsiteY49" fmla="*/ 9765 h 10000"/>
              <a:gd name="connsiteX50" fmla="*/ 711 w 9861"/>
              <a:gd name="connsiteY50" fmla="*/ 9804 h 10000"/>
              <a:gd name="connsiteX51" fmla="*/ 856 w 9861"/>
              <a:gd name="connsiteY51" fmla="*/ 9839 h 10000"/>
              <a:gd name="connsiteX52" fmla="*/ 1002 w 9861"/>
              <a:gd name="connsiteY52" fmla="*/ 9874 h 10000"/>
              <a:gd name="connsiteX53" fmla="*/ 1151 w 9861"/>
              <a:gd name="connsiteY53" fmla="*/ 9903 h 10000"/>
              <a:gd name="connsiteX54" fmla="*/ 1297 w 9861"/>
              <a:gd name="connsiteY54" fmla="*/ 9926 h 10000"/>
              <a:gd name="connsiteX55" fmla="*/ 1446 w 9861"/>
              <a:gd name="connsiteY55" fmla="*/ 9948 h 10000"/>
              <a:gd name="connsiteX56" fmla="*/ 1595 w 9861"/>
              <a:gd name="connsiteY56" fmla="*/ 9965 h 10000"/>
              <a:gd name="connsiteX57" fmla="*/ 1744 w 9861"/>
              <a:gd name="connsiteY57" fmla="*/ 9980 h 10000"/>
              <a:gd name="connsiteX58" fmla="*/ 1897 w 9861"/>
              <a:gd name="connsiteY58" fmla="*/ 9990 h 10000"/>
              <a:gd name="connsiteX59" fmla="*/ 2049 w 9861"/>
              <a:gd name="connsiteY59" fmla="*/ 9995 h 10000"/>
              <a:gd name="connsiteX60" fmla="*/ 2200 w 9861"/>
              <a:gd name="connsiteY60" fmla="*/ 10000 h 10000"/>
              <a:gd name="connsiteX61" fmla="*/ 2382 w 9861"/>
              <a:gd name="connsiteY61" fmla="*/ 9995 h 10000"/>
              <a:gd name="connsiteX62" fmla="*/ 2559 w 9861"/>
              <a:gd name="connsiteY62" fmla="*/ 9988 h 10000"/>
              <a:gd name="connsiteX63" fmla="*/ 2737 w 9861"/>
              <a:gd name="connsiteY63" fmla="*/ 9975 h 10000"/>
              <a:gd name="connsiteX64" fmla="*/ 2911 w 9861"/>
              <a:gd name="connsiteY64" fmla="*/ 9953 h 10000"/>
              <a:gd name="connsiteX65" fmla="*/ 3088 w 9861"/>
              <a:gd name="connsiteY65" fmla="*/ 9931 h 10000"/>
              <a:gd name="connsiteX66" fmla="*/ 3262 w 9861"/>
              <a:gd name="connsiteY66" fmla="*/ 9898 h 10000"/>
              <a:gd name="connsiteX67" fmla="*/ 3436 w 9861"/>
              <a:gd name="connsiteY67" fmla="*/ 9866 h 10000"/>
              <a:gd name="connsiteX68" fmla="*/ 3608 w 9861"/>
              <a:gd name="connsiteY68" fmla="*/ 9824 h 10000"/>
              <a:gd name="connsiteX69" fmla="*/ 3776 w 9861"/>
              <a:gd name="connsiteY69" fmla="*/ 9779 h 10000"/>
              <a:gd name="connsiteX70" fmla="*/ 3948 w 9861"/>
              <a:gd name="connsiteY70" fmla="*/ 9730 h 10000"/>
              <a:gd name="connsiteX71" fmla="*/ 4113 w 9861"/>
              <a:gd name="connsiteY71" fmla="*/ 9673 h 10000"/>
              <a:gd name="connsiteX72" fmla="*/ 4281 w 9861"/>
              <a:gd name="connsiteY72" fmla="*/ 9616 h 10000"/>
              <a:gd name="connsiteX73" fmla="*/ 4445 w 9861"/>
              <a:gd name="connsiteY73" fmla="*/ 9552 h 10000"/>
              <a:gd name="connsiteX74" fmla="*/ 4609 w 9861"/>
              <a:gd name="connsiteY74" fmla="*/ 9482 h 10000"/>
              <a:gd name="connsiteX75" fmla="*/ 4769 w 9861"/>
              <a:gd name="connsiteY75" fmla="*/ 9405 h 10000"/>
              <a:gd name="connsiteX76" fmla="*/ 4929 w 9861"/>
              <a:gd name="connsiteY76" fmla="*/ 9329 h 10000"/>
              <a:gd name="connsiteX77" fmla="*/ 5088 w 9861"/>
              <a:gd name="connsiteY77" fmla="*/ 9244 h 10000"/>
              <a:gd name="connsiteX78" fmla="*/ 5245 w 9861"/>
              <a:gd name="connsiteY78" fmla="*/ 9158 h 10000"/>
              <a:gd name="connsiteX79" fmla="*/ 5399 w 9861"/>
              <a:gd name="connsiteY79" fmla="*/ 9063 h 10000"/>
              <a:gd name="connsiteX80" fmla="*/ 5552 w 9861"/>
              <a:gd name="connsiteY80" fmla="*/ 8967 h 10000"/>
              <a:gd name="connsiteX81" fmla="*/ 5706 w 9861"/>
              <a:gd name="connsiteY81" fmla="*/ 8865 h 10000"/>
              <a:gd name="connsiteX82" fmla="*/ 5853 w 9861"/>
              <a:gd name="connsiteY82" fmla="*/ 8759 h 10000"/>
              <a:gd name="connsiteX83" fmla="*/ 6002 w 9861"/>
              <a:gd name="connsiteY83" fmla="*/ 8652 h 10000"/>
              <a:gd name="connsiteX84" fmla="*/ 6148 w 9861"/>
              <a:gd name="connsiteY84" fmla="*/ 8536 h 10000"/>
              <a:gd name="connsiteX85" fmla="*/ 6292 w 9861"/>
              <a:gd name="connsiteY85" fmla="*/ 8417 h 10000"/>
              <a:gd name="connsiteX86" fmla="*/ 6432 w 9861"/>
              <a:gd name="connsiteY86" fmla="*/ 8295 h 10000"/>
              <a:gd name="connsiteX87" fmla="*/ 6573 w 9861"/>
              <a:gd name="connsiteY87" fmla="*/ 8169 h 10000"/>
              <a:gd name="connsiteX88" fmla="*/ 6708 w 9861"/>
              <a:gd name="connsiteY88" fmla="*/ 8040 h 10000"/>
              <a:gd name="connsiteX89" fmla="*/ 6843 w 9861"/>
              <a:gd name="connsiteY89" fmla="*/ 7904 h 10000"/>
              <a:gd name="connsiteX90" fmla="*/ 6976 w 9861"/>
              <a:gd name="connsiteY90" fmla="*/ 7768 h 10000"/>
              <a:gd name="connsiteX91" fmla="*/ 7108 w 9861"/>
              <a:gd name="connsiteY91" fmla="*/ 7624 h 10000"/>
              <a:gd name="connsiteX92" fmla="*/ 7235 w 9861"/>
              <a:gd name="connsiteY92" fmla="*/ 7480 h 10000"/>
              <a:gd name="connsiteX93" fmla="*/ 7361 w 9861"/>
              <a:gd name="connsiteY93" fmla="*/ 7329 h 10000"/>
              <a:gd name="connsiteX94" fmla="*/ 7485 w 9861"/>
              <a:gd name="connsiteY94" fmla="*/ 7178 h 10000"/>
              <a:gd name="connsiteX95" fmla="*/ 7606 w 9861"/>
              <a:gd name="connsiteY95" fmla="*/ 7024 h 10000"/>
              <a:gd name="connsiteX96" fmla="*/ 7724 w 9861"/>
              <a:gd name="connsiteY96" fmla="*/ 6861 h 10000"/>
              <a:gd name="connsiteX97" fmla="*/ 7841 w 9861"/>
              <a:gd name="connsiteY97" fmla="*/ 6697 h 10000"/>
              <a:gd name="connsiteX98" fmla="*/ 7954 w 9861"/>
              <a:gd name="connsiteY98" fmla="*/ 6534 h 10000"/>
              <a:gd name="connsiteX99" fmla="*/ 8064 w 9861"/>
              <a:gd name="connsiteY99" fmla="*/ 6365 h 10000"/>
              <a:gd name="connsiteX100" fmla="*/ 8173 w 9861"/>
              <a:gd name="connsiteY100" fmla="*/ 6189 h 10000"/>
              <a:gd name="connsiteX101" fmla="*/ 8278 w 9861"/>
              <a:gd name="connsiteY101" fmla="*/ 6016 h 10000"/>
              <a:gd name="connsiteX102" fmla="*/ 8382 w 9861"/>
              <a:gd name="connsiteY102" fmla="*/ 5835 h 10000"/>
              <a:gd name="connsiteX103" fmla="*/ 8482 w 9861"/>
              <a:gd name="connsiteY103" fmla="*/ 5652 h 10000"/>
              <a:gd name="connsiteX104" fmla="*/ 8579 w 9861"/>
              <a:gd name="connsiteY104" fmla="*/ 5468 h 10000"/>
              <a:gd name="connsiteX105" fmla="*/ 8673 w 9861"/>
              <a:gd name="connsiteY105" fmla="*/ 5278 h 10000"/>
              <a:gd name="connsiteX106" fmla="*/ 8765 w 9861"/>
              <a:gd name="connsiteY106" fmla="*/ 5089 h 10000"/>
              <a:gd name="connsiteX107" fmla="*/ 8854 w 9861"/>
              <a:gd name="connsiteY107" fmla="*/ 4893 h 10000"/>
              <a:gd name="connsiteX108" fmla="*/ 8940 w 9861"/>
              <a:gd name="connsiteY108" fmla="*/ 4698 h 10000"/>
              <a:gd name="connsiteX109" fmla="*/ 9022 w 9861"/>
              <a:gd name="connsiteY109" fmla="*/ 4500 h 10000"/>
              <a:gd name="connsiteX110" fmla="*/ 9101 w 9861"/>
              <a:gd name="connsiteY110" fmla="*/ 4294 h 10000"/>
              <a:gd name="connsiteX111" fmla="*/ 9177 w 9861"/>
              <a:gd name="connsiteY111" fmla="*/ 4091 h 10000"/>
              <a:gd name="connsiteX112" fmla="*/ 9249 w 9861"/>
              <a:gd name="connsiteY112" fmla="*/ 3885 h 10000"/>
              <a:gd name="connsiteX113" fmla="*/ 9320 w 9861"/>
              <a:gd name="connsiteY113" fmla="*/ 3674 h 10000"/>
              <a:gd name="connsiteX114" fmla="*/ 9386 w 9861"/>
              <a:gd name="connsiteY114" fmla="*/ 3464 h 10000"/>
              <a:gd name="connsiteX115" fmla="*/ 9451 w 9861"/>
              <a:gd name="connsiteY115" fmla="*/ 3248 h 10000"/>
              <a:gd name="connsiteX116" fmla="*/ 9510 w 9861"/>
              <a:gd name="connsiteY116" fmla="*/ 3030 h 10000"/>
              <a:gd name="connsiteX117" fmla="*/ 9566 w 9861"/>
              <a:gd name="connsiteY117" fmla="*/ 2815 h 10000"/>
              <a:gd name="connsiteX118" fmla="*/ 9619 w 9861"/>
              <a:gd name="connsiteY118" fmla="*/ 2592 h 10000"/>
              <a:gd name="connsiteX119" fmla="*/ 9670 w 9861"/>
              <a:gd name="connsiteY119" fmla="*/ 2369 h 10000"/>
              <a:gd name="connsiteX120" fmla="*/ 9714 w 9861"/>
              <a:gd name="connsiteY120" fmla="*/ 2143 h 10000"/>
              <a:gd name="connsiteX121" fmla="*/ 9757 w 9861"/>
              <a:gd name="connsiteY121" fmla="*/ 1918 h 10000"/>
              <a:gd name="connsiteX122" fmla="*/ 9796 w 9861"/>
              <a:gd name="connsiteY122" fmla="*/ 1690 h 10000"/>
              <a:gd name="connsiteX123" fmla="*/ 9830 w 9861"/>
              <a:gd name="connsiteY123" fmla="*/ 1457 h 10000"/>
              <a:gd name="connsiteX124" fmla="*/ 9861 w 9861"/>
              <a:gd name="connsiteY124" fmla="*/ 1222 h 10000"/>
              <a:gd name="connsiteX125" fmla="*/ 7421 w 9861"/>
              <a:gd name="connsiteY125" fmla="*/ 1876 h 10000"/>
              <a:gd name="connsiteX126" fmla="*/ 5383 w 9861"/>
              <a:gd name="connsiteY126" fmla="*/ 0 h 10000"/>
              <a:gd name="connsiteX0" fmla="*/ 5561 w 10102"/>
              <a:gd name="connsiteY0" fmla="*/ 0 h 10000"/>
              <a:gd name="connsiteX1" fmla="*/ 5561 w 10102"/>
              <a:gd name="connsiteY1" fmla="*/ 0 h 10000"/>
              <a:gd name="connsiteX2" fmla="*/ 5552 w 10102"/>
              <a:gd name="connsiteY2" fmla="*/ 99 h 10000"/>
              <a:gd name="connsiteX3" fmla="*/ 5537 w 10102"/>
              <a:gd name="connsiteY3" fmla="*/ 201 h 10000"/>
              <a:gd name="connsiteX4" fmla="*/ 5524 w 10102"/>
              <a:gd name="connsiteY4" fmla="*/ 300 h 10000"/>
              <a:gd name="connsiteX5" fmla="*/ 5509 w 10102"/>
              <a:gd name="connsiteY5" fmla="*/ 394 h 10000"/>
              <a:gd name="connsiteX6" fmla="*/ 5490 w 10102"/>
              <a:gd name="connsiteY6" fmla="*/ 491 h 10000"/>
              <a:gd name="connsiteX7" fmla="*/ 5471 w 10102"/>
              <a:gd name="connsiteY7" fmla="*/ 587 h 10000"/>
              <a:gd name="connsiteX8" fmla="*/ 5450 w 10102"/>
              <a:gd name="connsiteY8" fmla="*/ 684 h 10000"/>
              <a:gd name="connsiteX9" fmla="*/ 5428 w 10102"/>
              <a:gd name="connsiteY9" fmla="*/ 778 h 10000"/>
              <a:gd name="connsiteX10" fmla="*/ 5406 w 10102"/>
              <a:gd name="connsiteY10" fmla="*/ 870 h 10000"/>
              <a:gd name="connsiteX11" fmla="*/ 5378 w 10102"/>
              <a:gd name="connsiteY11" fmla="*/ 961 h 10000"/>
              <a:gd name="connsiteX12" fmla="*/ 5354 w 10102"/>
              <a:gd name="connsiteY12" fmla="*/ 1053 h 10000"/>
              <a:gd name="connsiteX13" fmla="*/ 5325 w 10102"/>
              <a:gd name="connsiteY13" fmla="*/ 1145 h 10000"/>
              <a:gd name="connsiteX14" fmla="*/ 5294 w 10102"/>
              <a:gd name="connsiteY14" fmla="*/ 1231 h 10000"/>
              <a:gd name="connsiteX15" fmla="*/ 5264 w 10102"/>
              <a:gd name="connsiteY15" fmla="*/ 1318 h 10000"/>
              <a:gd name="connsiteX16" fmla="*/ 5232 w 10102"/>
              <a:gd name="connsiteY16" fmla="*/ 1405 h 10000"/>
              <a:gd name="connsiteX17" fmla="*/ 5199 w 10102"/>
              <a:gd name="connsiteY17" fmla="*/ 1494 h 10000"/>
              <a:gd name="connsiteX18" fmla="*/ 5164 w 10102"/>
              <a:gd name="connsiteY18" fmla="*/ 1578 h 10000"/>
              <a:gd name="connsiteX19" fmla="*/ 5127 w 10102"/>
              <a:gd name="connsiteY19" fmla="*/ 1663 h 10000"/>
              <a:gd name="connsiteX20" fmla="*/ 5089 w 10102"/>
              <a:gd name="connsiteY20" fmla="*/ 1742 h 10000"/>
              <a:gd name="connsiteX21" fmla="*/ 5049 w 10102"/>
              <a:gd name="connsiteY21" fmla="*/ 1824 h 10000"/>
              <a:gd name="connsiteX22" fmla="*/ 5009 w 10102"/>
              <a:gd name="connsiteY22" fmla="*/ 1903 h 10000"/>
              <a:gd name="connsiteX23" fmla="*/ 4969 w 10102"/>
              <a:gd name="connsiteY23" fmla="*/ 1985 h 10000"/>
              <a:gd name="connsiteX24" fmla="*/ 4926 w 10102"/>
              <a:gd name="connsiteY24" fmla="*/ 2059 h 10000"/>
              <a:gd name="connsiteX25" fmla="*/ 4881 w 10102"/>
              <a:gd name="connsiteY25" fmla="*/ 2133 h 10000"/>
              <a:gd name="connsiteX26" fmla="*/ 4835 w 10102"/>
              <a:gd name="connsiteY26" fmla="*/ 2210 h 10000"/>
              <a:gd name="connsiteX27" fmla="*/ 4789 w 10102"/>
              <a:gd name="connsiteY27" fmla="*/ 2282 h 10000"/>
              <a:gd name="connsiteX28" fmla="*/ 4740 w 10102"/>
              <a:gd name="connsiteY28" fmla="*/ 2354 h 10000"/>
              <a:gd name="connsiteX29" fmla="*/ 4693 w 10102"/>
              <a:gd name="connsiteY29" fmla="*/ 2426 h 10000"/>
              <a:gd name="connsiteX30" fmla="*/ 4643 w 10102"/>
              <a:gd name="connsiteY30" fmla="*/ 2495 h 10000"/>
              <a:gd name="connsiteX31" fmla="*/ 4591 w 10102"/>
              <a:gd name="connsiteY31" fmla="*/ 2562 h 10000"/>
              <a:gd name="connsiteX32" fmla="*/ 4540 w 10102"/>
              <a:gd name="connsiteY32" fmla="*/ 2626 h 10000"/>
              <a:gd name="connsiteX33" fmla="*/ 4486 w 10102"/>
              <a:gd name="connsiteY33" fmla="*/ 2691 h 10000"/>
              <a:gd name="connsiteX34" fmla="*/ 4433 w 10102"/>
              <a:gd name="connsiteY34" fmla="*/ 2753 h 10000"/>
              <a:gd name="connsiteX35" fmla="*/ 4375 w 10102"/>
              <a:gd name="connsiteY35" fmla="*/ 2817 h 10000"/>
              <a:gd name="connsiteX36" fmla="*/ 4320 w 10102"/>
              <a:gd name="connsiteY36" fmla="*/ 2874 h 10000"/>
              <a:gd name="connsiteX37" fmla="*/ 4263 w 10102"/>
              <a:gd name="connsiteY37" fmla="*/ 2934 h 10000"/>
              <a:gd name="connsiteX38" fmla="*/ 4204 w 10102"/>
              <a:gd name="connsiteY38" fmla="*/ 2988 h 10000"/>
              <a:gd name="connsiteX39" fmla="*/ 4145 w 10102"/>
              <a:gd name="connsiteY39" fmla="*/ 3043 h 10000"/>
              <a:gd name="connsiteX40" fmla="*/ 4085 w 10102"/>
              <a:gd name="connsiteY40" fmla="*/ 3097 h 10000"/>
              <a:gd name="connsiteX41" fmla="*/ 4025 w 10102"/>
              <a:gd name="connsiteY41" fmla="*/ 3149 h 10000"/>
              <a:gd name="connsiteX42" fmla="*/ 3962 w 10102"/>
              <a:gd name="connsiteY42" fmla="*/ 3196 h 10000"/>
              <a:gd name="connsiteX43" fmla="*/ 3899 w 10102"/>
              <a:gd name="connsiteY43" fmla="*/ 3243 h 10000"/>
              <a:gd name="connsiteX44" fmla="*/ 4014 w 10102"/>
              <a:gd name="connsiteY44" fmla="*/ 6577 h 10000"/>
              <a:gd name="connsiteX45" fmla="*/ 244 w 10102"/>
              <a:gd name="connsiteY45" fmla="*/ 9623 h 10000"/>
              <a:gd name="connsiteX46" fmla="*/ 389 w 10102"/>
              <a:gd name="connsiteY46" fmla="*/ 9673 h 10000"/>
              <a:gd name="connsiteX47" fmla="*/ 531 w 10102"/>
              <a:gd name="connsiteY47" fmla="*/ 9720 h 10000"/>
              <a:gd name="connsiteX48" fmla="*/ 677 w 10102"/>
              <a:gd name="connsiteY48" fmla="*/ 9765 h 10000"/>
              <a:gd name="connsiteX49" fmla="*/ 823 w 10102"/>
              <a:gd name="connsiteY49" fmla="*/ 9804 h 10000"/>
              <a:gd name="connsiteX50" fmla="*/ 970 w 10102"/>
              <a:gd name="connsiteY50" fmla="*/ 9839 h 10000"/>
              <a:gd name="connsiteX51" fmla="*/ 1118 w 10102"/>
              <a:gd name="connsiteY51" fmla="*/ 9874 h 10000"/>
              <a:gd name="connsiteX52" fmla="*/ 1269 w 10102"/>
              <a:gd name="connsiteY52" fmla="*/ 9903 h 10000"/>
              <a:gd name="connsiteX53" fmla="*/ 1417 w 10102"/>
              <a:gd name="connsiteY53" fmla="*/ 9926 h 10000"/>
              <a:gd name="connsiteX54" fmla="*/ 1568 w 10102"/>
              <a:gd name="connsiteY54" fmla="*/ 9948 h 10000"/>
              <a:gd name="connsiteX55" fmla="*/ 1719 w 10102"/>
              <a:gd name="connsiteY55" fmla="*/ 9965 h 10000"/>
              <a:gd name="connsiteX56" fmla="*/ 1871 w 10102"/>
              <a:gd name="connsiteY56" fmla="*/ 9980 h 10000"/>
              <a:gd name="connsiteX57" fmla="*/ 2026 w 10102"/>
              <a:gd name="connsiteY57" fmla="*/ 9990 h 10000"/>
              <a:gd name="connsiteX58" fmla="*/ 2180 w 10102"/>
              <a:gd name="connsiteY58" fmla="*/ 9995 h 10000"/>
              <a:gd name="connsiteX59" fmla="*/ 2333 w 10102"/>
              <a:gd name="connsiteY59" fmla="*/ 10000 h 10000"/>
              <a:gd name="connsiteX60" fmla="*/ 2518 w 10102"/>
              <a:gd name="connsiteY60" fmla="*/ 9995 h 10000"/>
              <a:gd name="connsiteX61" fmla="*/ 2697 w 10102"/>
              <a:gd name="connsiteY61" fmla="*/ 9988 h 10000"/>
              <a:gd name="connsiteX62" fmla="*/ 2878 w 10102"/>
              <a:gd name="connsiteY62" fmla="*/ 9975 h 10000"/>
              <a:gd name="connsiteX63" fmla="*/ 3054 w 10102"/>
              <a:gd name="connsiteY63" fmla="*/ 9953 h 10000"/>
              <a:gd name="connsiteX64" fmla="*/ 3234 w 10102"/>
              <a:gd name="connsiteY64" fmla="*/ 9931 h 10000"/>
              <a:gd name="connsiteX65" fmla="*/ 3410 w 10102"/>
              <a:gd name="connsiteY65" fmla="*/ 9898 h 10000"/>
              <a:gd name="connsiteX66" fmla="*/ 3586 w 10102"/>
              <a:gd name="connsiteY66" fmla="*/ 9866 h 10000"/>
              <a:gd name="connsiteX67" fmla="*/ 3761 w 10102"/>
              <a:gd name="connsiteY67" fmla="*/ 9824 h 10000"/>
              <a:gd name="connsiteX68" fmla="*/ 3931 w 10102"/>
              <a:gd name="connsiteY68" fmla="*/ 9779 h 10000"/>
              <a:gd name="connsiteX69" fmla="*/ 4106 w 10102"/>
              <a:gd name="connsiteY69" fmla="*/ 9730 h 10000"/>
              <a:gd name="connsiteX70" fmla="*/ 4273 w 10102"/>
              <a:gd name="connsiteY70" fmla="*/ 9673 h 10000"/>
              <a:gd name="connsiteX71" fmla="*/ 4443 w 10102"/>
              <a:gd name="connsiteY71" fmla="*/ 9616 h 10000"/>
              <a:gd name="connsiteX72" fmla="*/ 4610 w 10102"/>
              <a:gd name="connsiteY72" fmla="*/ 9552 h 10000"/>
              <a:gd name="connsiteX73" fmla="*/ 4776 w 10102"/>
              <a:gd name="connsiteY73" fmla="*/ 9482 h 10000"/>
              <a:gd name="connsiteX74" fmla="*/ 4938 w 10102"/>
              <a:gd name="connsiteY74" fmla="*/ 9405 h 10000"/>
              <a:gd name="connsiteX75" fmla="*/ 5100 w 10102"/>
              <a:gd name="connsiteY75" fmla="*/ 9329 h 10000"/>
              <a:gd name="connsiteX76" fmla="*/ 5262 w 10102"/>
              <a:gd name="connsiteY76" fmla="*/ 9244 h 10000"/>
              <a:gd name="connsiteX77" fmla="*/ 5421 w 10102"/>
              <a:gd name="connsiteY77" fmla="*/ 9158 h 10000"/>
              <a:gd name="connsiteX78" fmla="*/ 5577 w 10102"/>
              <a:gd name="connsiteY78" fmla="*/ 9063 h 10000"/>
              <a:gd name="connsiteX79" fmla="*/ 5732 w 10102"/>
              <a:gd name="connsiteY79" fmla="*/ 8967 h 10000"/>
              <a:gd name="connsiteX80" fmla="*/ 5888 w 10102"/>
              <a:gd name="connsiteY80" fmla="*/ 8865 h 10000"/>
              <a:gd name="connsiteX81" fmla="*/ 6038 w 10102"/>
              <a:gd name="connsiteY81" fmla="*/ 8759 h 10000"/>
              <a:gd name="connsiteX82" fmla="*/ 6189 w 10102"/>
              <a:gd name="connsiteY82" fmla="*/ 8652 h 10000"/>
              <a:gd name="connsiteX83" fmla="*/ 6337 w 10102"/>
              <a:gd name="connsiteY83" fmla="*/ 8536 h 10000"/>
              <a:gd name="connsiteX84" fmla="*/ 6483 w 10102"/>
              <a:gd name="connsiteY84" fmla="*/ 8417 h 10000"/>
              <a:gd name="connsiteX85" fmla="*/ 6625 w 10102"/>
              <a:gd name="connsiteY85" fmla="*/ 8295 h 10000"/>
              <a:gd name="connsiteX86" fmla="*/ 6768 w 10102"/>
              <a:gd name="connsiteY86" fmla="*/ 8169 h 10000"/>
              <a:gd name="connsiteX87" fmla="*/ 6905 w 10102"/>
              <a:gd name="connsiteY87" fmla="*/ 8040 h 10000"/>
              <a:gd name="connsiteX88" fmla="*/ 7041 w 10102"/>
              <a:gd name="connsiteY88" fmla="*/ 7904 h 10000"/>
              <a:gd name="connsiteX89" fmla="*/ 7176 w 10102"/>
              <a:gd name="connsiteY89" fmla="*/ 7768 h 10000"/>
              <a:gd name="connsiteX90" fmla="*/ 7310 w 10102"/>
              <a:gd name="connsiteY90" fmla="*/ 7624 h 10000"/>
              <a:gd name="connsiteX91" fmla="*/ 7439 w 10102"/>
              <a:gd name="connsiteY91" fmla="*/ 7480 h 10000"/>
              <a:gd name="connsiteX92" fmla="*/ 7567 w 10102"/>
              <a:gd name="connsiteY92" fmla="*/ 7329 h 10000"/>
              <a:gd name="connsiteX93" fmla="*/ 7693 w 10102"/>
              <a:gd name="connsiteY93" fmla="*/ 7178 h 10000"/>
              <a:gd name="connsiteX94" fmla="*/ 7815 w 10102"/>
              <a:gd name="connsiteY94" fmla="*/ 7024 h 10000"/>
              <a:gd name="connsiteX95" fmla="*/ 7935 w 10102"/>
              <a:gd name="connsiteY95" fmla="*/ 6861 h 10000"/>
              <a:gd name="connsiteX96" fmla="*/ 8054 w 10102"/>
              <a:gd name="connsiteY96" fmla="*/ 6697 h 10000"/>
              <a:gd name="connsiteX97" fmla="*/ 8168 w 10102"/>
              <a:gd name="connsiteY97" fmla="*/ 6534 h 10000"/>
              <a:gd name="connsiteX98" fmla="*/ 8280 w 10102"/>
              <a:gd name="connsiteY98" fmla="*/ 6365 h 10000"/>
              <a:gd name="connsiteX99" fmla="*/ 8390 w 10102"/>
              <a:gd name="connsiteY99" fmla="*/ 6189 h 10000"/>
              <a:gd name="connsiteX100" fmla="*/ 8497 w 10102"/>
              <a:gd name="connsiteY100" fmla="*/ 6016 h 10000"/>
              <a:gd name="connsiteX101" fmla="*/ 8602 w 10102"/>
              <a:gd name="connsiteY101" fmla="*/ 5835 h 10000"/>
              <a:gd name="connsiteX102" fmla="*/ 8704 w 10102"/>
              <a:gd name="connsiteY102" fmla="*/ 5652 h 10000"/>
              <a:gd name="connsiteX103" fmla="*/ 8802 w 10102"/>
              <a:gd name="connsiteY103" fmla="*/ 5468 h 10000"/>
              <a:gd name="connsiteX104" fmla="*/ 8897 w 10102"/>
              <a:gd name="connsiteY104" fmla="*/ 5278 h 10000"/>
              <a:gd name="connsiteX105" fmla="*/ 8991 w 10102"/>
              <a:gd name="connsiteY105" fmla="*/ 5089 h 10000"/>
              <a:gd name="connsiteX106" fmla="*/ 9081 w 10102"/>
              <a:gd name="connsiteY106" fmla="*/ 4893 h 10000"/>
              <a:gd name="connsiteX107" fmla="*/ 9168 w 10102"/>
              <a:gd name="connsiteY107" fmla="*/ 4698 h 10000"/>
              <a:gd name="connsiteX108" fmla="*/ 9251 w 10102"/>
              <a:gd name="connsiteY108" fmla="*/ 4500 h 10000"/>
              <a:gd name="connsiteX109" fmla="*/ 9331 w 10102"/>
              <a:gd name="connsiteY109" fmla="*/ 4294 h 10000"/>
              <a:gd name="connsiteX110" fmla="*/ 9408 w 10102"/>
              <a:gd name="connsiteY110" fmla="*/ 4091 h 10000"/>
              <a:gd name="connsiteX111" fmla="*/ 9481 w 10102"/>
              <a:gd name="connsiteY111" fmla="*/ 3885 h 10000"/>
              <a:gd name="connsiteX112" fmla="*/ 9553 w 10102"/>
              <a:gd name="connsiteY112" fmla="*/ 3674 h 10000"/>
              <a:gd name="connsiteX113" fmla="*/ 9620 w 10102"/>
              <a:gd name="connsiteY113" fmla="*/ 3464 h 10000"/>
              <a:gd name="connsiteX114" fmla="*/ 9686 w 10102"/>
              <a:gd name="connsiteY114" fmla="*/ 3248 h 10000"/>
              <a:gd name="connsiteX115" fmla="*/ 9746 w 10102"/>
              <a:gd name="connsiteY115" fmla="*/ 3030 h 10000"/>
              <a:gd name="connsiteX116" fmla="*/ 9803 w 10102"/>
              <a:gd name="connsiteY116" fmla="*/ 2815 h 10000"/>
              <a:gd name="connsiteX117" fmla="*/ 9857 w 10102"/>
              <a:gd name="connsiteY117" fmla="*/ 2592 h 10000"/>
              <a:gd name="connsiteX118" fmla="*/ 9908 w 10102"/>
              <a:gd name="connsiteY118" fmla="*/ 2369 h 10000"/>
              <a:gd name="connsiteX119" fmla="*/ 9953 w 10102"/>
              <a:gd name="connsiteY119" fmla="*/ 2143 h 10000"/>
              <a:gd name="connsiteX120" fmla="*/ 9997 w 10102"/>
              <a:gd name="connsiteY120" fmla="*/ 1918 h 10000"/>
              <a:gd name="connsiteX121" fmla="*/ 10036 w 10102"/>
              <a:gd name="connsiteY121" fmla="*/ 1690 h 10000"/>
              <a:gd name="connsiteX122" fmla="*/ 10071 w 10102"/>
              <a:gd name="connsiteY122" fmla="*/ 1457 h 10000"/>
              <a:gd name="connsiteX123" fmla="*/ 10102 w 10102"/>
              <a:gd name="connsiteY123" fmla="*/ 1222 h 10000"/>
              <a:gd name="connsiteX124" fmla="*/ 7628 w 10102"/>
              <a:gd name="connsiteY124" fmla="*/ 1876 h 10000"/>
              <a:gd name="connsiteX125" fmla="*/ 5561 w 10102"/>
              <a:gd name="connsiteY125" fmla="*/ 0 h 10000"/>
              <a:gd name="connsiteX0" fmla="*/ 5172 w 9713"/>
              <a:gd name="connsiteY0" fmla="*/ 0 h 10000"/>
              <a:gd name="connsiteX1" fmla="*/ 5172 w 9713"/>
              <a:gd name="connsiteY1" fmla="*/ 0 h 10000"/>
              <a:gd name="connsiteX2" fmla="*/ 5163 w 9713"/>
              <a:gd name="connsiteY2" fmla="*/ 99 h 10000"/>
              <a:gd name="connsiteX3" fmla="*/ 5148 w 9713"/>
              <a:gd name="connsiteY3" fmla="*/ 201 h 10000"/>
              <a:gd name="connsiteX4" fmla="*/ 5135 w 9713"/>
              <a:gd name="connsiteY4" fmla="*/ 300 h 10000"/>
              <a:gd name="connsiteX5" fmla="*/ 5120 w 9713"/>
              <a:gd name="connsiteY5" fmla="*/ 394 h 10000"/>
              <a:gd name="connsiteX6" fmla="*/ 5101 w 9713"/>
              <a:gd name="connsiteY6" fmla="*/ 491 h 10000"/>
              <a:gd name="connsiteX7" fmla="*/ 5082 w 9713"/>
              <a:gd name="connsiteY7" fmla="*/ 587 h 10000"/>
              <a:gd name="connsiteX8" fmla="*/ 5061 w 9713"/>
              <a:gd name="connsiteY8" fmla="*/ 684 h 10000"/>
              <a:gd name="connsiteX9" fmla="*/ 5039 w 9713"/>
              <a:gd name="connsiteY9" fmla="*/ 778 h 10000"/>
              <a:gd name="connsiteX10" fmla="*/ 5017 w 9713"/>
              <a:gd name="connsiteY10" fmla="*/ 870 h 10000"/>
              <a:gd name="connsiteX11" fmla="*/ 4989 w 9713"/>
              <a:gd name="connsiteY11" fmla="*/ 961 h 10000"/>
              <a:gd name="connsiteX12" fmla="*/ 4965 w 9713"/>
              <a:gd name="connsiteY12" fmla="*/ 1053 h 10000"/>
              <a:gd name="connsiteX13" fmla="*/ 4936 w 9713"/>
              <a:gd name="connsiteY13" fmla="*/ 1145 h 10000"/>
              <a:gd name="connsiteX14" fmla="*/ 4905 w 9713"/>
              <a:gd name="connsiteY14" fmla="*/ 1231 h 10000"/>
              <a:gd name="connsiteX15" fmla="*/ 4875 w 9713"/>
              <a:gd name="connsiteY15" fmla="*/ 1318 h 10000"/>
              <a:gd name="connsiteX16" fmla="*/ 4843 w 9713"/>
              <a:gd name="connsiteY16" fmla="*/ 1405 h 10000"/>
              <a:gd name="connsiteX17" fmla="*/ 4810 w 9713"/>
              <a:gd name="connsiteY17" fmla="*/ 1494 h 10000"/>
              <a:gd name="connsiteX18" fmla="*/ 4775 w 9713"/>
              <a:gd name="connsiteY18" fmla="*/ 1578 h 10000"/>
              <a:gd name="connsiteX19" fmla="*/ 4738 w 9713"/>
              <a:gd name="connsiteY19" fmla="*/ 1663 h 10000"/>
              <a:gd name="connsiteX20" fmla="*/ 4700 w 9713"/>
              <a:gd name="connsiteY20" fmla="*/ 1742 h 10000"/>
              <a:gd name="connsiteX21" fmla="*/ 4660 w 9713"/>
              <a:gd name="connsiteY21" fmla="*/ 1824 h 10000"/>
              <a:gd name="connsiteX22" fmla="*/ 4620 w 9713"/>
              <a:gd name="connsiteY22" fmla="*/ 1903 h 10000"/>
              <a:gd name="connsiteX23" fmla="*/ 4580 w 9713"/>
              <a:gd name="connsiteY23" fmla="*/ 1985 h 10000"/>
              <a:gd name="connsiteX24" fmla="*/ 4537 w 9713"/>
              <a:gd name="connsiteY24" fmla="*/ 2059 h 10000"/>
              <a:gd name="connsiteX25" fmla="*/ 4492 w 9713"/>
              <a:gd name="connsiteY25" fmla="*/ 2133 h 10000"/>
              <a:gd name="connsiteX26" fmla="*/ 4446 w 9713"/>
              <a:gd name="connsiteY26" fmla="*/ 2210 h 10000"/>
              <a:gd name="connsiteX27" fmla="*/ 4400 w 9713"/>
              <a:gd name="connsiteY27" fmla="*/ 2282 h 10000"/>
              <a:gd name="connsiteX28" fmla="*/ 4351 w 9713"/>
              <a:gd name="connsiteY28" fmla="*/ 2354 h 10000"/>
              <a:gd name="connsiteX29" fmla="*/ 4304 w 9713"/>
              <a:gd name="connsiteY29" fmla="*/ 2426 h 10000"/>
              <a:gd name="connsiteX30" fmla="*/ 4254 w 9713"/>
              <a:gd name="connsiteY30" fmla="*/ 2495 h 10000"/>
              <a:gd name="connsiteX31" fmla="*/ 4202 w 9713"/>
              <a:gd name="connsiteY31" fmla="*/ 2562 h 10000"/>
              <a:gd name="connsiteX32" fmla="*/ 4151 w 9713"/>
              <a:gd name="connsiteY32" fmla="*/ 2626 h 10000"/>
              <a:gd name="connsiteX33" fmla="*/ 4097 w 9713"/>
              <a:gd name="connsiteY33" fmla="*/ 2691 h 10000"/>
              <a:gd name="connsiteX34" fmla="*/ 4044 w 9713"/>
              <a:gd name="connsiteY34" fmla="*/ 2753 h 10000"/>
              <a:gd name="connsiteX35" fmla="*/ 3986 w 9713"/>
              <a:gd name="connsiteY35" fmla="*/ 2817 h 10000"/>
              <a:gd name="connsiteX36" fmla="*/ 3931 w 9713"/>
              <a:gd name="connsiteY36" fmla="*/ 2874 h 10000"/>
              <a:gd name="connsiteX37" fmla="*/ 3874 w 9713"/>
              <a:gd name="connsiteY37" fmla="*/ 2934 h 10000"/>
              <a:gd name="connsiteX38" fmla="*/ 3815 w 9713"/>
              <a:gd name="connsiteY38" fmla="*/ 2988 h 10000"/>
              <a:gd name="connsiteX39" fmla="*/ 3756 w 9713"/>
              <a:gd name="connsiteY39" fmla="*/ 3043 h 10000"/>
              <a:gd name="connsiteX40" fmla="*/ 3696 w 9713"/>
              <a:gd name="connsiteY40" fmla="*/ 3097 h 10000"/>
              <a:gd name="connsiteX41" fmla="*/ 3636 w 9713"/>
              <a:gd name="connsiteY41" fmla="*/ 3149 h 10000"/>
              <a:gd name="connsiteX42" fmla="*/ 3573 w 9713"/>
              <a:gd name="connsiteY42" fmla="*/ 3196 h 10000"/>
              <a:gd name="connsiteX43" fmla="*/ 3510 w 9713"/>
              <a:gd name="connsiteY43" fmla="*/ 3243 h 10000"/>
              <a:gd name="connsiteX44" fmla="*/ 3625 w 9713"/>
              <a:gd name="connsiteY44" fmla="*/ 6577 h 10000"/>
              <a:gd name="connsiteX45" fmla="*/ 0 w 9713"/>
              <a:gd name="connsiteY45" fmla="*/ 9673 h 10000"/>
              <a:gd name="connsiteX46" fmla="*/ 142 w 9713"/>
              <a:gd name="connsiteY46" fmla="*/ 9720 h 10000"/>
              <a:gd name="connsiteX47" fmla="*/ 288 w 9713"/>
              <a:gd name="connsiteY47" fmla="*/ 9765 h 10000"/>
              <a:gd name="connsiteX48" fmla="*/ 434 w 9713"/>
              <a:gd name="connsiteY48" fmla="*/ 9804 h 10000"/>
              <a:gd name="connsiteX49" fmla="*/ 581 w 9713"/>
              <a:gd name="connsiteY49" fmla="*/ 9839 h 10000"/>
              <a:gd name="connsiteX50" fmla="*/ 729 w 9713"/>
              <a:gd name="connsiteY50" fmla="*/ 9874 h 10000"/>
              <a:gd name="connsiteX51" fmla="*/ 880 w 9713"/>
              <a:gd name="connsiteY51" fmla="*/ 9903 h 10000"/>
              <a:gd name="connsiteX52" fmla="*/ 1028 w 9713"/>
              <a:gd name="connsiteY52" fmla="*/ 9926 h 10000"/>
              <a:gd name="connsiteX53" fmla="*/ 1179 w 9713"/>
              <a:gd name="connsiteY53" fmla="*/ 9948 h 10000"/>
              <a:gd name="connsiteX54" fmla="*/ 1330 w 9713"/>
              <a:gd name="connsiteY54" fmla="*/ 9965 h 10000"/>
              <a:gd name="connsiteX55" fmla="*/ 1482 w 9713"/>
              <a:gd name="connsiteY55" fmla="*/ 9980 h 10000"/>
              <a:gd name="connsiteX56" fmla="*/ 1637 w 9713"/>
              <a:gd name="connsiteY56" fmla="*/ 9990 h 10000"/>
              <a:gd name="connsiteX57" fmla="*/ 1791 w 9713"/>
              <a:gd name="connsiteY57" fmla="*/ 9995 h 10000"/>
              <a:gd name="connsiteX58" fmla="*/ 1944 w 9713"/>
              <a:gd name="connsiteY58" fmla="*/ 10000 h 10000"/>
              <a:gd name="connsiteX59" fmla="*/ 2129 w 9713"/>
              <a:gd name="connsiteY59" fmla="*/ 9995 h 10000"/>
              <a:gd name="connsiteX60" fmla="*/ 2308 w 9713"/>
              <a:gd name="connsiteY60" fmla="*/ 9988 h 10000"/>
              <a:gd name="connsiteX61" fmla="*/ 2489 w 9713"/>
              <a:gd name="connsiteY61" fmla="*/ 9975 h 10000"/>
              <a:gd name="connsiteX62" fmla="*/ 2665 w 9713"/>
              <a:gd name="connsiteY62" fmla="*/ 9953 h 10000"/>
              <a:gd name="connsiteX63" fmla="*/ 2845 w 9713"/>
              <a:gd name="connsiteY63" fmla="*/ 9931 h 10000"/>
              <a:gd name="connsiteX64" fmla="*/ 3021 w 9713"/>
              <a:gd name="connsiteY64" fmla="*/ 9898 h 10000"/>
              <a:gd name="connsiteX65" fmla="*/ 3197 w 9713"/>
              <a:gd name="connsiteY65" fmla="*/ 9866 h 10000"/>
              <a:gd name="connsiteX66" fmla="*/ 3372 w 9713"/>
              <a:gd name="connsiteY66" fmla="*/ 9824 h 10000"/>
              <a:gd name="connsiteX67" fmla="*/ 3542 w 9713"/>
              <a:gd name="connsiteY67" fmla="*/ 9779 h 10000"/>
              <a:gd name="connsiteX68" fmla="*/ 3717 w 9713"/>
              <a:gd name="connsiteY68" fmla="*/ 9730 h 10000"/>
              <a:gd name="connsiteX69" fmla="*/ 3884 w 9713"/>
              <a:gd name="connsiteY69" fmla="*/ 9673 h 10000"/>
              <a:gd name="connsiteX70" fmla="*/ 4054 w 9713"/>
              <a:gd name="connsiteY70" fmla="*/ 9616 h 10000"/>
              <a:gd name="connsiteX71" fmla="*/ 4221 w 9713"/>
              <a:gd name="connsiteY71" fmla="*/ 9552 h 10000"/>
              <a:gd name="connsiteX72" fmla="*/ 4387 w 9713"/>
              <a:gd name="connsiteY72" fmla="*/ 9482 h 10000"/>
              <a:gd name="connsiteX73" fmla="*/ 4549 w 9713"/>
              <a:gd name="connsiteY73" fmla="*/ 9405 h 10000"/>
              <a:gd name="connsiteX74" fmla="*/ 4711 w 9713"/>
              <a:gd name="connsiteY74" fmla="*/ 9329 h 10000"/>
              <a:gd name="connsiteX75" fmla="*/ 4873 w 9713"/>
              <a:gd name="connsiteY75" fmla="*/ 9244 h 10000"/>
              <a:gd name="connsiteX76" fmla="*/ 5032 w 9713"/>
              <a:gd name="connsiteY76" fmla="*/ 9158 h 10000"/>
              <a:gd name="connsiteX77" fmla="*/ 5188 w 9713"/>
              <a:gd name="connsiteY77" fmla="*/ 9063 h 10000"/>
              <a:gd name="connsiteX78" fmla="*/ 5343 w 9713"/>
              <a:gd name="connsiteY78" fmla="*/ 8967 h 10000"/>
              <a:gd name="connsiteX79" fmla="*/ 5499 w 9713"/>
              <a:gd name="connsiteY79" fmla="*/ 8865 h 10000"/>
              <a:gd name="connsiteX80" fmla="*/ 5649 w 9713"/>
              <a:gd name="connsiteY80" fmla="*/ 8759 h 10000"/>
              <a:gd name="connsiteX81" fmla="*/ 5800 w 9713"/>
              <a:gd name="connsiteY81" fmla="*/ 8652 h 10000"/>
              <a:gd name="connsiteX82" fmla="*/ 5948 w 9713"/>
              <a:gd name="connsiteY82" fmla="*/ 8536 h 10000"/>
              <a:gd name="connsiteX83" fmla="*/ 6094 w 9713"/>
              <a:gd name="connsiteY83" fmla="*/ 8417 h 10000"/>
              <a:gd name="connsiteX84" fmla="*/ 6236 w 9713"/>
              <a:gd name="connsiteY84" fmla="*/ 8295 h 10000"/>
              <a:gd name="connsiteX85" fmla="*/ 6379 w 9713"/>
              <a:gd name="connsiteY85" fmla="*/ 8169 h 10000"/>
              <a:gd name="connsiteX86" fmla="*/ 6516 w 9713"/>
              <a:gd name="connsiteY86" fmla="*/ 8040 h 10000"/>
              <a:gd name="connsiteX87" fmla="*/ 6652 w 9713"/>
              <a:gd name="connsiteY87" fmla="*/ 7904 h 10000"/>
              <a:gd name="connsiteX88" fmla="*/ 6787 w 9713"/>
              <a:gd name="connsiteY88" fmla="*/ 7768 h 10000"/>
              <a:gd name="connsiteX89" fmla="*/ 6921 w 9713"/>
              <a:gd name="connsiteY89" fmla="*/ 7624 h 10000"/>
              <a:gd name="connsiteX90" fmla="*/ 7050 w 9713"/>
              <a:gd name="connsiteY90" fmla="*/ 7480 h 10000"/>
              <a:gd name="connsiteX91" fmla="*/ 7178 w 9713"/>
              <a:gd name="connsiteY91" fmla="*/ 7329 h 10000"/>
              <a:gd name="connsiteX92" fmla="*/ 7304 w 9713"/>
              <a:gd name="connsiteY92" fmla="*/ 7178 h 10000"/>
              <a:gd name="connsiteX93" fmla="*/ 7426 w 9713"/>
              <a:gd name="connsiteY93" fmla="*/ 7024 h 10000"/>
              <a:gd name="connsiteX94" fmla="*/ 7546 w 9713"/>
              <a:gd name="connsiteY94" fmla="*/ 6861 h 10000"/>
              <a:gd name="connsiteX95" fmla="*/ 7665 w 9713"/>
              <a:gd name="connsiteY95" fmla="*/ 6697 h 10000"/>
              <a:gd name="connsiteX96" fmla="*/ 7779 w 9713"/>
              <a:gd name="connsiteY96" fmla="*/ 6534 h 10000"/>
              <a:gd name="connsiteX97" fmla="*/ 7891 w 9713"/>
              <a:gd name="connsiteY97" fmla="*/ 6365 h 10000"/>
              <a:gd name="connsiteX98" fmla="*/ 8001 w 9713"/>
              <a:gd name="connsiteY98" fmla="*/ 6189 h 10000"/>
              <a:gd name="connsiteX99" fmla="*/ 8108 w 9713"/>
              <a:gd name="connsiteY99" fmla="*/ 6016 h 10000"/>
              <a:gd name="connsiteX100" fmla="*/ 8213 w 9713"/>
              <a:gd name="connsiteY100" fmla="*/ 5835 h 10000"/>
              <a:gd name="connsiteX101" fmla="*/ 8315 w 9713"/>
              <a:gd name="connsiteY101" fmla="*/ 5652 h 10000"/>
              <a:gd name="connsiteX102" fmla="*/ 8413 w 9713"/>
              <a:gd name="connsiteY102" fmla="*/ 5468 h 10000"/>
              <a:gd name="connsiteX103" fmla="*/ 8508 w 9713"/>
              <a:gd name="connsiteY103" fmla="*/ 5278 h 10000"/>
              <a:gd name="connsiteX104" fmla="*/ 8602 w 9713"/>
              <a:gd name="connsiteY104" fmla="*/ 5089 h 10000"/>
              <a:gd name="connsiteX105" fmla="*/ 8692 w 9713"/>
              <a:gd name="connsiteY105" fmla="*/ 4893 h 10000"/>
              <a:gd name="connsiteX106" fmla="*/ 8779 w 9713"/>
              <a:gd name="connsiteY106" fmla="*/ 4698 h 10000"/>
              <a:gd name="connsiteX107" fmla="*/ 8862 w 9713"/>
              <a:gd name="connsiteY107" fmla="*/ 4500 h 10000"/>
              <a:gd name="connsiteX108" fmla="*/ 8942 w 9713"/>
              <a:gd name="connsiteY108" fmla="*/ 4294 h 10000"/>
              <a:gd name="connsiteX109" fmla="*/ 9019 w 9713"/>
              <a:gd name="connsiteY109" fmla="*/ 4091 h 10000"/>
              <a:gd name="connsiteX110" fmla="*/ 9092 w 9713"/>
              <a:gd name="connsiteY110" fmla="*/ 3885 h 10000"/>
              <a:gd name="connsiteX111" fmla="*/ 9164 w 9713"/>
              <a:gd name="connsiteY111" fmla="*/ 3674 h 10000"/>
              <a:gd name="connsiteX112" fmla="*/ 9231 w 9713"/>
              <a:gd name="connsiteY112" fmla="*/ 3464 h 10000"/>
              <a:gd name="connsiteX113" fmla="*/ 9297 w 9713"/>
              <a:gd name="connsiteY113" fmla="*/ 3248 h 10000"/>
              <a:gd name="connsiteX114" fmla="*/ 9357 w 9713"/>
              <a:gd name="connsiteY114" fmla="*/ 3030 h 10000"/>
              <a:gd name="connsiteX115" fmla="*/ 9414 w 9713"/>
              <a:gd name="connsiteY115" fmla="*/ 2815 h 10000"/>
              <a:gd name="connsiteX116" fmla="*/ 9468 w 9713"/>
              <a:gd name="connsiteY116" fmla="*/ 2592 h 10000"/>
              <a:gd name="connsiteX117" fmla="*/ 9519 w 9713"/>
              <a:gd name="connsiteY117" fmla="*/ 2369 h 10000"/>
              <a:gd name="connsiteX118" fmla="*/ 9564 w 9713"/>
              <a:gd name="connsiteY118" fmla="*/ 2143 h 10000"/>
              <a:gd name="connsiteX119" fmla="*/ 9608 w 9713"/>
              <a:gd name="connsiteY119" fmla="*/ 1918 h 10000"/>
              <a:gd name="connsiteX120" fmla="*/ 9647 w 9713"/>
              <a:gd name="connsiteY120" fmla="*/ 1690 h 10000"/>
              <a:gd name="connsiteX121" fmla="*/ 9682 w 9713"/>
              <a:gd name="connsiteY121" fmla="*/ 1457 h 10000"/>
              <a:gd name="connsiteX122" fmla="*/ 9713 w 9713"/>
              <a:gd name="connsiteY122" fmla="*/ 1222 h 10000"/>
              <a:gd name="connsiteX123" fmla="*/ 7239 w 9713"/>
              <a:gd name="connsiteY123" fmla="*/ 1876 h 10000"/>
              <a:gd name="connsiteX124" fmla="*/ 5172 w 9713"/>
              <a:gd name="connsiteY124" fmla="*/ 0 h 10000"/>
              <a:gd name="connsiteX0" fmla="*/ 5179 w 9854"/>
              <a:gd name="connsiteY0" fmla="*/ 0 h 10000"/>
              <a:gd name="connsiteX1" fmla="*/ 5179 w 9854"/>
              <a:gd name="connsiteY1" fmla="*/ 0 h 10000"/>
              <a:gd name="connsiteX2" fmla="*/ 5170 w 9854"/>
              <a:gd name="connsiteY2" fmla="*/ 99 h 10000"/>
              <a:gd name="connsiteX3" fmla="*/ 5154 w 9854"/>
              <a:gd name="connsiteY3" fmla="*/ 201 h 10000"/>
              <a:gd name="connsiteX4" fmla="*/ 5141 w 9854"/>
              <a:gd name="connsiteY4" fmla="*/ 300 h 10000"/>
              <a:gd name="connsiteX5" fmla="*/ 5125 w 9854"/>
              <a:gd name="connsiteY5" fmla="*/ 394 h 10000"/>
              <a:gd name="connsiteX6" fmla="*/ 5106 w 9854"/>
              <a:gd name="connsiteY6" fmla="*/ 491 h 10000"/>
              <a:gd name="connsiteX7" fmla="*/ 5086 w 9854"/>
              <a:gd name="connsiteY7" fmla="*/ 587 h 10000"/>
              <a:gd name="connsiteX8" fmla="*/ 5065 w 9854"/>
              <a:gd name="connsiteY8" fmla="*/ 684 h 10000"/>
              <a:gd name="connsiteX9" fmla="*/ 5042 w 9854"/>
              <a:gd name="connsiteY9" fmla="*/ 778 h 10000"/>
              <a:gd name="connsiteX10" fmla="*/ 5019 w 9854"/>
              <a:gd name="connsiteY10" fmla="*/ 870 h 10000"/>
              <a:gd name="connsiteX11" fmla="*/ 4990 w 9854"/>
              <a:gd name="connsiteY11" fmla="*/ 961 h 10000"/>
              <a:gd name="connsiteX12" fmla="*/ 4966 w 9854"/>
              <a:gd name="connsiteY12" fmla="*/ 1053 h 10000"/>
              <a:gd name="connsiteX13" fmla="*/ 4936 w 9854"/>
              <a:gd name="connsiteY13" fmla="*/ 1145 h 10000"/>
              <a:gd name="connsiteX14" fmla="*/ 4904 w 9854"/>
              <a:gd name="connsiteY14" fmla="*/ 1231 h 10000"/>
              <a:gd name="connsiteX15" fmla="*/ 4873 w 9854"/>
              <a:gd name="connsiteY15" fmla="*/ 1318 h 10000"/>
              <a:gd name="connsiteX16" fmla="*/ 4840 w 9854"/>
              <a:gd name="connsiteY16" fmla="*/ 1405 h 10000"/>
              <a:gd name="connsiteX17" fmla="*/ 4806 w 9854"/>
              <a:gd name="connsiteY17" fmla="*/ 1494 h 10000"/>
              <a:gd name="connsiteX18" fmla="*/ 4770 w 9854"/>
              <a:gd name="connsiteY18" fmla="*/ 1578 h 10000"/>
              <a:gd name="connsiteX19" fmla="*/ 4732 w 9854"/>
              <a:gd name="connsiteY19" fmla="*/ 1663 h 10000"/>
              <a:gd name="connsiteX20" fmla="*/ 4693 w 9854"/>
              <a:gd name="connsiteY20" fmla="*/ 1742 h 10000"/>
              <a:gd name="connsiteX21" fmla="*/ 4652 w 9854"/>
              <a:gd name="connsiteY21" fmla="*/ 1824 h 10000"/>
              <a:gd name="connsiteX22" fmla="*/ 4611 w 9854"/>
              <a:gd name="connsiteY22" fmla="*/ 1903 h 10000"/>
              <a:gd name="connsiteX23" fmla="*/ 4569 w 9854"/>
              <a:gd name="connsiteY23" fmla="*/ 1985 h 10000"/>
              <a:gd name="connsiteX24" fmla="*/ 4525 w 9854"/>
              <a:gd name="connsiteY24" fmla="*/ 2059 h 10000"/>
              <a:gd name="connsiteX25" fmla="*/ 4479 w 9854"/>
              <a:gd name="connsiteY25" fmla="*/ 2133 h 10000"/>
              <a:gd name="connsiteX26" fmla="*/ 4431 w 9854"/>
              <a:gd name="connsiteY26" fmla="*/ 2210 h 10000"/>
              <a:gd name="connsiteX27" fmla="*/ 4384 w 9854"/>
              <a:gd name="connsiteY27" fmla="*/ 2282 h 10000"/>
              <a:gd name="connsiteX28" fmla="*/ 4334 w 9854"/>
              <a:gd name="connsiteY28" fmla="*/ 2354 h 10000"/>
              <a:gd name="connsiteX29" fmla="*/ 4285 w 9854"/>
              <a:gd name="connsiteY29" fmla="*/ 2426 h 10000"/>
              <a:gd name="connsiteX30" fmla="*/ 4234 w 9854"/>
              <a:gd name="connsiteY30" fmla="*/ 2495 h 10000"/>
              <a:gd name="connsiteX31" fmla="*/ 4180 w 9854"/>
              <a:gd name="connsiteY31" fmla="*/ 2562 h 10000"/>
              <a:gd name="connsiteX32" fmla="*/ 4128 w 9854"/>
              <a:gd name="connsiteY32" fmla="*/ 2626 h 10000"/>
              <a:gd name="connsiteX33" fmla="*/ 4072 w 9854"/>
              <a:gd name="connsiteY33" fmla="*/ 2691 h 10000"/>
              <a:gd name="connsiteX34" fmla="*/ 4017 w 9854"/>
              <a:gd name="connsiteY34" fmla="*/ 2753 h 10000"/>
              <a:gd name="connsiteX35" fmla="*/ 3958 w 9854"/>
              <a:gd name="connsiteY35" fmla="*/ 2817 h 10000"/>
              <a:gd name="connsiteX36" fmla="*/ 3901 w 9854"/>
              <a:gd name="connsiteY36" fmla="*/ 2874 h 10000"/>
              <a:gd name="connsiteX37" fmla="*/ 3842 w 9854"/>
              <a:gd name="connsiteY37" fmla="*/ 2934 h 10000"/>
              <a:gd name="connsiteX38" fmla="*/ 3782 w 9854"/>
              <a:gd name="connsiteY38" fmla="*/ 2988 h 10000"/>
              <a:gd name="connsiteX39" fmla="*/ 3721 w 9854"/>
              <a:gd name="connsiteY39" fmla="*/ 3043 h 10000"/>
              <a:gd name="connsiteX40" fmla="*/ 3659 w 9854"/>
              <a:gd name="connsiteY40" fmla="*/ 3097 h 10000"/>
              <a:gd name="connsiteX41" fmla="*/ 3597 w 9854"/>
              <a:gd name="connsiteY41" fmla="*/ 3149 h 10000"/>
              <a:gd name="connsiteX42" fmla="*/ 3533 w 9854"/>
              <a:gd name="connsiteY42" fmla="*/ 3196 h 10000"/>
              <a:gd name="connsiteX43" fmla="*/ 3468 w 9854"/>
              <a:gd name="connsiteY43" fmla="*/ 3243 h 10000"/>
              <a:gd name="connsiteX44" fmla="*/ 3586 w 9854"/>
              <a:gd name="connsiteY44" fmla="*/ 6577 h 10000"/>
              <a:gd name="connsiteX45" fmla="*/ 0 w 9854"/>
              <a:gd name="connsiteY45" fmla="*/ 9720 h 10000"/>
              <a:gd name="connsiteX46" fmla="*/ 151 w 9854"/>
              <a:gd name="connsiteY46" fmla="*/ 9765 h 10000"/>
              <a:gd name="connsiteX47" fmla="*/ 301 w 9854"/>
              <a:gd name="connsiteY47" fmla="*/ 9804 h 10000"/>
              <a:gd name="connsiteX48" fmla="*/ 452 w 9854"/>
              <a:gd name="connsiteY48" fmla="*/ 9839 h 10000"/>
              <a:gd name="connsiteX49" fmla="*/ 605 w 9854"/>
              <a:gd name="connsiteY49" fmla="*/ 9874 h 10000"/>
              <a:gd name="connsiteX50" fmla="*/ 760 w 9854"/>
              <a:gd name="connsiteY50" fmla="*/ 9903 h 10000"/>
              <a:gd name="connsiteX51" fmla="*/ 912 w 9854"/>
              <a:gd name="connsiteY51" fmla="*/ 9926 h 10000"/>
              <a:gd name="connsiteX52" fmla="*/ 1068 w 9854"/>
              <a:gd name="connsiteY52" fmla="*/ 9948 h 10000"/>
              <a:gd name="connsiteX53" fmla="*/ 1223 w 9854"/>
              <a:gd name="connsiteY53" fmla="*/ 9965 h 10000"/>
              <a:gd name="connsiteX54" fmla="*/ 1380 w 9854"/>
              <a:gd name="connsiteY54" fmla="*/ 9980 h 10000"/>
              <a:gd name="connsiteX55" fmla="*/ 1539 w 9854"/>
              <a:gd name="connsiteY55" fmla="*/ 9990 h 10000"/>
              <a:gd name="connsiteX56" fmla="*/ 1698 w 9854"/>
              <a:gd name="connsiteY56" fmla="*/ 9995 h 10000"/>
              <a:gd name="connsiteX57" fmla="*/ 1855 w 9854"/>
              <a:gd name="connsiteY57" fmla="*/ 10000 h 10000"/>
              <a:gd name="connsiteX58" fmla="*/ 2046 w 9854"/>
              <a:gd name="connsiteY58" fmla="*/ 9995 h 10000"/>
              <a:gd name="connsiteX59" fmla="*/ 2230 w 9854"/>
              <a:gd name="connsiteY59" fmla="*/ 9988 h 10000"/>
              <a:gd name="connsiteX60" fmla="*/ 2417 w 9854"/>
              <a:gd name="connsiteY60" fmla="*/ 9975 h 10000"/>
              <a:gd name="connsiteX61" fmla="*/ 2598 w 9854"/>
              <a:gd name="connsiteY61" fmla="*/ 9953 h 10000"/>
              <a:gd name="connsiteX62" fmla="*/ 2783 w 9854"/>
              <a:gd name="connsiteY62" fmla="*/ 9931 h 10000"/>
              <a:gd name="connsiteX63" fmla="*/ 2964 w 9854"/>
              <a:gd name="connsiteY63" fmla="*/ 9898 h 10000"/>
              <a:gd name="connsiteX64" fmla="*/ 3145 w 9854"/>
              <a:gd name="connsiteY64" fmla="*/ 9866 h 10000"/>
              <a:gd name="connsiteX65" fmla="*/ 3326 w 9854"/>
              <a:gd name="connsiteY65" fmla="*/ 9824 h 10000"/>
              <a:gd name="connsiteX66" fmla="*/ 3501 w 9854"/>
              <a:gd name="connsiteY66" fmla="*/ 9779 h 10000"/>
              <a:gd name="connsiteX67" fmla="*/ 3681 w 9854"/>
              <a:gd name="connsiteY67" fmla="*/ 9730 h 10000"/>
              <a:gd name="connsiteX68" fmla="*/ 3853 w 9854"/>
              <a:gd name="connsiteY68" fmla="*/ 9673 h 10000"/>
              <a:gd name="connsiteX69" fmla="*/ 4028 w 9854"/>
              <a:gd name="connsiteY69" fmla="*/ 9616 h 10000"/>
              <a:gd name="connsiteX70" fmla="*/ 4200 w 9854"/>
              <a:gd name="connsiteY70" fmla="*/ 9552 h 10000"/>
              <a:gd name="connsiteX71" fmla="*/ 4371 w 9854"/>
              <a:gd name="connsiteY71" fmla="*/ 9482 h 10000"/>
              <a:gd name="connsiteX72" fmla="*/ 4537 w 9854"/>
              <a:gd name="connsiteY72" fmla="*/ 9405 h 10000"/>
              <a:gd name="connsiteX73" fmla="*/ 4704 w 9854"/>
              <a:gd name="connsiteY73" fmla="*/ 9329 h 10000"/>
              <a:gd name="connsiteX74" fmla="*/ 4871 w 9854"/>
              <a:gd name="connsiteY74" fmla="*/ 9244 h 10000"/>
              <a:gd name="connsiteX75" fmla="*/ 5035 w 9854"/>
              <a:gd name="connsiteY75" fmla="*/ 9158 h 10000"/>
              <a:gd name="connsiteX76" fmla="*/ 5195 w 9854"/>
              <a:gd name="connsiteY76" fmla="*/ 9063 h 10000"/>
              <a:gd name="connsiteX77" fmla="*/ 5355 w 9854"/>
              <a:gd name="connsiteY77" fmla="*/ 8967 h 10000"/>
              <a:gd name="connsiteX78" fmla="*/ 5515 w 9854"/>
              <a:gd name="connsiteY78" fmla="*/ 8865 h 10000"/>
              <a:gd name="connsiteX79" fmla="*/ 5670 w 9854"/>
              <a:gd name="connsiteY79" fmla="*/ 8759 h 10000"/>
              <a:gd name="connsiteX80" fmla="*/ 5825 w 9854"/>
              <a:gd name="connsiteY80" fmla="*/ 8652 h 10000"/>
              <a:gd name="connsiteX81" fmla="*/ 5978 w 9854"/>
              <a:gd name="connsiteY81" fmla="*/ 8536 h 10000"/>
              <a:gd name="connsiteX82" fmla="*/ 6128 w 9854"/>
              <a:gd name="connsiteY82" fmla="*/ 8417 h 10000"/>
              <a:gd name="connsiteX83" fmla="*/ 6274 w 9854"/>
              <a:gd name="connsiteY83" fmla="*/ 8295 h 10000"/>
              <a:gd name="connsiteX84" fmla="*/ 6421 w 9854"/>
              <a:gd name="connsiteY84" fmla="*/ 8169 h 10000"/>
              <a:gd name="connsiteX85" fmla="*/ 6563 w 9854"/>
              <a:gd name="connsiteY85" fmla="*/ 8040 h 10000"/>
              <a:gd name="connsiteX86" fmla="*/ 6703 w 9854"/>
              <a:gd name="connsiteY86" fmla="*/ 7904 h 10000"/>
              <a:gd name="connsiteX87" fmla="*/ 6842 w 9854"/>
              <a:gd name="connsiteY87" fmla="*/ 7768 h 10000"/>
              <a:gd name="connsiteX88" fmla="*/ 6980 w 9854"/>
              <a:gd name="connsiteY88" fmla="*/ 7624 h 10000"/>
              <a:gd name="connsiteX89" fmla="*/ 7112 w 9854"/>
              <a:gd name="connsiteY89" fmla="*/ 7480 h 10000"/>
              <a:gd name="connsiteX90" fmla="*/ 7244 w 9854"/>
              <a:gd name="connsiteY90" fmla="*/ 7329 h 10000"/>
              <a:gd name="connsiteX91" fmla="*/ 7374 w 9854"/>
              <a:gd name="connsiteY91" fmla="*/ 7178 h 10000"/>
              <a:gd name="connsiteX92" fmla="*/ 7499 w 9854"/>
              <a:gd name="connsiteY92" fmla="*/ 7024 h 10000"/>
              <a:gd name="connsiteX93" fmla="*/ 7623 w 9854"/>
              <a:gd name="connsiteY93" fmla="*/ 6861 h 10000"/>
              <a:gd name="connsiteX94" fmla="*/ 7745 w 9854"/>
              <a:gd name="connsiteY94" fmla="*/ 6697 h 10000"/>
              <a:gd name="connsiteX95" fmla="*/ 7863 w 9854"/>
              <a:gd name="connsiteY95" fmla="*/ 6534 h 10000"/>
              <a:gd name="connsiteX96" fmla="*/ 7978 w 9854"/>
              <a:gd name="connsiteY96" fmla="*/ 6365 h 10000"/>
              <a:gd name="connsiteX97" fmla="*/ 8091 w 9854"/>
              <a:gd name="connsiteY97" fmla="*/ 6189 h 10000"/>
              <a:gd name="connsiteX98" fmla="*/ 8202 w 9854"/>
              <a:gd name="connsiteY98" fmla="*/ 6016 h 10000"/>
              <a:gd name="connsiteX99" fmla="*/ 8310 w 9854"/>
              <a:gd name="connsiteY99" fmla="*/ 5835 h 10000"/>
              <a:gd name="connsiteX100" fmla="*/ 8415 w 9854"/>
              <a:gd name="connsiteY100" fmla="*/ 5652 h 10000"/>
              <a:gd name="connsiteX101" fmla="*/ 8516 w 9854"/>
              <a:gd name="connsiteY101" fmla="*/ 5468 h 10000"/>
              <a:gd name="connsiteX102" fmla="*/ 8613 w 9854"/>
              <a:gd name="connsiteY102" fmla="*/ 5278 h 10000"/>
              <a:gd name="connsiteX103" fmla="*/ 8710 w 9854"/>
              <a:gd name="connsiteY103" fmla="*/ 5089 h 10000"/>
              <a:gd name="connsiteX104" fmla="*/ 8803 w 9854"/>
              <a:gd name="connsiteY104" fmla="*/ 4893 h 10000"/>
              <a:gd name="connsiteX105" fmla="*/ 8892 w 9854"/>
              <a:gd name="connsiteY105" fmla="*/ 4698 h 10000"/>
              <a:gd name="connsiteX106" fmla="*/ 8978 w 9854"/>
              <a:gd name="connsiteY106" fmla="*/ 4500 h 10000"/>
              <a:gd name="connsiteX107" fmla="*/ 9060 w 9854"/>
              <a:gd name="connsiteY107" fmla="*/ 4294 h 10000"/>
              <a:gd name="connsiteX108" fmla="*/ 9139 w 9854"/>
              <a:gd name="connsiteY108" fmla="*/ 4091 h 10000"/>
              <a:gd name="connsiteX109" fmla="*/ 9215 w 9854"/>
              <a:gd name="connsiteY109" fmla="*/ 3885 h 10000"/>
              <a:gd name="connsiteX110" fmla="*/ 9289 w 9854"/>
              <a:gd name="connsiteY110" fmla="*/ 3674 h 10000"/>
              <a:gd name="connsiteX111" fmla="*/ 9358 w 9854"/>
              <a:gd name="connsiteY111" fmla="*/ 3464 h 10000"/>
              <a:gd name="connsiteX112" fmla="*/ 9426 w 9854"/>
              <a:gd name="connsiteY112" fmla="*/ 3248 h 10000"/>
              <a:gd name="connsiteX113" fmla="*/ 9487 w 9854"/>
              <a:gd name="connsiteY113" fmla="*/ 3030 h 10000"/>
              <a:gd name="connsiteX114" fmla="*/ 9546 w 9854"/>
              <a:gd name="connsiteY114" fmla="*/ 2815 h 10000"/>
              <a:gd name="connsiteX115" fmla="*/ 9602 w 9854"/>
              <a:gd name="connsiteY115" fmla="*/ 2592 h 10000"/>
              <a:gd name="connsiteX116" fmla="*/ 9654 w 9854"/>
              <a:gd name="connsiteY116" fmla="*/ 2369 h 10000"/>
              <a:gd name="connsiteX117" fmla="*/ 9701 w 9854"/>
              <a:gd name="connsiteY117" fmla="*/ 2143 h 10000"/>
              <a:gd name="connsiteX118" fmla="*/ 9746 w 9854"/>
              <a:gd name="connsiteY118" fmla="*/ 1918 h 10000"/>
              <a:gd name="connsiteX119" fmla="*/ 9786 w 9854"/>
              <a:gd name="connsiteY119" fmla="*/ 1690 h 10000"/>
              <a:gd name="connsiteX120" fmla="*/ 9822 w 9854"/>
              <a:gd name="connsiteY120" fmla="*/ 1457 h 10000"/>
              <a:gd name="connsiteX121" fmla="*/ 9854 w 9854"/>
              <a:gd name="connsiteY121" fmla="*/ 1222 h 10000"/>
              <a:gd name="connsiteX122" fmla="*/ 7307 w 9854"/>
              <a:gd name="connsiteY122" fmla="*/ 1876 h 10000"/>
              <a:gd name="connsiteX123" fmla="*/ 5179 w 9854"/>
              <a:gd name="connsiteY123" fmla="*/ 0 h 10000"/>
              <a:gd name="connsiteX0" fmla="*/ 5325 w 10069"/>
              <a:gd name="connsiteY0" fmla="*/ 0 h 10011"/>
              <a:gd name="connsiteX1" fmla="*/ 5325 w 10069"/>
              <a:gd name="connsiteY1" fmla="*/ 0 h 10011"/>
              <a:gd name="connsiteX2" fmla="*/ 5316 w 10069"/>
              <a:gd name="connsiteY2" fmla="*/ 99 h 10011"/>
              <a:gd name="connsiteX3" fmla="*/ 5299 w 10069"/>
              <a:gd name="connsiteY3" fmla="*/ 201 h 10011"/>
              <a:gd name="connsiteX4" fmla="*/ 5286 w 10069"/>
              <a:gd name="connsiteY4" fmla="*/ 300 h 10011"/>
              <a:gd name="connsiteX5" fmla="*/ 5270 w 10069"/>
              <a:gd name="connsiteY5" fmla="*/ 394 h 10011"/>
              <a:gd name="connsiteX6" fmla="*/ 5251 w 10069"/>
              <a:gd name="connsiteY6" fmla="*/ 491 h 10011"/>
              <a:gd name="connsiteX7" fmla="*/ 5230 w 10069"/>
              <a:gd name="connsiteY7" fmla="*/ 587 h 10011"/>
              <a:gd name="connsiteX8" fmla="*/ 5209 w 10069"/>
              <a:gd name="connsiteY8" fmla="*/ 684 h 10011"/>
              <a:gd name="connsiteX9" fmla="*/ 5186 w 10069"/>
              <a:gd name="connsiteY9" fmla="*/ 778 h 10011"/>
              <a:gd name="connsiteX10" fmla="*/ 5162 w 10069"/>
              <a:gd name="connsiteY10" fmla="*/ 870 h 10011"/>
              <a:gd name="connsiteX11" fmla="*/ 5133 w 10069"/>
              <a:gd name="connsiteY11" fmla="*/ 961 h 10011"/>
              <a:gd name="connsiteX12" fmla="*/ 5109 w 10069"/>
              <a:gd name="connsiteY12" fmla="*/ 1053 h 10011"/>
              <a:gd name="connsiteX13" fmla="*/ 5078 w 10069"/>
              <a:gd name="connsiteY13" fmla="*/ 1145 h 10011"/>
              <a:gd name="connsiteX14" fmla="*/ 5046 w 10069"/>
              <a:gd name="connsiteY14" fmla="*/ 1231 h 10011"/>
              <a:gd name="connsiteX15" fmla="*/ 5014 w 10069"/>
              <a:gd name="connsiteY15" fmla="*/ 1318 h 10011"/>
              <a:gd name="connsiteX16" fmla="*/ 4981 w 10069"/>
              <a:gd name="connsiteY16" fmla="*/ 1405 h 10011"/>
              <a:gd name="connsiteX17" fmla="*/ 4946 w 10069"/>
              <a:gd name="connsiteY17" fmla="*/ 1494 h 10011"/>
              <a:gd name="connsiteX18" fmla="*/ 4910 w 10069"/>
              <a:gd name="connsiteY18" fmla="*/ 1578 h 10011"/>
              <a:gd name="connsiteX19" fmla="*/ 4871 w 10069"/>
              <a:gd name="connsiteY19" fmla="*/ 1663 h 10011"/>
              <a:gd name="connsiteX20" fmla="*/ 4832 w 10069"/>
              <a:gd name="connsiteY20" fmla="*/ 1742 h 10011"/>
              <a:gd name="connsiteX21" fmla="*/ 4790 w 10069"/>
              <a:gd name="connsiteY21" fmla="*/ 1824 h 10011"/>
              <a:gd name="connsiteX22" fmla="*/ 4748 w 10069"/>
              <a:gd name="connsiteY22" fmla="*/ 1903 h 10011"/>
              <a:gd name="connsiteX23" fmla="*/ 4706 w 10069"/>
              <a:gd name="connsiteY23" fmla="*/ 1985 h 10011"/>
              <a:gd name="connsiteX24" fmla="*/ 4661 w 10069"/>
              <a:gd name="connsiteY24" fmla="*/ 2059 h 10011"/>
              <a:gd name="connsiteX25" fmla="*/ 4614 w 10069"/>
              <a:gd name="connsiteY25" fmla="*/ 2133 h 10011"/>
              <a:gd name="connsiteX26" fmla="*/ 4566 w 10069"/>
              <a:gd name="connsiteY26" fmla="*/ 2210 h 10011"/>
              <a:gd name="connsiteX27" fmla="*/ 4518 w 10069"/>
              <a:gd name="connsiteY27" fmla="*/ 2282 h 10011"/>
              <a:gd name="connsiteX28" fmla="*/ 4467 w 10069"/>
              <a:gd name="connsiteY28" fmla="*/ 2354 h 10011"/>
              <a:gd name="connsiteX29" fmla="*/ 4417 w 10069"/>
              <a:gd name="connsiteY29" fmla="*/ 2426 h 10011"/>
              <a:gd name="connsiteX30" fmla="*/ 4366 w 10069"/>
              <a:gd name="connsiteY30" fmla="*/ 2495 h 10011"/>
              <a:gd name="connsiteX31" fmla="*/ 4311 w 10069"/>
              <a:gd name="connsiteY31" fmla="*/ 2562 h 10011"/>
              <a:gd name="connsiteX32" fmla="*/ 4258 w 10069"/>
              <a:gd name="connsiteY32" fmla="*/ 2626 h 10011"/>
              <a:gd name="connsiteX33" fmla="*/ 4201 w 10069"/>
              <a:gd name="connsiteY33" fmla="*/ 2691 h 10011"/>
              <a:gd name="connsiteX34" fmla="*/ 4146 w 10069"/>
              <a:gd name="connsiteY34" fmla="*/ 2753 h 10011"/>
              <a:gd name="connsiteX35" fmla="*/ 4086 w 10069"/>
              <a:gd name="connsiteY35" fmla="*/ 2817 h 10011"/>
              <a:gd name="connsiteX36" fmla="*/ 4028 w 10069"/>
              <a:gd name="connsiteY36" fmla="*/ 2874 h 10011"/>
              <a:gd name="connsiteX37" fmla="*/ 3968 w 10069"/>
              <a:gd name="connsiteY37" fmla="*/ 2934 h 10011"/>
              <a:gd name="connsiteX38" fmla="*/ 3907 w 10069"/>
              <a:gd name="connsiteY38" fmla="*/ 2988 h 10011"/>
              <a:gd name="connsiteX39" fmla="*/ 3845 w 10069"/>
              <a:gd name="connsiteY39" fmla="*/ 3043 h 10011"/>
              <a:gd name="connsiteX40" fmla="*/ 3782 w 10069"/>
              <a:gd name="connsiteY40" fmla="*/ 3097 h 10011"/>
              <a:gd name="connsiteX41" fmla="*/ 3719 w 10069"/>
              <a:gd name="connsiteY41" fmla="*/ 3149 h 10011"/>
              <a:gd name="connsiteX42" fmla="*/ 3654 w 10069"/>
              <a:gd name="connsiteY42" fmla="*/ 3196 h 10011"/>
              <a:gd name="connsiteX43" fmla="*/ 3588 w 10069"/>
              <a:gd name="connsiteY43" fmla="*/ 3243 h 10011"/>
              <a:gd name="connsiteX44" fmla="*/ 3708 w 10069"/>
              <a:gd name="connsiteY44" fmla="*/ 6577 h 10011"/>
              <a:gd name="connsiteX45" fmla="*/ 222 w 10069"/>
              <a:gd name="connsiteY45" fmla="*/ 9765 h 10011"/>
              <a:gd name="connsiteX46" fmla="*/ 374 w 10069"/>
              <a:gd name="connsiteY46" fmla="*/ 9804 h 10011"/>
              <a:gd name="connsiteX47" fmla="*/ 528 w 10069"/>
              <a:gd name="connsiteY47" fmla="*/ 9839 h 10011"/>
              <a:gd name="connsiteX48" fmla="*/ 683 w 10069"/>
              <a:gd name="connsiteY48" fmla="*/ 9874 h 10011"/>
              <a:gd name="connsiteX49" fmla="*/ 840 w 10069"/>
              <a:gd name="connsiteY49" fmla="*/ 9903 h 10011"/>
              <a:gd name="connsiteX50" fmla="*/ 995 w 10069"/>
              <a:gd name="connsiteY50" fmla="*/ 9926 h 10011"/>
              <a:gd name="connsiteX51" fmla="*/ 1153 w 10069"/>
              <a:gd name="connsiteY51" fmla="*/ 9948 h 10011"/>
              <a:gd name="connsiteX52" fmla="*/ 1310 w 10069"/>
              <a:gd name="connsiteY52" fmla="*/ 9965 h 10011"/>
              <a:gd name="connsiteX53" fmla="*/ 1469 w 10069"/>
              <a:gd name="connsiteY53" fmla="*/ 9980 h 10011"/>
              <a:gd name="connsiteX54" fmla="*/ 1631 w 10069"/>
              <a:gd name="connsiteY54" fmla="*/ 9990 h 10011"/>
              <a:gd name="connsiteX55" fmla="*/ 1792 w 10069"/>
              <a:gd name="connsiteY55" fmla="*/ 9995 h 10011"/>
              <a:gd name="connsiteX56" fmla="*/ 1951 w 10069"/>
              <a:gd name="connsiteY56" fmla="*/ 10000 h 10011"/>
              <a:gd name="connsiteX57" fmla="*/ 2145 w 10069"/>
              <a:gd name="connsiteY57" fmla="*/ 9995 h 10011"/>
              <a:gd name="connsiteX58" fmla="*/ 2332 w 10069"/>
              <a:gd name="connsiteY58" fmla="*/ 9988 h 10011"/>
              <a:gd name="connsiteX59" fmla="*/ 2522 w 10069"/>
              <a:gd name="connsiteY59" fmla="*/ 9975 h 10011"/>
              <a:gd name="connsiteX60" fmla="*/ 2705 w 10069"/>
              <a:gd name="connsiteY60" fmla="*/ 9953 h 10011"/>
              <a:gd name="connsiteX61" fmla="*/ 2893 w 10069"/>
              <a:gd name="connsiteY61" fmla="*/ 9931 h 10011"/>
              <a:gd name="connsiteX62" fmla="*/ 3077 w 10069"/>
              <a:gd name="connsiteY62" fmla="*/ 9898 h 10011"/>
              <a:gd name="connsiteX63" fmla="*/ 3261 w 10069"/>
              <a:gd name="connsiteY63" fmla="*/ 9866 h 10011"/>
              <a:gd name="connsiteX64" fmla="*/ 3444 w 10069"/>
              <a:gd name="connsiteY64" fmla="*/ 9824 h 10011"/>
              <a:gd name="connsiteX65" fmla="*/ 3622 w 10069"/>
              <a:gd name="connsiteY65" fmla="*/ 9779 h 10011"/>
              <a:gd name="connsiteX66" fmla="*/ 3805 w 10069"/>
              <a:gd name="connsiteY66" fmla="*/ 9730 h 10011"/>
              <a:gd name="connsiteX67" fmla="*/ 3979 w 10069"/>
              <a:gd name="connsiteY67" fmla="*/ 9673 h 10011"/>
              <a:gd name="connsiteX68" fmla="*/ 4157 w 10069"/>
              <a:gd name="connsiteY68" fmla="*/ 9616 h 10011"/>
              <a:gd name="connsiteX69" fmla="*/ 4331 w 10069"/>
              <a:gd name="connsiteY69" fmla="*/ 9552 h 10011"/>
              <a:gd name="connsiteX70" fmla="*/ 4505 w 10069"/>
              <a:gd name="connsiteY70" fmla="*/ 9482 h 10011"/>
              <a:gd name="connsiteX71" fmla="*/ 4673 w 10069"/>
              <a:gd name="connsiteY71" fmla="*/ 9405 h 10011"/>
              <a:gd name="connsiteX72" fmla="*/ 4843 w 10069"/>
              <a:gd name="connsiteY72" fmla="*/ 9329 h 10011"/>
              <a:gd name="connsiteX73" fmla="*/ 5012 w 10069"/>
              <a:gd name="connsiteY73" fmla="*/ 9244 h 10011"/>
              <a:gd name="connsiteX74" fmla="*/ 5179 w 10069"/>
              <a:gd name="connsiteY74" fmla="*/ 9158 h 10011"/>
              <a:gd name="connsiteX75" fmla="*/ 5341 w 10069"/>
              <a:gd name="connsiteY75" fmla="*/ 9063 h 10011"/>
              <a:gd name="connsiteX76" fmla="*/ 5503 w 10069"/>
              <a:gd name="connsiteY76" fmla="*/ 8967 h 10011"/>
              <a:gd name="connsiteX77" fmla="*/ 5666 w 10069"/>
              <a:gd name="connsiteY77" fmla="*/ 8865 h 10011"/>
              <a:gd name="connsiteX78" fmla="*/ 5823 w 10069"/>
              <a:gd name="connsiteY78" fmla="*/ 8759 h 10011"/>
              <a:gd name="connsiteX79" fmla="*/ 5980 w 10069"/>
              <a:gd name="connsiteY79" fmla="*/ 8652 h 10011"/>
              <a:gd name="connsiteX80" fmla="*/ 6136 w 10069"/>
              <a:gd name="connsiteY80" fmla="*/ 8536 h 10011"/>
              <a:gd name="connsiteX81" fmla="*/ 6288 w 10069"/>
              <a:gd name="connsiteY81" fmla="*/ 8417 h 10011"/>
              <a:gd name="connsiteX82" fmla="*/ 6436 w 10069"/>
              <a:gd name="connsiteY82" fmla="*/ 8295 h 10011"/>
              <a:gd name="connsiteX83" fmla="*/ 6585 w 10069"/>
              <a:gd name="connsiteY83" fmla="*/ 8169 h 10011"/>
              <a:gd name="connsiteX84" fmla="*/ 6729 w 10069"/>
              <a:gd name="connsiteY84" fmla="*/ 8040 h 10011"/>
              <a:gd name="connsiteX85" fmla="*/ 6871 w 10069"/>
              <a:gd name="connsiteY85" fmla="*/ 7904 h 10011"/>
              <a:gd name="connsiteX86" fmla="*/ 7012 w 10069"/>
              <a:gd name="connsiteY86" fmla="*/ 7768 h 10011"/>
              <a:gd name="connsiteX87" fmla="*/ 7152 w 10069"/>
              <a:gd name="connsiteY87" fmla="*/ 7624 h 10011"/>
              <a:gd name="connsiteX88" fmla="*/ 7286 w 10069"/>
              <a:gd name="connsiteY88" fmla="*/ 7480 h 10011"/>
              <a:gd name="connsiteX89" fmla="*/ 7420 w 10069"/>
              <a:gd name="connsiteY89" fmla="*/ 7329 h 10011"/>
              <a:gd name="connsiteX90" fmla="*/ 7552 w 10069"/>
              <a:gd name="connsiteY90" fmla="*/ 7178 h 10011"/>
              <a:gd name="connsiteX91" fmla="*/ 7679 w 10069"/>
              <a:gd name="connsiteY91" fmla="*/ 7024 h 10011"/>
              <a:gd name="connsiteX92" fmla="*/ 7805 w 10069"/>
              <a:gd name="connsiteY92" fmla="*/ 6861 h 10011"/>
              <a:gd name="connsiteX93" fmla="*/ 7929 w 10069"/>
              <a:gd name="connsiteY93" fmla="*/ 6697 h 10011"/>
              <a:gd name="connsiteX94" fmla="*/ 8049 w 10069"/>
              <a:gd name="connsiteY94" fmla="*/ 6534 h 10011"/>
              <a:gd name="connsiteX95" fmla="*/ 8165 w 10069"/>
              <a:gd name="connsiteY95" fmla="*/ 6365 h 10011"/>
              <a:gd name="connsiteX96" fmla="*/ 8280 w 10069"/>
              <a:gd name="connsiteY96" fmla="*/ 6189 h 10011"/>
              <a:gd name="connsiteX97" fmla="*/ 8393 w 10069"/>
              <a:gd name="connsiteY97" fmla="*/ 6016 h 10011"/>
              <a:gd name="connsiteX98" fmla="*/ 8502 w 10069"/>
              <a:gd name="connsiteY98" fmla="*/ 5835 h 10011"/>
              <a:gd name="connsiteX99" fmla="*/ 8609 w 10069"/>
              <a:gd name="connsiteY99" fmla="*/ 5652 h 10011"/>
              <a:gd name="connsiteX100" fmla="*/ 8711 w 10069"/>
              <a:gd name="connsiteY100" fmla="*/ 5468 h 10011"/>
              <a:gd name="connsiteX101" fmla="*/ 8810 w 10069"/>
              <a:gd name="connsiteY101" fmla="*/ 5278 h 10011"/>
              <a:gd name="connsiteX102" fmla="*/ 8908 w 10069"/>
              <a:gd name="connsiteY102" fmla="*/ 5089 h 10011"/>
              <a:gd name="connsiteX103" fmla="*/ 9002 w 10069"/>
              <a:gd name="connsiteY103" fmla="*/ 4893 h 10011"/>
              <a:gd name="connsiteX104" fmla="*/ 9093 w 10069"/>
              <a:gd name="connsiteY104" fmla="*/ 4698 h 10011"/>
              <a:gd name="connsiteX105" fmla="*/ 9180 w 10069"/>
              <a:gd name="connsiteY105" fmla="*/ 4500 h 10011"/>
              <a:gd name="connsiteX106" fmla="*/ 9263 w 10069"/>
              <a:gd name="connsiteY106" fmla="*/ 4294 h 10011"/>
              <a:gd name="connsiteX107" fmla="*/ 9343 w 10069"/>
              <a:gd name="connsiteY107" fmla="*/ 4091 h 10011"/>
              <a:gd name="connsiteX108" fmla="*/ 9421 w 10069"/>
              <a:gd name="connsiteY108" fmla="*/ 3885 h 10011"/>
              <a:gd name="connsiteX109" fmla="*/ 9496 w 10069"/>
              <a:gd name="connsiteY109" fmla="*/ 3674 h 10011"/>
              <a:gd name="connsiteX110" fmla="*/ 9566 w 10069"/>
              <a:gd name="connsiteY110" fmla="*/ 3464 h 10011"/>
              <a:gd name="connsiteX111" fmla="*/ 9635 w 10069"/>
              <a:gd name="connsiteY111" fmla="*/ 3248 h 10011"/>
              <a:gd name="connsiteX112" fmla="*/ 9697 w 10069"/>
              <a:gd name="connsiteY112" fmla="*/ 3030 h 10011"/>
              <a:gd name="connsiteX113" fmla="*/ 9756 w 10069"/>
              <a:gd name="connsiteY113" fmla="*/ 2815 h 10011"/>
              <a:gd name="connsiteX114" fmla="*/ 9813 w 10069"/>
              <a:gd name="connsiteY114" fmla="*/ 2592 h 10011"/>
              <a:gd name="connsiteX115" fmla="*/ 9866 w 10069"/>
              <a:gd name="connsiteY115" fmla="*/ 2369 h 10011"/>
              <a:gd name="connsiteX116" fmla="*/ 9914 w 10069"/>
              <a:gd name="connsiteY116" fmla="*/ 2143 h 10011"/>
              <a:gd name="connsiteX117" fmla="*/ 9959 w 10069"/>
              <a:gd name="connsiteY117" fmla="*/ 1918 h 10011"/>
              <a:gd name="connsiteX118" fmla="*/ 10000 w 10069"/>
              <a:gd name="connsiteY118" fmla="*/ 1690 h 10011"/>
              <a:gd name="connsiteX119" fmla="*/ 10037 w 10069"/>
              <a:gd name="connsiteY119" fmla="*/ 1457 h 10011"/>
              <a:gd name="connsiteX120" fmla="*/ 10069 w 10069"/>
              <a:gd name="connsiteY120" fmla="*/ 1222 h 10011"/>
              <a:gd name="connsiteX121" fmla="*/ 7484 w 10069"/>
              <a:gd name="connsiteY121" fmla="*/ 1876 h 10011"/>
              <a:gd name="connsiteX122" fmla="*/ 5325 w 10069"/>
              <a:gd name="connsiteY122" fmla="*/ 0 h 10011"/>
              <a:gd name="connsiteX0" fmla="*/ 5162 w 9906"/>
              <a:gd name="connsiteY0" fmla="*/ 0 h 10052"/>
              <a:gd name="connsiteX1" fmla="*/ 5162 w 9906"/>
              <a:gd name="connsiteY1" fmla="*/ 0 h 10052"/>
              <a:gd name="connsiteX2" fmla="*/ 5153 w 9906"/>
              <a:gd name="connsiteY2" fmla="*/ 99 h 10052"/>
              <a:gd name="connsiteX3" fmla="*/ 5136 w 9906"/>
              <a:gd name="connsiteY3" fmla="*/ 201 h 10052"/>
              <a:gd name="connsiteX4" fmla="*/ 5123 w 9906"/>
              <a:gd name="connsiteY4" fmla="*/ 300 h 10052"/>
              <a:gd name="connsiteX5" fmla="*/ 5107 w 9906"/>
              <a:gd name="connsiteY5" fmla="*/ 394 h 10052"/>
              <a:gd name="connsiteX6" fmla="*/ 5088 w 9906"/>
              <a:gd name="connsiteY6" fmla="*/ 491 h 10052"/>
              <a:gd name="connsiteX7" fmla="*/ 5067 w 9906"/>
              <a:gd name="connsiteY7" fmla="*/ 587 h 10052"/>
              <a:gd name="connsiteX8" fmla="*/ 5046 w 9906"/>
              <a:gd name="connsiteY8" fmla="*/ 684 h 10052"/>
              <a:gd name="connsiteX9" fmla="*/ 5023 w 9906"/>
              <a:gd name="connsiteY9" fmla="*/ 778 h 10052"/>
              <a:gd name="connsiteX10" fmla="*/ 4999 w 9906"/>
              <a:gd name="connsiteY10" fmla="*/ 870 h 10052"/>
              <a:gd name="connsiteX11" fmla="*/ 4970 w 9906"/>
              <a:gd name="connsiteY11" fmla="*/ 961 h 10052"/>
              <a:gd name="connsiteX12" fmla="*/ 4946 w 9906"/>
              <a:gd name="connsiteY12" fmla="*/ 1053 h 10052"/>
              <a:gd name="connsiteX13" fmla="*/ 4915 w 9906"/>
              <a:gd name="connsiteY13" fmla="*/ 1145 h 10052"/>
              <a:gd name="connsiteX14" fmla="*/ 4883 w 9906"/>
              <a:gd name="connsiteY14" fmla="*/ 1231 h 10052"/>
              <a:gd name="connsiteX15" fmla="*/ 4851 w 9906"/>
              <a:gd name="connsiteY15" fmla="*/ 1318 h 10052"/>
              <a:gd name="connsiteX16" fmla="*/ 4818 w 9906"/>
              <a:gd name="connsiteY16" fmla="*/ 1405 h 10052"/>
              <a:gd name="connsiteX17" fmla="*/ 4783 w 9906"/>
              <a:gd name="connsiteY17" fmla="*/ 1494 h 10052"/>
              <a:gd name="connsiteX18" fmla="*/ 4747 w 9906"/>
              <a:gd name="connsiteY18" fmla="*/ 1578 h 10052"/>
              <a:gd name="connsiteX19" fmla="*/ 4708 w 9906"/>
              <a:gd name="connsiteY19" fmla="*/ 1663 h 10052"/>
              <a:gd name="connsiteX20" fmla="*/ 4669 w 9906"/>
              <a:gd name="connsiteY20" fmla="*/ 1742 h 10052"/>
              <a:gd name="connsiteX21" fmla="*/ 4627 w 9906"/>
              <a:gd name="connsiteY21" fmla="*/ 1824 h 10052"/>
              <a:gd name="connsiteX22" fmla="*/ 4585 w 9906"/>
              <a:gd name="connsiteY22" fmla="*/ 1903 h 10052"/>
              <a:gd name="connsiteX23" fmla="*/ 4543 w 9906"/>
              <a:gd name="connsiteY23" fmla="*/ 1985 h 10052"/>
              <a:gd name="connsiteX24" fmla="*/ 4498 w 9906"/>
              <a:gd name="connsiteY24" fmla="*/ 2059 h 10052"/>
              <a:gd name="connsiteX25" fmla="*/ 4451 w 9906"/>
              <a:gd name="connsiteY25" fmla="*/ 2133 h 10052"/>
              <a:gd name="connsiteX26" fmla="*/ 4403 w 9906"/>
              <a:gd name="connsiteY26" fmla="*/ 2210 h 10052"/>
              <a:gd name="connsiteX27" fmla="*/ 4355 w 9906"/>
              <a:gd name="connsiteY27" fmla="*/ 2282 h 10052"/>
              <a:gd name="connsiteX28" fmla="*/ 4304 w 9906"/>
              <a:gd name="connsiteY28" fmla="*/ 2354 h 10052"/>
              <a:gd name="connsiteX29" fmla="*/ 4254 w 9906"/>
              <a:gd name="connsiteY29" fmla="*/ 2426 h 10052"/>
              <a:gd name="connsiteX30" fmla="*/ 4203 w 9906"/>
              <a:gd name="connsiteY30" fmla="*/ 2495 h 10052"/>
              <a:gd name="connsiteX31" fmla="*/ 4148 w 9906"/>
              <a:gd name="connsiteY31" fmla="*/ 2562 h 10052"/>
              <a:gd name="connsiteX32" fmla="*/ 4095 w 9906"/>
              <a:gd name="connsiteY32" fmla="*/ 2626 h 10052"/>
              <a:gd name="connsiteX33" fmla="*/ 4038 w 9906"/>
              <a:gd name="connsiteY33" fmla="*/ 2691 h 10052"/>
              <a:gd name="connsiteX34" fmla="*/ 3983 w 9906"/>
              <a:gd name="connsiteY34" fmla="*/ 2753 h 10052"/>
              <a:gd name="connsiteX35" fmla="*/ 3923 w 9906"/>
              <a:gd name="connsiteY35" fmla="*/ 2817 h 10052"/>
              <a:gd name="connsiteX36" fmla="*/ 3865 w 9906"/>
              <a:gd name="connsiteY36" fmla="*/ 2874 h 10052"/>
              <a:gd name="connsiteX37" fmla="*/ 3805 w 9906"/>
              <a:gd name="connsiteY37" fmla="*/ 2934 h 10052"/>
              <a:gd name="connsiteX38" fmla="*/ 3744 w 9906"/>
              <a:gd name="connsiteY38" fmla="*/ 2988 h 10052"/>
              <a:gd name="connsiteX39" fmla="*/ 3682 w 9906"/>
              <a:gd name="connsiteY39" fmla="*/ 3043 h 10052"/>
              <a:gd name="connsiteX40" fmla="*/ 3619 w 9906"/>
              <a:gd name="connsiteY40" fmla="*/ 3097 h 10052"/>
              <a:gd name="connsiteX41" fmla="*/ 3556 w 9906"/>
              <a:gd name="connsiteY41" fmla="*/ 3149 h 10052"/>
              <a:gd name="connsiteX42" fmla="*/ 3491 w 9906"/>
              <a:gd name="connsiteY42" fmla="*/ 3196 h 10052"/>
              <a:gd name="connsiteX43" fmla="*/ 3425 w 9906"/>
              <a:gd name="connsiteY43" fmla="*/ 3243 h 10052"/>
              <a:gd name="connsiteX44" fmla="*/ 3545 w 9906"/>
              <a:gd name="connsiteY44" fmla="*/ 6577 h 10052"/>
              <a:gd name="connsiteX45" fmla="*/ 211 w 9906"/>
              <a:gd name="connsiteY45" fmla="*/ 9804 h 10052"/>
              <a:gd name="connsiteX46" fmla="*/ 365 w 9906"/>
              <a:gd name="connsiteY46" fmla="*/ 9839 h 10052"/>
              <a:gd name="connsiteX47" fmla="*/ 520 w 9906"/>
              <a:gd name="connsiteY47" fmla="*/ 9874 h 10052"/>
              <a:gd name="connsiteX48" fmla="*/ 677 w 9906"/>
              <a:gd name="connsiteY48" fmla="*/ 9903 h 10052"/>
              <a:gd name="connsiteX49" fmla="*/ 832 w 9906"/>
              <a:gd name="connsiteY49" fmla="*/ 9926 h 10052"/>
              <a:gd name="connsiteX50" fmla="*/ 990 w 9906"/>
              <a:gd name="connsiteY50" fmla="*/ 9948 h 10052"/>
              <a:gd name="connsiteX51" fmla="*/ 1147 w 9906"/>
              <a:gd name="connsiteY51" fmla="*/ 9965 h 10052"/>
              <a:gd name="connsiteX52" fmla="*/ 1306 w 9906"/>
              <a:gd name="connsiteY52" fmla="*/ 9980 h 10052"/>
              <a:gd name="connsiteX53" fmla="*/ 1468 w 9906"/>
              <a:gd name="connsiteY53" fmla="*/ 9990 h 10052"/>
              <a:gd name="connsiteX54" fmla="*/ 1629 w 9906"/>
              <a:gd name="connsiteY54" fmla="*/ 9995 h 10052"/>
              <a:gd name="connsiteX55" fmla="*/ 1788 w 9906"/>
              <a:gd name="connsiteY55" fmla="*/ 10000 h 10052"/>
              <a:gd name="connsiteX56" fmla="*/ 1982 w 9906"/>
              <a:gd name="connsiteY56" fmla="*/ 9995 h 10052"/>
              <a:gd name="connsiteX57" fmla="*/ 2169 w 9906"/>
              <a:gd name="connsiteY57" fmla="*/ 9988 h 10052"/>
              <a:gd name="connsiteX58" fmla="*/ 2359 w 9906"/>
              <a:gd name="connsiteY58" fmla="*/ 9975 h 10052"/>
              <a:gd name="connsiteX59" fmla="*/ 2542 w 9906"/>
              <a:gd name="connsiteY59" fmla="*/ 9953 h 10052"/>
              <a:gd name="connsiteX60" fmla="*/ 2730 w 9906"/>
              <a:gd name="connsiteY60" fmla="*/ 9931 h 10052"/>
              <a:gd name="connsiteX61" fmla="*/ 2914 w 9906"/>
              <a:gd name="connsiteY61" fmla="*/ 9898 h 10052"/>
              <a:gd name="connsiteX62" fmla="*/ 3098 w 9906"/>
              <a:gd name="connsiteY62" fmla="*/ 9866 h 10052"/>
              <a:gd name="connsiteX63" fmla="*/ 3281 w 9906"/>
              <a:gd name="connsiteY63" fmla="*/ 9824 h 10052"/>
              <a:gd name="connsiteX64" fmla="*/ 3459 w 9906"/>
              <a:gd name="connsiteY64" fmla="*/ 9779 h 10052"/>
              <a:gd name="connsiteX65" fmla="*/ 3642 w 9906"/>
              <a:gd name="connsiteY65" fmla="*/ 9730 h 10052"/>
              <a:gd name="connsiteX66" fmla="*/ 3816 w 9906"/>
              <a:gd name="connsiteY66" fmla="*/ 9673 h 10052"/>
              <a:gd name="connsiteX67" fmla="*/ 3994 w 9906"/>
              <a:gd name="connsiteY67" fmla="*/ 9616 h 10052"/>
              <a:gd name="connsiteX68" fmla="*/ 4168 w 9906"/>
              <a:gd name="connsiteY68" fmla="*/ 9552 h 10052"/>
              <a:gd name="connsiteX69" fmla="*/ 4342 w 9906"/>
              <a:gd name="connsiteY69" fmla="*/ 9482 h 10052"/>
              <a:gd name="connsiteX70" fmla="*/ 4510 w 9906"/>
              <a:gd name="connsiteY70" fmla="*/ 9405 h 10052"/>
              <a:gd name="connsiteX71" fmla="*/ 4680 w 9906"/>
              <a:gd name="connsiteY71" fmla="*/ 9329 h 10052"/>
              <a:gd name="connsiteX72" fmla="*/ 4849 w 9906"/>
              <a:gd name="connsiteY72" fmla="*/ 9244 h 10052"/>
              <a:gd name="connsiteX73" fmla="*/ 5016 w 9906"/>
              <a:gd name="connsiteY73" fmla="*/ 9158 h 10052"/>
              <a:gd name="connsiteX74" fmla="*/ 5178 w 9906"/>
              <a:gd name="connsiteY74" fmla="*/ 9063 h 10052"/>
              <a:gd name="connsiteX75" fmla="*/ 5340 w 9906"/>
              <a:gd name="connsiteY75" fmla="*/ 8967 h 10052"/>
              <a:gd name="connsiteX76" fmla="*/ 5503 w 9906"/>
              <a:gd name="connsiteY76" fmla="*/ 8865 h 10052"/>
              <a:gd name="connsiteX77" fmla="*/ 5660 w 9906"/>
              <a:gd name="connsiteY77" fmla="*/ 8759 h 10052"/>
              <a:gd name="connsiteX78" fmla="*/ 5817 w 9906"/>
              <a:gd name="connsiteY78" fmla="*/ 8652 h 10052"/>
              <a:gd name="connsiteX79" fmla="*/ 5973 w 9906"/>
              <a:gd name="connsiteY79" fmla="*/ 8536 h 10052"/>
              <a:gd name="connsiteX80" fmla="*/ 6125 w 9906"/>
              <a:gd name="connsiteY80" fmla="*/ 8417 h 10052"/>
              <a:gd name="connsiteX81" fmla="*/ 6273 w 9906"/>
              <a:gd name="connsiteY81" fmla="*/ 8295 h 10052"/>
              <a:gd name="connsiteX82" fmla="*/ 6422 w 9906"/>
              <a:gd name="connsiteY82" fmla="*/ 8169 h 10052"/>
              <a:gd name="connsiteX83" fmla="*/ 6566 w 9906"/>
              <a:gd name="connsiteY83" fmla="*/ 8040 h 10052"/>
              <a:gd name="connsiteX84" fmla="*/ 6708 w 9906"/>
              <a:gd name="connsiteY84" fmla="*/ 7904 h 10052"/>
              <a:gd name="connsiteX85" fmla="*/ 6849 w 9906"/>
              <a:gd name="connsiteY85" fmla="*/ 7768 h 10052"/>
              <a:gd name="connsiteX86" fmla="*/ 6989 w 9906"/>
              <a:gd name="connsiteY86" fmla="*/ 7624 h 10052"/>
              <a:gd name="connsiteX87" fmla="*/ 7123 w 9906"/>
              <a:gd name="connsiteY87" fmla="*/ 7480 h 10052"/>
              <a:gd name="connsiteX88" fmla="*/ 7257 w 9906"/>
              <a:gd name="connsiteY88" fmla="*/ 7329 h 10052"/>
              <a:gd name="connsiteX89" fmla="*/ 7389 w 9906"/>
              <a:gd name="connsiteY89" fmla="*/ 7178 h 10052"/>
              <a:gd name="connsiteX90" fmla="*/ 7516 w 9906"/>
              <a:gd name="connsiteY90" fmla="*/ 7024 h 10052"/>
              <a:gd name="connsiteX91" fmla="*/ 7642 w 9906"/>
              <a:gd name="connsiteY91" fmla="*/ 6861 h 10052"/>
              <a:gd name="connsiteX92" fmla="*/ 7766 w 9906"/>
              <a:gd name="connsiteY92" fmla="*/ 6697 h 10052"/>
              <a:gd name="connsiteX93" fmla="*/ 7886 w 9906"/>
              <a:gd name="connsiteY93" fmla="*/ 6534 h 10052"/>
              <a:gd name="connsiteX94" fmla="*/ 8002 w 9906"/>
              <a:gd name="connsiteY94" fmla="*/ 6365 h 10052"/>
              <a:gd name="connsiteX95" fmla="*/ 8117 w 9906"/>
              <a:gd name="connsiteY95" fmla="*/ 6189 h 10052"/>
              <a:gd name="connsiteX96" fmla="*/ 8230 w 9906"/>
              <a:gd name="connsiteY96" fmla="*/ 6016 h 10052"/>
              <a:gd name="connsiteX97" fmla="*/ 8339 w 9906"/>
              <a:gd name="connsiteY97" fmla="*/ 5835 h 10052"/>
              <a:gd name="connsiteX98" fmla="*/ 8446 w 9906"/>
              <a:gd name="connsiteY98" fmla="*/ 5652 h 10052"/>
              <a:gd name="connsiteX99" fmla="*/ 8548 w 9906"/>
              <a:gd name="connsiteY99" fmla="*/ 5468 h 10052"/>
              <a:gd name="connsiteX100" fmla="*/ 8647 w 9906"/>
              <a:gd name="connsiteY100" fmla="*/ 5278 h 10052"/>
              <a:gd name="connsiteX101" fmla="*/ 8745 w 9906"/>
              <a:gd name="connsiteY101" fmla="*/ 5089 h 10052"/>
              <a:gd name="connsiteX102" fmla="*/ 8839 w 9906"/>
              <a:gd name="connsiteY102" fmla="*/ 4893 h 10052"/>
              <a:gd name="connsiteX103" fmla="*/ 8930 w 9906"/>
              <a:gd name="connsiteY103" fmla="*/ 4698 h 10052"/>
              <a:gd name="connsiteX104" fmla="*/ 9017 w 9906"/>
              <a:gd name="connsiteY104" fmla="*/ 4500 h 10052"/>
              <a:gd name="connsiteX105" fmla="*/ 9100 w 9906"/>
              <a:gd name="connsiteY105" fmla="*/ 4294 h 10052"/>
              <a:gd name="connsiteX106" fmla="*/ 9180 w 9906"/>
              <a:gd name="connsiteY106" fmla="*/ 4091 h 10052"/>
              <a:gd name="connsiteX107" fmla="*/ 9258 w 9906"/>
              <a:gd name="connsiteY107" fmla="*/ 3885 h 10052"/>
              <a:gd name="connsiteX108" fmla="*/ 9333 w 9906"/>
              <a:gd name="connsiteY108" fmla="*/ 3674 h 10052"/>
              <a:gd name="connsiteX109" fmla="*/ 9403 w 9906"/>
              <a:gd name="connsiteY109" fmla="*/ 3464 h 10052"/>
              <a:gd name="connsiteX110" fmla="*/ 9472 w 9906"/>
              <a:gd name="connsiteY110" fmla="*/ 3248 h 10052"/>
              <a:gd name="connsiteX111" fmla="*/ 9534 w 9906"/>
              <a:gd name="connsiteY111" fmla="*/ 3030 h 10052"/>
              <a:gd name="connsiteX112" fmla="*/ 9593 w 9906"/>
              <a:gd name="connsiteY112" fmla="*/ 2815 h 10052"/>
              <a:gd name="connsiteX113" fmla="*/ 9650 w 9906"/>
              <a:gd name="connsiteY113" fmla="*/ 2592 h 10052"/>
              <a:gd name="connsiteX114" fmla="*/ 9703 w 9906"/>
              <a:gd name="connsiteY114" fmla="*/ 2369 h 10052"/>
              <a:gd name="connsiteX115" fmla="*/ 9751 w 9906"/>
              <a:gd name="connsiteY115" fmla="*/ 2143 h 10052"/>
              <a:gd name="connsiteX116" fmla="*/ 9796 w 9906"/>
              <a:gd name="connsiteY116" fmla="*/ 1918 h 10052"/>
              <a:gd name="connsiteX117" fmla="*/ 9837 w 9906"/>
              <a:gd name="connsiteY117" fmla="*/ 1690 h 10052"/>
              <a:gd name="connsiteX118" fmla="*/ 9874 w 9906"/>
              <a:gd name="connsiteY118" fmla="*/ 1457 h 10052"/>
              <a:gd name="connsiteX119" fmla="*/ 9906 w 9906"/>
              <a:gd name="connsiteY119" fmla="*/ 1222 h 10052"/>
              <a:gd name="connsiteX120" fmla="*/ 7321 w 9906"/>
              <a:gd name="connsiteY120" fmla="*/ 1876 h 10052"/>
              <a:gd name="connsiteX121" fmla="*/ 5162 w 9906"/>
              <a:gd name="connsiteY121" fmla="*/ 0 h 10052"/>
              <a:gd name="connsiteX0" fmla="*/ 4843 w 9632"/>
              <a:gd name="connsiteY0" fmla="*/ 0 h 9948"/>
              <a:gd name="connsiteX1" fmla="*/ 4843 w 9632"/>
              <a:gd name="connsiteY1" fmla="*/ 0 h 9948"/>
              <a:gd name="connsiteX2" fmla="*/ 4834 w 9632"/>
              <a:gd name="connsiteY2" fmla="*/ 98 h 9948"/>
              <a:gd name="connsiteX3" fmla="*/ 4817 w 9632"/>
              <a:gd name="connsiteY3" fmla="*/ 200 h 9948"/>
              <a:gd name="connsiteX4" fmla="*/ 4804 w 9632"/>
              <a:gd name="connsiteY4" fmla="*/ 298 h 9948"/>
              <a:gd name="connsiteX5" fmla="*/ 4787 w 9632"/>
              <a:gd name="connsiteY5" fmla="*/ 392 h 9948"/>
              <a:gd name="connsiteX6" fmla="*/ 4768 w 9632"/>
              <a:gd name="connsiteY6" fmla="*/ 488 h 9948"/>
              <a:gd name="connsiteX7" fmla="*/ 4747 w 9632"/>
              <a:gd name="connsiteY7" fmla="*/ 584 h 9948"/>
              <a:gd name="connsiteX8" fmla="*/ 4726 w 9632"/>
              <a:gd name="connsiteY8" fmla="*/ 680 h 9948"/>
              <a:gd name="connsiteX9" fmla="*/ 4703 w 9632"/>
              <a:gd name="connsiteY9" fmla="*/ 774 h 9948"/>
              <a:gd name="connsiteX10" fmla="*/ 4678 w 9632"/>
              <a:gd name="connsiteY10" fmla="*/ 865 h 9948"/>
              <a:gd name="connsiteX11" fmla="*/ 4649 w 9632"/>
              <a:gd name="connsiteY11" fmla="*/ 956 h 9948"/>
              <a:gd name="connsiteX12" fmla="*/ 4625 w 9632"/>
              <a:gd name="connsiteY12" fmla="*/ 1048 h 9948"/>
              <a:gd name="connsiteX13" fmla="*/ 4594 w 9632"/>
              <a:gd name="connsiteY13" fmla="*/ 1139 h 9948"/>
              <a:gd name="connsiteX14" fmla="*/ 4561 w 9632"/>
              <a:gd name="connsiteY14" fmla="*/ 1225 h 9948"/>
              <a:gd name="connsiteX15" fmla="*/ 4529 w 9632"/>
              <a:gd name="connsiteY15" fmla="*/ 1311 h 9948"/>
              <a:gd name="connsiteX16" fmla="*/ 4496 w 9632"/>
              <a:gd name="connsiteY16" fmla="*/ 1398 h 9948"/>
              <a:gd name="connsiteX17" fmla="*/ 4460 w 9632"/>
              <a:gd name="connsiteY17" fmla="*/ 1486 h 9948"/>
              <a:gd name="connsiteX18" fmla="*/ 4424 w 9632"/>
              <a:gd name="connsiteY18" fmla="*/ 1570 h 9948"/>
              <a:gd name="connsiteX19" fmla="*/ 4385 w 9632"/>
              <a:gd name="connsiteY19" fmla="*/ 1654 h 9948"/>
              <a:gd name="connsiteX20" fmla="*/ 4345 w 9632"/>
              <a:gd name="connsiteY20" fmla="*/ 1733 h 9948"/>
              <a:gd name="connsiteX21" fmla="*/ 4303 w 9632"/>
              <a:gd name="connsiteY21" fmla="*/ 1815 h 9948"/>
              <a:gd name="connsiteX22" fmla="*/ 4261 w 9632"/>
              <a:gd name="connsiteY22" fmla="*/ 1893 h 9948"/>
              <a:gd name="connsiteX23" fmla="*/ 4218 w 9632"/>
              <a:gd name="connsiteY23" fmla="*/ 1975 h 9948"/>
              <a:gd name="connsiteX24" fmla="*/ 4173 w 9632"/>
              <a:gd name="connsiteY24" fmla="*/ 2048 h 9948"/>
              <a:gd name="connsiteX25" fmla="*/ 4125 w 9632"/>
              <a:gd name="connsiteY25" fmla="*/ 2122 h 9948"/>
              <a:gd name="connsiteX26" fmla="*/ 4077 w 9632"/>
              <a:gd name="connsiteY26" fmla="*/ 2199 h 9948"/>
              <a:gd name="connsiteX27" fmla="*/ 4028 w 9632"/>
              <a:gd name="connsiteY27" fmla="*/ 2270 h 9948"/>
              <a:gd name="connsiteX28" fmla="*/ 3977 w 9632"/>
              <a:gd name="connsiteY28" fmla="*/ 2342 h 9948"/>
              <a:gd name="connsiteX29" fmla="*/ 3926 w 9632"/>
              <a:gd name="connsiteY29" fmla="*/ 2413 h 9948"/>
              <a:gd name="connsiteX30" fmla="*/ 3875 w 9632"/>
              <a:gd name="connsiteY30" fmla="*/ 2482 h 9948"/>
              <a:gd name="connsiteX31" fmla="*/ 3819 w 9632"/>
              <a:gd name="connsiteY31" fmla="*/ 2549 h 9948"/>
              <a:gd name="connsiteX32" fmla="*/ 3766 w 9632"/>
              <a:gd name="connsiteY32" fmla="*/ 2612 h 9948"/>
              <a:gd name="connsiteX33" fmla="*/ 3708 w 9632"/>
              <a:gd name="connsiteY33" fmla="*/ 2677 h 9948"/>
              <a:gd name="connsiteX34" fmla="*/ 3653 w 9632"/>
              <a:gd name="connsiteY34" fmla="*/ 2739 h 9948"/>
              <a:gd name="connsiteX35" fmla="*/ 3592 w 9632"/>
              <a:gd name="connsiteY35" fmla="*/ 2802 h 9948"/>
              <a:gd name="connsiteX36" fmla="*/ 3534 w 9632"/>
              <a:gd name="connsiteY36" fmla="*/ 2859 h 9948"/>
              <a:gd name="connsiteX37" fmla="*/ 3473 w 9632"/>
              <a:gd name="connsiteY37" fmla="*/ 2919 h 9948"/>
              <a:gd name="connsiteX38" fmla="*/ 3412 w 9632"/>
              <a:gd name="connsiteY38" fmla="*/ 2973 h 9948"/>
              <a:gd name="connsiteX39" fmla="*/ 3349 w 9632"/>
              <a:gd name="connsiteY39" fmla="*/ 3027 h 9948"/>
              <a:gd name="connsiteX40" fmla="*/ 3285 w 9632"/>
              <a:gd name="connsiteY40" fmla="*/ 3081 h 9948"/>
              <a:gd name="connsiteX41" fmla="*/ 3222 w 9632"/>
              <a:gd name="connsiteY41" fmla="*/ 3133 h 9948"/>
              <a:gd name="connsiteX42" fmla="*/ 3156 w 9632"/>
              <a:gd name="connsiteY42" fmla="*/ 3179 h 9948"/>
              <a:gd name="connsiteX43" fmla="*/ 3090 w 9632"/>
              <a:gd name="connsiteY43" fmla="*/ 3226 h 9948"/>
              <a:gd name="connsiteX44" fmla="*/ 3211 w 9632"/>
              <a:gd name="connsiteY44" fmla="*/ 6543 h 9948"/>
              <a:gd name="connsiteX45" fmla="*/ 0 w 9632"/>
              <a:gd name="connsiteY45" fmla="*/ 9788 h 9948"/>
              <a:gd name="connsiteX46" fmla="*/ 157 w 9632"/>
              <a:gd name="connsiteY46" fmla="*/ 9823 h 9948"/>
              <a:gd name="connsiteX47" fmla="*/ 315 w 9632"/>
              <a:gd name="connsiteY47" fmla="*/ 9852 h 9948"/>
              <a:gd name="connsiteX48" fmla="*/ 472 w 9632"/>
              <a:gd name="connsiteY48" fmla="*/ 9875 h 9948"/>
              <a:gd name="connsiteX49" fmla="*/ 631 w 9632"/>
              <a:gd name="connsiteY49" fmla="*/ 9897 h 9948"/>
              <a:gd name="connsiteX50" fmla="*/ 790 w 9632"/>
              <a:gd name="connsiteY50" fmla="*/ 9913 h 9948"/>
              <a:gd name="connsiteX51" fmla="*/ 950 w 9632"/>
              <a:gd name="connsiteY51" fmla="*/ 9928 h 9948"/>
              <a:gd name="connsiteX52" fmla="*/ 1114 w 9632"/>
              <a:gd name="connsiteY52" fmla="*/ 9938 h 9948"/>
              <a:gd name="connsiteX53" fmla="*/ 1276 w 9632"/>
              <a:gd name="connsiteY53" fmla="*/ 9943 h 9948"/>
              <a:gd name="connsiteX54" fmla="*/ 1437 w 9632"/>
              <a:gd name="connsiteY54" fmla="*/ 9948 h 9948"/>
              <a:gd name="connsiteX55" fmla="*/ 1633 w 9632"/>
              <a:gd name="connsiteY55" fmla="*/ 9943 h 9948"/>
              <a:gd name="connsiteX56" fmla="*/ 1822 w 9632"/>
              <a:gd name="connsiteY56" fmla="*/ 9936 h 9948"/>
              <a:gd name="connsiteX57" fmla="*/ 2013 w 9632"/>
              <a:gd name="connsiteY57" fmla="*/ 9923 h 9948"/>
              <a:gd name="connsiteX58" fmla="*/ 2198 w 9632"/>
              <a:gd name="connsiteY58" fmla="*/ 9902 h 9948"/>
              <a:gd name="connsiteX59" fmla="*/ 2388 w 9632"/>
              <a:gd name="connsiteY59" fmla="*/ 9880 h 9948"/>
              <a:gd name="connsiteX60" fmla="*/ 2574 w 9632"/>
              <a:gd name="connsiteY60" fmla="*/ 9847 h 9948"/>
              <a:gd name="connsiteX61" fmla="*/ 2759 w 9632"/>
              <a:gd name="connsiteY61" fmla="*/ 9815 h 9948"/>
              <a:gd name="connsiteX62" fmla="*/ 2944 w 9632"/>
              <a:gd name="connsiteY62" fmla="*/ 9773 h 9948"/>
              <a:gd name="connsiteX63" fmla="*/ 3124 w 9632"/>
              <a:gd name="connsiteY63" fmla="*/ 9728 h 9948"/>
              <a:gd name="connsiteX64" fmla="*/ 3309 w 9632"/>
              <a:gd name="connsiteY64" fmla="*/ 9680 h 9948"/>
              <a:gd name="connsiteX65" fmla="*/ 3484 w 9632"/>
              <a:gd name="connsiteY65" fmla="*/ 9623 h 9948"/>
              <a:gd name="connsiteX66" fmla="*/ 3664 w 9632"/>
              <a:gd name="connsiteY66" fmla="*/ 9566 h 9948"/>
              <a:gd name="connsiteX67" fmla="*/ 3840 w 9632"/>
              <a:gd name="connsiteY67" fmla="*/ 9503 h 9948"/>
              <a:gd name="connsiteX68" fmla="*/ 4015 w 9632"/>
              <a:gd name="connsiteY68" fmla="*/ 9433 h 9948"/>
              <a:gd name="connsiteX69" fmla="*/ 4185 w 9632"/>
              <a:gd name="connsiteY69" fmla="*/ 9356 h 9948"/>
              <a:gd name="connsiteX70" fmla="*/ 4356 w 9632"/>
              <a:gd name="connsiteY70" fmla="*/ 9281 h 9948"/>
              <a:gd name="connsiteX71" fmla="*/ 4527 w 9632"/>
              <a:gd name="connsiteY71" fmla="*/ 9196 h 9948"/>
              <a:gd name="connsiteX72" fmla="*/ 4696 w 9632"/>
              <a:gd name="connsiteY72" fmla="*/ 9111 h 9948"/>
              <a:gd name="connsiteX73" fmla="*/ 4859 w 9632"/>
              <a:gd name="connsiteY73" fmla="*/ 9016 h 9948"/>
              <a:gd name="connsiteX74" fmla="*/ 5023 w 9632"/>
              <a:gd name="connsiteY74" fmla="*/ 8921 h 9948"/>
              <a:gd name="connsiteX75" fmla="*/ 5187 w 9632"/>
              <a:gd name="connsiteY75" fmla="*/ 8819 h 9948"/>
              <a:gd name="connsiteX76" fmla="*/ 5346 w 9632"/>
              <a:gd name="connsiteY76" fmla="*/ 8714 h 9948"/>
              <a:gd name="connsiteX77" fmla="*/ 5504 w 9632"/>
              <a:gd name="connsiteY77" fmla="*/ 8607 h 9948"/>
              <a:gd name="connsiteX78" fmla="*/ 5662 w 9632"/>
              <a:gd name="connsiteY78" fmla="*/ 8492 h 9948"/>
              <a:gd name="connsiteX79" fmla="*/ 5815 w 9632"/>
              <a:gd name="connsiteY79" fmla="*/ 8373 h 9948"/>
              <a:gd name="connsiteX80" fmla="*/ 5965 w 9632"/>
              <a:gd name="connsiteY80" fmla="*/ 8252 h 9948"/>
              <a:gd name="connsiteX81" fmla="*/ 6115 w 9632"/>
              <a:gd name="connsiteY81" fmla="*/ 8127 h 9948"/>
              <a:gd name="connsiteX82" fmla="*/ 6260 w 9632"/>
              <a:gd name="connsiteY82" fmla="*/ 7998 h 9948"/>
              <a:gd name="connsiteX83" fmla="*/ 6404 w 9632"/>
              <a:gd name="connsiteY83" fmla="*/ 7863 h 9948"/>
              <a:gd name="connsiteX84" fmla="*/ 6546 w 9632"/>
              <a:gd name="connsiteY84" fmla="*/ 7728 h 9948"/>
              <a:gd name="connsiteX85" fmla="*/ 6687 w 9632"/>
              <a:gd name="connsiteY85" fmla="*/ 7585 h 9948"/>
              <a:gd name="connsiteX86" fmla="*/ 6823 w 9632"/>
              <a:gd name="connsiteY86" fmla="*/ 7441 h 9948"/>
              <a:gd name="connsiteX87" fmla="*/ 6958 w 9632"/>
              <a:gd name="connsiteY87" fmla="*/ 7291 h 9948"/>
              <a:gd name="connsiteX88" fmla="*/ 7091 w 9632"/>
              <a:gd name="connsiteY88" fmla="*/ 7141 h 9948"/>
              <a:gd name="connsiteX89" fmla="*/ 7219 w 9632"/>
              <a:gd name="connsiteY89" fmla="*/ 6988 h 9948"/>
              <a:gd name="connsiteX90" fmla="*/ 7347 w 9632"/>
              <a:gd name="connsiteY90" fmla="*/ 6826 h 9948"/>
              <a:gd name="connsiteX91" fmla="*/ 7472 w 9632"/>
              <a:gd name="connsiteY91" fmla="*/ 6662 h 9948"/>
              <a:gd name="connsiteX92" fmla="*/ 7593 w 9632"/>
              <a:gd name="connsiteY92" fmla="*/ 6500 h 9948"/>
              <a:gd name="connsiteX93" fmla="*/ 7710 w 9632"/>
              <a:gd name="connsiteY93" fmla="*/ 6332 h 9948"/>
              <a:gd name="connsiteX94" fmla="*/ 7826 w 9632"/>
              <a:gd name="connsiteY94" fmla="*/ 6157 h 9948"/>
              <a:gd name="connsiteX95" fmla="*/ 7940 w 9632"/>
              <a:gd name="connsiteY95" fmla="*/ 5985 h 9948"/>
              <a:gd name="connsiteX96" fmla="*/ 8050 w 9632"/>
              <a:gd name="connsiteY96" fmla="*/ 5805 h 9948"/>
              <a:gd name="connsiteX97" fmla="*/ 8158 w 9632"/>
              <a:gd name="connsiteY97" fmla="*/ 5623 h 9948"/>
              <a:gd name="connsiteX98" fmla="*/ 8261 w 9632"/>
              <a:gd name="connsiteY98" fmla="*/ 5440 h 9948"/>
              <a:gd name="connsiteX99" fmla="*/ 8361 w 9632"/>
              <a:gd name="connsiteY99" fmla="*/ 5251 h 9948"/>
              <a:gd name="connsiteX100" fmla="*/ 8460 w 9632"/>
              <a:gd name="connsiteY100" fmla="*/ 5063 h 9948"/>
              <a:gd name="connsiteX101" fmla="*/ 8555 w 9632"/>
              <a:gd name="connsiteY101" fmla="*/ 4868 h 9948"/>
              <a:gd name="connsiteX102" fmla="*/ 8647 w 9632"/>
              <a:gd name="connsiteY102" fmla="*/ 4674 h 9948"/>
              <a:gd name="connsiteX103" fmla="*/ 8735 w 9632"/>
              <a:gd name="connsiteY103" fmla="*/ 4477 h 9948"/>
              <a:gd name="connsiteX104" fmla="*/ 8818 w 9632"/>
              <a:gd name="connsiteY104" fmla="*/ 4272 h 9948"/>
              <a:gd name="connsiteX105" fmla="*/ 8899 w 9632"/>
              <a:gd name="connsiteY105" fmla="*/ 4070 h 9948"/>
              <a:gd name="connsiteX106" fmla="*/ 8978 w 9632"/>
              <a:gd name="connsiteY106" fmla="*/ 3865 h 9948"/>
              <a:gd name="connsiteX107" fmla="*/ 9054 w 9632"/>
              <a:gd name="connsiteY107" fmla="*/ 3655 h 9948"/>
              <a:gd name="connsiteX108" fmla="*/ 9124 w 9632"/>
              <a:gd name="connsiteY108" fmla="*/ 3446 h 9948"/>
              <a:gd name="connsiteX109" fmla="*/ 9194 w 9632"/>
              <a:gd name="connsiteY109" fmla="*/ 3231 h 9948"/>
              <a:gd name="connsiteX110" fmla="*/ 9256 w 9632"/>
              <a:gd name="connsiteY110" fmla="*/ 3014 h 9948"/>
              <a:gd name="connsiteX111" fmla="*/ 9316 w 9632"/>
              <a:gd name="connsiteY111" fmla="*/ 2800 h 9948"/>
              <a:gd name="connsiteX112" fmla="*/ 9374 w 9632"/>
              <a:gd name="connsiteY112" fmla="*/ 2579 h 9948"/>
              <a:gd name="connsiteX113" fmla="*/ 9427 w 9632"/>
              <a:gd name="connsiteY113" fmla="*/ 2357 h 9948"/>
              <a:gd name="connsiteX114" fmla="*/ 9476 w 9632"/>
              <a:gd name="connsiteY114" fmla="*/ 2132 h 9948"/>
              <a:gd name="connsiteX115" fmla="*/ 9521 w 9632"/>
              <a:gd name="connsiteY115" fmla="*/ 1908 h 9948"/>
              <a:gd name="connsiteX116" fmla="*/ 9562 w 9632"/>
              <a:gd name="connsiteY116" fmla="*/ 1681 h 9948"/>
              <a:gd name="connsiteX117" fmla="*/ 9600 w 9632"/>
              <a:gd name="connsiteY117" fmla="*/ 1449 h 9948"/>
              <a:gd name="connsiteX118" fmla="*/ 9632 w 9632"/>
              <a:gd name="connsiteY118" fmla="*/ 1216 h 9948"/>
              <a:gd name="connsiteX119" fmla="*/ 7022 w 9632"/>
              <a:gd name="connsiteY119" fmla="*/ 1866 h 9948"/>
              <a:gd name="connsiteX120" fmla="*/ 4843 w 9632"/>
              <a:gd name="connsiteY120" fmla="*/ 0 h 9948"/>
              <a:gd name="connsiteX0" fmla="*/ 4865 w 9837"/>
              <a:gd name="connsiteY0" fmla="*/ 0 h 10000"/>
              <a:gd name="connsiteX1" fmla="*/ 4865 w 9837"/>
              <a:gd name="connsiteY1" fmla="*/ 0 h 10000"/>
              <a:gd name="connsiteX2" fmla="*/ 4856 w 9837"/>
              <a:gd name="connsiteY2" fmla="*/ 99 h 10000"/>
              <a:gd name="connsiteX3" fmla="*/ 4838 w 9837"/>
              <a:gd name="connsiteY3" fmla="*/ 201 h 10000"/>
              <a:gd name="connsiteX4" fmla="*/ 4825 w 9837"/>
              <a:gd name="connsiteY4" fmla="*/ 300 h 10000"/>
              <a:gd name="connsiteX5" fmla="*/ 4807 w 9837"/>
              <a:gd name="connsiteY5" fmla="*/ 394 h 10000"/>
              <a:gd name="connsiteX6" fmla="*/ 4787 w 9837"/>
              <a:gd name="connsiteY6" fmla="*/ 491 h 10000"/>
              <a:gd name="connsiteX7" fmla="*/ 4765 w 9837"/>
              <a:gd name="connsiteY7" fmla="*/ 587 h 10000"/>
              <a:gd name="connsiteX8" fmla="*/ 4744 w 9837"/>
              <a:gd name="connsiteY8" fmla="*/ 684 h 10000"/>
              <a:gd name="connsiteX9" fmla="*/ 4720 w 9837"/>
              <a:gd name="connsiteY9" fmla="*/ 778 h 10000"/>
              <a:gd name="connsiteX10" fmla="*/ 4694 w 9837"/>
              <a:gd name="connsiteY10" fmla="*/ 870 h 10000"/>
              <a:gd name="connsiteX11" fmla="*/ 4664 w 9837"/>
              <a:gd name="connsiteY11" fmla="*/ 961 h 10000"/>
              <a:gd name="connsiteX12" fmla="*/ 4639 w 9837"/>
              <a:gd name="connsiteY12" fmla="*/ 1053 h 10000"/>
              <a:gd name="connsiteX13" fmla="*/ 4607 w 9837"/>
              <a:gd name="connsiteY13" fmla="*/ 1145 h 10000"/>
              <a:gd name="connsiteX14" fmla="*/ 4572 w 9837"/>
              <a:gd name="connsiteY14" fmla="*/ 1231 h 10000"/>
              <a:gd name="connsiteX15" fmla="*/ 4539 w 9837"/>
              <a:gd name="connsiteY15" fmla="*/ 1318 h 10000"/>
              <a:gd name="connsiteX16" fmla="*/ 4505 w 9837"/>
              <a:gd name="connsiteY16" fmla="*/ 1405 h 10000"/>
              <a:gd name="connsiteX17" fmla="*/ 4467 w 9837"/>
              <a:gd name="connsiteY17" fmla="*/ 1494 h 10000"/>
              <a:gd name="connsiteX18" fmla="*/ 4430 w 9837"/>
              <a:gd name="connsiteY18" fmla="*/ 1578 h 10000"/>
              <a:gd name="connsiteX19" fmla="*/ 4390 w 9837"/>
              <a:gd name="connsiteY19" fmla="*/ 1663 h 10000"/>
              <a:gd name="connsiteX20" fmla="*/ 4348 w 9837"/>
              <a:gd name="connsiteY20" fmla="*/ 1742 h 10000"/>
              <a:gd name="connsiteX21" fmla="*/ 4304 w 9837"/>
              <a:gd name="connsiteY21" fmla="*/ 1824 h 10000"/>
              <a:gd name="connsiteX22" fmla="*/ 4261 w 9837"/>
              <a:gd name="connsiteY22" fmla="*/ 1903 h 10000"/>
              <a:gd name="connsiteX23" fmla="*/ 4216 w 9837"/>
              <a:gd name="connsiteY23" fmla="*/ 1985 h 10000"/>
              <a:gd name="connsiteX24" fmla="*/ 4169 w 9837"/>
              <a:gd name="connsiteY24" fmla="*/ 2059 h 10000"/>
              <a:gd name="connsiteX25" fmla="*/ 4120 w 9837"/>
              <a:gd name="connsiteY25" fmla="*/ 2133 h 10000"/>
              <a:gd name="connsiteX26" fmla="*/ 4070 w 9837"/>
              <a:gd name="connsiteY26" fmla="*/ 2210 h 10000"/>
              <a:gd name="connsiteX27" fmla="*/ 4019 w 9837"/>
              <a:gd name="connsiteY27" fmla="*/ 2282 h 10000"/>
              <a:gd name="connsiteX28" fmla="*/ 3966 w 9837"/>
              <a:gd name="connsiteY28" fmla="*/ 2354 h 10000"/>
              <a:gd name="connsiteX29" fmla="*/ 3913 w 9837"/>
              <a:gd name="connsiteY29" fmla="*/ 2426 h 10000"/>
              <a:gd name="connsiteX30" fmla="*/ 3860 w 9837"/>
              <a:gd name="connsiteY30" fmla="*/ 2495 h 10000"/>
              <a:gd name="connsiteX31" fmla="*/ 3802 w 9837"/>
              <a:gd name="connsiteY31" fmla="*/ 2562 h 10000"/>
              <a:gd name="connsiteX32" fmla="*/ 3747 w 9837"/>
              <a:gd name="connsiteY32" fmla="*/ 2626 h 10000"/>
              <a:gd name="connsiteX33" fmla="*/ 3687 w 9837"/>
              <a:gd name="connsiteY33" fmla="*/ 2691 h 10000"/>
              <a:gd name="connsiteX34" fmla="*/ 3630 w 9837"/>
              <a:gd name="connsiteY34" fmla="*/ 2753 h 10000"/>
              <a:gd name="connsiteX35" fmla="*/ 3566 w 9837"/>
              <a:gd name="connsiteY35" fmla="*/ 2817 h 10000"/>
              <a:gd name="connsiteX36" fmla="*/ 3506 w 9837"/>
              <a:gd name="connsiteY36" fmla="*/ 2874 h 10000"/>
              <a:gd name="connsiteX37" fmla="*/ 3443 w 9837"/>
              <a:gd name="connsiteY37" fmla="*/ 2934 h 10000"/>
              <a:gd name="connsiteX38" fmla="*/ 3379 w 9837"/>
              <a:gd name="connsiteY38" fmla="*/ 2989 h 10000"/>
              <a:gd name="connsiteX39" fmla="*/ 3314 w 9837"/>
              <a:gd name="connsiteY39" fmla="*/ 3043 h 10000"/>
              <a:gd name="connsiteX40" fmla="*/ 3248 w 9837"/>
              <a:gd name="connsiteY40" fmla="*/ 3097 h 10000"/>
              <a:gd name="connsiteX41" fmla="*/ 3182 w 9837"/>
              <a:gd name="connsiteY41" fmla="*/ 3149 h 10000"/>
              <a:gd name="connsiteX42" fmla="*/ 3114 w 9837"/>
              <a:gd name="connsiteY42" fmla="*/ 3196 h 10000"/>
              <a:gd name="connsiteX43" fmla="*/ 3045 w 9837"/>
              <a:gd name="connsiteY43" fmla="*/ 3243 h 10000"/>
              <a:gd name="connsiteX44" fmla="*/ 3171 w 9837"/>
              <a:gd name="connsiteY44" fmla="*/ 6577 h 10000"/>
              <a:gd name="connsiteX45" fmla="*/ 0 w 9837"/>
              <a:gd name="connsiteY45" fmla="*/ 9874 h 10000"/>
              <a:gd name="connsiteX46" fmla="*/ 164 w 9837"/>
              <a:gd name="connsiteY46" fmla="*/ 9903 h 10000"/>
              <a:gd name="connsiteX47" fmla="*/ 327 w 9837"/>
              <a:gd name="connsiteY47" fmla="*/ 9927 h 10000"/>
              <a:gd name="connsiteX48" fmla="*/ 492 w 9837"/>
              <a:gd name="connsiteY48" fmla="*/ 9949 h 10000"/>
              <a:gd name="connsiteX49" fmla="*/ 657 w 9837"/>
              <a:gd name="connsiteY49" fmla="*/ 9965 h 10000"/>
              <a:gd name="connsiteX50" fmla="*/ 823 w 9837"/>
              <a:gd name="connsiteY50" fmla="*/ 9980 h 10000"/>
              <a:gd name="connsiteX51" fmla="*/ 994 w 9837"/>
              <a:gd name="connsiteY51" fmla="*/ 9990 h 10000"/>
              <a:gd name="connsiteX52" fmla="*/ 1162 w 9837"/>
              <a:gd name="connsiteY52" fmla="*/ 9995 h 10000"/>
              <a:gd name="connsiteX53" fmla="*/ 1329 w 9837"/>
              <a:gd name="connsiteY53" fmla="*/ 10000 h 10000"/>
              <a:gd name="connsiteX54" fmla="*/ 1532 w 9837"/>
              <a:gd name="connsiteY54" fmla="*/ 9995 h 10000"/>
              <a:gd name="connsiteX55" fmla="*/ 1729 w 9837"/>
              <a:gd name="connsiteY55" fmla="*/ 9988 h 10000"/>
              <a:gd name="connsiteX56" fmla="*/ 1927 w 9837"/>
              <a:gd name="connsiteY56" fmla="*/ 9975 h 10000"/>
              <a:gd name="connsiteX57" fmla="*/ 2119 w 9837"/>
              <a:gd name="connsiteY57" fmla="*/ 9954 h 10000"/>
              <a:gd name="connsiteX58" fmla="*/ 2316 w 9837"/>
              <a:gd name="connsiteY58" fmla="*/ 9932 h 10000"/>
              <a:gd name="connsiteX59" fmla="*/ 2509 w 9837"/>
              <a:gd name="connsiteY59" fmla="*/ 9898 h 10000"/>
              <a:gd name="connsiteX60" fmla="*/ 2701 w 9837"/>
              <a:gd name="connsiteY60" fmla="*/ 9866 h 10000"/>
              <a:gd name="connsiteX61" fmla="*/ 2893 w 9837"/>
              <a:gd name="connsiteY61" fmla="*/ 9824 h 10000"/>
              <a:gd name="connsiteX62" fmla="*/ 3080 w 9837"/>
              <a:gd name="connsiteY62" fmla="*/ 9779 h 10000"/>
              <a:gd name="connsiteX63" fmla="*/ 3272 w 9837"/>
              <a:gd name="connsiteY63" fmla="*/ 9731 h 10000"/>
              <a:gd name="connsiteX64" fmla="*/ 3454 w 9837"/>
              <a:gd name="connsiteY64" fmla="*/ 9673 h 10000"/>
              <a:gd name="connsiteX65" fmla="*/ 3641 w 9837"/>
              <a:gd name="connsiteY65" fmla="*/ 9616 h 10000"/>
              <a:gd name="connsiteX66" fmla="*/ 3824 w 9837"/>
              <a:gd name="connsiteY66" fmla="*/ 9553 h 10000"/>
              <a:gd name="connsiteX67" fmla="*/ 4005 w 9837"/>
              <a:gd name="connsiteY67" fmla="*/ 9482 h 10000"/>
              <a:gd name="connsiteX68" fmla="*/ 4182 w 9837"/>
              <a:gd name="connsiteY68" fmla="*/ 9405 h 10000"/>
              <a:gd name="connsiteX69" fmla="*/ 4359 w 9837"/>
              <a:gd name="connsiteY69" fmla="*/ 9330 h 10000"/>
              <a:gd name="connsiteX70" fmla="*/ 4537 w 9837"/>
              <a:gd name="connsiteY70" fmla="*/ 9244 h 10000"/>
              <a:gd name="connsiteX71" fmla="*/ 4712 w 9837"/>
              <a:gd name="connsiteY71" fmla="*/ 9159 h 10000"/>
              <a:gd name="connsiteX72" fmla="*/ 4882 w 9837"/>
              <a:gd name="connsiteY72" fmla="*/ 9063 h 10000"/>
              <a:gd name="connsiteX73" fmla="*/ 5052 w 9837"/>
              <a:gd name="connsiteY73" fmla="*/ 8968 h 10000"/>
              <a:gd name="connsiteX74" fmla="*/ 5222 w 9837"/>
              <a:gd name="connsiteY74" fmla="*/ 8865 h 10000"/>
              <a:gd name="connsiteX75" fmla="*/ 5387 w 9837"/>
              <a:gd name="connsiteY75" fmla="*/ 8760 h 10000"/>
              <a:gd name="connsiteX76" fmla="*/ 5551 w 9837"/>
              <a:gd name="connsiteY76" fmla="*/ 8652 h 10000"/>
              <a:gd name="connsiteX77" fmla="*/ 5715 w 9837"/>
              <a:gd name="connsiteY77" fmla="*/ 8536 h 10000"/>
              <a:gd name="connsiteX78" fmla="*/ 5874 w 9837"/>
              <a:gd name="connsiteY78" fmla="*/ 8417 h 10000"/>
              <a:gd name="connsiteX79" fmla="*/ 6030 w 9837"/>
              <a:gd name="connsiteY79" fmla="*/ 8295 h 10000"/>
              <a:gd name="connsiteX80" fmla="*/ 6186 w 9837"/>
              <a:gd name="connsiteY80" fmla="*/ 8169 h 10000"/>
              <a:gd name="connsiteX81" fmla="*/ 6336 w 9837"/>
              <a:gd name="connsiteY81" fmla="*/ 8040 h 10000"/>
              <a:gd name="connsiteX82" fmla="*/ 6486 w 9837"/>
              <a:gd name="connsiteY82" fmla="*/ 7904 h 10000"/>
              <a:gd name="connsiteX83" fmla="*/ 6633 w 9837"/>
              <a:gd name="connsiteY83" fmla="*/ 7768 h 10000"/>
              <a:gd name="connsiteX84" fmla="*/ 6779 w 9837"/>
              <a:gd name="connsiteY84" fmla="*/ 7625 h 10000"/>
              <a:gd name="connsiteX85" fmla="*/ 6921 w 9837"/>
              <a:gd name="connsiteY85" fmla="*/ 7480 h 10000"/>
              <a:gd name="connsiteX86" fmla="*/ 7061 w 9837"/>
              <a:gd name="connsiteY86" fmla="*/ 7329 h 10000"/>
              <a:gd name="connsiteX87" fmla="*/ 7199 w 9837"/>
              <a:gd name="connsiteY87" fmla="*/ 7178 h 10000"/>
              <a:gd name="connsiteX88" fmla="*/ 7332 w 9837"/>
              <a:gd name="connsiteY88" fmla="*/ 7025 h 10000"/>
              <a:gd name="connsiteX89" fmla="*/ 7465 w 9837"/>
              <a:gd name="connsiteY89" fmla="*/ 6862 h 10000"/>
              <a:gd name="connsiteX90" fmla="*/ 7594 w 9837"/>
              <a:gd name="connsiteY90" fmla="*/ 6697 h 10000"/>
              <a:gd name="connsiteX91" fmla="*/ 7720 w 9837"/>
              <a:gd name="connsiteY91" fmla="*/ 6534 h 10000"/>
              <a:gd name="connsiteX92" fmla="*/ 7842 w 9837"/>
              <a:gd name="connsiteY92" fmla="*/ 6365 h 10000"/>
              <a:gd name="connsiteX93" fmla="*/ 7962 w 9837"/>
              <a:gd name="connsiteY93" fmla="*/ 6189 h 10000"/>
              <a:gd name="connsiteX94" fmla="*/ 8080 w 9837"/>
              <a:gd name="connsiteY94" fmla="*/ 6016 h 10000"/>
              <a:gd name="connsiteX95" fmla="*/ 8195 w 9837"/>
              <a:gd name="connsiteY95" fmla="*/ 5835 h 10000"/>
              <a:gd name="connsiteX96" fmla="*/ 8307 w 9837"/>
              <a:gd name="connsiteY96" fmla="*/ 5652 h 10000"/>
              <a:gd name="connsiteX97" fmla="*/ 8414 w 9837"/>
              <a:gd name="connsiteY97" fmla="*/ 5468 h 10000"/>
              <a:gd name="connsiteX98" fmla="*/ 8517 w 9837"/>
              <a:gd name="connsiteY98" fmla="*/ 5278 h 10000"/>
              <a:gd name="connsiteX99" fmla="*/ 8620 w 9837"/>
              <a:gd name="connsiteY99" fmla="*/ 5089 h 10000"/>
              <a:gd name="connsiteX100" fmla="*/ 8719 w 9837"/>
              <a:gd name="connsiteY100" fmla="*/ 4893 h 10000"/>
              <a:gd name="connsiteX101" fmla="*/ 8814 w 9837"/>
              <a:gd name="connsiteY101" fmla="*/ 4698 h 10000"/>
              <a:gd name="connsiteX102" fmla="*/ 8906 w 9837"/>
              <a:gd name="connsiteY102" fmla="*/ 4500 h 10000"/>
              <a:gd name="connsiteX103" fmla="*/ 8992 w 9837"/>
              <a:gd name="connsiteY103" fmla="*/ 4294 h 10000"/>
              <a:gd name="connsiteX104" fmla="*/ 9076 w 9837"/>
              <a:gd name="connsiteY104" fmla="*/ 4091 h 10000"/>
              <a:gd name="connsiteX105" fmla="*/ 9158 w 9837"/>
              <a:gd name="connsiteY105" fmla="*/ 3885 h 10000"/>
              <a:gd name="connsiteX106" fmla="*/ 9237 w 9837"/>
              <a:gd name="connsiteY106" fmla="*/ 3674 h 10000"/>
              <a:gd name="connsiteX107" fmla="*/ 9310 w 9837"/>
              <a:gd name="connsiteY107" fmla="*/ 3464 h 10000"/>
              <a:gd name="connsiteX108" fmla="*/ 9382 w 9837"/>
              <a:gd name="connsiteY108" fmla="*/ 3248 h 10000"/>
              <a:gd name="connsiteX109" fmla="*/ 9447 w 9837"/>
              <a:gd name="connsiteY109" fmla="*/ 3030 h 10000"/>
              <a:gd name="connsiteX110" fmla="*/ 9509 w 9837"/>
              <a:gd name="connsiteY110" fmla="*/ 2815 h 10000"/>
              <a:gd name="connsiteX111" fmla="*/ 9569 w 9837"/>
              <a:gd name="connsiteY111" fmla="*/ 2592 h 10000"/>
              <a:gd name="connsiteX112" fmla="*/ 9624 w 9837"/>
              <a:gd name="connsiteY112" fmla="*/ 2369 h 10000"/>
              <a:gd name="connsiteX113" fmla="*/ 9675 w 9837"/>
              <a:gd name="connsiteY113" fmla="*/ 2143 h 10000"/>
              <a:gd name="connsiteX114" fmla="*/ 9722 w 9837"/>
              <a:gd name="connsiteY114" fmla="*/ 1918 h 10000"/>
              <a:gd name="connsiteX115" fmla="*/ 9764 w 9837"/>
              <a:gd name="connsiteY115" fmla="*/ 1690 h 10000"/>
              <a:gd name="connsiteX116" fmla="*/ 9804 w 9837"/>
              <a:gd name="connsiteY116" fmla="*/ 1457 h 10000"/>
              <a:gd name="connsiteX117" fmla="*/ 9837 w 9837"/>
              <a:gd name="connsiteY117" fmla="*/ 1222 h 10000"/>
              <a:gd name="connsiteX118" fmla="*/ 7127 w 9837"/>
              <a:gd name="connsiteY118" fmla="*/ 1876 h 10000"/>
              <a:gd name="connsiteX119" fmla="*/ 4865 w 9837"/>
              <a:gd name="connsiteY119" fmla="*/ 0 h 10000"/>
              <a:gd name="connsiteX0" fmla="*/ 4946 w 10000"/>
              <a:gd name="connsiteY0" fmla="*/ 0 h 10000"/>
              <a:gd name="connsiteX1" fmla="*/ 4946 w 10000"/>
              <a:gd name="connsiteY1" fmla="*/ 0 h 10000"/>
              <a:gd name="connsiteX2" fmla="*/ 4936 w 10000"/>
              <a:gd name="connsiteY2" fmla="*/ 99 h 10000"/>
              <a:gd name="connsiteX3" fmla="*/ 4918 w 10000"/>
              <a:gd name="connsiteY3" fmla="*/ 201 h 10000"/>
              <a:gd name="connsiteX4" fmla="*/ 4905 w 10000"/>
              <a:gd name="connsiteY4" fmla="*/ 300 h 10000"/>
              <a:gd name="connsiteX5" fmla="*/ 4887 w 10000"/>
              <a:gd name="connsiteY5" fmla="*/ 394 h 10000"/>
              <a:gd name="connsiteX6" fmla="*/ 4866 w 10000"/>
              <a:gd name="connsiteY6" fmla="*/ 491 h 10000"/>
              <a:gd name="connsiteX7" fmla="*/ 4844 w 10000"/>
              <a:gd name="connsiteY7" fmla="*/ 587 h 10000"/>
              <a:gd name="connsiteX8" fmla="*/ 4823 w 10000"/>
              <a:gd name="connsiteY8" fmla="*/ 684 h 10000"/>
              <a:gd name="connsiteX9" fmla="*/ 4798 w 10000"/>
              <a:gd name="connsiteY9" fmla="*/ 778 h 10000"/>
              <a:gd name="connsiteX10" fmla="*/ 4772 w 10000"/>
              <a:gd name="connsiteY10" fmla="*/ 870 h 10000"/>
              <a:gd name="connsiteX11" fmla="*/ 4741 w 10000"/>
              <a:gd name="connsiteY11" fmla="*/ 961 h 10000"/>
              <a:gd name="connsiteX12" fmla="*/ 4716 w 10000"/>
              <a:gd name="connsiteY12" fmla="*/ 1053 h 10000"/>
              <a:gd name="connsiteX13" fmla="*/ 4683 w 10000"/>
              <a:gd name="connsiteY13" fmla="*/ 1145 h 10000"/>
              <a:gd name="connsiteX14" fmla="*/ 4648 w 10000"/>
              <a:gd name="connsiteY14" fmla="*/ 1231 h 10000"/>
              <a:gd name="connsiteX15" fmla="*/ 4614 w 10000"/>
              <a:gd name="connsiteY15" fmla="*/ 1318 h 10000"/>
              <a:gd name="connsiteX16" fmla="*/ 4580 w 10000"/>
              <a:gd name="connsiteY16" fmla="*/ 1405 h 10000"/>
              <a:gd name="connsiteX17" fmla="*/ 4541 w 10000"/>
              <a:gd name="connsiteY17" fmla="*/ 1494 h 10000"/>
              <a:gd name="connsiteX18" fmla="*/ 4503 w 10000"/>
              <a:gd name="connsiteY18" fmla="*/ 1578 h 10000"/>
              <a:gd name="connsiteX19" fmla="*/ 4463 w 10000"/>
              <a:gd name="connsiteY19" fmla="*/ 1663 h 10000"/>
              <a:gd name="connsiteX20" fmla="*/ 4420 w 10000"/>
              <a:gd name="connsiteY20" fmla="*/ 1742 h 10000"/>
              <a:gd name="connsiteX21" fmla="*/ 4375 w 10000"/>
              <a:gd name="connsiteY21" fmla="*/ 1824 h 10000"/>
              <a:gd name="connsiteX22" fmla="*/ 4332 w 10000"/>
              <a:gd name="connsiteY22" fmla="*/ 1903 h 10000"/>
              <a:gd name="connsiteX23" fmla="*/ 4286 w 10000"/>
              <a:gd name="connsiteY23" fmla="*/ 1985 h 10000"/>
              <a:gd name="connsiteX24" fmla="*/ 4238 w 10000"/>
              <a:gd name="connsiteY24" fmla="*/ 2059 h 10000"/>
              <a:gd name="connsiteX25" fmla="*/ 4188 w 10000"/>
              <a:gd name="connsiteY25" fmla="*/ 2133 h 10000"/>
              <a:gd name="connsiteX26" fmla="*/ 4137 w 10000"/>
              <a:gd name="connsiteY26" fmla="*/ 2210 h 10000"/>
              <a:gd name="connsiteX27" fmla="*/ 4086 w 10000"/>
              <a:gd name="connsiteY27" fmla="*/ 2282 h 10000"/>
              <a:gd name="connsiteX28" fmla="*/ 4032 w 10000"/>
              <a:gd name="connsiteY28" fmla="*/ 2354 h 10000"/>
              <a:gd name="connsiteX29" fmla="*/ 3978 w 10000"/>
              <a:gd name="connsiteY29" fmla="*/ 2426 h 10000"/>
              <a:gd name="connsiteX30" fmla="*/ 3924 w 10000"/>
              <a:gd name="connsiteY30" fmla="*/ 2495 h 10000"/>
              <a:gd name="connsiteX31" fmla="*/ 3865 w 10000"/>
              <a:gd name="connsiteY31" fmla="*/ 2562 h 10000"/>
              <a:gd name="connsiteX32" fmla="*/ 3809 w 10000"/>
              <a:gd name="connsiteY32" fmla="*/ 2626 h 10000"/>
              <a:gd name="connsiteX33" fmla="*/ 3748 w 10000"/>
              <a:gd name="connsiteY33" fmla="*/ 2691 h 10000"/>
              <a:gd name="connsiteX34" fmla="*/ 3690 w 10000"/>
              <a:gd name="connsiteY34" fmla="*/ 2753 h 10000"/>
              <a:gd name="connsiteX35" fmla="*/ 3625 w 10000"/>
              <a:gd name="connsiteY35" fmla="*/ 2817 h 10000"/>
              <a:gd name="connsiteX36" fmla="*/ 3564 w 10000"/>
              <a:gd name="connsiteY36" fmla="*/ 2874 h 10000"/>
              <a:gd name="connsiteX37" fmla="*/ 3500 w 10000"/>
              <a:gd name="connsiteY37" fmla="*/ 2934 h 10000"/>
              <a:gd name="connsiteX38" fmla="*/ 3435 w 10000"/>
              <a:gd name="connsiteY38" fmla="*/ 2989 h 10000"/>
              <a:gd name="connsiteX39" fmla="*/ 3369 w 10000"/>
              <a:gd name="connsiteY39" fmla="*/ 3043 h 10000"/>
              <a:gd name="connsiteX40" fmla="*/ 3302 w 10000"/>
              <a:gd name="connsiteY40" fmla="*/ 3097 h 10000"/>
              <a:gd name="connsiteX41" fmla="*/ 3235 w 10000"/>
              <a:gd name="connsiteY41" fmla="*/ 3149 h 10000"/>
              <a:gd name="connsiteX42" fmla="*/ 3166 w 10000"/>
              <a:gd name="connsiteY42" fmla="*/ 3196 h 10000"/>
              <a:gd name="connsiteX43" fmla="*/ 3095 w 10000"/>
              <a:gd name="connsiteY43" fmla="*/ 3243 h 10000"/>
              <a:gd name="connsiteX44" fmla="*/ 3224 w 10000"/>
              <a:gd name="connsiteY44" fmla="*/ 6577 h 10000"/>
              <a:gd name="connsiteX45" fmla="*/ 0 w 10000"/>
              <a:gd name="connsiteY45" fmla="*/ 9874 h 10000"/>
              <a:gd name="connsiteX46" fmla="*/ 32 w 10000"/>
              <a:gd name="connsiteY46" fmla="*/ 9868 h 10000"/>
              <a:gd name="connsiteX47" fmla="*/ 167 w 10000"/>
              <a:gd name="connsiteY47" fmla="*/ 9903 h 10000"/>
              <a:gd name="connsiteX48" fmla="*/ 332 w 10000"/>
              <a:gd name="connsiteY48" fmla="*/ 9927 h 10000"/>
              <a:gd name="connsiteX49" fmla="*/ 500 w 10000"/>
              <a:gd name="connsiteY49" fmla="*/ 9949 h 10000"/>
              <a:gd name="connsiteX50" fmla="*/ 668 w 10000"/>
              <a:gd name="connsiteY50" fmla="*/ 9965 h 10000"/>
              <a:gd name="connsiteX51" fmla="*/ 837 w 10000"/>
              <a:gd name="connsiteY51" fmla="*/ 9980 h 10000"/>
              <a:gd name="connsiteX52" fmla="*/ 1010 w 10000"/>
              <a:gd name="connsiteY52" fmla="*/ 9990 h 10000"/>
              <a:gd name="connsiteX53" fmla="*/ 1181 w 10000"/>
              <a:gd name="connsiteY53" fmla="*/ 9995 h 10000"/>
              <a:gd name="connsiteX54" fmla="*/ 1351 w 10000"/>
              <a:gd name="connsiteY54" fmla="*/ 10000 h 10000"/>
              <a:gd name="connsiteX55" fmla="*/ 1557 w 10000"/>
              <a:gd name="connsiteY55" fmla="*/ 9995 h 10000"/>
              <a:gd name="connsiteX56" fmla="*/ 1758 w 10000"/>
              <a:gd name="connsiteY56" fmla="*/ 9988 h 10000"/>
              <a:gd name="connsiteX57" fmla="*/ 1959 w 10000"/>
              <a:gd name="connsiteY57" fmla="*/ 9975 h 10000"/>
              <a:gd name="connsiteX58" fmla="*/ 2154 w 10000"/>
              <a:gd name="connsiteY58" fmla="*/ 9954 h 10000"/>
              <a:gd name="connsiteX59" fmla="*/ 2354 w 10000"/>
              <a:gd name="connsiteY59" fmla="*/ 9932 h 10000"/>
              <a:gd name="connsiteX60" fmla="*/ 2551 w 10000"/>
              <a:gd name="connsiteY60" fmla="*/ 9898 h 10000"/>
              <a:gd name="connsiteX61" fmla="*/ 2746 w 10000"/>
              <a:gd name="connsiteY61" fmla="*/ 9866 h 10000"/>
              <a:gd name="connsiteX62" fmla="*/ 2941 w 10000"/>
              <a:gd name="connsiteY62" fmla="*/ 9824 h 10000"/>
              <a:gd name="connsiteX63" fmla="*/ 3131 w 10000"/>
              <a:gd name="connsiteY63" fmla="*/ 9779 h 10000"/>
              <a:gd name="connsiteX64" fmla="*/ 3326 w 10000"/>
              <a:gd name="connsiteY64" fmla="*/ 9731 h 10000"/>
              <a:gd name="connsiteX65" fmla="*/ 3511 w 10000"/>
              <a:gd name="connsiteY65" fmla="*/ 9673 h 10000"/>
              <a:gd name="connsiteX66" fmla="*/ 3701 w 10000"/>
              <a:gd name="connsiteY66" fmla="*/ 9616 h 10000"/>
              <a:gd name="connsiteX67" fmla="*/ 3887 w 10000"/>
              <a:gd name="connsiteY67" fmla="*/ 9553 h 10000"/>
              <a:gd name="connsiteX68" fmla="*/ 4071 w 10000"/>
              <a:gd name="connsiteY68" fmla="*/ 9482 h 10000"/>
              <a:gd name="connsiteX69" fmla="*/ 4251 w 10000"/>
              <a:gd name="connsiteY69" fmla="*/ 9405 h 10000"/>
              <a:gd name="connsiteX70" fmla="*/ 4431 w 10000"/>
              <a:gd name="connsiteY70" fmla="*/ 9330 h 10000"/>
              <a:gd name="connsiteX71" fmla="*/ 4612 w 10000"/>
              <a:gd name="connsiteY71" fmla="*/ 9244 h 10000"/>
              <a:gd name="connsiteX72" fmla="*/ 4790 w 10000"/>
              <a:gd name="connsiteY72" fmla="*/ 9159 h 10000"/>
              <a:gd name="connsiteX73" fmla="*/ 4963 w 10000"/>
              <a:gd name="connsiteY73" fmla="*/ 9063 h 10000"/>
              <a:gd name="connsiteX74" fmla="*/ 5136 w 10000"/>
              <a:gd name="connsiteY74" fmla="*/ 8968 h 10000"/>
              <a:gd name="connsiteX75" fmla="*/ 5309 w 10000"/>
              <a:gd name="connsiteY75" fmla="*/ 8865 h 10000"/>
              <a:gd name="connsiteX76" fmla="*/ 5476 w 10000"/>
              <a:gd name="connsiteY76" fmla="*/ 8760 h 10000"/>
              <a:gd name="connsiteX77" fmla="*/ 5643 w 10000"/>
              <a:gd name="connsiteY77" fmla="*/ 8652 h 10000"/>
              <a:gd name="connsiteX78" fmla="*/ 5810 w 10000"/>
              <a:gd name="connsiteY78" fmla="*/ 8536 h 10000"/>
              <a:gd name="connsiteX79" fmla="*/ 5971 w 10000"/>
              <a:gd name="connsiteY79" fmla="*/ 8417 h 10000"/>
              <a:gd name="connsiteX80" fmla="*/ 6130 w 10000"/>
              <a:gd name="connsiteY80" fmla="*/ 8295 h 10000"/>
              <a:gd name="connsiteX81" fmla="*/ 6289 w 10000"/>
              <a:gd name="connsiteY81" fmla="*/ 8169 h 10000"/>
              <a:gd name="connsiteX82" fmla="*/ 6441 w 10000"/>
              <a:gd name="connsiteY82" fmla="*/ 8040 h 10000"/>
              <a:gd name="connsiteX83" fmla="*/ 6593 w 10000"/>
              <a:gd name="connsiteY83" fmla="*/ 7904 h 10000"/>
              <a:gd name="connsiteX84" fmla="*/ 6743 w 10000"/>
              <a:gd name="connsiteY84" fmla="*/ 7768 h 10000"/>
              <a:gd name="connsiteX85" fmla="*/ 6891 w 10000"/>
              <a:gd name="connsiteY85" fmla="*/ 7625 h 10000"/>
              <a:gd name="connsiteX86" fmla="*/ 7036 w 10000"/>
              <a:gd name="connsiteY86" fmla="*/ 7480 h 10000"/>
              <a:gd name="connsiteX87" fmla="*/ 7178 w 10000"/>
              <a:gd name="connsiteY87" fmla="*/ 7329 h 10000"/>
              <a:gd name="connsiteX88" fmla="*/ 7318 w 10000"/>
              <a:gd name="connsiteY88" fmla="*/ 7178 h 10000"/>
              <a:gd name="connsiteX89" fmla="*/ 7453 w 10000"/>
              <a:gd name="connsiteY89" fmla="*/ 7025 h 10000"/>
              <a:gd name="connsiteX90" fmla="*/ 7589 w 10000"/>
              <a:gd name="connsiteY90" fmla="*/ 6862 h 10000"/>
              <a:gd name="connsiteX91" fmla="*/ 7720 w 10000"/>
              <a:gd name="connsiteY91" fmla="*/ 6697 h 10000"/>
              <a:gd name="connsiteX92" fmla="*/ 7848 w 10000"/>
              <a:gd name="connsiteY92" fmla="*/ 6534 h 10000"/>
              <a:gd name="connsiteX93" fmla="*/ 7972 w 10000"/>
              <a:gd name="connsiteY93" fmla="*/ 6365 h 10000"/>
              <a:gd name="connsiteX94" fmla="*/ 8094 w 10000"/>
              <a:gd name="connsiteY94" fmla="*/ 6189 h 10000"/>
              <a:gd name="connsiteX95" fmla="*/ 8214 w 10000"/>
              <a:gd name="connsiteY95" fmla="*/ 6016 h 10000"/>
              <a:gd name="connsiteX96" fmla="*/ 8331 w 10000"/>
              <a:gd name="connsiteY96" fmla="*/ 5835 h 10000"/>
              <a:gd name="connsiteX97" fmla="*/ 8445 w 10000"/>
              <a:gd name="connsiteY97" fmla="*/ 5652 h 10000"/>
              <a:gd name="connsiteX98" fmla="*/ 8553 w 10000"/>
              <a:gd name="connsiteY98" fmla="*/ 5468 h 10000"/>
              <a:gd name="connsiteX99" fmla="*/ 8658 w 10000"/>
              <a:gd name="connsiteY99" fmla="*/ 5278 h 10000"/>
              <a:gd name="connsiteX100" fmla="*/ 8763 w 10000"/>
              <a:gd name="connsiteY100" fmla="*/ 5089 h 10000"/>
              <a:gd name="connsiteX101" fmla="*/ 8863 w 10000"/>
              <a:gd name="connsiteY101" fmla="*/ 4893 h 10000"/>
              <a:gd name="connsiteX102" fmla="*/ 8960 w 10000"/>
              <a:gd name="connsiteY102" fmla="*/ 4698 h 10000"/>
              <a:gd name="connsiteX103" fmla="*/ 9054 w 10000"/>
              <a:gd name="connsiteY103" fmla="*/ 4500 h 10000"/>
              <a:gd name="connsiteX104" fmla="*/ 9141 w 10000"/>
              <a:gd name="connsiteY104" fmla="*/ 4294 h 10000"/>
              <a:gd name="connsiteX105" fmla="*/ 9226 w 10000"/>
              <a:gd name="connsiteY105" fmla="*/ 4091 h 10000"/>
              <a:gd name="connsiteX106" fmla="*/ 9310 w 10000"/>
              <a:gd name="connsiteY106" fmla="*/ 3885 h 10000"/>
              <a:gd name="connsiteX107" fmla="*/ 9390 w 10000"/>
              <a:gd name="connsiteY107" fmla="*/ 3674 h 10000"/>
              <a:gd name="connsiteX108" fmla="*/ 9464 w 10000"/>
              <a:gd name="connsiteY108" fmla="*/ 3464 h 10000"/>
              <a:gd name="connsiteX109" fmla="*/ 9537 w 10000"/>
              <a:gd name="connsiteY109" fmla="*/ 3248 h 10000"/>
              <a:gd name="connsiteX110" fmla="*/ 9604 w 10000"/>
              <a:gd name="connsiteY110" fmla="*/ 3030 h 10000"/>
              <a:gd name="connsiteX111" fmla="*/ 9667 w 10000"/>
              <a:gd name="connsiteY111" fmla="*/ 2815 h 10000"/>
              <a:gd name="connsiteX112" fmla="*/ 9728 w 10000"/>
              <a:gd name="connsiteY112" fmla="*/ 2592 h 10000"/>
              <a:gd name="connsiteX113" fmla="*/ 9783 w 10000"/>
              <a:gd name="connsiteY113" fmla="*/ 2369 h 10000"/>
              <a:gd name="connsiteX114" fmla="*/ 9835 w 10000"/>
              <a:gd name="connsiteY114" fmla="*/ 2143 h 10000"/>
              <a:gd name="connsiteX115" fmla="*/ 9883 w 10000"/>
              <a:gd name="connsiteY115" fmla="*/ 1918 h 10000"/>
              <a:gd name="connsiteX116" fmla="*/ 9926 w 10000"/>
              <a:gd name="connsiteY116" fmla="*/ 1690 h 10000"/>
              <a:gd name="connsiteX117" fmla="*/ 9966 w 10000"/>
              <a:gd name="connsiteY117" fmla="*/ 1457 h 10000"/>
              <a:gd name="connsiteX118" fmla="*/ 10000 w 10000"/>
              <a:gd name="connsiteY118" fmla="*/ 1222 h 10000"/>
              <a:gd name="connsiteX119" fmla="*/ 7245 w 10000"/>
              <a:gd name="connsiteY119" fmla="*/ 1876 h 10000"/>
              <a:gd name="connsiteX120" fmla="*/ 4946 w 10000"/>
              <a:gd name="connsiteY120" fmla="*/ 0 h 10000"/>
              <a:gd name="connsiteX0" fmla="*/ 4946 w 10000"/>
              <a:gd name="connsiteY0" fmla="*/ 0 h 10000"/>
              <a:gd name="connsiteX1" fmla="*/ 4946 w 10000"/>
              <a:gd name="connsiteY1" fmla="*/ 0 h 10000"/>
              <a:gd name="connsiteX2" fmla="*/ 4936 w 10000"/>
              <a:gd name="connsiteY2" fmla="*/ 99 h 10000"/>
              <a:gd name="connsiteX3" fmla="*/ 4918 w 10000"/>
              <a:gd name="connsiteY3" fmla="*/ 201 h 10000"/>
              <a:gd name="connsiteX4" fmla="*/ 4905 w 10000"/>
              <a:gd name="connsiteY4" fmla="*/ 300 h 10000"/>
              <a:gd name="connsiteX5" fmla="*/ 4887 w 10000"/>
              <a:gd name="connsiteY5" fmla="*/ 394 h 10000"/>
              <a:gd name="connsiteX6" fmla="*/ 4866 w 10000"/>
              <a:gd name="connsiteY6" fmla="*/ 491 h 10000"/>
              <a:gd name="connsiteX7" fmla="*/ 4844 w 10000"/>
              <a:gd name="connsiteY7" fmla="*/ 587 h 10000"/>
              <a:gd name="connsiteX8" fmla="*/ 4823 w 10000"/>
              <a:gd name="connsiteY8" fmla="*/ 684 h 10000"/>
              <a:gd name="connsiteX9" fmla="*/ 4798 w 10000"/>
              <a:gd name="connsiteY9" fmla="*/ 778 h 10000"/>
              <a:gd name="connsiteX10" fmla="*/ 4772 w 10000"/>
              <a:gd name="connsiteY10" fmla="*/ 870 h 10000"/>
              <a:gd name="connsiteX11" fmla="*/ 4741 w 10000"/>
              <a:gd name="connsiteY11" fmla="*/ 961 h 10000"/>
              <a:gd name="connsiteX12" fmla="*/ 4716 w 10000"/>
              <a:gd name="connsiteY12" fmla="*/ 1053 h 10000"/>
              <a:gd name="connsiteX13" fmla="*/ 4683 w 10000"/>
              <a:gd name="connsiteY13" fmla="*/ 1145 h 10000"/>
              <a:gd name="connsiteX14" fmla="*/ 4648 w 10000"/>
              <a:gd name="connsiteY14" fmla="*/ 1231 h 10000"/>
              <a:gd name="connsiteX15" fmla="*/ 4614 w 10000"/>
              <a:gd name="connsiteY15" fmla="*/ 1318 h 10000"/>
              <a:gd name="connsiteX16" fmla="*/ 4580 w 10000"/>
              <a:gd name="connsiteY16" fmla="*/ 1405 h 10000"/>
              <a:gd name="connsiteX17" fmla="*/ 4541 w 10000"/>
              <a:gd name="connsiteY17" fmla="*/ 1494 h 10000"/>
              <a:gd name="connsiteX18" fmla="*/ 4503 w 10000"/>
              <a:gd name="connsiteY18" fmla="*/ 1578 h 10000"/>
              <a:gd name="connsiteX19" fmla="*/ 4463 w 10000"/>
              <a:gd name="connsiteY19" fmla="*/ 1663 h 10000"/>
              <a:gd name="connsiteX20" fmla="*/ 4420 w 10000"/>
              <a:gd name="connsiteY20" fmla="*/ 1742 h 10000"/>
              <a:gd name="connsiteX21" fmla="*/ 4375 w 10000"/>
              <a:gd name="connsiteY21" fmla="*/ 1824 h 10000"/>
              <a:gd name="connsiteX22" fmla="*/ 4332 w 10000"/>
              <a:gd name="connsiteY22" fmla="*/ 1903 h 10000"/>
              <a:gd name="connsiteX23" fmla="*/ 4286 w 10000"/>
              <a:gd name="connsiteY23" fmla="*/ 1985 h 10000"/>
              <a:gd name="connsiteX24" fmla="*/ 4238 w 10000"/>
              <a:gd name="connsiteY24" fmla="*/ 2059 h 10000"/>
              <a:gd name="connsiteX25" fmla="*/ 4188 w 10000"/>
              <a:gd name="connsiteY25" fmla="*/ 2133 h 10000"/>
              <a:gd name="connsiteX26" fmla="*/ 4137 w 10000"/>
              <a:gd name="connsiteY26" fmla="*/ 2210 h 10000"/>
              <a:gd name="connsiteX27" fmla="*/ 4086 w 10000"/>
              <a:gd name="connsiteY27" fmla="*/ 2282 h 10000"/>
              <a:gd name="connsiteX28" fmla="*/ 4032 w 10000"/>
              <a:gd name="connsiteY28" fmla="*/ 2354 h 10000"/>
              <a:gd name="connsiteX29" fmla="*/ 3978 w 10000"/>
              <a:gd name="connsiteY29" fmla="*/ 2426 h 10000"/>
              <a:gd name="connsiteX30" fmla="*/ 3924 w 10000"/>
              <a:gd name="connsiteY30" fmla="*/ 2495 h 10000"/>
              <a:gd name="connsiteX31" fmla="*/ 3865 w 10000"/>
              <a:gd name="connsiteY31" fmla="*/ 2562 h 10000"/>
              <a:gd name="connsiteX32" fmla="*/ 3809 w 10000"/>
              <a:gd name="connsiteY32" fmla="*/ 2626 h 10000"/>
              <a:gd name="connsiteX33" fmla="*/ 3748 w 10000"/>
              <a:gd name="connsiteY33" fmla="*/ 2691 h 10000"/>
              <a:gd name="connsiteX34" fmla="*/ 3690 w 10000"/>
              <a:gd name="connsiteY34" fmla="*/ 2753 h 10000"/>
              <a:gd name="connsiteX35" fmla="*/ 3625 w 10000"/>
              <a:gd name="connsiteY35" fmla="*/ 2817 h 10000"/>
              <a:gd name="connsiteX36" fmla="*/ 3564 w 10000"/>
              <a:gd name="connsiteY36" fmla="*/ 2874 h 10000"/>
              <a:gd name="connsiteX37" fmla="*/ 3500 w 10000"/>
              <a:gd name="connsiteY37" fmla="*/ 2934 h 10000"/>
              <a:gd name="connsiteX38" fmla="*/ 3435 w 10000"/>
              <a:gd name="connsiteY38" fmla="*/ 2989 h 10000"/>
              <a:gd name="connsiteX39" fmla="*/ 3369 w 10000"/>
              <a:gd name="connsiteY39" fmla="*/ 3043 h 10000"/>
              <a:gd name="connsiteX40" fmla="*/ 3302 w 10000"/>
              <a:gd name="connsiteY40" fmla="*/ 3097 h 10000"/>
              <a:gd name="connsiteX41" fmla="*/ 3235 w 10000"/>
              <a:gd name="connsiteY41" fmla="*/ 3149 h 10000"/>
              <a:gd name="connsiteX42" fmla="*/ 3166 w 10000"/>
              <a:gd name="connsiteY42" fmla="*/ 3196 h 10000"/>
              <a:gd name="connsiteX43" fmla="*/ 3095 w 10000"/>
              <a:gd name="connsiteY43" fmla="*/ 3243 h 10000"/>
              <a:gd name="connsiteX44" fmla="*/ 3224 w 10000"/>
              <a:gd name="connsiteY44" fmla="*/ 6577 h 10000"/>
              <a:gd name="connsiteX45" fmla="*/ 0 w 10000"/>
              <a:gd name="connsiteY45" fmla="*/ 9874 h 10000"/>
              <a:gd name="connsiteX46" fmla="*/ 167 w 10000"/>
              <a:gd name="connsiteY46" fmla="*/ 9903 h 10000"/>
              <a:gd name="connsiteX47" fmla="*/ 332 w 10000"/>
              <a:gd name="connsiteY47" fmla="*/ 9927 h 10000"/>
              <a:gd name="connsiteX48" fmla="*/ 500 w 10000"/>
              <a:gd name="connsiteY48" fmla="*/ 9949 h 10000"/>
              <a:gd name="connsiteX49" fmla="*/ 668 w 10000"/>
              <a:gd name="connsiteY49" fmla="*/ 9965 h 10000"/>
              <a:gd name="connsiteX50" fmla="*/ 837 w 10000"/>
              <a:gd name="connsiteY50" fmla="*/ 9980 h 10000"/>
              <a:gd name="connsiteX51" fmla="*/ 1010 w 10000"/>
              <a:gd name="connsiteY51" fmla="*/ 9990 h 10000"/>
              <a:gd name="connsiteX52" fmla="*/ 1181 w 10000"/>
              <a:gd name="connsiteY52" fmla="*/ 9995 h 10000"/>
              <a:gd name="connsiteX53" fmla="*/ 1351 w 10000"/>
              <a:gd name="connsiteY53" fmla="*/ 10000 h 10000"/>
              <a:gd name="connsiteX54" fmla="*/ 1557 w 10000"/>
              <a:gd name="connsiteY54" fmla="*/ 9995 h 10000"/>
              <a:gd name="connsiteX55" fmla="*/ 1758 w 10000"/>
              <a:gd name="connsiteY55" fmla="*/ 9988 h 10000"/>
              <a:gd name="connsiteX56" fmla="*/ 1959 w 10000"/>
              <a:gd name="connsiteY56" fmla="*/ 9975 h 10000"/>
              <a:gd name="connsiteX57" fmla="*/ 2154 w 10000"/>
              <a:gd name="connsiteY57" fmla="*/ 9954 h 10000"/>
              <a:gd name="connsiteX58" fmla="*/ 2354 w 10000"/>
              <a:gd name="connsiteY58" fmla="*/ 9932 h 10000"/>
              <a:gd name="connsiteX59" fmla="*/ 2551 w 10000"/>
              <a:gd name="connsiteY59" fmla="*/ 9898 h 10000"/>
              <a:gd name="connsiteX60" fmla="*/ 2746 w 10000"/>
              <a:gd name="connsiteY60" fmla="*/ 9866 h 10000"/>
              <a:gd name="connsiteX61" fmla="*/ 2941 w 10000"/>
              <a:gd name="connsiteY61" fmla="*/ 9824 h 10000"/>
              <a:gd name="connsiteX62" fmla="*/ 3131 w 10000"/>
              <a:gd name="connsiteY62" fmla="*/ 9779 h 10000"/>
              <a:gd name="connsiteX63" fmla="*/ 3326 w 10000"/>
              <a:gd name="connsiteY63" fmla="*/ 9731 h 10000"/>
              <a:gd name="connsiteX64" fmla="*/ 3511 w 10000"/>
              <a:gd name="connsiteY64" fmla="*/ 9673 h 10000"/>
              <a:gd name="connsiteX65" fmla="*/ 3701 w 10000"/>
              <a:gd name="connsiteY65" fmla="*/ 9616 h 10000"/>
              <a:gd name="connsiteX66" fmla="*/ 3887 w 10000"/>
              <a:gd name="connsiteY66" fmla="*/ 9553 h 10000"/>
              <a:gd name="connsiteX67" fmla="*/ 4071 w 10000"/>
              <a:gd name="connsiteY67" fmla="*/ 9482 h 10000"/>
              <a:gd name="connsiteX68" fmla="*/ 4251 w 10000"/>
              <a:gd name="connsiteY68" fmla="*/ 9405 h 10000"/>
              <a:gd name="connsiteX69" fmla="*/ 4431 w 10000"/>
              <a:gd name="connsiteY69" fmla="*/ 9330 h 10000"/>
              <a:gd name="connsiteX70" fmla="*/ 4612 w 10000"/>
              <a:gd name="connsiteY70" fmla="*/ 9244 h 10000"/>
              <a:gd name="connsiteX71" fmla="*/ 4790 w 10000"/>
              <a:gd name="connsiteY71" fmla="*/ 9159 h 10000"/>
              <a:gd name="connsiteX72" fmla="*/ 4963 w 10000"/>
              <a:gd name="connsiteY72" fmla="*/ 9063 h 10000"/>
              <a:gd name="connsiteX73" fmla="*/ 5136 w 10000"/>
              <a:gd name="connsiteY73" fmla="*/ 8968 h 10000"/>
              <a:gd name="connsiteX74" fmla="*/ 5309 w 10000"/>
              <a:gd name="connsiteY74" fmla="*/ 8865 h 10000"/>
              <a:gd name="connsiteX75" fmla="*/ 5476 w 10000"/>
              <a:gd name="connsiteY75" fmla="*/ 8760 h 10000"/>
              <a:gd name="connsiteX76" fmla="*/ 5643 w 10000"/>
              <a:gd name="connsiteY76" fmla="*/ 8652 h 10000"/>
              <a:gd name="connsiteX77" fmla="*/ 5810 w 10000"/>
              <a:gd name="connsiteY77" fmla="*/ 8536 h 10000"/>
              <a:gd name="connsiteX78" fmla="*/ 5971 w 10000"/>
              <a:gd name="connsiteY78" fmla="*/ 8417 h 10000"/>
              <a:gd name="connsiteX79" fmla="*/ 6130 w 10000"/>
              <a:gd name="connsiteY79" fmla="*/ 8295 h 10000"/>
              <a:gd name="connsiteX80" fmla="*/ 6289 w 10000"/>
              <a:gd name="connsiteY80" fmla="*/ 8169 h 10000"/>
              <a:gd name="connsiteX81" fmla="*/ 6441 w 10000"/>
              <a:gd name="connsiteY81" fmla="*/ 8040 h 10000"/>
              <a:gd name="connsiteX82" fmla="*/ 6593 w 10000"/>
              <a:gd name="connsiteY82" fmla="*/ 7904 h 10000"/>
              <a:gd name="connsiteX83" fmla="*/ 6743 w 10000"/>
              <a:gd name="connsiteY83" fmla="*/ 7768 h 10000"/>
              <a:gd name="connsiteX84" fmla="*/ 6891 w 10000"/>
              <a:gd name="connsiteY84" fmla="*/ 7625 h 10000"/>
              <a:gd name="connsiteX85" fmla="*/ 7036 w 10000"/>
              <a:gd name="connsiteY85" fmla="*/ 7480 h 10000"/>
              <a:gd name="connsiteX86" fmla="*/ 7178 w 10000"/>
              <a:gd name="connsiteY86" fmla="*/ 7329 h 10000"/>
              <a:gd name="connsiteX87" fmla="*/ 7318 w 10000"/>
              <a:gd name="connsiteY87" fmla="*/ 7178 h 10000"/>
              <a:gd name="connsiteX88" fmla="*/ 7453 w 10000"/>
              <a:gd name="connsiteY88" fmla="*/ 7025 h 10000"/>
              <a:gd name="connsiteX89" fmla="*/ 7589 w 10000"/>
              <a:gd name="connsiteY89" fmla="*/ 6862 h 10000"/>
              <a:gd name="connsiteX90" fmla="*/ 7720 w 10000"/>
              <a:gd name="connsiteY90" fmla="*/ 6697 h 10000"/>
              <a:gd name="connsiteX91" fmla="*/ 7848 w 10000"/>
              <a:gd name="connsiteY91" fmla="*/ 6534 h 10000"/>
              <a:gd name="connsiteX92" fmla="*/ 7972 w 10000"/>
              <a:gd name="connsiteY92" fmla="*/ 6365 h 10000"/>
              <a:gd name="connsiteX93" fmla="*/ 8094 w 10000"/>
              <a:gd name="connsiteY93" fmla="*/ 6189 h 10000"/>
              <a:gd name="connsiteX94" fmla="*/ 8214 w 10000"/>
              <a:gd name="connsiteY94" fmla="*/ 6016 h 10000"/>
              <a:gd name="connsiteX95" fmla="*/ 8331 w 10000"/>
              <a:gd name="connsiteY95" fmla="*/ 5835 h 10000"/>
              <a:gd name="connsiteX96" fmla="*/ 8445 w 10000"/>
              <a:gd name="connsiteY96" fmla="*/ 5652 h 10000"/>
              <a:gd name="connsiteX97" fmla="*/ 8553 w 10000"/>
              <a:gd name="connsiteY97" fmla="*/ 5468 h 10000"/>
              <a:gd name="connsiteX98" fmla="*/ 8658 w 10000"/>
              <a:gd name="connsiteY98" fmla="*/ 5278 h 10000"/>
              <a:gd name="connsiteX99" fmla="*/ 8763 w 10000"/>
              <a:gd name="connsiteY99" fmla="*/ 5089 h 10000"/>
              <a:gd name="connsiteX100" fmla="*/ 8863 w 10000"/>
              <a:gd name="connsiteY100" fmla="*/ 4893 h 10000"/>
              <a:gd name="connsiteX101" fmla="*/ 8960 w 10000"/>
              <a:gd name="connsiteY101" fmla="*/ 4698 h 10000"/>
              <a:gd name="connsiteX102" fmla="*/ 9054 w 10000"/>
              <a:gd name="connsiteY102" fmla="*/ 4500 h 10000"/>
              <a:gd name="connsiteX103" fmla="*/ 9141 w 10000"/>
              <a:gd name="connsiteY103" fmla="*/ 4294 h 10000"/>
              <a:gd name="connsiteX104" fmla="*/ 9226 w 10000"/>
              <a:gd name="connsiteY104" fmla="*/ 4091 h 10000"/>
              <a:gd name="connsiteX105" fmla="*/ 9310 w 10000"/>
              <a:gd name="connsiteY105" fmla="*/ 3885 h 10000"/>
              <a:gd name="connsiteX106" fmla="*/ 9390 w 10000"/>
              <a:gd name="connsiteY106" fmla="*/ 3674 h 10000"/>
              <a:gd name="connsiteX107" fmla="*/ 9464 w 10000"/>
              <a:gd name="connsiteY107" fmla="*/ 3464 h 10000"/>
              <a:gd name="connsiteX108" fmla="*/ 9537 w 10000"/>
              <a:gd name="connsiteY108" fmla="*/ 3248 h 10000"/>
              <a:gd name="connsiteX109" fmla="*/ 9604 w 10000"/>
              <a:gd name="connsiteY109" fmla="*/ 3030 h 10000"/>
              <a:gd name="connsiteX110" fmla="*/ 9667 w 10000"/>
              <a:gd name="connsiteY110" fmla="*/ 2815 h 10000"/>
              <a:gd name="connsiteX111" fmla="*/ 9728 w 10000"/>
              <a:gd name="connsiteY111" fmla="*/ 2592 h 10000"/>
              <a:gd name="connsiteX112" fmla="*/ 9783 w 10000"/>
              <a:gd name="connsiteY112" fmla="*/ 2369 h 10000"/>
              <a:gd name="connsiteX113" fmla="*/ 9835 w 10000"/>
              <a:gd name="connsiteY113" fmla="*/ 2143 h 10000"/>
              <a:gd name="connsiteX114" fmla="*/ 9883 w 10000"/>
              <a:gd name="connsiteY114" fmla="*/ 1918 h 10000"/>
              <a:gd name="connsiteX115" fmla="*/ 9926 w 10000"/>
              <a:gd name="connsiteY115" fmla="*/ 1690 h 10000"/>
              <a:gd name="connsiteX116" fmla="*/ 9966 w 10000"/>
              <a:gd name="connsiteY116" fmla="*/ 1457 h 10000"/>
              <a:gd name="connsiteX117" fmla="*/ 10000 w 10000"/>
              <a:gd name="connsiteY117" fmla="*/ 1222 h 10000"/>
              <a:gd name="connsiteX118" fmla="*/ 7245 w 10000"/>
              <a:gd name="connsiteY118" fmla="*/ 1876 h 10000"/>
              <a:gd name="connsiteX119" fmla="*/ 4946 w 10000"/>
              <a:gd name="connsiteY119" fmla="*/ 0 h 10000"/>
              <a:gd name="connsiteX0" fmla="*/ 4779 w 9833"/>
              <a:gd name="connsiteY0" fmla="*/ 0 h 10000"/>
              <a:gd name="connsiteX1" fmla="*/ 4779 w 9833"/>
              <a:gd name="connsiteY1" fmla="*/ 0 h 10000"/>
              <a:gd name="connsiteX2" fmla="*/ 4769 w 9833"/>
              <a:gd name="connsiteY2" fmla="*/ 99 h 10000"/>
              <a:gd name="connsiteX3" fmla="*/ 4751 w 9833"/>
              <a:gd name="connsiteY3" fmla="*/ 201 h 10000"/>
              <a:gd name="connsiteX4" fmla="*/ 4738 w 9833"/>
              <a:gd name="connsiteY4" fmla="*/ 300 h 10000"/>
              <a:gd name="connsiteX5" fmla="*/ 4720 w 9833"/>
              <a:gd name="connsiteY5" fmla="*/ 394 h 10000"/>
              <a:gd name="connsiteX6" fmla="*/ 4699 w 9833"/>
              <a:gd name="connsiteY6" fmla="*/ 491 h 10000"/>
              <a:gd name="connsiteX7" fmla="*/ 4677 w 9833"/>
              <a:gd name="connsiteY7" fmla="*/ 587 h 10000"/>
              <a:gd name="connsiteX8" fmla="*/ 4656 w 9833"/>
              <a:gd name="connsiteY8" fmla="*/ 684 h 10000"/>
              <a:gd name="connsiteX9" fmla="*/ 4631 w 9833"/>
              <a:gd name="connsiteY9" fmla="*/ 778 h 10000"/>
              <a:gd name="connsiteX10" fmla="*/ 4605 w 9833"/>
              <a:gd name="connsiteY10" fmla="*/ 870 h 10000"/>
              <a:gd name="connsiteX11" fmla="*/ 4574 w 9833"/>
              <a:gd name="connsiteY11" fmla="*/ 961 h 10000"/>
              <a:gd name="connsiteX12" fmla="*/ 4549 w 9833"/>
              <a:gd name="connsiteY12" fmla="*/ 1053 h 10000"/>
              <a:gd name="connsiteX13" fmla="*/ 4516 w 9833"/>
              <a:gd name="connsiteY13" fmla="*/ 1145 h 10000"/>
              <a:gd name="connsiteX14" fmla="*/ 4481 w 9833"/>
              <a:gd name="connsiteY14" fmla="*/ 1231 h 10000"/>
              <a:gd name="connsiteX15" fmla="*/ 4447 w 9833"/>
              <a:gd name="connsiteY15" fmla="*/ 1318 h 10000"/>
              <a:gd name="connsiteX16" fmla="*/ 4413 w 9833"/>
              <a:gd name="connsiteY16" fmla="*/ 1405 h 10000"/>
              <a:gd name="connsiteX17" fmla="*/ 4374 w 9833"/>
              <a:gd name="connsiteY17" fmla="*/ 1494 h 10000"/>
              <a:gd name="connsiteX18" fmla="*/ 4336 w 9833"/>
              <a:gd name="connsiteY18" fmla="*/ 1578 h 10000"/>
              <a:gd name="connsiteX19" fmla="*/ 4296 w 9833"/>
              <a:gd name="connsiteY19" fmla="*/ 1663 h 10000"/>
              <a:gd name="connsiteX20" fmla="*/ 4253 w 9833"/>
              <a:gd name="connsiteY20" fmla="*/ 1742 h 10000"/>
              <a:gd name="connsiteX21" fmla="*/ 4208 w 9833"/>
              <a:gd name="connsiteY21" fmla="*/ 1824 h 10000"/>
              <a:gd name="connsiteX22" fmla="*/ 4165 w 9833"/>
              <a:gd name="connsiteY22" fmla="*/ 1903 h 10000"/>
              <a:gd name="connsiteX23" fmla="*/ 4119 w 9833"/>
              <a:gd name="connsiteY23" fmla="*/ 1985 h 10000"/>
              <a:gd name="connsiteX24" fmla="*/ 4071 w 9833"/>
              <a:gd name="connsiteY24" fmla="*/ 2059 h 10000"/>
              <a:gd name="connsiteX25" fmla="*/ 4021 w 9833"/>
              <a:gd name="connsiteY25" fmla="*/ 2133 h 10000"/>
              <a:gd name="connsiteX26" fmla="*/ 3970 w 9833"/>
              <a:gd name="connsiteY26" fmla="*/ 2210 h 10000"/>
              <a:gd name="connsiteX27" fmla="*/ 3919 w 9833"/>
              <a:gd name="connsiteY27" fmla="*/ 2282 h 10000"/>
              <a:gd name="connsiteX28" fmla="*/ 3865 w 9833"/>
              <a:gd name="connsiteY28" fmla="*/ 2354 h 10000"/>
              <a:gd name="connsiteX29" fmla="*/ 3811 w 9833"/>
              <a:gd name="connsiteY29" fmla="*/ 2426 h 10000"/>
              <a:gd name="connsiteX30" fmla="*/ 3757 w 9833"/>
              <a:gd name="connsiteY30" fmla="*/ 2495 h 10000"/>
              <a:gd name="connsiteX31" fmla="*/ 3698 w 9833"/>
              <a:gd name="connsiteY31" fmla="*/ 2562 h 10000"/>
              <a:gd name="connsiteX32" fmla="*/ 3642 w 9833"/>
              <a:gd name="connsiteY32" fmla="*/ 2626 h 10000"/>
              <a:gd name="connsiteX33" fmla="*/ 3581 w 9833"/>
              <a:gd name="connsiteY33" fmla="*/ 2691 h 10000"/>
              <a:gd name="connsiteX34" fmla="*/ 3523 w 9833"/>
              <a:gd name="connsiteY34" fmla="*/ 2753 h 10000"/>
              <a:gd name="connsiteX35" fmla="*/ 3458 w 9833"/>
              <a:gd name="connsiteY35" fmla="*/ 2817 h 10000"/>
              <a:gd name="connsiteX36" fmla="*/ 3397 w 9833"/>
              <a:gd name="connsiteY36" fmla="*/ 2874 h 10000"/>
              <a:gd name="connsiteX37" fmla="*/ 3333 w 9833"/>
              <a:gd name="connsiteY37" fmla="*/ 2934 h 10000"/>
              <a:gd name="connsiteX38" fmla="*/ 3268 w 9833"/>
              <a:gd name="connsiteY38" fmla="*/ 2989 h 10000"/>
              <a:gd name="connsiteX39" fmla="*/ 3202 w 9833"/>
              <a:gd name="connsiteY39" fmla="*/ 3043 h 10000"/>
              <a:gd name="connsiteX40" fmla="*/ 3135 w 9833"/>
              <a:gd name="connsiteY40" fmla="*/ 3097 h 10000"/>
              <a:gd name="connsiteX41" fmla="*/ 3068 w 9833"/>
              <a:gd name="connsiteY41" fmla="*/ 3149 h 10000"/>
              <a:gd name="connsiteX42" fmla="*/ 2999 w 9833"/>
              <a:gd name="connsiteY42" fmla="*/ 3196 h 10000"/>
              <a:gd name="connsiteX43" fmla="*/ 2928 w 9833"/>
              <a:gd name="connsiteY43" fmla="*/ 3243 h 10000"/>
              <a:gd name="connsiteX44" fmla="*/ 3057 w 9833"/>
              <a:gd name="connsiteY44" fmla="*/ 6577 h 10000"/>
              <a:gd name="connsiteX45" fmla="*/ 0 w 9833"/>
              <a:gd name="connsiteY45" fmla="*/ 9903 h 10000"/>
              <a:gd name="connsiteX46" fmla="*/ 165 w 9833"/>
              <a:gd name="connsiteY46" fmla="*/ 9927 h 10000"/>
              <a:gd name="connsiteX47" fmla="*/ 333 w 9833"/>
              <a:gd name="connsiteY47" fmla="*/ 9949 h 10000"/>
              <a:gd name="connsiteX48" fmla="*/ 501 w 9833"/>
              <a:gd name="connsiteY48" fmla="*/ 9965 h 10000"/>
              <a:gd name="connsiteX49" fmla="*/ 670 w 9833"/>
              <a:gd name="connsiteY49" fmla="*/ 9980 h 10000"/>
              <a:gd name="connsiteX50" fmla="*/ 843 w 9833"/>
              <a:gd name="connsiteY50" fmla="*/ 9990 h 10000"/>
              <a:gd name="connsiteX51" fmla="*/ 1014 w 9833"/>
              <a:gd name="connsiteY51" fmla="*/ 9995 h 10000"/>
              <a:gd name="connsiteX52" fmla="*/ 1184 w 9833"/>
              <a:gd name="connsiteY52" fmla="*/ 10000 h 10000"/>
              <a:gd name="connsiteX53" fmla="*/ 1390 w 9833"/>
              <a:gd name="connsiteY53" fmla="*/ 9995 h 10000"/>
              <a:gd name="connsiteX54" fmla="*/ 1591 w 9833"/>
              <a:gd name="connsiteY54" fmla="*/ 9988 h 10000"/>
              <a:gd name="connsiteX55" fmla="*/ 1792 w 9833"/>
              <a:gd name="connsiteY55" fmla="*/ 9975 h 10000"/>
              <a:gd name="connsiteX56" fmla="*/ 1987 w 9833"/>
              <a:gd name="connsiteY56" fmla="*/ 9954 h 10000"/>
              <a:gd name="connsiteX57" fmla="*/ 2187 w 9833"/>
              <a:gd name="connsiteY57" fmla="*/ 9932 h 10000"/>
              <a:gd name="connsiteX58" fmla="*/ 2384 w 9833"/>
              <a:gd name="connsiteY58" fmla="*/ 9898 h 10000"/>
              <a:gd name="connsiteX59" fmla="*/ 2579 w 9833"/>
              <a:gd name="connsiteY59" fmla="*/ 9866 h 10000"/>
              <a:gd name="connsiteX60" fmla="*/ 2774 w 9833"/>
              <a:gd name="connsiteY60" fmla="*/ 9824 h 10000"/>
              <a:gd name="connsiteX61" fmla="*/ 2964 w 9833"/>
              <a:gd name="connsiteY61" fmla="*/ 9779 h 10000"/>
              <a:gd name="connsiteX62" fmla="*/ 3159 w 9833"/>
              <a:gd name="connsiteY62" fmla="*/ 9731 h 10000"/>
              <a:gd name="connsiteX63" fmla="*/ 3344 w 9833"/>
              <a:gd name="connsiteY63" fmla="*/ 9673 h 10000"/>
              <a:gd name="connsiteX64" fmla="*/ 3534 w 9833"/>
              <a:gd name="connsiteY64" fmla="*/ 9616 h 10000"/>
              <a:gd name="connsiteX65" fmla="*/ 3720 w 9833"/>
              <a:gd name="connsiteY65" fmla="*/ 9553 h 10000"/>
              <a:gd name="connsiteX66" fmla="*/ 3904 w 9833"/>
              <a:gd name="connsiteY66" fmla="*/ 9482 h 10000"/>
              <a:gd name="connsiteX67" fmla="*/ 4084 w 9833"/>
              <a:gd name="connsiteY67" fmla="*/ 9405 h 10000"/>
              <a:gd name="connsiteX68" fmla="*/ 4264 w 9833"/>
              <a:gd name="connsiteY68" fmla="*/ 9330 h 10000"/>
              <a:gd name="connsiteX69" fmla="*/ 4445 w 9833"/>
              <a:gd name="connsiteY69" fmla="*/ 9244 h 10000"/>
              <a:gd name="connsiteX70" fmla="*/ 4623 w 9833"/>
              <a:gd name="connsiteY70" fmla="*/ 9159 h 10000"/>
              <a:gd name="connsiteX71" fmla="*/ 4796 w 9833"/>
              <a:gd name="connsiteY71" fmla="*/ 9063 h 10000"/>
              <a:gd name="connsiteX72" fmla="*/ 4969 w 9833"/>
              <a:gd name="connsiteY72" fmla="*/ 8968 h 10000"/>
              <a:gd name="connsiteX73" fmla="*/ 5142 w 9833"/>
              <a:gd name="connsiteY73" fmla="*/ 8865 h 10000"/>
              <a:gd name="connsiteX74" fmla="*/ 5309 w 9833"/>
              <a:gd name="connsiteY74" fmla="*/ 8760 h 10000"/>
              <a:gd name="connsiteX75" fmla="*/ 5476 w 9833"/>
              <a:gd name="connsiteY75" fmla="*/ 8652 h 10000"/>
              <a:gd name="connsiteX76" fmla="*/ 5643 w 9833"/>
              <a:gd name="connsiteY76" fmla="*/ 8536 h 10000"/>
              <a:gd name="connsiteX77" fmla="*/ 5804 w 9833"/>
              <a:gd name="connsiteY77" fmla="*/ 8417 h 10000"/>
              <a:gd name="connsiteX78" fmla="*/ 5963 w 9833"/>
              <a:gd name="connsiteY78" fmla="*/ 8295 h 10000"/>
              <a:gd name="connsiteX79" fmla="*/ 6122 w 9833"/>
              <a:gd name="connsiteY79" fmla="*/ 8169 h 10000"/>
              <a:gd name="connsiteX80" fmla="*/ 6274 w 9833"/>
              <a:gd name="connsiteY80" fmla="*/ 8040 h 10000"/>
              <a:gd name="connsiteX81" fmla="*/ 6426 w 9833"/>
              <a:gd name="connsiteY81" fmla="*/ 7904 h 10000"/>
              <a:gd name="connsiteX82" fmla="*/ 6576 w 9833"/>
              <a:gd name="connsiteY82" fmla="*/ 7768 h 10000"/>
              <a:gd name="connsiteX83" fmla="*/ 6724 w 9833"/>
              <a:gd name="connsiteY83" fmla="*/ 7625 h 10000"/>
              <a:gd name="connsiteX84" fmla="*/ 6869 w 9833"/>
              <a:gd name="connsiteY84" fmla="*/ 7480 h 10000"/>
              <a:gd name="connsiteX85" fmla="*/ 7011 w 9833"/>
              <a:gd name="connsiteY85" fmla="*/ 7329 h 10000"/>
              <a:gd name="connsiteX86" fmla="*/ 7151 w 9833"/>
              <a:gd name="connsiteY86" fmla="*/ 7178 h 10000"/>
              <a:gd name="connsiteX87" fmla="*/ 7286 w 9833"/>
              <a:gd name="connsiteY87" fmla="*/ 7025 h 10000"/>
              <a:gd name="connsiteX88" fmla="*/ 7422 w 9833"/>
              <a:gd name="connsiteY88" fmla="*/ 6862 h 10000"/>
              <a:gd name="connsiteX89" fmla="*/ 7553 w 9833"/>
              <a:gd name="connsiteY89" fmla="*/ 6697 h 10000"/>
              <a:gd name="connsiteX90" fmla="*/ 7681 w 9833"/>
              <a:gd name="connsiteY90" fmla="*/ 6534 h 10000"/>
              <a:gd name="connsiteX91" fmla="*/ 7805 w 9833"/>
              <a:gd name="connsiteY91" fmla="*/ 6365 h 10000"/>
              <a:gd name="connsiteX92" fmla="*/ 7927 w 9833"/>
              <a:gd name="connsiteY92" fmla="*/ 6189 h 10000"/>
              <a:gd name="connsiteX93" fmla="*/ 8047 w 9833"/>
              <a:gd name="connsiteY93" fmla="*/ 6016 h 10000"/>
              <a:gd name="connsiteX94" fmla="*/ 8164 w 9833"/>
              <a:gd name="connsiteY94" fmla="*/ 5835 h 10000"/>
              <a:gd name="connsiteX95" fmla="*/ 8278 w 9833"/>
              <a:gd name="connsiteY95" fmla="*/ 5652 h 10000"/>
              <a:gd name="connsiteX96" fmla="*/ 8386 w 9833"/>
              <a:gd name="connsiteY96" fmla="*/ 5468 h 10000"/>
              <a:gd name="connsiteX97" fmla="*/ 8491 w 9833"/>
              <a:gd name="connsiteY97" fmla="*/ 5278 h 10000"/>
              <a:gd name="connsiteX98" fmla="*/ 8596 w 9833"/>
              <a:gd name="connsiteY98" fmla="*/ 5089 h 10000"/>
              <a:gd name="connsiteX99" fmla="*/ 8696 w 9833"/>
              <a:gd name="connsiteY99" fmla="*/ 4893 h 10000"/>
              <a:gd name="connsiteX100" fmla="*/ 8793 w 9833"/>
              <a:gd name="connsiteY100" fmla="*/ 4698 h 10000"/>
              <a:gd name="connsiteX101" fmla="*/ 8887 w 9833"/>
              <a:gd name="connsiteY101" fmla="*/ 4500 h 10000"/>
              <a:gd name="connsiteX102" fmla="*/ 8974 w 9833"/>
              <a:gd name="connsiteY102" fmla="*/ 4294 h 10000"/>
              <a:gd name="connsiteX103" fmla="*/ 9059 w 9833"/>
              <a:gd name="connsiteY103" fmla="*/ 4091 h 10000"/>
              <a:gd name="connsiteX104" fmla="*/ 9143 w 9833"/>
              <a:gd name="connsiteY104" fmla="*/ 3885 h 10000"/>
              <a:gd name="connsiteX105" fmla="*/ 9223 w 9833"/>
              <a:gd name="connsiteY105" fmla="*/ 3674 h 10000"/>
              <a:gd name="connsiteX106" fmla="*/ 9297 w 9833"/>
              <a:gd name="connsiteY106" fmla="*/ 3464 h 10000"/>
              <a:gd name="connsiteX107" fmla="*/ 9370 w 9833"/>
              <a:gd name="connsiteY107" fmla="*/ 3248 h 10000"/>
              <a:gd name="connsiteX108" fmla="*/ 9437 w 9833"/>
              <a:gd name="connsiteY108" fmla="*/ 3030 h 10000"/>
              <a:gd name="connsiteX109" fmla="*/ 9500 w 9833"/>
              <a:gd name="connsiteY109" fmla="*/ 2815 h 10000"/>
              <a:gd name="connsiteX110" fmla="*/ 9561 w 9833"/>
              <a:gd name="connsiteY110" fmla="*/ 2592 h 10000"/>
              <a:gd name="connsiteX111" fmla="*/ 9616 w 9833"/>
              <a:gd name="connsiteY111" fmla="*/ 2369 h 10000"/>
              <a:gd name="connsiteX112" fmla="*/ 9668 w 9833"/>
              <a:gd name="connsiteY112" fmla="*/ 2143 h 10000"/>
              <a:gd name="connsiteX113" fmla="*/ 9716 w 9833"/>
              <a:gd name="connsiteY113" fmla="*/ 1918 h 10000"/>
              <a:gd name="connsiteX114" fmla="*/ 9759 w 9833"/>
              <a:gd name="connsiteY114" fmla="*/ 1690 h 10000"/>
              <a:gd name="connsiteX115" fmla="*/ 9799 w 9833"/>
              <a:gd name="connsiteY115" fmla="*/ 1457 h 10000"/>
              <a:gd name="connsiteX116" fmla="*/ 9833 w 9833"/>
              <a:gd name="connsiteY116" fmla="*/ 1222 h 10000"/>
              <a:gd name="connsiteX117" fmla="*/ 7078 w 9833"/>
              <a:gd name="connsiteY117" fmla="*/ 1876 h 10000"/>
              <a:gd name="connsiteX118" fmla="*/ 4779 w 9833"/>
              <a:gd name="connsiteY118" fmla="*/ 0 h 10000"/>
              <a:gd name="connsiteX0" fmla="*/ 4860 w 10000"/>
              <a:gd name="connsiteY0" fmla="*/ 0 h 10000"/>
              <a:gd name="connsiteX1" fmla="*/ 4860 w 10000"/>
              <a:gd name="connsiteY1" fmla="*/ 0 h 10000"/>
              <a:gd name="connsiteX2" fmla="*/ 4850 w 10000"/>
              <a:gd name="connsiteY2" fmla="*/ 99 h 10000"/>
              <a:gd name="connsiteX3" fmla="*/ 4832 w 10000"/>
              <a:gd name="connsiteY3" fmla="*/ 201 h 10000"/>
              <a:gd name="connsiteX4" fmla="*/ 4818 w 10000"/>
              <a:gd name="connsiteY4" fmla="*/ 300 h 10000"/>
              <a:gd name="connsiteX5" fmla="*/ 4800 w 10000"/>
              <a:gd name="connsiteY5" fmla="*/ 394 h 10000"/>
              <a:gd name="connsiteX6" fmla="*/ 4779 w 10000"/>
              <a:gd name="connsiteY6" fmla="*/ 491 h 10000"/>
              <a:gd name="connsiteX7" fmla="*/ 4756 w 10000"/>
              <a:gd name="connsiteY7" fmla="*/ 587 h 10000"/>
              <a:gd name="connsiteX8" fmla="*/ 4735 w 10000"/>
              <a:gd name="connsiteY8" fmla="*/ 684 h 10000"/>
              <a:gd name="connsiteX9" fmla="*/ 4710 w 10000"/>
              <a:gd name="connsiteY9" fmla="*/ 778 h 10000"/>
              <a:gd name="connsiteX10" fmla="*/ 4683 w 10000"/>
              <a:gd name="connsiteY10" fmla="*/ 870 h 10000"/>
              <a:gd name="connsiteX11" fmla="*/ 4652 w 10000"/>
              <a:gd name="connsiteY11" fmla="*/ 961 h 10000"/>
              <a:gd name="connsiteX12" fmla="*/ 4626 w 10000"/>
              <a:gd name="connsiteY12" fmla="*/ 1053 h 10000"/>
              <a:gd name="connsiteX13" fmla="*/ 4593 w 10000"/>
              <a:gd name="connsiteY13" fmla="*/ 1145 h 10000"/>
              <a:gd name="connsiteX14" fmla="*/ 4557 w 10000"/>
              <a:gd name="connsiteY14" fmla="*/ 1231 h 10000"/>
              <a:gd name="connsiteX15" fmla="*/ 4523 w 10000"/>
              <a:gd name="connsiteY15" fmla="*/ 1318 h 10000"/>
              <a:gd name="connsiteX16" fmla="*/ 4488 w 10000"/>
              <a:gd name="connsiteY16" fmla="*/ 1405 h 10000"/>
              <a:gd name="connsiteX17" fmla="*/ 4448 w 10000"/>
              <a:gd name="connsiteY17" fmla="*/ 1494 h 10000"/>
              <a:gd name="connsiteX18" fmla="*/ 4410 w 10000"/>
              <a:gd name="connsiteY18" fmla="*/ 1578 h 10000"/>
              <a:gd name="connsiteX19" fmla="*/ 4369 w 10000"/>
              <a:gd name="connsiteY19" fmla="*/ 1663 h 10000"/>
              <a:gd name="connsiteX20" fmla="*/ 4325 w 10000"/>
              <a:gd name="connsiteY20" fmla="*/ 1742 h 10000"/>
              <a:gd name="connsiteX21" fmla="*/ 4279 w 10000"/>
              <a:gd name="connsiteY21" fmla="*/ 1824 h 10000"/>
              <a:gd name="connsiteX22" fmla="*/ 4236 w 10000"/>
              <a:gd name="connsiteY22" fmla="*/ 1903 h 10000"/>
              <a:gd name="connsiteX23" fmla="*/ 4189 w 10000"/>
              <a:gd name="connsiteY23" fmla="*/ 1985 h 10000"/>
              <a:gd name="connsiteX24" fmla="*/ 4140 w 10000"/>
              <a:gd name="connsiteY24" fmla="*/ 2059 h 10000"/>
              <a:gd name="connsiteX25" fmla="*/ 4089 w 10000"/>
              <a:gd name="connsiteY25" fmla="*/ 2133 h 10000"/>
              <a:gd name="connsiteX26" fmla="*/ 4037 w 10000"/>
              <a:gd name="connsiteY26" fmla="*/ 2210 h 10000"/>
              <a:gd name="connsiteX27" fmla="*/ 3986 w 10000"/>
              <a:gd name="connsiteY27" fmla="*/ 2282 h 10000"/>
              <a:gd name="connsiteX28" fmla="*/ 3931 w 10000"/>
              <a:gd name="connsiteY28" fmla="*/ 2354 h 10000"/>
              <a:gd name="connsiteX29" fmla="*/ 3876 w 10000"/>
              <a:gd name="connsiteY29" fmla="*/ 2426 h 10000"/>
              <a:gd name="connsiteX30" fmla="*/ 3821 w 10000"/>
              <a:gd name="connsiteY30" fmla="*/ 2495 h 10000"/>
              <a:gd name="connsiteX31" fmla="*/ 3761 w 10000"/>
              <a:gd name="connsiteY31" fmla="*/ 2562 h 10000"/>
              <a:gd name="connsiteX32" fmla="*/ 3704 w 10000"/>
              <a:gd name="connsiteY32" fmla="*/ 2626 h 10000"/>
              <a:gd name="connsiteX33" fmla="*/ 3642 w 10000"/>
              <a:gd name="connsiteY33" fmla="*/ 2691 h 10000"/>
              <a:gd name="connsiteX34" fmla="*/ 3583 w 10000"/>
              <a:gd name="connsiteY34" fmla="*/ 2753 h 10000"/>
              <a:gd name="connsiteX35" fmla="*/ 3517 w 10000"/>
              <a:gd name="connsiteY35" fmla="*/ 2817 h 10000"/>
              <a:gd name="connsiteX36" fmla="*/ 3455 w 10000"/>
              <a:gd name="connsiteY36" fmla="*/ 2874 h 10000"/>
              <a:gd name="connsiteX37" fmla="*/ 3390 w 10000"/>
              <a:gd name="connsiteY37" fmla="*/ 2934 h 10000"/>
              <a:gd name="connsiteX38" fmla="*/ 3324 w 10000"/>
              <a:gd name="connsiteY38" fmla="*/ 2989 h 10000"/>
              <a:gd name="connsiteX39" fmla="*/ 3256 w 10000"/>
              <a:gd name="connsiteY39" fmla="*/ 3043 h 10000"/>
              <a:gd name="connsiteX40" fmla="*/ 3188 w 10000"/>
              <a:gd name="connsiteY40" fmla="*/ 3097 h 10000"/>
              <a:gd name="connsiteX41" fmla="*/ 3120 w 10000"/>
              <a:gd name="connsiteY41" fmla="*/ 3149 h 10000"/>
              <a:gd name="connsiteX42" fmla="*/ 3050 w 10000"/>
              <a:gd name="connsiteY42" fmla="*/ 3196 h 10000"/>
              <a:gd name="connsiteX43" fmla="*/ 2978 w 10000"/>
              <a:gd name="connsiteY43" fmla="*/ 3243 h 10000"/>
              <a:gd name="connsiteX44" fmla="*/ 3109 w 10000"/>
              <a:gd name="connsiteY44" fmla="*/ 6577 h 10000"/>
              <a:gd name="connsiteX45" fmla="*/ 0 w 10000"/>
              <a:gd name="connsiteY45" fmla="*/ 9903 h 10000"/>
              <a:gd name="connsiteX46" fmla="*/ 339 w 10000"/>
              <a:gd name="connsiteY46" fmla="*/ 9949 h 10000"/>
              <a:gd name="connsiteX47" fmla="*/ 510 w 10000"/>
              <a:gd name="connsiteY47" fmla="*/ 9965 h 10000"/>
              <a:gd name="connsiteX48" fmla="*/ 681 w 10000"/>
              <a:gd name="connsiteY48" fmla="*/ 9980 h 10000"/>
              <a:gd name="connsiteX49" fmla="*/ 857 w 10000"/>
              <a:gd name="connsiteY49" fmla="*/ 9990 h 10000"/>
              <a:gd name="connsiteX50" fmla="*/ 1031 w 10000"/>
              <a:gd name="connsiteY50" fmla="*/ 9995 h 10000"/>
              <a:gd name="connsiteX51" fmla="*/ 1204 w 10000"/>
              <a:gd name="connsiteY51" fmla="*/ 10000 h 10000"/>
              <a:gd name="connsiteX52" fmla="*/ 1414 w 10000"/>
              <a:gd name="connsiteY52" fmla="*/ 9995 h 10000"/>
              <a:gd name="connsiteX53" fmla="*/ 1618 w 10000"/>
              <a:gd name="connsiteY53" fmla="*/ 9988 h 10000"/>
              <a:gd name="connsiteX54" fmla="*/ 1822 w 10000"/>
              <a:gd name="connsiteY54" fmla="*/ 9975 h 10000"/>
              <a:gd name="connsiteX55" fmla="*/ 2021 w 10000"/>
              <a:gd name="connsiteY55" fmla="*/ 9954 h 10000"/>
              <a:gd name="connsiteX56" fmla="*/ 2224 w 10000"/>
              <a:gd name="connsiteY56" fmla="*/ 9932 h 10000"/>
              <a:gd name="connsiteX57" fmla="*/ 2424 w 10000"/>
              <a:gd name="connsiteY57" fmla="*/ 9898 h 10000"/>
              <a:gd name="connsiteX58" fmla="*/ 2623 w 10000"/>
              <a:gd name="connsiteY58" fmla="*/ 9866 h 10000"/>
              <a:gd name="connsiteX59" fmla="*/ 2821 w 10000"/>
              <a:gd name="connsiteY59" fmla="*/ 9824 h 10000"/>
              <a:gd name="connsiteX60" fmla="*/ 3014 w 10000"/>
              <a:gd name="connsiteY60" fmla="*/ 9779 h 10000"/>
              <a:gd name="connsiteX61" fmla="*/ 3213 w 10000"/>
              <a:gd name="connsiteY61" fmla="*/ 9731 h 10000"/>
              <a:gd name="connsiteX62" fmla="*/ 3401 w 10000"/>
              <a:gd name="connsiteY62" fmla="*/ 9673 h 10000"/>
              <a:gd name="connsiteX63" fmla="*/ 3594 w 10000"/>
              <a:gd name="connsiteY63" fmla="*/ 9616 h 10000"/>
              <a:gd name="connsiteX64" fmla="*/ 3783 w 10000"/>
              <a:gd name="connsiteY64" fmla="*/ 9553 h 10000"/>
              <a:gd name="connsiteX65" fmla="*/ 3970 w 10000"/>
              <a:gd name="connsiteY65" fmla="*/ 9482 h 10000"/>
              <a:gd name="connsiteX66" fmla="*/ 4153 w 10000"/>
              <a:gd name="connsiteY66" fmla="*/ 9405 h 10000"/>
              <a:gd name="connsiteX67" fmla="*/ 4336 w 10000"/>
              <a:gd name="connsiteY67" fmla="*/ 9330 h 10000"/>
              <a:gd name="connsiteX68" fmla="*/ 4520 w 10000"/>
              <a:gd name="connsiteY68" fmla="*/ 9244 h 10000"/>
              <a:gd name="connsiteX69" fmla="*/ 4702 w 10000"/>
              <a:gd name="connsiteY69" fmla="*/ 9159 h 10000"/>
              <a:gd name="connsiteX70" fmla="*/ 4877 w 10000"/>
              <a:gd name="connsiteY70" fmla="*/ 9063 h 10000"/>
              <a:gd name="connsiteX71" fmla="*/ 5053 w 10000"/>
              <a:gd name="connsiteY71" fmla="*/ 8968 h 10000"/>
              <a:gd name="connsiteX72" fmla="*/ 5229 w 10000"/>
              <a:gd name="connsiteY72" fmla="*/ 8865 h 10000"/>
              <a:gd name="connsiteX73" fmla="*/ 5399 w 10000"/>
              <a:gd name="connsiteY73" fmla="*/ 8760 h 10000"/>
              <a:gd name="connsiteX74" fmla="*/ 5569 w 10000"/>
              <a:gd name="connsiteY74" fmla="*/ 8652 h 10000"/>
              <a:gd name="connsiteX75" fmla="*/ 5739 w 10000"/>
              <a:gd name="connsiteY75" fmla="*/ 8536 h 10000"/>
              <a:gd name="connsiteX76" fmla="*/ 5903 w 10000"/>
              <a:gd name="connsiteY76" fmla="*/ 8417 h 10000"/>
              <a:gd name="connsiteX77" fmla="*/ 6064 w 10000"/>
              <a:gd name="connsiteY77" fmla="*/ 8295 h 10000"/>
              <a:gd name="connsiteX78" fmla="*/ 6226 w 10000"/>
              <a:gd name="connsiteY78" fmla="*/ 8169 h 10000"/>
              <a:gd name="connsiteX79" fmla="*/ 6381 w 10000"/>
              <a:gd name="connsiteY79" fmla="*/ 8040 h 10000"/>
              <a:gd name="connsiteX80" fmla="*/ 6535 w 10000"/>
              <a:gd name="connsiteY80" fmla="*/ 7904 h 10000"/>
              <a:gd name="connsiteX81" fmla="*/ 6688 w 10000"/>
              <a:gd name="connsiteY81" fmla="*/ 7768 h 10000"/>
              <a:gd name="connsiteX82" fmla="*/ 6838 w 10000"/>
              <a:gd name="connsiteY82" fmla="*/ 7625 h 10000"/>
              <a:gd name="connsiteX83" fmla="*/ 6986 w 10000"/>
              <a:gd name="connsiteY83" fmla="*/ 7480 h 10000"/>
              <a:gd name="connsiteX84" fmla="*/ 7130 w 10000"/>
              <a:gd name="connsiteY84" fmla="*/ 7329 h 10000"/>
              <a:gd name="connsiteX85" fmla="*/ 7272 w 10000"/>
              <a:gd name="connsiteY85" fmla="*/ 7178 h 10000"/>
              <a:gd name="connsiteX86" fmla="*/ 7410 w 10000"/>
              <a:gd name="connsiteY86" fmla="*/ 7025 h 10000"/>
              <a:gd name="connsiteX87" fmla="*/ 7548 w 10000"/>
              <a:gd name="connsiteY87" fmla="*/ 6862 h 10000"/>
              <a:gd name="connsiteX88" fmla="*/ 7681 w 10000"/>
              <a:gd name="connsiteY88" fmla="*/ 6697 h 10000"/>
              <a:gd name="connsiteX89" fmla="*/ 7811 w 10000"/>
              <a:gd name="connsiteY89" fmla="*/ 6534 h 10000"/>
              <a:gd name="connsiteX90" fmla="*/ 7938 w 10000"/>
              <a:gd name="connsiteY90" fmla="*/ 6365 h 10000"/>
              <a:gd name="connsiteX91" fmla="*/ 8062 w 10000"/>
              <a:gd name="connsiteY91" fmla="*/ 6189 h 10000"/>
              <a:gd name="connsiteX92" fmla="*/ 8184 w 10000"/>
              <a:gd name="connsiteY92" fmla="*/ 6016 h 10000"/>
              <a:gd name="connsiteX93" fmla="*/ 8303 w 10000"/>
              <a:gd name="connsiteY93" fmla="*/ 5835 h 10000"/>
              <a:gd name="connsiteX94" fmla="*/ 8419 w 10000"/>
              <a:gd name="connsiteY94" fmla="*/ 5652 h 10000"/>
              <a:gd name="connsiteX95" fmla="*/ 8528 w 10000"/>
              <a:gd name="connsiteY95" fmla="*/ 5468 h 10000"/>
              <a:gd name="connsiteX96" fmla="*/ 8635 w 10000"/>
              <a:gd name="connsiteY96" fmla="*/ 5278 h 10000"/>
              <a:gd name="connsiteX97" fmla="*/ 8742 w 10000"/>
              <a:gd name="connsiteY97" fmla="*/ 5089 h 10000"/>
              <a:gd name="connsiteX98" fmla="*/ 8844 w 10000"/>
              <a:gd name="connsiteY98" fmla="*/ 4893 h 10000"/>
              <a:gd name="connsiteX99" fmla="*/ 8942 w 10000"/>
              <a:gd name="connsiteY99" fmla="*/ 4698 h 10000"/>
              <a:gd name="connsiteX100" fmla="*/ 9038 w 10000"/>
              <a:gd name="connsiteY100" fmla="*/ 4500 h 10000"/>
              <a:gd name="connsiteX101" fmla="*/ 9126 w 10000"/>
              <a:gd name="connsiteY101" fmla="*/ 4294 h 10000"/>
              <a:gd name="connsiteX102" fmla="*/ 9213 w 10000"/>
              <a:gd name="connsiteY102" fmla="*/ 4091 h 10000"/>
              <a:gd name="connsiteX103" fmla="*/ 9298 w 10000"/>
              <a:gd name="connsiteY103" fmla="*/ 3885 h 10000"/>
              <a:gd name="connsiteX104" fmla="*/ 9380 w 10000"/>
              <a:gd name="connsiteY104" fmla="*/ 3674 h 10000"/>
              <a:gd name="connsiteX105" fmla="*/ 9455 w 10000"/>
              <a:gd name="connsiteY105" fmla="*/ 3464 h 10000"/>
              <a:gd name="connsiteX106" fmla="*/ 9529 w 10000"/>
              <a:gd name="connsiteY106" fmla="*/ 3248 h 10000"/>
              <a:gd name="connsiteX107" fmla="*/ 9597 w 10000"/>
              <a:gd name="connsiteY107" fmla="*/ 3030 h 10000"/>
              <a:gd name="connsiteX108" fmla="*/ 9661 w 10000"/>
              <a:gd name="connsiteY108" fmla="*/ 2815 h 10000"/>
              <a:gd name="connsiteX109" fmla="*/ 9723 w 10000"/>
              <a:gd name="connsiteY109" fmla="*/ 2592 h 10000"/>
              <a:gd name="connsiteX110" fmla="*/ 9779 w 10000"/>
              <a:gd name="connsiteY110" fmla="*/ 2369 h 10000"/>
              <a:gd name="connsiteX111" fmla="*/ 9832 w 10000"/>
              <a:gd name="connsiteY111" fmla="*/ 2143 h 10000"/>
              <a:gd name="connsiteX112" fmla="*/ 9881 w 10000"/>
              <a:gd name="connsiteY112" fmla="*/ 1918 h 10000"/>
              <a:gd name="connsiteX113" fmla="*/ 9925 w 10000"/>
              <a:gd name="connsiteY113" fmla="*/ 1690 h 10000"/>
              <a:gd name="connsiteX114" fmla="*/ 9965 w 10000"/>
              <a:gd name="connsiteY114" fmla="*/ 1457 h 10000"/>
              <a:gd name="connsiteX115" fmla="*/ 10000 w 10000"/>
              <a:gd name="connsiteY115" fmla="*/ 1222 h 10000"/>
              <a:gd name="connsiteX116" fmla="*/ 7198 w 10000"/>
              <a:gd name="connsiteY116" fmla="*/ 1876 h 10000"/>
              <a:gd name="connsiteX117" fmla="*/ 4860 w 10000"/>
              <a:gd name="connsiteY117" fmla="*/ 0 h 10000"/>
              <a:gd name="connsiteX0" fmla="*/ 4687 w 9827"/>
              <a:gd name="connsiteY0" fmla="*/ 0 h 10203"/>
              <a:gd name="connsiteX1" fmla="*/ 4687 w 9827"/>
              <a:gd name="connsiteY1" fmla="*/ 0 h 10203"/>
              <a:gd name="connsiteX2" fmla="*/ 4677 w 9827"/>
              <a:gd name="connsiteY2" fmla="*/ 99 h 10203"/>
              <a:gd name="connsiteX3" fmla="*/ 4659 w 9827"/>
              <a:gd name="connsiteY3" fmla="*/ 201 h 10203"/>
              <a:gd name="connsiteX4" fmla="*/ 4645 w 9827"/>
              <a:gd name="connsiteY4" fmla="*/ 300 h 10203"/>
              <a:gd name="connsiteX5" fmla="*/ 4627 w 9827"/>
              <a:gd name="connsiteY5" fmla="*/ 394 h 10203"/>
              <a:gd name="connsiteX6" fmla="*/ 4606 w 9827"/>
              <a:gd name="connsiteY6" fmla="*/ 491 h 10203"/>
              <a:gd name="connsiteX7" fmla="*/ 4583 w 9827"/>
              <a:gd name="connsiteY7" fmla="*/ 587 h 10203"/>
              <a:gd name="connsiteX8" fmla="*/ 4562 w 9827"/>
              <a:gd name="connsiteY8" fmla="*/ 684 h 10203"/>
              <a:gd name="connsiteX9" fmla="*/ 4537 w 9827"/>
              <a:gd name="connsiteY9" fmla="*/ 778 h 10203"/>
              <a:gd name="connsiteX10" fmla="*/ 4510 w 9827"/>
              <a:gd name="connsiteY10" fmla="*/ 870 h 10203"/>
              <a:gd name="connsiteX11" fmla="*/ 4479 w 9827"/>
              <a:gd name="connsiteY11" fmla="*/ 961 h 10203"/>
              <a:gd name="connsiteX12" fmla="*/ 4453 w 9827"/>
              <a:gd name="connsiteY12" fmla="*/ 1053 h 10203"/>
              <a:gd name="connsiteX13" fmla="*/ 4420 w 9827"/>
              <a:gd name="connsiteY13" fmla="*/ 1145 h 10203"/>
              <a:gd name="connsiteX14" fmla="*/ 4384 w 9827"/>
              <a:gd name="connsiteY14" fmla="*/ 1231 h 10203"/>
              <a:gd name="connsiteX15" fmla="*/ 4350 w 9827"/>
              <a:gd name="connsiteY15" fmla="*/ 1318 h 10203"/>
              <a:gd name="connsiteX16" fmla="*/ 4315 w 9827"/>
              <a:gd name="connsiteY16" fmla="*/ 1405 h 10203"/>
              <a:gd name="connsiteX17" fmla="*/ 4275 w 9827"/>
              <a:gd name="connsiteY17" fmla="*/ 1494 h 10203"/>
              <a:gd name="connsiteX18" fmla="*/ 4237 w 9827"/>
              <a:gd name="connsiteY18" fmla="*/ 1578 h 10203"/>
              <a:gd name="connsiteX19" fmla="*/ 4196 w 9827"/>
              <a:gd name="connsiteY19" fmla="*/ 1663 h 10203"/>
              <a:gd name="connsiteX20" fmla="*/ 4152 w 9827"/>
              <a:gd name="connsiteY20" fmla="*/ 1742 h 10203"/>
              <a:gd name="connsiteX21" fmla="*/ 4106 w 9827"/>
              <a:gd name="connsiteY21" fmla="*/ 1824 h 10203"/>
              <a:gd name="connsiteX22" fmla="*/ 4063 w 9827"/>
              <a:gd name="connsiteY22" fmla="*/ 1903 h 10203"/>
              <a:gd name="connsiteX23" fmla="*/ 4016 w 9827"/>
              <a:gd name="connsiteY23" fmla="*/ 1985 h 10203"/>
              <a:gd name="connsiteX24" fmla="*/ 3967 w 9827"/>
              <a:gd name="connsiteY24" fmla="*/ 2059 h 10203"/>
              <a:gd name="connsiteX25" fmla="*/ 3916 w 9827"/>
              <a:gd name="connsiteY25" fmla="*/ 2133 h 10203"/>
              <a:gd name="connsiteX26" fmla="*/ 3864 w 9827"/>
              <a:gd name="connsiteY26" fmla="*/ 2210 h 10203"/>
              <a:gd name="connsiteX27" fmla="*/ 3813 w 9827"/>
              <a:gd name="connsiteY27" fmla="*/ 2282 h 10203"/>
              <a:gd name="connsiteX28" fmla="*/ 3758 w 9827"/>
              <a:gd name="connsiteY28" fmla="*/ 2354 h 10203"/>
              <a:gd name="connsiteX29" fmla="*/ 3703 w 9827"/>
              <a:gd name="connsiteY29" fmla="*/ 2426 h 10203"/>
              <a:gd name="connsiteX30" fmla="*/ 3648 w 9827"/>
              <a:gd name="connsiteY30" fmla="*/ 2495 h 10203"/>
              <a:gd name="connsiteX31" fmla="*/ 3588 w 9827"/>
              <a:gd name="connsiteY31" fmla="*/ 2562 h 10203"/>
              <a:gd name="connsiteX32" fmla="*/ 3531 w 9827"/>
              <a:gd name="connsiteY32" fmla="*/ 2626 h 10203"/>
              <a:gd name="connsiteX33" fmla="*/ 3469 w 9827"/>
              <a:gd name="connsiteY33" fmla="*/ 2691 h 10203"/>
              <a:gd name="connsiteX34" fmla="*/ 3410 w 9827"/>
              <a:gd name="connsiteY34" fmla="*/ 2753 h 10203"/>
              <a:gd name="connsiteX35" fmla="*/ 3344 w 9827"/>
              <a:gd name="connsiteY35" fmla="*/ 2817 h 10203"/>
              <a:gd name="connsiteX36" fmla="*/ 3282 w 9827"/>
              <a:gd name="connsiteY36" fmla="*/ 2874 h 10203"/>
              <a:gd name="connsiteX37" fmla="*/ 3217 w 9827"/>
              <a:gd name="connsiteY37" fmla="*/ 2934 h 10203"/>
              <a:gd name="connsiteX38" fmla="*/ 3151 w 9827"/>
              <a:gd name="connsiteY38" fmla="*/ 2989 h 10203"/>
              <a:gd name="connsiteX39" fmla="*/ 3083 w 9827"/>
              <a:gd name="connsiteY39" fmla="*/ 3043 h 10203"/>
              <a:gd name="connsiteX40" fmla="*/ 3015 w 9827"/>
              <a:gd name="connsiteY40" fmla="*/ 3097 h 10203"/>
              <a:gd name="connsiteX41" fmla="*/ 2947 w 9827"/>
              <a:gd name="connsiteY41" fmla="*/ 3149 h 10203"/>
              <a:gd name="connsiteX42" fmla="*/ 2877 w 9827"/>
              <a:gd name="connsiteY42" fmla="*/ 3196 h 10203"/>
              <a:gd name="connsiteX43" fmla="*/ 2805 w 9827"/>
              <a:gd name="connsiteY43" fmla="*/ 3243 h 10203"/>
              <a:gd name="connsiteX44" fmla="*/ 2936 w 9827"/>
              <a:gd name="connsiteY44" fmla="*/ 6577 h 10203"/>
              <a:gd name="connsiteX45" fmla="*/ 166 w 9827"/>
              <a:gd name="connsiteY45" fmla="*/ 9949 h 10203"/>
              <a:gd name="connsiteX46" fmla="*/ 337 w 9827"/>
              <a:gd name="connsiteY46" fmla="*/ 9965 h 10203"/>
              <a:gd name="connsiteX47" fmla="*/ 508 w 9827"/>
              <a:gd name="connsiteY47" fmla="*/ 9980 h 10203"/>
              <a:gd name="connsiteX48" fmla="*/ 684 w 9827"/>
              <a:gd name="connsiteY48" fmla="*/ 9990 h 10203"/>
              <a:gd name="connsiteX49" fmla="*/ 858 w 9827"/>
              <a:gd name="connsiteY49" fmla="*/ 9995 h 10203"/>
              <a:gd name="connsiteX50" fmla="*/ 1031 w 9827"/>
              <a:gd name="connsiteY50" fmla="*/ 10000 h 10203"/>
              <a:gd name="connsiteX51" fmla="*/ 1241 w 9827"/>
              <a:gd name="connsiteY51" fmla="*/ 9995 h 10203"/>
              <a:gd name="connsiteX52" fmla="*/ 1445 w 9827"/>
              <a:gd name="connsiteY52" fmla="*/ 9988 h 10203"/>
              <a:gd name="connsiteX53" fmla="*/ 1649 w 9827"/>
              <a:gd name="connsiteY53" fmla="*/ 9975 h 10203"/>
              <a:gd name="connsiteX54" fmla="*/ 1848 w 9827"/>
              <a:gd name="connsiteY54" fmla="*/ 9954 h 10203"/>
              <a:gd name="connsiteX55" fmla="*/ 2051 w 9827"/>
              <a:gd name="connsiteY55" fmla="*/ 9932 h 10203"/>
              <a:gd name="connsiteX56" fmla="*/ 2251 w 9827"/>
              <a:gd name="connsiteY56" fmla="*/ 9898 h 10203"/>
              <a:gd name="connsiteX57" fmla="*/ 2450 w 9827"/>
              <a:gd name="connsiteY57" fmla="*/ 9866 h 10203"/>
              <a:gd name="connsiteX58" fmla="*/ 2648 w 9827"/>
              <a:gd name="connsiteY58" fmla="*/ 9824 h 10203"/>
              <a:gd name="connsiteX59" fmla="*/ 2841 w 9827"/>
              <a:gd name="connsiteY59" fmla="*/ 9779 h 10203"/>
              <a:gd name="connsiteX60" fmla="*/ 3040 w 9827"/>
              <a:gd name="connsiteY60" fmla="*/ 9731 h 10203"/>
              <a:gd name="connsiteX61" fmla="*/ 3228 w 9827"/>
              <a:gd name="connsiteY61" fmla="*/ 9673 h 10203"/>
              <a:gd name="connsiteX62" fmla="*/ 3421 w 9827"/>
              <a:gd name="connsiteY62" fmla="*/ 9616 h 10203"/>
              <a:gd name="connsiteX63" fmla="*/ 3610 w 9827"/>
              <a:gd name="connsiteY63" fmla="*/ 9553 h 10203"/>
              <a:gd name="connsiteX64" fmla="*/ 3797 w 9827"/>
              <a:gd name="connsiteY64" fmla="*/ 9482 h 10203"/>
              <a:gd name="connsiteX65" fmla="*/ 3980 w 9827"/>
              <a:gd name="connsiteY65" fmla="*/ 9405 h 10203"/>
              <a:gd name="connsiteX66" fmla="*/ 4163 w 9827"/>
              <a:gd name="connsiteY66" fmla="*/ 9330 h 10203"/>
              <a:gd name="connsiteX67" fmla="*/ 4347 w 9827"/>
              <a:gd name="connsiteY67" fmla="*/ 9244 h 10203"/>
              <a:gd name="connsiteX68" fmla="*/ 4529 w 9827"/>
              <a:gd name="connsiteY68" fmla="*/ 9159 h 10203"/>
              <a:gd name="connsiteX69" fmla="*/ 4704 w 9827"/>
              <a:gd name="connsiteY69" fmla="*/ 9063 h 10203"/>
              <a:gd name="connsiteX70" fmla="*/ 4880 w 9827"/>
              <a:gd name="connsiteY70" fmla="*/ 8968 h 10203"/>
              <a:gd name="connsiteX71" fmla="*/ 5056 w 9827"/>
              <a:gd name="connsiteY71" fmla="*/ 8865 h 10203"/>
              <a:gd name="connsiteX72" fmla="*/ 5226 w 9827"/>
              <a:gd name="connsiteY72" fmla="*/ 8760 h 10203"/>
              <a:gd name="connsiteX73" fmla="*/ 5396 w 9827"/>
              <a:gd name="connsiteY73" fmla="*/ 8652 h 10203"/>
              <a:gd name="connsiteX74" fmla="*/ 5566 w 9827"/>
              <a:gd name="connsiteY74" fmla="*/ 8536 h 10203"/>
              <a:gd name="connsiteX75" fmla="*/ 5730 w 9827"/>
              <a:gd name="connsiteY75" fmla="*/ 8417 h 10203"/>
              <a:gd name="connsiteX76" fmla="*/ 5891 w 9827"/>
              <a:gd name="connsiteY76" fmla="*/ 8295 h 10203"/>
              <a:gd name="connsiteX77" fmla="*/ 6053 w 9827"/>
              <a:gd name="connsiteY77" fmla="*/ 8169 h 10203"/>
              <a:gd name="connsiteX78" fmla="*/ 6208 w 9827"/>
              <a:gd name="connsiteY78" fmla="*/ 8040 h 10203"/>
              <a:gd name="connsiteX79" fmla="*/ 6362 w 9827"/>
              <a:gd name="connsiteY79" fmla="*/ 7904 h 10203"/>
              <a:gd name="connsiteX80" fmla="*/ 6515 w 9827"/>
              <a:gd name="connsiteY80" fmla="*/ 7768 h 10203"/>
              <a:gd name="connsiteX81" fmla="*/ 6665 w 9827"/>
              <a:gd name="connsiteY81" fmla="*/ 7625 h 10203"/>
              <a:gd name="connsiteX82" fmla="*/ 6813 w 9827"/>
              <a:gd name="connsiteY82" fmla="*/ 7480 h 10203"/>
              <a:gd name="connsiteX83" fmla="*/ 6957 w 9827"/>
              <a:gd name="connsiteY83" fmla="*/ 7329 h 10203"/>
              <a:gd name="connsiteX84" fmla="*/ 7099 w 9827"/>
              <a:gd name="connsiteY84" fmla="*/ 7178 h 10203"/>
              <a:gd name="connsiteX85" fmla="*/ 7237 w 9827"/>
              <a:gd name="connsiteY85" fmla="*/ 7025 h 10203"/>
              <a:gd name="connsiteX86" fmla="*/ 7375 w 9827"/>
              <a:gd name="connsiteY86" fmla="*/ 6862 h 10203"/>
              <a:gd name="connsiteX87" fmla="*/ 7508 w 9827"/>
              <a:gd name="connsiteY87" fmla="*/ 6697 h 10203"/>
              <a:gd name="connsiteX88" fmla="*/ 7638 w 9827"/>
              <a:gd name="connsiteY88" fmla="*/ 6534 h 10203"/>
              <a:gd name="connsiteX89" fmla="*/ 7765 w 9827"/>
              <a:gd name="connsiteY89" fmla="*/ 6365 h 10203"/>
              <a:gd name="connsiteX90" fmla="*/ 7889 w 9827"/>
              <a:gd name="connsiteY90" fmla="*/ 6189 h 10203"/>
              <a:gd name="connsiteX91" fmla="*/ 8011 w 9827"/>
              <a:gd name="connsiteY91" fmla="*/ 6016 h 10203"/>
              <a:gd name="connsiteX92" fmla="*/ 8130 w 9827"/>
              <a:gd name="connsiteY92" fmla="*/ 5835 h 10203"/>
              <a:gd name="connsiteX93" fmla="*/ 8246 w 9827"/>
              <a:gd name="connsiteY93" fmla="*/ 5652 h 10203"/>
              <a:gd name="connsiteX94" fmla="*/ 8355 w 9827"/>
              <a:gd name="connsiteY94" fmla="*/ 5468 h 10203"/>
              <a:gd name="connsiteX95" fmla="*/ 8462 w 9827"/>
              <a:gd name="connsiteY95" fmla="*/ 5278 h 10203"/>
              <a:gd name="connsiteX96" fmla="*/ 8569 w 9827"/>
              <a:gd name="connsiteY96" fmla="*/ 5089 h 10203"/>
              <a:gd name="connsiteX97" fmla="*/ 8671 w 9827"/>
              <a:gd name="connsiteY97" fmla="*/ 4893 h 10203"/>
              <a:gd name="connsiteX98" fmla="*/ 8769 w 9827"/>
              <a:gd name="connsiteY98" fmla="*/ 4698 h 10203"/>
              <a:gd name="connsiteX99" fmla="*/ 8865 w 9827"/>
              <a:gd name="connsiteY99" fmla="*/ 4500 h 10203"/>
              <a:gd name="connsiteX100" fmla="*/ 8953 w 9827"/>
              <a:gd name="connsiteY100" fmla="*/ 4294 h 10203"/>
              <a:gd name="connsiteX101" fmla="*/ 9040 w 9827"/>
              <a:gd name="connsiteY101" fmla="*/ 4091 h 10203"/>
              <a:gd name="connsiteX102" fmla="*/ 9125 w 9827"/>
              <a:gd name="connsiteY102" fmla="*/ 3885 h 10203"/>
              <a:gd name="connsiteX103" fmla="*/ 9207 w 9827"/>
              <a:gd name="connsiteY103" fmla="*/ 3674 h 10203"/>
              <a:gd name="connsiteX104" fmla="*/ 9282 w 9827"/>
              <a:gd name="connsiteY104" fmla="*/ 3464 h 10203"/>
              <a:gd name="connsiteX105" fmla="*/ 9356 w 9827"/>
              <a:gd name="connsiteY105" fmla="*/ 3248 h 10203"/>
              <a:gd name="connsiteX106" fmla="*/ 9424 w 9827"/>
              <a:gd name="connsiteY106" fmla="*/ 3030 h 10203"/>
              <a:gd name="connsiteX107" fmla="*/ 9488 w 9827"/>
              <a:gd name="connsiteY107" fmla="*/ 2815 h 10203"/>
              <a:gd name="connsiteX108" fmla="*/ 9550 w 9827"/>
              <a:gd name="connsiteY108" fmla="*/ 2592 h 10203"/>
              <a:gd name="connsiteX109" fmla="*/ 9606 w 9827"/>
              <a:gd name="connsiteY109" fmla="*/ 2369 h 10203"/>
              <a:gd name="connsiteX110" fmla="*/ 9659 w 9827"/>
              <a:gd name="connsiteY110" fmla="*/ 2143 h 10203"/>
              <a:gd name="connsiteX111" fmla="*/ 9708 w 9827"/>
              <a:gd name="connsiteY111" fmla="*/ 1918 h 10203"/>
              <a:gd name="connsiteX112" fmla="*/ 9752 w 9827"/>
              <a:gd name="connsiteY112" fmla="*/ 1690 h 10203"/>
              <a:gd name="connsiteX113" fmla="*/ 9792 w 9827"/>
              <a:gd name="connsiteY113" fmla="*/ 1457 h 10203"/>
              <a:gd name="connsiteX114" fmla="*/ 9827 w 9827"/>
              <a:gd name="connsiteY114" fmla="*/ 1222 h 10203"/>
              <a:gd name="connsiteX115" fmla="*/ 7025 w 9827"/>
              <a:gd name="connsiteY115" fmla="*/ 1876 h 10203"/>
              <a:gd name="connsiteX116" fmla="*/ 4687 w 9827"/>
              <a:gd name="connsiteY116" fmla="*/ 0 h 10203"/>
              <a:gd name="connsiteX0" fmla="*/ 4427 w 9657"/>
              <a:gd name="connsiteY0" fmla="*/ 0 h 9801"/>
              <a:gd name="connsiteX1" fmla="*/ 4427 w 9657"/>
              <a:gd name="connsiteY1" fmla="*/ 0 h 9801"/>
              <a:gd name="connsiteX2" fmla="*/ 4416 w 9657"/>
              <a:gd name="connsiteY2" fmla="*/ 97 h 9801"/>
              <a:gd name="connsiteX3" fmla="*/ 4398 w 9657"/>
              <a:gd name="connsiteY3" fmla="*/ 197 h 9801"/>
              <a:gd name="connsiteX4" fmla="*/ 4384 w 9657"/>
              <a:gd name="connsiteY4" fmla="*/ 294 h 9801"/>
              <a:gd name="connsiteX5" fmla="*/ 4365 w 9657"/>
              <a:gd name="connsiteY5" fmla="*/ 386 h 9801"/>
              <a:gd name="connsiteX6" fmla="*/ 4344 w 9657"/>
              <a:gd name="connsiteY6" fmla="*/ 481 h 9801"/>
              <a:gd name="connsiteX7" fmla="*/ 4321 w 9657"/>
              <a:gd name="connsiteY7" fmla="*/ 575 h 9801"/>
              <a:gd name="connsiteX8" fmla="*/ 4299 w 9657"/>
              <a:gd name="connsiteY8" fmla="*/ 670 h 9801"/>
              <a:gd name="connsiteX9" fmla="*/ 4274 w 9657"/>
              <a:gd name="connsiteY9" fmla="*/ 763 h 9801"/>
              <a:gd name="connsiteX10" fmla="*/ 4246 w 9657"/>
              <a:gd name="connsiteY10" fmla="*/ 853 h 9801"/>
              <a:gd name="connsiteX11" fmla="*/ 4215 w 9657"/>
              <a:gd name="connsiteY11" fmla="*/ 942 h 9801"/>
              <a:gd name="connsiteX12" fmla="*/ 4188 w 9657"/>
              <a:gd name="connsiteY12" fmla="*/ 1032 h 9801"/>
              <a:gd name="connsiteX13" fmla="*/ 4155 w 9657"/>
              <a:gd name="connsiteY13" fmla="*/ 1122 h 9801"/>
              <a:gd name="connsiteX14" fmla="*/ 4118 w 9657"/>
              <a:gd name="connsiteY14" fmla="*/ 1207 h 9801"/>
              <a:gd name="connsiteX15" fmla="*/ 4084 w 9657"/>
              <a:gd name="connsiteY15" fmla="*/ 1292 h 9801"/>
              <a:gd name="connsiteX16" fmla="*/ 4048 w 9657"/>
              <a:gd name="connsiteY16" fmla="*/ 1377 h 9801"/>
              <a:gd name="connsiteX17" fmla="*/ 4007 w 9657"/>
              <a:gd name="connsiteY17" fmla="*/ 1464 h 9801"/>
              <a:gd name="connsiteX18" fmla="*/ 3969 w 9657"/>
              <a:gd name="connsiteY18" fmla="*/ 1547 h 9801"/>
              <a:gd name="connsiteX19" fmla="*/ 3927 w 9657"/>
              <a:gd name="connsiteY19" fmla="*/ 1630 h 9801"/>
              <a:gd name="connsiteX20" fmla="*/ 3882 w 9657"/>
              <a:gd name="connsiteY20" fmla="*/ 1707 h 9801"/>
              <a:gd name="connsiteX21" fmla="*/ 3835 w 9657"/>
              <a:gd name="connsiteY21" fmla="*/ 1788 h 9801"/>
              <a:gd name="connsiteX22" fmla="*/ 3792 w 9657"/>
              <a:gd name="connsiteY22" fmla="*/ 1865 h 9801"/>
              <a:gd name="connsiteX23" fmla="*/ 3744 w 9657"/>
              <a:gd name="connsiteY23" fmla="*/ 1946 h 9801"/>
              <a:gd name="connsiteX24" fmla="*/ 3694 w 9657"/>
              <a:gd name="connsiteY24" fmla="*/ 2018 h 9801"/>
              <a:gd name="connsiteX25" fmla="*/ 3642 w 9657"/>
              <a:gd name="connsiteY25" fmla="*/ 2091 h 9801"/>
              <a:gd name="connsiteX26" fmla="*/ 3589 w 9657"/>
              <a:gd name="connsiteY26" fmla="*/ 2166 h 9801"/>
              <a:gd name="connsiteX27" fmla="*/ 3537 w 9657"/>
              <a:gd name="connsiteY27" fmla="*/ 2237 h 9801"/>
              <a:gd name="connsiteX28" fmla="*/ 3481 w 9657"/>
              <a:gd name="connsiteY28" fmla="*/ 2307 h 9801"/>
              <a:gd name="connsiteX29" fmla="*/ 3425 w 9657"/>
              <a:gd name="connsiteY29" fmla="*/ 2378 h 9801"/>
              <a:gd name="connsiteX30" fmla="*/ 3369 w 9657"/>
              <a:gd name="connsiteY30" fmla="*/ 2445 h 9801"/>
              <a:gd name="connsiteX31" fmla="*/ 3308 w 9657"/>
              <a:gd name="connsiteY31" fmla="*/ 2511 h 9801"/>
              <a:gd name="connsiteX32" fmla="*/ 3250 w 9657"/>
              <a:gd name="connsiteY32" fmla="*/ 2574 h 9801"/>
              <a:gd name="connsiteX33" fmla="*/ 3187 w 9657"/>
              <a:gd name="connsiteY33" fmla="*/ 2637 h 9801"/>
              <a:gd name="connsiteX34" fmla="*/ 3127 w 9657"/>
              <a:gd name="connsiteY34" fmla="*/ 2698 h 9801"/>
              <a:gd name="connsiteX35" fmla="*/ 3060 w 9657"/>
              <a:gd name="connsiteY35" fmla="*/ 2761 h 9801"/>
              <a:gd name="connsiteX36" fmla="*/ 2997 w 9657"/>
              <a:gd name="connsiteY36" fmla="*/ 2817 h 9801"/>
              <a:gd name="connsiteX37" fmla="*/ 2931 w 9657"/>
              <a:gd name="connsiteY37" fmla="*/ 2876 h 9801"/>
              <a:gd name="connsiteX38" fmla="*/ 2863 w 9657"/>
              <a:gd name="connsiteY38" fmla="*/ 2930 h 9801"/>
              <a:gd name="connsiteX39" fmla="*/ 2794 w 9657"/>
              <a:gd name="connsiteY39" fmla="*/ 2982 h 9801"/>
              <a:gd name="connsiteX40" fmla="*/ 2725 w 9657"/>
              <a:gd name="connsiteY40" fmla="*/ 3035 h 9801"/>
              <a:gd name="connsiteX41" fmla="*/ 2656 w 9657"/>
              <a:gd name="connsiteY41" fmla="*/ 3086 h 9801"/>
              <a:gd name="connsiteX42" fmla="*/ 2585 w 9657"/>
              <a:gd name="connsiteY42" fmla="*/ 3132 h 9801"/>
              <a:gd name="connsiteX43" fmla="*/ 2511 w 9657"/>
              <a:gd name="connsiteY43" fmla="*/ 3178 h 9801"/>
              <a:gd name="connsiteX44" fmla="*/ 2645 w 9657"/>
              <a:gd name="connsiteY44" fmla="*/ 6446 h 9801"/>
              <a:gd name="connsiteX45" fmla="*/ 0 w 9657"/>
              <a:gd name="connsiteY45" fmla="*/ 9767 h 9801"/>
              <a:gd name="connsiteX46" fmla="*/ 174 w 9657"/>
              <a:gd name="connsiteY46" fmla="*/ 9781 h 9801"/>
              <a:gd name="connsiteX47" fmla="*/ 353 w 9657"/>
              <a:gd name="connsiteY47" fmla="*/ 9791 h 9801"/>
              <a:gd name="connsiteX48" fmla="*/ 530 w 9657"/>
              <a:gd name="connsiteY48" fmla="*/ 9796 h 9801"/>
              <a:gd name="connsiteX49" fmla="*/ 706 w 9657"/>
              <a:gd name="connsiteY49" fmla="*/ 9801 h 9801"/>
              <a:gd name="connsiteX50" fmla="*/ 920 w 9657"/>
              <a:gd name="connsiteY50" fmla="*/ 9796 h 9801"/>
              <a:gd name="connsiteX51" fmla="*/ 1127 w 9657"/>
              <a:gd name="connsiteY51" fmla="*/ 9789 h 9801"/>
              <a:gd name="connsiteX52" fmla="*/ 1335 w 9657"/>
              <a:gd name="connsiteY52" fmla="*/ 9777 h 9801"/>
              <a:gd name="connsiteX53" fmla="*/ 1538 w 9657"/>
              <a:gd name="connsiteY53" fmla="*/ 9756 h 9801"/>
              <a:gd name="connsiteX54" fmla="*/ 1744 w 9657"/>
              <a:gd name="connsiteY54" fmla="*/ 9734 h 9801"/>
              <a:gd name="connsiteX55" fmla="*/ 1948 w 9657"/>
              <a:gd name="connsiteY55" fmla="*/ 9701 h 9801"/>
              <a:gd name="connsiteX56" fmla="*/ 2150 w 9657"/>
              <a:gd name="connsiteY56" fmla="*/ 9670 h 9801"/>
              <a:gd name="connsiteX57" fmla="*/ 2352 w 9657"/>
              <a:gd name="connsiteY57" fmla="*/ 9629 h 9801"/>
              <a:gd name="connsiteX58" fmla="*/ 2548 w 9657"/>
              <a:gd name="connsiteY58" fmla="*/ 9584 h 9801"/>
              <a:gd name="connsiteX59" fmla="*/ 2751 w 9657"/>
              <a:gd name="connsiteY59" fmla="*/ 9537 h 9801"/>
              <a:gd name="connsiteX60" fmla="*/ 2942 w 9657"/>
              <a:gd name="connsiteY60" fmla="*/ 9481 h 9801"/>
              <a:gd name="connsiteX61" fmla="*/ 3138 w 9657"/>
              <a:gd name="connsiteY61" fmla="*/ 9425 h 9801"/>
              <a:gd name="connsiteX62" fmla="*/ 3331 w 9657"/>
              <a:gd name="connsiteY62" fmla="*/ 9363 h 9801"/>
              <a:gd name="connsiteX63" fmla="*/ 3521 w 9657"/>
              <a:gd name="connsiteY63" fmla="*/ 9293 h 9801"/>
              <a:gd name="connsiteX64" fmla="*/ 3707 w 9657"/>
              <a:gd name="connsiteY64" fmla="*/ 9218 h 9801"/>
              <a:gd name="connsiteX65" fmla="*/ 3893 w 9657"/>
              <a:gd name="connsiteY65" fmla="*/ 9144 h 9801"/>
              <a:gd name="connsiteX66" fmla="*/ 4081 w 9657"/>
              <a:gd name="connsiteY66" fmla="*/ 9060 h 9801"/>
              <a:gd name="connsiteX67" fmla="*/ 4266 w 9657"/>
              <a:gd name="connsiteY67" fmla="*/ 8977 h 9801"/>
              <a:gd name="connsiteX68" fmla="*/ 4444 w 9657"/>
              <a:gd name="connsiteY68" fmla="*/ 8883 h 9801"/>
              <a:gd name="connsiteX69" fmla="*/ 4623 w 9657"/>
              <a:gd name="connsiteY69" fmla="*/ 8790 h 9801"/>
              <a:gd name="connsiteX70" fmla="*/ 4802 w 9657"/>
              <a:gd name="connsiteY70" fmla="*/ 8689 h 9801"/>
              <a:gd name="connsiteX71" fmla="*/ 4975 w 9657"/>
              <a:gd name="connsiteY71" fmla="*/ 8586 h 9801"/>
              <a:gd name="connsiteX72" fmla="*/ 5148 w 9657"/>
              <a:gd name="connsiteY72" fmla="*/ 8480 h 9801"/>
              <a:gd name="connsiteX73" fmla="*/ 5321 w 9657"/>
              <a:gd name="connsiteY73" fmla="*/ 8366 h 9801"/>
              <a:gd name="connsiteX74" fmla="*/ 5488 w 9657"/>
              <a:gd name="connsiteY74" fmla="*/ 8250 h 9801"/>
              <a:gd name="connsiteX75" fmla="*/ 5652 w 9657"/>
              <a:gd name="connsiteY75" fmla="*/ 8130 h 9801"/>
              <a:gd name="connsiteX76" fmla="*/ 5817 w 9657"/>
              <a:gd name="connsiteY76" fmla="*/ 8006 h 9801"/>
              <a:gd name="connsiteX77" fmla="*/ 5974 w 9657"/>
              <a:gd name="connsiteY77" fmla="*/ 7880 h 9801"/>
              <a:gd name="connsiteX78" fmla="*/ 6131 w 9657"/>
              <a:gd name="connsiteY78" fmla="*/ 7747 h 9801"/>
              <a:gd name="connsiteX79" fmla="*/ 6287 w 9657"/>
              <a:gd name="connsiteY79" fmla="*/ 7613 h 9801"/>
              <a:gd name="connsiteX80" fmla="*/ 6439 w 9657"/>
              <a:gd name="connsiteY80" fmla="*/ 7473 h 9801"/>
              <a:gd name="connsiteX81" fmla="*/ 6590 w 9657"/>
              <a:gd name="connsiteY81" fmla="*/ 7331 h 9801"/>
              <a:gd name="connsiteX82" fmla="*/ 6736 w 9657"/>
              <a:gd name="connsiteY82" fmla="*/ 7183 h 9801"/>
              <a:gd name="connsiteX83" fmla="*/ 6881 w 9657"/>
              <a:gd name="connsiteY83" fmla="*/ 7035 h 9801"/>
              <a:gd name="connsiteX84" fmla="*/ 7021 w 9657"/>
              <a:gd name="connsiteY84" fmla="*/ 6885 h 9801"/>
              <a:gd name="connsiteX85" fmla="*/ 7162 w 9657"/>
              <a:gd name="connsiteY85" fmla="*/ 6725 h 9801"/>
              <a:gd name="connsiteX86" fmla="*/ 7297 w 9657"/>
              <a:gd name="connsiteY86" fmla="*/ 6564 h 9801"/>
              <a:gd name="connsiteX87" fmla="*/ 7429 w 9657"/>
              <a:gd name="connsiteY87" fmla="*/ 6404 h 9801"/>
              <a:gd name="connsiteX88" fmla="*/ 7559 w 9657"/>
              <a:gd name="connsiteY88" fmla="*/ 6238 h 9801"/>
              <a:gd name="connsiteX89" fmla="*/ 7685 w 9657"/>
              <a:gd name="connsiteY89" fmla="*/ 6066 h 9801"/>
              <a:gd name="connsiteX90" fmla="*/ 7809 w 9657"/>
              <a:gd name="connsiteY90" fmla="*/ 5896 h 9801"/>
              <a:gd name="connsiteX91" fmla="*/ 7930 w 9657"/>
              <a:gd name="connsiteY91" fmla="*/ 5719 h 9801"/>
              <a:gd name="connsiteX92" fmla="*/ 8048 w 9657"/>
              <a:gd name="connsiteY92" fmla="*/ 5540 h 9801"/>
              <a:gd name="connsiteX93" fmla="*/ 8159 w 9657"/>
              <a:gd name="connsiteY93" fmla="*/ 5359 h 9801"/>
              <a:gd name="connsiteX94" fmla="*/ 8268 w 9657"/>
              <a:gd name="connsiteY94" fmla="*/ 5173 h 9801"/>
              <a:gd name="connsiteX95" fmla="*/ 8377 w 9657"/>
              <a:gd name="connsiteY95" fmla="*/ 4988 h 9801"/>
              <a:gd name="connsiteX96" fmla="*/ 8481 w 9657"/>
              <a:gd name="connsiteY96" fmla="*/ 4796 h 9801"/>
              <a:gd name="connsiteX97" fmla="*/ 8580 w 9657"/>
              <a:gd name="connsiteY97" fmla="*/ 4605 h 9801"/>
              <a:gd name="connsiteX98" fmla="*/ 8678 w 9657"/>
              <a:gd name="connsiteY98" fmla="*/ 4410 h 9801"/>
              <a:gd name="connsiteX99" fmla="*/ 8768 w 9657"/>
              <a:gd name="connsiteY99" fmla="*/ 4209 h 9801"/>
              <a:gd name="connsiteX100" fmla="*/ 8856 w 9657"/>
              <a:gd name="connsiteY100" fmla="*/ 4010 h 9801"/>
              <a:gd name="connsiteX101" fmla="*/ 8943 w 9657"/>
              <a:gd name="connsiteY101" fmla="*/ 3808 h 9801"/>
              <a:gd name="connsiteX102" fmla="*/ 9026 w 9657"/>
              <a:gd name="connsiteY102" fmla="*/ 3601 h 9801"/>
              <a:gd name="connsiteX103" fmla="*/ 9102 w 9657"/>
              <a:gd name="connsiteY103" fmla="*/ 3395 h 9801"/>
              <a:gd name="connsiteX104" fmla="*/ 9178 w 9657"/>
              <a:gd name="connsiteY104" fmla="*/ 3183 h 9801"/>
              <a:gd name="connsiteX105" fmla="*/ 9247 w 9657"/>
              <a:gd name="connsiteY105" fmla="*/ 2970 h 9801"/>
              <a:gd name="connsiteX106" fmla="*/ 9312 w 9657"/>
              <a:gd name="connsiteY106" fmla="*/ 2759 h 9801"/>
              <a:gd name="connsiteX107" fmla="*/ 9375 w 9657"/>
              <a:gd name="connsiteY107" fmla="*/ 2540 h 9801"/>
              <a:gd name="connsiteX108" fmla="*/ 9432 w 9657"/>
              <a:gd name="connsiteY108" fmla="*/ 2322 h 9801"/>
              <a:gd name="connsiteX109" fmla="*/ 9486 w 9657"/>
              <a:gd name="connsiteY109" fmla="*/ 2100 h 9801"/>
              <a:gd name="connsiteX110" fmla="*/ 9536 w 9657"/>
              <a:gd name="connsiteY110" fmla="*/ 1880 h 9801"/>
              <a:gd name="connsiteX111" fmla="*/ 9581 w 9657"/>
              <a:gd name="connsiteY111" fmla="*/ 1656 h 9801"/>
              <a:gd name="connsiteX112" fmla="*/ 9621 w 9657"/>
              <a:gd name="connsiteY112" fmla="*/ 1428 h 9801"/>
              <a:gd name="connsiteX113" fmla="*/ 9657 w 9657"/>
              <a:gd name="connsiteY113" fmla="*/ 1198 h 9801"/>
              <a:gd name="connsiteX114" fmla="*/ 6806 w 9657"/>
              <a:gd name="connsiteY114" fmla="*/ 1839 h 9801"/>
              <a:gd name="connsiteX115" fmla="*/ 4427 w 9657"/>
              <a:gd name="connsiteY115" fmla="*/ 0 h 9801"/>
              <a:gd name="connsiteX0" fmla="*/ 4552 w 9968"/>
              <a:gd name="connsiteY0" fmla="*/ 0 h 10234"/>
              <a:gd name="connsiteX1" fmla="*/ 4552 w 9968"/>
              <a:gd name="connsiteY1" fmla="*/ 0 h 10234"/>
              <a:gd name="connsiteX2" fmla="*/ 4541 w 9968"/>
              <a:gd name="connsiteY2" fmla="*/ 99 h 10234"/>
              <a:gd name="connsiteX3" fmla="*/ 4522 w 9968"/>
              <a:gd name="connsiteY3" fmla="*/ 201 h 10234"/>
              <a:gd name="connsiteX4" fmla="*/ 4508 w 9968"/>
              <a:gd name="connsiteY4" fmla="*/ 300 h 10234"/>
              <a:gd name="connsiteX5" fmla="*/ 4488 w 9968"/>
              <a:gd name="connsiteY5" fmla="*/ 394 h 10234"/>
              <a:gd name="connsiteX6" fmla="*/ 4466 w 9968"/>
              <a:gd name="connsiteY6" fmla="*/ 491 h 10234"/>
              <a:gd name="connsiteX7" fmla="*/ 4442 w 9968"/>
              <a:gd name="connsiteY7" fmla="*/ 587 h 10234"/>
              <a:gd name="connsiteX8" fmla="*/ 4420 w 9968"/>
              <a:gd name="connsiteY8" fmla="*/ 684 h 10234"/>
              <a:gd name="connsiteX9" fmla="*/ 4394 w 9968"/>
              <a:gd name="connsiteY9" fmla="*/ 778 h 10234"/>
              <a:gd name="connsiteX10" fmla="*/ 4365 w 9968"/>
              <a:gd name="connsiteY10" fmla="*/ 870 h 10234"/>
              <a:gd name="connsiteX11" fmla="*/ 4333 w 9968"/>
              <a:gd name="connsiteY11" fmla="*/ 961 h 10234"/>
              <a:gd name="connsiteX12" fmla="*/ 4305 w 9968"/>
              <a:gd name="connsiteY12" fmla="*/ 1053 h 10234"/>
              <a:gd name="connsiteX13" fmla="*/ 4271 w 9968"/>
              <a:gd name="connsiteY13" fmla="*/ 1145 h 10234"/>
              <a:gd name="connsiteX14" fmla="*/ 4232 w 9968"/>
              <a:gd name="connsiteY14" fmla="*/ 1232 h 10234"/>
              <a:gd name="connsiteX15" fmla="*/ 4197 w 9968"/>
              <a:gd name="connsiteY15" fmla="*/ 1318 h 10234"/>
              <a:gd name="connsiteX16" fmla="*/ 4160 w 9968"/>
              <a:gd name="connsiteY16" fmla="*/ 1405 h 10234"/>
              <a:gd name="connsiteX17" fmla="*/ 4117 w 9968"/>
              <a:gd name="connsiteY17" fmla="*/ 1494 h 10234"/>
              <a:gd name="connsiteX18" fmla="*/ 4078 w 9968"/>
              <a:gd name="connsiteY18" fmla="*/ 1578 h 10234"/>
              <a:gd name="connsiteX19" fmla="*/ 4034 w 9968"/>
              <a:gd name="connsiteY19" fmla="*/ 1663 h 10234"/>
              <a:gd name="connsiteX20" fmla="*/ 3988 w 9968"/>
              <a:gd name="connsiteY20" fmla="*/ 1742 h 10234"/>
              <a:gd name="connsiteX21" fmla="*/ 3939 w 9968"/>
              <a:gd name="connsiteY21" fmla="*/ 1824 h 10234"/>
              <a:gd name="connsiteX22" fmla="*/ 3895 w 9968"/>
              <a:gd name="connsiteY22" fmla="*/ 1903 h 10234"/>
              <a:gd name="connsiteX23" fmla="*/ 3845 w 9968"/>
              <a:gd name="connsiteY23" fmla="*/ 1986 h 10234"/>
              <a:gd name="connsiteX24" fmla="*/ 3793 w 9968"/>
              <a:gd name="connsiteY24" fmla="*/ 2059 h 10234"/>
              <a:gd name="connsiteX25" fmla="*/ 3739 w 9968"/>
              <a:gd name="connsiteY25" fmla="*/ 2133 h 10234"/>
              <a:gd name="connsiteX26" fmla="*/ 3684 w 9968"/>
              <a:gd name="connsiteY26" fmla="*/ 2210 h 10234"/>
              <a:gd name="connsiteX27" fmla="*/ 3631 w 9968"/>
              <a:gd name="connsiteY27" fmla="*/ 2282 h 10234"/>
              <a:gd name="connsiteX28" fmla="*/ 3573 w 9968"/>
              <a:gd name="connsiteY28" fmla="*/ 2354 h 10234"/>
              <a:gd name="connsiteX29" fmla="*/ 3515 w 9968"/>
              <a:gd name="connsiteY29" fmla="*/ 2426 h 10234"/>
              <a:gd name="connsiteX30" fmla="*/ 3457 w 9968"/>
              <a:gd name="connsiteY30" fmla="*/ 2495 h 10234"/>
              <a:gd name="connsiteX31" fmla="*/ 3393 w 9968"/>
              <a:gd name="connsiteY31" fmla="*/ 2562 h 10234"/>
              <a:gd name="connsiteX32" fmla="*/ 3333 w 9968"/>
              <a:gd name="connsiteY32" fmla="*/ 2626 h 10234"/>
              <a:gd name="connsiteX33" fmla="*/ 3268 w 9968"/>
              <a:gd name="connsiteY33" fmla="*/ 2691 h 10234"/>
              <a:gd name="connsiteX34" fmla="*/ 3206 w 9968"/>
              <a:gd name="connsiteY34" fmla="*/ 2753 h 10234"/>
              <a:gd name="connsiteX35" fmla="*/ 3137 w 9968"/>
              <a:gd name="connsiteY35" fmla="*/ 2817 h 10234"/>
              <a:gd name="connsiteX36" fmla="*/ 3071 w 9968"/>
              <a:gd name="connsiteY36" fmla="*/ 2874 h 10234"/>
              <a:gd name="connsiteX37" fmla="*/ 3003 w 9968"/>
              <a:gd name="connsiteY37" fmla="*/ 2934 h 10234"/>
              <a:gd name="connsiteX38" fmla="*/ 2933 w 9968"/>
              <a:gd name="connsiteY38" fmla="*/ 2989 h 10234"/>
              <a:gd name="connsiteX39" fmla="*/ 2861 w 9968"/>
              <a:gd name="connsiteY39" fmla="*/ 3043 h 10234"/>
              <a:gd name="connsiteX40" fmla="*/ 2790 w 9968"/>
              <a:gd name="connsiteY40" fmla="*/ 3097 h 10234"/>
              <a:gd name="connsiteX41" fmla="*/ 2718 w 9968"/>
              <a:gd name="connsiteY41" fmla="*/ 3149 h 10234"/>
              <a:gd name="connsiteX42" fmla="*/ 2645 w 9968"/>
              <a:gd name="connsiteY42" fmla="*/ 3196 h 10234"/>
              <a:gd name="connsiteX43" fmla="*/ 2568 w 9968"/>
              <a:gd name="connsiteY43" fmla="*/ 3243 h 10234"/>
              <a:gd name="connsiteX44" fmla="*/ 2707 w 9968"/>
              <a:gd name="connsiteY44" fmla="*/ 6577 h 10234"/>
              <a:gd name="connsiteX45" fmla="*/ 148 w 9968"/>
              <a:gd name="connsiteY45" fmla="*/ 9980 h 10234"/>
              <a:gd name="connsiteX46" fmla="*/ 334 w 9968"/>
              <a:gd name="connsiteY46" fmla="*/ 9990 h 10234"/>
              <a:gd name="connsiteX47" fmla="*/ 517 w 9968"/>
              <a:gd name="connsiteY47" fmla="*/ 9995 h 10234"/>
              <a:gd name="connsiteX48" fmla="*/ 699 w 9968"/>
              <a:gd name="connsiteY48" fmla="*/ 10000 h 10234"/>
              <a:gd name="connsiteX49" fmla="*/ 921 w 9968"/>
              <a:gd name="connsiteY49" fmla="*/ 9995 h 10234"/>
              <a:gd name="connsiteX50" fmla="*/ 1135 w 9968"/>
              <a:gd name="connsiteY50" fmla="*/ 9988 h 10234"/>
              <a:gd name="connsiteX51" fmla="*/ 1350 w 9968"/>
              <a:gd name="connsiteY51" fmla="*/ 9976 h 10234"/>
              <a:gd name="connsiteX52" fmla="*/ 1561 w 9968"/>
              <a:gd name="connsiteY52" fmla="*/ 9954 h 10234"/>
              <a:gd name="connsiteX53" fmla="*/ 1774 w 9968"/>
              <a:gd name="connsiteY53" fmla="*/ 9932 h 10234"/>
              <a:gd name="connsiteX54" fmla="*/ 1985 w 9968"/>
              <a:gd name="connsiteY54" fmla="*/ 9898 h 10234"/>
              <a:gd name="connsiteX55" fmla="*/ 2194 w 9968"/>
              <a:gd name="connsiteY55" fmla="*/ 9866 h 10234"/>
              <a:gd name="connsiteX56" fmla="*/ 2404 w 9968"/>
              <a:gd name="connsiteY56" fmla="*/ 9825 h 10234"/>
              <a:gd name="connsiteX57" fmla="*/ 2607 w 9968"/>
              <a:gd name="connsiteY57" fmla="*/ 9779 h 10234"/>
              <a:gd name="connsiteX58" fmla="*/ 2817 w 9968"/>
              <a:gd name="connsiteY58" fmla="*/ 9731 h 10234"/>
              <a:gd name="connsiteX59" fmla="*/ 3014 w 9968"/>
              <a:gd name="connsiteY59" fmla="*/ 9674 h 10234"/>
              <a:gd name="connsiteX60" fmla="*/ 3217 w 9968"/>
              <a:gd name="connsiteY60" fmla="*/ 9616 h 10234"/>
              <a:gd name="connsiteX61" fmla="*/ 3417 w 9968"/>
              <a:gd name="connsiteY61" fmla="*/ 9553 h 10234"/>
              <a:gd name="connsiteX62" fmla="*/ 3614 w 9968"/>
              <a:gd name="connsiteY62" fmla="*/ 9482 h 10234"/>
              <a:gd name="connsiteX63" fmla="*/ 3807 w 9968"/>
              <a:gd name="connsiteY63" fmla="*/ 9405 h 10234"/>
              <a:gd name="connsiteX64" fmla="*/ 3999 w 9968"/>
              <a:gd name="connsiteY64" fmla="*/ 9330 h 10234"/>
              <a:gd name="connsiteX65" fmla="*/ 4194 w 9968"/>
              <a:gd name="connsiteY65" fmla="*/ 9244 h 10234"/>
              <a:gd name="connsiteX66" fmla="*/ 4386 w 9968"/>
              <a:gd name="connsiteY66" fmla="*/ 9159 h 10234"/>
              <a:gd name="connsiteX67" fmla="*/ 4570 w 9968"/>
              <a:gd name="connsiteY67" fmla="*/ 9063 h 10234"/>
              <a:gd name="connsiteX68" fmla="*/ 4755 w 9968"/>
              <a:gd name="connsiteY68" fmla="*/ 8968 h 10234"/>
              <a:gd name="connsiteX69" fmla="*/ 4941 w 9968"/>
              <a:gd name="connsiteY69" fmla="*/ 8865 h 10234"/>
              <a:gd name="connsiteX70" fmla="*/ 5120 w 9968"/>
              <a:gd name="connsiteY70" fmla="*/ 8760 h 10234"/>
              <a:gd name="connsiteX71" fmla="*/ 5299 w 9968"/>
              <a:gd name="connsiteY71" fmla="*/ 8652 h 10234"/>
              <a:gd name="connsiteX72" fmla="*/ 5478 w 9968"/>
              <a:gd name="connsiteY72" fmla="*/ 8536 h 10234"/>
              <a:gd name="connsiteX73" fmla="*/ 5651 w 9968"/>
              <a:gd name="connsiteY73" fmla="*/ 8418 h 10234"/>
              <a:gd name="connsiteX74" fmla="*/ 5821 w 9968"/>
              <a:gd name="connsiteY74" fmla="*/ 8295 h 10234"/>
              <a:gd name="connsiteX75" fmla="*/ 5992 w 9968"/>
              <a:gd name="connsiteY75" fmla="*/ 8169 h 10234"/>
              <a:gd name="connsiteX76" fmla="*/ 6154 w 9968"/>
              <a:gd name="connsiteY76" fmla="*/ 8040 h 10234"/>
              <a:gd name="connsiteX77" fmla="*/ 6317 w 9968"/>
              <a:gd name="connsiteY77" fmla="*/ 7904 h 10234"/>
              <a:gd name="connsiteX78" fmla="*/ 6478 w 9968"/>
              <a:gd name="connsiteY78" fmla="*/ 7768 h 10234"/>
              <a:gd name="connsiteX79" fmla="*/ 6636 w 9968"/>
              <a:gd name="connsiteY79" fmla="*/ 7625 h 10234"/>
              <a:gd name="connsiteX80" fmla="*/ 6792 w 9968"/>
              <a:gd name="connsiteY80" fmla="*/ 7480 h 10234"/>
              <a:gd name="connsiteX81" fmla="*/ 6943 w 9968"/>
              <a:gd name="connsiteY81" fmla="*/ 7329 h 10234"/>
              <a:gd name="connsiteX82" fmla="*/ 7093 w 9968"/>
              <a:gd name="connsiteY82" fmla="*/ 7178 h 10234"/>
              <a:gd name="connsiteX83" fmla="*/ 7238 w 9968"/>
              <a:gd name="connsiteY83" fmla="*/ 7025 h 10234"/>
              <a:gd name="connsiteX84" fmla="*/ 7384 w 9968"/>
              <a:gd name="connsiteY84" fmla="*/ 6862 h 10234"/>
              <a:gd name="connsiteX85" fmla="*/ 7524 w 9968"/>
              <a:gd name="connsiteY85" fmla="*/ 6697 h 10234"/>
              <a:gd name="connsiteX86" fmla="*/ 7661 w 9968"/>
              <a:gd name="connsiteY86" fmla="*/ 6534 h 10234"/>
              <a:gd name="connsiteX87" fmla="*/ 7795 w 9968"/>
              <a:gd name="connsiteY87" fmla="*/ 6365 h 10234"/>
              <a:gd name="connsiteX88" fmla="*/ 7926 w 9968"/>
              <a:gd name="connsiteY88" fmla="*/ 6189 h 10234"/>
              <a:gd name="connsiteX89" fmla="*/ 8054 w 9968"/>
              <a:gd name="connsiteY89" fmla="*/ 6016 h 10234"/>
              <a:gd name="connsiteX90" fmla="*/ 8180 w 9968"/>
              <a:gd name="connsiteY90" fmla="*/ 5835 h 10234"/>
              <a:gd name="connsiteX91" fmla="*/ 8302 w 9968"/>
              <a:gd name="connsiteY91" fmla="*/ 5652 h 10234"/>
              <a:gd name="connsiteX92" fmla="*/ 8417 w 9968"/>
              <a:gd name="connsiteY92" fmla="*/ 5468 h 10234"/>
              <a:gd name="connsiteX93" fmla="*/ 8530 w 9968"/>
              <a:gd name="connsiteY93" fmla="*/ 5278 h 10234"/>
              <a:gd name="connsiteX94" fmla="*/ 8643 w 9968"/>
              <a:gd name="connsiteY94" fmla="*/ 5089 h 10234"/>
              <a:gd name="connsiteX95" fmla="*/ 8750 w 9968"/>
              <a:gd name="connsiteY95" fmla="*/ 4893 h 10234"/>
              <a:gd name="connsiteX96" fmla="*/ 8853 w 9968"/>
              <a:gd name="connsiteY96" fmla="*/ 4699 h 10234"/>
              <a:gd name="connsiteX97" fmla="*/ 8954 w 9968"/>
              <a:gd name="connsiteY97" fmla="*/ 4500 h 10234"/>
              <a:gd name="connsiteX98" fmla="*/ 9047 w 9968"/>
              <a:gd name="connsiteY98" fmla="*/ 4294 h 10234"/>
              <a:gd name="connsiteX99" fmla="*/ 9139 w 9968"/>
              <a:gd name="connsiteY99" fmla="*/ 4091 h 10234"/>
              <a:gd name="connsiteX100" fmla="*/ 9229 w 9968"/>
              <a:gd name="connsiteY100" fmla="*/ 3885 h 10234"/>
              <a:gd name="connsiteX101" fmla="*/ 9315 w 9968"/>
              <a:gd name="connsiteY101" fmla="*/ 3674 h 10234"/>
              <a:gd name="connsiteX102" fmla="*/ 9393 w 9968"/>
              <a:gd name="connsiteY102" fmla="*/ 3464 h 10234"/>
              <a:gd name="connsiteX103" fmla="*/ 9472 w 9968"/>
              <a:gd name="connsiteY103" fmla="*/ 3248 h 10234"/>
              <a:gd name="connsiteX104" fmla="*/ 9543 w 9968"/>
              <a:gd name="connsiteY104" fmla="*/ 3030 h 10234"/>
              <a:gd name="connsiteX105" fmla="*/ 9611 w 9968"/>
              <a:gd name="connsiteY105" fmla="*/ 2815 h 10234"/>
              <a:gd name="connsiteX106" fmla="*/ 9676 w 9968"/>
              <a:gd name="connsiteY106" fmla="*/ 2592 h 10234"/>
              <a:gd name="connsiteX107" fmla="*/ 9735 w 9968"/>
              <a:gd name="connsiteY107" fmla="*/ 2369 h 10234"/>
              <a:gd name="connsiteX108" fmla="*/ 9791 w 9968"/>
              <a:gd name="connsiteY108" fmla="*/ 2143 h 10234"/>
              <a:gd name="connsiteX109" fmla="*/ 9843 w 9968"/>
              <a:gd name="connsiteY109" fmla="*/ 1918 h 10234"/>
              <a:gd name="connsiteX110" fmla="*/ 9889 w 9968"/>
              <a:gd name="connsiteY110" fmla="*/ 1690 h 10234"/>
              <a:gd name="connsiteX111" fmla="*/ 9931 w 9968"/>
              <a:gd name="connsiteY111" fmla="*/ 1457 h 10234"/>
              <a:gd name="connsiteX112" fmla="*/ 9968 w 9968"/>
              <a:gd name="connsiteY112" fmla="*/ 1222 h 10234"/>
              <a:gd name="connsiteX113" fmla="*/ 7016 w 9968"/>
              <a:gd name="connsiteY113" fmla="*/ 1876 h 10234"/>
              <a:gd name="connsiteX114" fmla="*/ 4552 w 9968"/>
              <a:gd name="connsiteY114" fmla="*/ 0 h 10234"/>
              <a:gd name="connsiteX0" fmla="*/ 4367 w 9800"/>
              <a:gd name="connsiteY0" fmla="*/ 0 h 10009"/>
              <a:gd name="connsiteX1" fmla="*/ 4367 w 9800"/>
              <a:gd name="connsiteY1" fmla="*/ 0 h 10009"/>
              <a:gd name="connsiteX2" fmla="*/ 4356 w 9800"/>
              <a:gd name="connsiteY2" fmla="*/ 97 h 10009"/>
              <a:gd name="connsiteX3" fmla="*/ 4337 w 9800"/>
              <a:gd name="connsiteY3" fmla="*/ 196 h 10009"/>
              <a:gd name="connsiteX4" fmla="*/ 4322 w 9800"/>
              <a:gd name="connsiteY4" fmla="*/ 293 h 10009"/>
              <a:gd name="connsiteX5" fmla="*/ 4302 w 9800"/>
              <a:gd name="connsiteY5" fmla="*/ 385 h 10009"/>
              <a:gd name="connsiteX6" fmla="*/ 4280 w 9800"/>
              <a:gd name="connsiteY6" fmla="*/ 480 h 10009"/>
              <a:gd name="connsiteX7" fmla="*/ 4256 w 9800"/>
              <a:gd name="connsiteY7" fmla="*/ 574 h 10009"/>
              <a:gd name="connsiteX8" fmla="*/ 4234 w 9800"/>
              <a:gd name="connsiteY8" fmla="*/ 668 h 10009"/>
              <a:gd name="connsiteX9" fmla="*/ 4208 w 9800"/>
              <a:gd name="connsiteY9" fmla="*/ 760 h 10009"/>
              <a:gd name="connsiteX10" fmla="*/ 4179 w 9800"/>
              <a:gd name="connsiteY10" fmla="*/ 850 h 10009"/>
              <a:gd name="connsiteX11" fmla="*/ 4147 w 9800"/>
              <a:gd name="connsiteY11" fmla="*/ 939 h 10009"/>
              <a:gd name="connsiteX12" fmla="*/ 4119 w 9800"/>
              <a:gd name="connsiteY12" fmla="*/ 1029 h 10009"/>
              <a:gd name="connsiteX13" fmla="*/ 4085 w 9800"/>
              <a:gd name="connsiteY13" fmla="*/ 1119 h 10009"/>
              <a:gd name="connsiteX14" fmla="*/ 4046 w 9800"/>
              <a:gd name="connsiteY14" fmla="*/ 1204 h 10009"/>
              <a:gd name="connsiteX15" fmla="*/ 4010 w 9800"/>
              <a:gd name="connsiteY15" fmla="*/ 1288 h 10009"/>
              <a:gd name="connsiteX16" fmla="*/ 3973 w 9800"/>
              <a:gd name="connsiteY16" fmla="*/ 1373 h 10009"/>
              <a:gd name="connsiteX17" fmla="*/ 3930 w 9800"/>
              <a:gd name="connsiteY17" fmla="*/ 1460 h 10009"/>
              <a:gd name="connsiteX18" fmla="*/ 3891 w 9800"/>
              <a:gd name="connsiteY18" fmla="*/ 1542 h 10009"/>
              <a:gd name="connsiteX19" fmla="*/ 3847 w 9800"/>
              <a:gd name="connsiteY19" fmla="*/ 1625 h 10009"/>
              <a:gd name="connsiteX20" fmla="*/ 3801 w 9800"/>
              <a:gd name="connsiteY20" fmla="*/ 1702 h 10009"/>
              <a:gd name="connsiteX21" fmla="*/ 3752 w 9800"/>
              <a:gd name="connsiteY21" fmla="*/ 1782 h 10009"/>
              <a:gd name="connsiteX22" fmla="*/ 3708 w 9800"/>
              <a:gd name="connsiteY22" fmla="*/ 1859 h 10009"/>
              <a:gd name="connsiteX23" fmla="*/ 3657 w 9800"/>
              <a:gd name="connsiteY23" fmla="*/ 1941 h 10009"/>
              <a:gd name="connsiteX24" fmla="*/ 3605 w 9800"/>
              <a:gd name="connsiteY24" fmla="*/ 2012 h 10009"/>
              <a:gd name="connsiteX25" fmla="*/ 3551 w 9800"/>
              <a:gd name="connsiteY25" fmla="*/ 2084 h 10009"/>
              <a:gd name="connsiteX26" fmla="*/ 3496 w 9800"/>
              <a:gd name="connsiteY26" fmla="*/ 2159 h 10009"/>
              <a:gd name="connsiteX27" fmla="*/ 3443 w 9800"/>
              <a:gd name="connsiteY27" fmla="*/ 2230 h 10009"/>
              <a:gd name="connsiteX28" fmla="*/ 3384 w 9800"/>
              <a:gd name="connsiteY28" fmla="*/ 2300 h 10009"/>
              <a:gd name="connsiteX29" fmla="*/ 3326 w 9800"/>
              <a:gd name="connsiteY29" fmla="*/ 2371 h 10009"/>
              <a:gd name="connsiteX30" fmla="*/ 3268 w 9800"/>
              <a:gd name="connsiteY30" fmla="*/ 2438 h 10009"/>
              <a:gd name="connsiteX31" fmla="*/ 3204 w 9800"/>
              <a:gd name="connsiteY31" fmla="*/ 2503 h 10009"/>
              <a:gd name="connsiteX32" fmla="*/ 3144 w 9800"/>
              <a:gd name="connsiteY32" fmla="*/ 2566 h 10009"/>
              <a:gd name="connsiteX33" fmla="*/ 3078 w 9800"/>
              <a:gd name="connsiteY33" fmla="*/ 2629 h 10009"/>
              <a:gd name="connsiteX34" fmla="*/ 3016 w 9800"/>
              <a:gd name="connsiteY34" fmla="*/ 2690 h 10009"/>
              <a:gd name="connsiteX35" fmla="*/ 2947 w 9800"/>
              <a:gd name="connsiteY35" fmla="*/ 2753 h 10009"/>
              <a:gd name="connsiteX36" fmla="*/ 2881 w 9800"/>
              <a:gd name="connsiteY36" fmla="*/ 2808 h 10009"/>
              <a:gd name="connsiteX37" fmla="*/ 2813 w 9800"/>
              <a:gd name="connsiteY37" fmla="*/ 2867 h 10009"/>
              <a:gd name="connsiteX38" fmla="*/ 2742 w 9800"/>
              <a:gd name="connsiteY38" fmla="*/ 2921 h 10009"/>
              <a:gd name="connsiteX39" fmla="*/ 2670 w 9800"/>
              <a:gd name="connsiteY39" fmla="*/ 2973 h 10009"/>
              <a:gd name="connsiteX40" fmla="*/ 2599 w 9800"/>
              <a:gd name="connsiteY40" fmla="*/ 3026 h 10009"/>
              <a:gd name="connsiteX41" fmla="*/ 2527 w 9800"/>
              <a:gd name="connsiteY41" fmla="*/ 3077 h 10009"/>
              <a:gd name="connsiteX42" fmla="*/ 2453 w 9800"/>
              <a:gd name="connsiteY42" fmla="*/ 3123 h 10009"/>
              <a:gd name="connsiteX43" fmla="*/ 2376 w 9800"/>
              <a:gd name="connsiteY43" fmla="*/ 3169 h 10009"/>
              <a:gd name="connsiteX44" fmla="*/ 2516 w 9800"/>
              <a:gd name="connsiteY44" fmla="*/ 6427 h 10009"/>
              <a:gd name="connsiteX45" fmla="*/ 135 w 9800"/>
              <a:gd name="connsiteY45" fmla="*/ 9762 h 10009"/>
              <a:gd name="connsiteX46" fmla="*/ 319 w 9800"/>
              <a:gd name="connsiteY46" fmla="*/ 9766 h 10009"/>
              <a:gd name="connsiteX47" fmla="*/ 501 w 9800"/>
              <a:gd name="connsiteY47" fmla="*/ 9771 h 10009"/>
              <a:gd name="connsiteX48" fmla="*/ 724 w 9800"/>
              <a:gd name="connsiteY48" fmla="*/ 9766 h 10009"/>
              <a:gd name="connsiteX49" fmla="*/ 939 w 9800"/>
              <a:gd name="connsiteY49" fmla="*/ 9760 h 10009"/>
              <a:gd name="connsiteX50" fmla="*/ 1154 w 9800"/>
              <a:gd name="connsiteY50" fmla="*/ 9748 h 10009"/>
              <a:gd name="connsiteX51" fmla="*/ 1366 w 9800"/>
              <a:gd name="connsiteY51" fmla="*/ 9726 h 10009"/>
              <a:gd name="connsiteX52" fmla="*/ 1580 w 9800"/>
              <a:gd name="connsiteY52" fmla="*/ 9705 h 10009"/>
              <a:gd name="connsiteX53" fmla="*/ 1791 w 9800"/>
              <a:gd name="connsiteY53" fmla="*/ 9672 h 10009"/>
              <a:gd name="connsiteX54" fmla="*/ 2001 w 9800"/>
              <a:gd name="connsiteY54" fmla="*/ 9640 h 10009"/>
              <a:gd name="connsiteX55" fmla="*/ 2212 w 9800"/>
              <a:gd name="connsiteY55" fmla="*/ 9600 h 10009"/>
              <a:gd name="connsiteX56" fmla="*/ 2415 w 9800"/>
              <a:gd name="connsiteY56" fmla="*/ 9555 h 10009"/>
              <a:gd name="connsiteX57" fmla="*/ 2626 w 9800"/>
              <a:gd name="connsiteY57" fmla="*/ 9509 h 10009"/>
              <a:gd name="connsiteX58" fmla="*/ 2824 w 9800"/>
              <a:gd name="connsiteY58" fmla="*/ 9453 h 10009"/>
              <a:gd name="connsiteX59" fmla="*/ 3027 w 9800"/>
              <a:gd name="connsiteY59" fmla="*/ 9396 h 10009"/>
              <a:gd name="connsiteX60" fmla="*/ 3228 w 9800"/>
              <a:gd name="connsiteY60" fmla="*/ 9335 h 10009"/>
              <a:gd name="connsiteX61" fmla="*/ 3426 w 9800"/>
              <a:gd name="connsiteY61" fmla="*/ 9265 h 10009"/>
              <a:gd name="connsiteX62" fmla="*/ 3619 w 9800"/>
              <a:gd name="connsiteY62" fmla="*/ 9190 h 10009"/>
              <a:gd name="connsiteX63" fmla="*/ 3812 w 9800"/>
              <a:gd name="connsiteY63" fmla="*/ 9117 h 10009"/>
              <a:gd name="connsiteX64" fmla="*/ 4007 w 9800"/>
              <a:gd name="connsiteY64" fmla="*/ 9033 h 10009"/>
              <a:gd name="connsiteX65" fmla="*/ 4200 w 9800"/>
              <a:gd name="connsiteY65" fmla="*/ 8950 h 10009"/>
              <a:gd name="connsiteX66" fmla="*/ 4385 w 9800"/>
              <a:gd name="connsiteY66" fmla="*/ 8856 h 10009"/>
              <a:gd name="connsiteX67" fmla="*/ 4570 w 9800"/>
              <a:gd name="connsiteY67" fmla="*/ 8763 h 10009"/>
              <a:gd name="connsiteX68" fmla="*/ 4757 w 9800"/>
              <a:gd name="connsiteY68" fmla="*/ 8662 h 10009"/>
              <a:gd name="connsiteX69" fmla="*/ 4936 w 9800"/>
              <a:gd name="connsiteY69" fmla="*/ 8560 h 10009"/>
              <a:gd name="connsiteX70" fmla="*/ 5116 w 9800"/>
              <a:gd name="connsiteY70" fmla="*/ 8454 h 10009"/>
              <a:gd name="connsiteX71" fmla="*/ 5296 w 9800"/>
              <a:gd name="connsiteY71" fmla="*/ 8341 h 10009"/>
              <a:gd name="connsiteX72" fmla="*/ 5469 w 9800"/>
              <a:gd name="connsiteY72" fmla="*/ 8226 h 10009"/>
              <a:gd name="connsiteX73" fmla="*/ 5640 w 9800"/>
              <a:gd name="connsiteY73" fmla="*/ 8105 h 10009"/>
              <a:gd name="connsiteX74" fmla="*/ 5811 w 9800"/>
              <a:gd name="connsiteY74" fmla="*/ 7982 h 10009"/>
              <a:gd name="connsiteX75" fmla="*/ 5974 w 9800"/>
              <a:gd name="connsiteY75" fmla="*/ 7856 h 10009"/>
              <a:gd name="connsiteX76" fmla="*/ 6137 w 9800"/>
              <a:gd name="connsiteY76" fmla="*/ 7723 h 10009"/>
              <a:gd name="connsiteX77" fmla="*/ 6299 w 9800"/>
              <a:gd name="connsiteY77" fmla="*/ 7590 h 10009"/>
              <a:gd name="connsiteX78" fmla="*/ 6457 w 9800"/>
              <a:gd name="connsiteY78" fmla="*/ 7451 h 10009"/>
              <a:gd name="connsiteX79" fmla="*/ 6614 w 9800"/>
              <a:gd name="connsiteY79" fmla="*/ 7309 h 10009"/>
              <a:gd name="connsiteX80" fmla="*/ 6765 w 9800"/>
              <a:gd name="connsiteY80" fmla="*/ 7161 h 10009"/>
              <a:gd name="connsiteX81" fmla="*/ 6916 w 9800"/>
              <a:gd name="connsiteY81" fmla="*/ 7014 h 10009"/>
              <a:gd name="connsiteX82" fmla="*/ 7061 w 9800"/>
              <a:gd name="connsiteY82" fmla="*/ 6864 h 10009"/>
              <a:gd name="connsiteX83" fmla="*/ 7208 w 9800"/>
              <a:gd name="connsiteY83" fmla="*/ 6705 h 10009"/>
              <a:gd name="connsiteX84" fmla="*/ 7348 w 9800"/>
              <a:gd name="connsiteY84" fmla="*/ 6544 h 10009"/>
              <a:gd name="connsiteX85" fmla="*/ 7486 w 9800"/>
              <a:gd name="connsiteY85" fmla="*/ 6385 h 10009"/>
              <a:gd name="connsiteX86" fmla="*/ 7620 w 9800"/>
              <a:gd name="connsiteY86" fmla="*/ 6219 h 10009"/>
              <a:gd name="connsiteX87" fmla="*/ 7751 w 9800"/>
              <a:gd name="connsiteY87" fmla="*/ 6047 h 10009"/>
              <a:gd name="connsiteX88" fmla="*/ 7880 w 9800"/>
              <a:gd name="connsiteY88" fmla="*/ 5878 h 10009"/>
              <a:gd name="connsiteX89" fmla="*/ 8006 w 9800"/>
              <a:gd name="connsiteY89" fmla="*/ 5702 h 10009"/>
              <a:gd name="connsiteX90" fmla="*/ 8129 w 9800"/>
              <a:gd name="connsiteY90" fmla="*/ 5523 h 10009"/>
              <a:gd name="connsiteX91" fmla="*/ 8244 w 9800"/>
              <a:gd name="connsiteY91" fmla="*/ 5343 h 10009"/>
              <a:gd name="connsiteX92" fmla="*/ 8357 w 9800"/>
              <a:gd name="connsiteY92" fmla="*/ 5157 h 10009"/>
              <a:gd name="connsiteX93" fmla="*/ 8471 w 9800"/>
              <a:gd name="connsiteY93" fmla="*/ 4973 h 10009"/>
              <a:gd name="connsiteX94" fmla="*/ 8578 w 9800"/>
              <a:gd name="connsiteY94" fmla="*/ 4781 h 10009"/>
              <a:gd name="connsiteX95" fmla="*/ 8681 w 9800"/>
              <a:gd name="connsiteY95" fmla="*/ 4592 h 10009"/>
              <a:gd name="connsiteX96" fmla="*/ 8783 w 9800"/>
              <a:gd name="connsiteY96" fmla="*/ 4397 h 10009"/>
              <a:gd name="connsiteX97" fmla="*/ 8876 w 9800"/>
              <a:gd name="connsiteY97" fmla="*/ 4196 h 10009"/>
              <a:gd name="connsiteX98" fmla="*/ 8968 w 9800"/>
              <a:gd name="connsiteY98" fmla="*/ 3997 h 10009"/>
              <a:gd name="connsiteX99" fmla="*/ 9059 w 9800"/>
              <a:gd name="connsiteY99" fmla="*/ 3796 h 10009"/>
              <a:gd name="connsiteX100" fmla="*/ 9145 w 9800"/>
              <a:gd name="connsiteY100" fmla="*/ 3590 h 10009"/>
              <a:gd name="connsiteX101" fmla="*/ 9223 w 9800"/>
              <a:gd name="connsiteY101" fmla="*/ 3385 h 10009"/>
              <a:gd name="connsiteX102" fmla="*/ 9302 w 9800"/>
              <a:gd name="connsiteY102" fmla="*/ 3174 h 10009"/>
              <a:gd name="connsiteX103" fmla="*/ 9374 w 9800"/>
              <a:gd name="connsiteY103" fmla="*/ 2961 h 10009"/>
              <a:gd name="connsiteX104" fmla="*/ 9442 w 9800"/>
              <a:gd name="connsiteY104" fmla="*/ 2751 h 10009"/>
              <a:gd name="connsiteX105" fmla="*/ 9507 w 9800"/>
              <a:gd name="connsiteY105" fmla="*/ 2533 h 10009"/>
              <a:gd name="connsiteX106" fmla="*/ 9566 w 9800"/>
              <a:gd name="connsiteY106" fmla="*/ 2315 h 10009"/>
              <a:gd name="connsiteX107" fmla="*/ 9622 w 9800"/>
              <a:gd name="connsiteY107" fmla="*/ 2094 h 10009"/>
              <a:gd name="connsiteX108" fmla="*/ 9675 w 9800"/>
              <a:gd name="connsiteY108" fmla="*/ 1874 h 10009"/>
              <a:gd name="connsiteX109" fmla="*/ 9721 w 9800"/>
              <a:gd name="connsiteY109" fmla="*/ 1651 h 10009"/>
              <a:gd name="connsiteX110" fmla="*/ 9763 w 9800"/>
              <a:gd name="connsiteY110" fmla="*/ 1424 h 10009"/>
              <a:gd name="connsiteX111" fmla="*/ 9800 w 9800"/>
              <a:gd name="connsiteY111" fmla="*/ 1194 h 10009"/>
              <a:gd name="connsiteX112" fmla="*/ 6839 w 9800"/>
              <a:gd name="connsiteY112" fmla="*/ 1833 h 10009"/>
              <a:gd name="connsiteX113" fmla="*/ 4367 w 9800"/>
              <a:gd name="connsiteY113" fmla="*/ 0 h 10009"/>
              <a:gd name="connsiteX0" fmla="*/ 4130 w 9674"/>
              <a:gd name="connsiteY0" fmla="*/ 0 h 9762"/>
              <a:gd name="connsiteX1" fmla="*/ 4130 w 9674"/>
              <a:gd name="connsiteY1" fmla="*/ 0 h 9762"/>
              <a:gd name="connsiteX2" fmla="*/ 4119 w 9674"/>
              <a:gd name="connsiteY2" fmla="*/ 97 h 9762"/>
              <a:gd name="connsiteX3" fmla="*/ 4100 w 9674"/>
              <a:gd name="connsiteY3" fmla="*/ 196 h 9762"/>
              <a:gd name="connsiteX4" fmla="*/ 4084 w 9674"/>
              <a:gd name="connsiteY4" fmla="*/ 293 h 9762"/>
              <a:gd name="connsiteX5" fmla="*/ 4064 w 9674"/>
              <a:gd name="connsiteY5" fmla="*/ 385 h 9762"/>
              <a:gd name="connsiteX6" fmla="*/ 4041 w 9674"/>
              <a:gd name="connsiteY6" fmla="*/ 480 h 9762"/>
              <a:gd name="connsiteX7" fmla="*/ 4017 w 9674"/>
              <a:gd name="connsiteY7" fmla="*/ 573 h 9762"/>
              <a:gd name="connsiteX8" fmla="*/ 3994 w 9674"/>
              <a:gd name="connsiteY8" fmla="*/ 667 h 9762"/>
              <a:gd name="connsiteX9" fmla="*/ 3968 w 9674"/>
              <a:gd name="connsiteY9" fmla="*/ 759 h 9762"/>
              <a:gd name="connsiteX10" fmla="*/ 3938 w 9674"/>
              <a:gd name="connsiteY10" fmla="*/ 849 h 9762"/>
              <a:gd name="connsiteX11" fmla="*/ 3906 w 9674"/>
              <a:gd name="connsiteY11" fmla="*/ 938 h 9762"/>
              <a:gd name="connsiteX12" fmla="*/ 3877 w 9674"/>
              <a:gd name="connsiteY12" fmla="*/ 1028 h 9762"/>
              <a:gd name="connsiteX13" fmla="*/ 3842 w 9674"/>
              <a:gd name="connsiteY13" fmla="*/ 1118 h 9762"/>
              <a:gd name="connsiteX14" fmla="*/ 3803 w 9674"/>
              <a:gd name="connsiteY14" fmla="*/ 1203 h 9762"/>
              <a:gd name="connsiteX15" fmla="*/ 3766 w 9674"/>
              <a:gd name="connsiteY15" fmla="*/ 1287 h 9762"/>
              <a:gd name="connsiteX16" fmla="*/ 3728 w 9674"/>
              <a:gd name="connsiteY16" fmla="*/ 1372 h 9762"/>
              <a:gd name="connsiteX17" fmla="*/ 3684 w 9674"/>
              <a:gd name="connsiteY17" fmla="*/ 1459 h 9762"/>
              <a:gd name="connsiteX18" fmla="*/ 3644 w 9674"/>
              <a:gd name="connsiteY18" fmla="*/ 1541 h 9762"/>
              <a:gd name="connsiteX19" fmla="*/ 3600 w 9674"/>
              <a:gd name="connsiteY19" fmla="*/ 1624 h 9762"/>
              <a:gd name="connsiteX20" fmla="*/ 3553 w 9674"/>
              <a:gd name="connsiteY20" fmla="*/ 1700 h 9762"/>
              <a:gd name="connsiteX21" fmla="*/ 3503 w 9674"/>
              <a:gd name="connsiteY21" fmla="*/ 1780 h 9762"/>
              <a:gd name="connsiteX22" fmla="*/ 3458 w 9674"/>
              <a:gd name="connsiteY22" fmla="*/ 1857 h 9762"/>
              <a:gd name="connsiteX23" fmla="*/ 3406 w 9674"/>
              <a:gd name="connsiteY23" fmla="*/ 1939 h 9762"/>
              <a:gd name="connsiteX24" fmla="*/ 3353 w 9674"/>
              <a:gd name="connsiteY24" fmla="*/ 2010 h 9762"/>
              <a:gd name="connsiteX25" fmla="*/ 3297 w 9674"/>
              <a:gd name="connsiteY25" fmla="*/ 2082 h 9762"/>
              <a:gd name="connsiteX26" fmla="*/ 3241 w 9674"/>
              <a:gd name="connsiteY26" fmla="*/ 2157 h 9762"/>
              <a:gd name="connsiteX27" fmla="*/ 3187 w 9674"/>
              <a:gd name="connsiteY27" fmla="*/ 2228 h 9762"/>
              <a:gd name="connsiteX28" fmla="*/ 3127 w 9674"/>
              <a:gd name="connsiteY28" fmla="*/ 2298 h 9762"/>
              <a:gd name="connsiteX29" fmla="*/ 3068 w 9674"/>
              <a:gd name="connsiteY29" fmla="*/ 2369 h 9762"/>
              <a:gd name="connsiteX30" fmla="*/ 3009 w 9674"/>
              <a:gd name="connsiteY30" fmla="*/ 2436 h 9762"/>
              <a:gd name="connsiteX31" fmla="*/ 2943 w 9674"/>
              <a:gd name="connsiteY31" fmla="*/ 2501 h 9762"/>
              <a:gd name="connsiteX32" fmla="*/ 2882 w 9674"/>
              <a:gd name="connsiteY32" fmla="*/ 2564 h 9762"/>
              <a:gd name="connsiteX33" fmla="*/ 2815 w 9674"/>
              <a:gd name="connsiteY33" fmla="*/ 2627 h 9762"/>
              <a:gd name="connsiteX34" fmla="*/ 2752 w 9674"/>
              <a:gd name="connsiteY34" fmla="*/ 2688 h 9762"/>
              <a:gd name="connsiteX35" fmla="*/ 2681 w 9674"/>
              <a:gd name="connsiteY35" fmla="*/ 2751 h 9762"/>
              <a:gd name="connsiteX36" fmla="*/ 2614 w 9674"/>
              <a:gd name="connsiteY36" fmla="*/ 2805 h 9762"/>
              <a:gd name="connsiteX37" fmla="*/ 2544 w 9674"/>
              <a:gd name="connsiteY37" fmla="*/ 2864 h 9762"/>
              <a:gd name="connsiteX38" fmla="*/ 2472 w 9674"/>
              <a:gd name="connsiteY38" fmla="*/ 2918 h 9762"/>
              <a:gd name="connsiteX39" fmla="*/ 2398 w 9674"/>
              <a:gd name="connsiteY39" fmla="*/ 2970 h 9762"/>
              <a:gd name="connsiteX40" fmla="*/ 2326 w 9674"/>
              <a:gd name="connsiteY40" fmla="*/ 3023 h 9762"/>
              <a:gd name="connsiteX41" fmla="*/ 2253 w 9674"/>
              <a:gd name="connsiteY41" fmla="*/ 3074 h 9762"/>
              <a:gd name="connsiteX42" fmla="*/ 2177 w 9674"/>
              <a:gd name="connsiteY42" fmla="*/ 3120 h 9762"/>
              <a:gd name="connsiteX43" fmla="*/ 2098 w 9674"/>
              <a:gd name="connsiteY43" fmla="*/ 3166 h 9762"/>
              <a:gd name="connsiteX44" fmla="*/ 2241 w 9674"/>
              <a:gd name="connsiteY44" fmla="*/ 6421 h 9762"/>
              <a:gd name="connsiteX45" fmla="*/ 0 w 9674"/>
              <a:gd name="connsiteY45" fmla="*/ 9757 h 9762"/>
              <a:gd name="connsiteX46" fmla="*/ 185 w 9674"/>
              <a:gd name="connsiteY46" fmla="*/ 9762 h 9762"/>
              <a:gd name="connsiteX47" fmla="*/ 413 w 9674"/>
              <a:gd name="connsiteY47" fmla="*/ 9757 h 9762"/>
              <a:gd name="connsiteX48" fmla="*/ 632 w 9674"/>
              <a:gd name="connsiteY48" fmla="*/ 9751 h 9762"/>
              <a:gd name="connsiteX49" fmla="*/ 852 w 9674"/>
              <a:gd name="connsiteY49" fmla="*/ 9739 h 9762"/>
              <a:gd name="connsiteX50" fmla="*/ 1068 w 9674"/>
              <a:gd name="connsiteY50" fmla="*/ 9717 h 9762"/>
              <a:gd name="connsiteX51" fmla="*/ 1286 w 9674"/>
              <a:gd name="connsiteY51" fmla="*/ 9696 h 9762"/>
              <a:gd name="connsiteX52" fmla="*/ 1502 w 9674"/>
              <a:gd name="connsiteY52" fmla="*/ 9663 h 9762"/>
              <a:gd name="connsiteX53" fmla="*/ 1716 w 9674"/>
              <a:gd name="connsiteY53" fmla="*/ 9631 h 9762"/>
              <a:gd name="connsiteX54" fmla="*/ 1931 w 9674"/>
              <a:gd name="connsiteY54" fmla="*/ 9591 h 9762"/>
              <a:gd name="connsiteX55" fmla="*/ 2138 w 9674"/>
              <a:gd name="connsiteY55" fmla="*/ 9546 h 9762"/>
              <a:gd name="connsiteX56" fmla="*/ 2354 w 9674"/>
              <a:gd name="connsiteY56" fmla="*/ 9500 h 9762"/>
              <a:gd name="connsiteX57" fmla="*/ 2556 w 9674"/>
              <a:gd name="connsiteY57" fmla="*/ 9444 h 9762"/>
              <a:gd name="connsiteX58" fmla="*/ 2763 w 9674"/>
              <a:gd name="connsiteY58" fmla="*/ 9388 h 9762"/>
              <a:gd name="connsiteX59" fmla="*/ 2968 w 9674"/>
              <a:gd name="connsiteY59" fmla="*/ 9327 h 9762"/>
              <a:gd name="connsiteX60" fmla="*/ 3170 w 9674"/>
              <a:gd name="connsiteY60" fmla="*/ 9257 h 9762"/>
              <a:gd name="connsiteX61" fmla="*/ 3367 w 9674"/>
              <a:gd name="connsiteY61" fmla="*/ 9182 h 9762"/>
              <a:gd name="connsiteX62" fmla="*/ 3564 w 9674"/>
              <a:gd name="connsiteY62" fmla="*/ 9109 h 9762"/>
              <a:gd name="connsiteX63" fmla="*/ 3763 w 9674"/>
              <a:gd name="connsiteY63" fmla="*/ 9025 h 9762"/>
              <a:gd name="connsiteX64" fmla="*/ 3960 w 9674"/>
              <a:gd name="connsiteY64" fmla="*/ 8942 h 9762"/>
              <a:gd name="connsiteX65" fmla="*/ 4148 w 9674"/>
              <a:gd name="connsiteY65" fmla="*/ 8848 h 9762"/>
              <a:gd name="connsiteX66" fmla="*/ 4337 w 9674"/>
              <a:gd name="connsiteY66" fmla="*/ 8755 h 9762"/>
              <a:gd name="connsiteX67" fmla="*/ 4528 w 9674"/>
              <a:gd name="connsiteY67" fmla="*/ 8654 h 9762"/>
              <a:gd name="connsiteX68" fmla="*/ 4711 w 9674"/>
              <a:gd name="connsiteY68" fmla="*/ 8552 h 9762"/>
              <a:gd name="connsiteX69" fmla="*/ 4894 w 9674"/>
              <a:gd name="connsiteY69" fmla="*/ 8446 h 9762"/>
              <a:gd name="connsiteX70" fmla="*/ 5078 w 9674"/>
              <a:gd name="connsiteY70" fmla="*/ 8333 h 9762"/>
              <a:gd name="connsiteX71" fmla="*/ 5255 w 9674"/>
              <a:gd name="connsiteY71" fmla="*/ 8219 h 9762"/>
              <a:gd name="connsiteX72" fmla="*/ 5429 w 9674"/>
              <a:gd name="connsiteY72" fmla="*/ 8098 h 9762"/>
              <a:gd name="connsiteX73" fmla="*/ 5604 w 9674"/>
              <a:gd name="connsiteY73" fmla="*/ 7975 h 9762"/>
              <a:gd name="connsiteX74" fmla="*/ 5770 w 9674"/>
              <a:gd name="connsiteY74" fmla="*/ 7849 h 9762"/>
              <a:gd name="connsiteX75" fmla="*/ 5936 w 9674"/>
              <a:gd name="connsiteY75" fmla="*/ 7716 h 9762"/>
              <a:gd name="connsiteX76" fmla="*/ 6102 w 9674"/>
              <a:gd name="connsiteY76" fmla="*/ 7583 h 9762"/>
              <a:gd name="connsiteX77" fmla="*/ 6263 w 9674"/>
              <a:gd name="connsiteY77" fmla="*/ 7444 h 9762"/>
              <a:gd name="connsiteX78" fmla="*/ 6423 w 9674"/>
              <a:gd name="connsiteY78" fmla="*/ 7302 h 9762"/>
              <a:gd name="connsiteX79" fmla="*/ 6577 w 9674"/>
              <a:gd name="connsiteY79" fmla="*/ 7155 h 9762"/>
              <a:gd name="connsiteX80" fmla="*/ 6731 w 9674"/>
              <a:gd name="connsiteY80" fmla="*/ 7008 h 9762"/>
              <a:gd name="connsiteX81" fmla="*/ 6879 w 9674"/>
              <a:gd name="connsiteY81" fmla="*/ 6858 h 9762"/>
              <a:gd name="connsiteX82" fmla="*/ 7029 w 9674"/>
              <a:gd name="connsiteY82" fmla="*/ 6699 h 9762"/>
              <a:gd name="connsiteX83" fmla="*/ 7172 w 9674"/>
              <a:gd name="connsiteY83" fmla="*/ 6538 h 9762"/>
              <a:gd name="connsiteX84" fmla="*/ 7313 w 9674"/>
              <a:gd name="connsiteY84" fmla="*/ 6379 h 9762"/>
              <a:gd name="connsiteX85" fmla="*/ 7450 w 9674"/>
              <a:gd name="connsiteY85" fmla="*/ 6213 h 9762"/>
              <a:gd name="connsiteX86" fmla="*/ 7583 w 9674"/>
              <a:gd name="connsiteY86" fmla="*/ 6042 h 9762"/>
              <a:gd name="connsiteX87" fmla="*/ 7715 w 9674"/>
              <a:gd name="connsiteY87" fmla="*/ 5873 h 9762"/>
              <a:gd name="connsiteX88" fmla="*/ 7843 w 9674"/>
              <a:gd name="connsiteY88" fmla="*/ 5697 h 9762"/>
              <a:gd name="connsiteX89" fmla="*/ 7969 w 9674"/>
              <a:gd name="connsiteY89" fmla="*/ 5518 h 9762"/>
              <a:gd name="connsiteX90" fmla="*/ 8086 w 9674"/>
              <a:gd name="connsiteY90" fmla="*/ 5338 h 9762"/>
              <a:gd name="connsiteX91" fmla="*/ 8202 w 9674"/>
              <a:gd name="connsiteY91" fmla="*/ 5152 h 9762"/>
              <a:gd name="connsiteX92" fmla="*/ 8318 w 9674"/>
              <a:gd name="connsiteY92" fmla="*/ 4969 h 9762"/>
              <a:gd name="connsiteX93" fmla="*/ 8427 w 9674"/>
              <a:gd name="connsiteY93" fmla="*/ 4777 h 9762"/>
              <a:gd name="connsiteX94" fmla="*/ 8532 w 9674"/>
              <a:gd name="connsiteY94" fmla="*/ 4588 h 9762"/>
              <a:gd name="connsiteX95" fmla="*/ 8636 w 9674"/>
              <a:gd name="connsiteY95" fmla="*/ 4393 h 9762"/>
              <a:gd name="connsiteX96" fmla="*/ 8731 w 9674"/>
              <a:gd name="connsiteY96" fmla="*/ 4192 h 9762"/>
              <a:gd name="connsiteX97" fmla="*/ 8825 w 9674"/>
              <a:gd name="connsiteY97" fmla="*/ 3993 h 9762"/>
              <a:gd name="connsiteX98" fmla="*/ 8918 w 9674"/>
              <a:gd name="connsiteY98" fmla="*/ 3793 h 9762"/>
              <a:gd name="connsiteX99" fmla="*/ 9006 w 9674"/>
              <a:gd name="connsiteY99" fmla="*/ 3587 h 9762"/>
              <a:gd name="connsiteX100" fmla="*/ 9085 w 9674"/>
              <a:gd name="connsiteY100" fmla="*/ 3382 h 9762"/>
              <a:gd name="connsiteX101" fmla="*/ 9166 w 9674"/>
              <a:gd name="connsiteY101" fmla="*/ 3171 h 9762"/>
              <a:gd name="connsiteX102" fmla="*/ 9239 w 9674"/>
              <a:gd name="connsiteY102" fmla="*/ 2958 h 9762"/>
              <a:gd name="connsiteX103" fmla="*/ 9309 w 9674"/>
              <a:gd name="connsiteY103" fmla="*/ 2749 h 9762"/>
              <a:gd name="connsiteX104" fmla="*/ 9375 w 9674"/>
              <a:gd name="connsiteY104" fmla="*/ 2531 h 9762"/>
              <a:gd name="connsiteX105" fmla="*/ 9435 w 9674"/>
              <a:gd name="connsiteY105" fmla="*/ 2313 h 9762"/>
              <a:gd name="connsiteX106" fmla="*/ 9492 w 9674"/>
              <a:gd name="connsiteY106" fmla="*/ 2092 h 9762"/>
              <a:gd name="connsiteX107" fmla="*/ 9546 w 9674"/>
              <a:gd name="connsiteY107" fmla="*/ 1872 h 9762"/>
              <a:gd name="connsiteX108" fmla="*/ 9593 w 9674"/>
              <a:gd name="connsiteY108" fmla="*/ 1650 h 9762"/>
              <a:gd name="connsiteX109" fmla="*/ 9636 w 9674"/>
              <a:gd name="connsiteY109" fmla="*/ 1423 h 9762"/>
              <a:gd name="connsiteX110" fmla="*/ 9674 w 9674"/>
              <a:gd name="connsiteY110" fmla="*/ 1193 h 9762"/>
              <a:gd name="connsiteX111" fmla="*/ 6653 w 9674"/>
              <a:gd name="connsiteY111" fmla="*/ 1831 h 9762"/>
              <a:gd name="connsiteX112" fmla="*/ 4130 w 9674"/>
              <a:gd name="connsiteY112" fmla="*/ 0 h 9762"/>
              <a:gd name="connsiteX0" fmla="*/ 4078 w 9809"/>
              <a:gd name="connsiteY0" fmla="*/ 0 h 10000"/>
              <a:gd name="connsiteX1" fmla="*/ 4078 w 9809"/>
              <a:gd name="connsiteY1" fmla="*/ 0 h 10000"/>
              <a:gd name="connsiteX2" fmla="*/ 4067 w 9809"/>
              <a:gd name="connsiteY2" fmla="*/ 99 h 10000"/>
              <a:gd name="connsiteX3" fmla="*/ 4047 w 9809"/>
              <a:gd name="connsiteY3" fmla="*/ 201 h 10000"/>
              <a:gd name="connsiteX4" fmla="*/ 4031 w 9809"/>
              <a:gd name="connsiteY4" fmla="*/ 300 h 10000"/>
              <a:gd name="connsiteX5" fmla="*/ 4010 w 9809"/>
              <a:gd name="connsiteY5" fmla="*/ 394 h 10000"/>
              <a:gd name="connsiteX6" fmla="*/ 3986 w 9809"/>
              <a:gd name="connsiteY6" fmla="*/ 492 h 10000"/>
              <a:gd name="connsiteX7" fmla="*/ 3961 w 9809"/>
              <a:gd name="connsiteY7" fmla="*/ 587 h 10000"/>
              <a:gd name="connsiteX8" fmla="*/ 3938 w 9809"/>
              <a:gd name="connsiteY8" fmla="*/ 683 h 10000"/>
              <a:gd name="connsiteX9" fmla="*/ 3911 w 9809"/>
              <a:gd name="connsiteY9" fmla="*/ 778 h 10000"/>
              <a:gd name="connsiteX10" fmla="*/ 3880 w 9809"/>
              <a:gd name="connsiteY10" fmla="*/ 870 h 10000"/>
              <a:gd name="connsiteX11" fmla="*/ 3847 w 9809"/>
              <a:gd name="connsiteY11" fmla="*/ 961 h 10000"/>
              <a:gd name="connsiteX12" fmla="*/ 3817 w 9809"/>
              <a:gd name="connsiteY12" fmla="*/ 1053 h 10000"/>
              <a:gd name="connsiteX13" fmla="*/ 3780 w 9809"/>
              <a:gd name="connsiteY13" fmla="*/ 1145 h 10000"/>
              <a:gd name="connsiteX14" fmla="*/ 3740 w 9809"/>
              <a:gd name="connsiteY14" fmla="*/ 1232 h 10000"/>
              <a:gd name="connsiteX15" fmla="*/ 3702 w 9809"/>
              <a:gd name="connsiteY15" fmla="*/ 1318 h 10000"/>
              <a:gd name="connsiteX16" fmla="*/ 3663 w 9809"/>
              <a:gd name="connsiteY16" fmla="*/ 1405 h 10000"/>
              <a:gd name="connsiteX17" fmla="*/ 3617 w 9809"/>
              <a:gd name="connsiteY17" fmla="*/ 1495 h 10000"/>
              <a:gd name="connsiteX18" fmla="*/ 3576 w 9809"/>
              <a:gd name="connsiteY18" fmla="*/ 1579 h 10000"/>
              <a:gd name="connsiteX19" fmla="*/ 3530 w 9809"/>
              <a:gd name="connsiteY19" fmla="*/ 1664 h 10000"/>
              <a:gd name="connsiteX20" fmla="*/ 3482 w 9809"/>
              <a:gd name="connsiteY20" fmla="*/ 1741 h 10000"/>
              <a:gd name="connsiteX21" fmla="*/ 3430 w 9809"/>
              <a:gd name="connsiteY21" fmla="*/ 1823 h 10000"/>
              <a:gd name="connsiteX22" fmla="*/ 3384 w 9809"/>
              <a:gd name="connsiteY22" fmla="*/ 1902 h 10000"/>
              <a:gd name="connsiteX23" fmla="*/ 3330 w 9809"/>
              <a:gd name="connsiteY23" fmla="*/ 1986 h 10000"/>
              <a:gd name="connsiteX24" fmla="*/ 3275 w 9809"/>
              <a:gd name="connsiteY24" fmla="*/ 2059 h 10000"/>
              <a:gd name="connsiteX25" fmla="*/ 3217 w 9809"/>
              <a:gd name="connsiteY25" fmla="*/ 2133 h 10000"/>
              <a:gd name="connsiteX26" fmla="*/ 3159 w 9809"/>
              <a:gd name="connsiteY26" fmla="*/ 2210 h 10000"/>
              <a:gd name="connsiteX27" fmla="*/ 3103 w 9809"/>
              <a:gd name="connsiteY27" fmla="*/ 2282 h 10000"/>
              <a:gd name="connsiteX28" fmla="*/ 3041 w 9809"/>
              <a:gd name="connsiteY28" fmla="*/ 2354 h 10000"/>
              <a:gd name="connsiteX29" fmla="*/ 2980 w 9809"/>
              <a:gd name="connsiteY29" fmla="*/ 2427 h 10000"/>
              <a:gd name="connsiteX30" fmla="*/ 2919 w 9809"/>
              <a:gd name="connsiteY30" fmla="*/ 2495 h 10000"/>
              <a:gd name="connsiteX31" fmla="*/ 2851 w 9809"/>
              <a:gd name="connsiteY31" fmla="*/ 2562 h 10000"/>
              <a:gd name="connsiteX32" fmla="*/ 2788 w 9809"/>
              <a:gd name="connsiteY32" fmla="*/ 2627 h 10000"/>
              <a:gd name="connsiteX33" fmla="*/ 2719 w 9809"/>
              <a:gd name="connsiteY33" fmla="*/ 2691 h 10000"/>
              <a:gd name="connsiteX34" fmla="*/ 2654 w 9809"/>
              <a:gd name="connsiteY34" fmla="*/ 2754 h 10000"/>
              <a:gd name="connsiteX35" fmla="*/ 2580 w 9809"/>
              <a:gd name="connsiteY35" fmla="*/ 2818 h 10000"/>
              <a:gd name="connsiteX36" fmla="*/ 2511 w 9809"/>
              <a:gd name="connsiteY36" fmla="*/ 2873 h 10000"/>
              <a:gd name="connsiteX37" fmla="*/ 2439 w 9809"/>
              <a:gd name="connsiteY37" fmla="*/ 2934 h 10000"/>
              <a:gd name="connsiteX38" fmla="*/ 2364 w 9809"/>
              <a:gd name="connsiteY38" fmla="*/ 2989 h 10000"/>
              <a:gd name="connsiteX39" fmla="*/ 2288 w 9809"/>
              <a:gd name="connsiteY39" fmla="*/ 3042 h 10000"/>
              <a:gd name="connsiteX40" fmla="*/ 2213 w 9809"/>
              <a:gd name="connsiteY40" fmla="*/ 3097 h 10000"/>
              <a:gd name="connsiteX41" fmla="*/ 2138 w 9809"/>
              <a:gd name="connsiteY41" fmla="*/ 3149 h 10000"/>
              <a:gd name="connsiteX42" fmla="*/ 2059 w 9809"/>
              <a:gd name="connsiteY42" fmla="*/ 3196 h 10000"/>
              <a:gd name="connsiteX43" fmla="*/ 1978 w 9809"/>
              <a:gd name="connsiteY43" fmla="*/ 3243 h 10000"/>
              <a:gd name="connsiteX44" fmla="*/ 2126 w 9809"/>
              <a:gd name="connsiteY44" fmla="*/ 6578 h 10000"/>
              <a:gd name="connsiteX45" fmla="*/ 0 w 9809"/>
              <a:gd name="connsiteY45" fmla="*/ 10000 h 10000"/>
              <a:gd name="connsiteX46" fmla="*/ 236 w 9809"/>
              <a:gd name="connsiteY46" fmla="*/ 9995 h 10000"/>
              <a:gd name="connsiteX47" fmla="*/ 462 w 9809"/>
              <a:gd name="connsiteY47" fmla="*/ 9989 h 10000"/>
              <a:gd name="connsiteX48" fmla="*/ 690 w 9809"/>
              <a:gd name="connsiteY48" fmla="*/ 9976 h 10000"/>
              <a:gd name="connsiteX49" fmla="*/ 913 w 9809"/>
              <a:gd name="connsiteY49" fmla="*/ 9954 h 10000"/>
              <a:gd name="connsiteX50" fmla="*/ 1138 w 9809"/>
              <a:gd name="connsiteY50" fmla="*/ 9932 h 10000"/>
              <a:gd name="connsiteX51" fmla="*/ 1362 w 9809"/>
              <a:gd name="connsiteY51" fmla="*/ 9899 h 10000"/>
              <a:gd name="connsiteX52" fmla="*/ 1583 w 9809"/>
              <a:gd name="connsiteY52" fmla="*/ 9866 h 10000"/>
              <a:gd name="connsiteX53" fmla="*/ 1805 w 9809"/>
              <a:gd name="connsiteY53" fmla="*/ 9825 h 10000"/>
              <a:gd name="connsiteX54" fmla="*/ 2019 w 9809"/>
              <a:gd name="connsiteY54" fmla="*/ 9779 h 10000"/>
              <a:gd name="connsiteX55" fmla="*/ 2242 w 9809"/>
              <a:gd name="connsiteY55" fmla="*/ 9732 h 10000"/>
              <a:gd name="connsiteX56" fmla="*/ 2451 w 9809"/>
              <a:gd name="connsiteY56" fmla="*/ 9674 h 10000"/>
              <a:gd name="connsiteX57" fmla="*/ 2665 w 9809"/>
              <a:gd name="connsiteY57" fmla="*/ 9617 h 10000"/>
              <a:gd name="connsiteX58" fmla="*/ 2877 w 9809"/>
              <a:gd name="connsiteY58" fmla="*/ 9554 h 10000"/>
              <a:gd name="connsiteX59" fmla="*/ 3086 w 9809"/>
              <a:gd name="connsiteY59" fmla="*/ 9483 h 10000"/>
              <a:gd name="connsiteX60" fmla="*/ 3289 w 9809"/>
              <a:gd name="connsiteY60" fmla="*/ 9406 h 10000"/>
              <a:gd name="connsiteX61" fmla="*/ 3493 w 9809"/>
              <a:gd name="connsiteY61" fmla="*/ 9331 h 10000"/>
              <a:gd name="connsiteX62" fmla="*/ 3699 w 9809"/>
              <a:gd name="connsiteY62" fmla="*/ 9245 h 10000"/>
              <a:gd name="connsiteX63" fmla="*/ 3902 w 9809"/>
              <a:gd name="connsiteY63" fmla="*/ 9160 h 10000"/>
              <a:gd name="connsiteX64" fmla="*/ 4097 w 9809"/>
              <a:gd name="connsiteY64" fmla="*/ 9064 h 10000"/>
              <a:gd name="connsiteX65" fmla="*/ 4292 w 9809"/>
              <a:gd name="connsiteY65" fmla="*/ 8968 h 10000"/>
              <a:gd name="connsiteX66" fmla="*/ 4490 w 9809"/>
              <a:gd name="connsiteY66" fmla="*/ 8865 h 10000"/>
              <a:gd name="connsiteX67" fmla="*/ 4679 w 9809"/>
              <a:gd name="connsiteY67" fmla="*/ 8760 h 10000"/>
              <a:gd name="connsiteX68" fmla="*/ 4868 w 9809"/>
              <a:gd name="connsiteY68" fmla="*/ 8652 h 10000"/>
              <a:gd name="connsiteX69" fmla="*/ 5058 w 9809"/>
              <a:gd name="connsiteY69" fmla="*/ 8536 h 10000"/>
              <a:gd name="connsiteX70" fmla="*/ 5241 w 9809"/>
              <a:gd name="connsiteY70" fmla="*/ 8419 h 10000"/>
              <a:gd name="connsiteX71" fmla="*/ 5421 w 9809"/>
              <a:gd name="connsiteY71" fmla="*/ 8295 h 10000"/>
              <a:gd name="connsiteX72" fmla="*/ 5602 w 9809"/>
              <a:gd name="connsiteY72" fmla="*/ 8169 h 10000"/>
              <a:gd name="connsiteX73" fmla="*/ 5773 w 9809"/>
              <a:gd name="connsiteY73" fmla="*/ 8040 h 10000"/>
              <a:gd name="connsiteX74" fmla="*/ 5945 w 9809"/>
              <a:gd name="connsiteY74" fmla="*/ 7904 h 10000"/>
              <a:gd name="connsiteX75" fmla="*/ 6117 w 9809"/>
              <a:gd name="connsiteY75" fmla="*/ 7768 h 10000"/>
              <a:gd name="connsiteX76" fmla="*/ 6283 w 9809"/>
              <a:gd name="connsiteY76" fmla="*/ 7625 h 10000"/>
              <a:gd name="connsiteX77" fmla="*/ 6448 w 9809"/>
              <a:gd name="connsiteY77" fmla="*/ 7480 h 10000"/>
              <a:gd name="connsiteX78" fmla="*/ 6608 w 9809"/>
              <a:gd name="connsiteY78" fmla="*/ 7329 h 10000"/>
              <a:gd name="connsiteX79" fmla="*/ 6767 w 9809"/>
              <a:gd name="connsiteY79" fmla="*/ 7179 h 10000"/>
              <a:gd name="connsiteX80" fmla="*/ 6920 w 9809"/>
              <a:gd name="connsiteY80" fmla="*/ 7025 h 10000"/>
              <a:gd name="connsiteX81" fmla="*/ 7075 w 9809"/>
              <a:gd name="connsiteY81" fmla="*/ 6862 h 10000"/>
              <a:gd name="connsiteX82" fmla="*/ 7223 w 9809"/>
              <a:gd name="connsiteY82" fmla="*/ 6697 h 10000"/>
              <a:gd name="connsiteX83" fmla="*/ 7368 w 9809"/>
              <a:gd name="connsiteY83" fmla="*/ 6535 h 10000"/>
              <a:gd name="connsiteX84" fmla="*/ 7510 w 9809"/>
              <a:gd name="connsiteY84" fmla="*/ 6364 h 10000"/>
              <a:gd name="connsiteX85" fmla="*/ 7648 w 9809"/>
              <a:gd name="connsiteY85" fmla="*/ 6189 h 10000"/>
              <a:gd name="connsiteX86" fmla="*/ 7784 w 9809"/>
              <a:gd name="connsiteY86" fmla="*/ 6016 h 10000"/>
              <a:gd name="connsiteX87" fmla="*/ 7916 w 9809"/>
              <a:gd name="connsiteY87" fmla="*/ 5836 h 10000"/>
              <a:gd name="connsiteX88" fmla="*/ 8047 w 9809"/>
              <a:gd name="connsiteY88" fmla="*/ 5653 h 10000"/>
              <a:gd name="connsiteX89" fmla="*/ 8167 w 9809"/>
              <a:gd name="connsiteY89" fmla="*/ 5468 h 10000"/>
              <a:gd name="connsiteX90" fmla="*/ 8287 w 9809"/>
              <a:gd name="connsiteY90" fmla="*/ 5278 h 10000"/>
              <a:gd name="connsiteX91" fmla="*/ 8407 w 9809"/>
              <a:gd name="connsiteY91" fmla="*/ 5090 h 10000"/>
              <a:gd name="connsiteX92" fmla="*/ 8520 w 9809"/>
              <a:gd name="connsiteY92" fmla="*/ 4893 h 10000"/>
              <a:gd name="connsiteX93" fmla="*/ 8629 w 9809"/>
              <a:gd name="connsiteY93" fmla="*/ 4700 h 10000"/>
              <a:gd name="connsiteX94" fmla="*/ 8736 w 9809"/>
              <a:gd name="connsiteY94" fmla="*/ 4500 h 10000"/>
              <a:gd name="connsiteX95" fmla="*/ 8834 w 9809"/>
              <a:gd name="connsiteY95" fmla="*/ 4294 h 10000"/>
              <a:gd name="connsiteX96" fmla="*/ 8931 w 9809"/>
              <a:gd name="connsiteY96" fmla="*/ 4090 h 10000"/>
              <a:gd name="connsiteX97" fmla="*/ 9028 w 9809"/>
              <a:gd name="connsiteY97" fmla="*/ 3885 h 10000"/>
              <a:gd name="connsiteX98" fmla="*/ 9118 w 9809"/>
              <a:gd name="connsiteY98" fmla="*/ 3674 h 10000"/>
              <a:gd name="connsiteX99" fmla="*/ 9200 w 9809"/>
              <a:gd name="connsiteY99" fmla="*/ 3464 h 10000"/>
              <a:gd name="connsiteX100" fmla="*/ 9284 w 9809"/>
              <a:gd name="connsiteY100" fmla="*/ 3248 h 10000"/>
              <a:gd name="connsiteX101" fmla="*/ 9359 w 9809"/>
              <a:gd name="connsiteY101" fmla="*/ 3030 h 10000"/>
              <a:gd name="connsiteX102" fmla="*/ 9432 w 9809"/>
              <a:gd name="connsiteY102" fmla="*/ 2816 h 10000"/>
              <a:gd name="connsiteX103" fmla="*/ 9500 w 9809"/>
              <a:gd name="connsiteY103" fmla="*/ 2593 h 10000"/>
              <a:gd name="connsiteX104" fmla="*/ 9562 w 9809"/>
              <a:gd name="connsiteY104" fmla="*/ 2369 h 10000"/>
              <a:gd name="connsiteX105" fmla="*/ 9621 w 9809"/>
              <a:gd name="connsiteY105" fmla="*/ 2143 h 10000"/>
              <a:gd name="connsiteX106" fmla="*/ 9677 w 9809"/>
              <a:gd name="connsiteY106" fmla="*/ 1918 h 10000"/>
              <a:gd name="connsiteX107" fmla="*/ 9725 w 9809"/>
              <a:gd name="connsiteY107" fmla="*/ 1690 h 10000"/>
              <a:gd name="connsiteX108" fmla="*/ 9770 w 9809"/>
              <a:gd name="connsiteY108" fmla="*/ 1458 h 10000"/>
              <a:gd name="connsiteX109" fmla="*/ 9809 w 9809"/>
              <a:gd name="connsiteY109" fmla="*/ 1222 h 10000"/>
              <a:gd name="connsiteX110" fmla="*/ 6686 w 9809"/>
              <a:gd name="connsiteY110" fmla="*/ 1876 h 10000"/>
              <a:gd name="connsiteX111" fmla="*/ 4078 w 9809"/>
              <a:gd name="connsiteY111" fmla="*/ 0 h 10000"/>
              <a:gd name="connsiteX0" fmla="*/ 3916 w 9759"/>
              <a:gd name="connsiteY0" fmla="*/ 0 h 9995"/>
              <a:gd name="connsiteX1" fmla="*/ 3916 w 9759"/>
              <a:gd name="connsiteY1" fmla="*/ 0 h 9995"/>
              <a:gd name="connsiteX2" fmla="*/ 3905 w 9759"/>
              <a:gd name="connsiteY2" fmla="*/ 99 h 9995"/>
              <a:gd name="connsiteX3" fmla="*/ 3885 w 9759"/>
              <a:gd name="connsiteY3" fmla="*/ 201 h 9995"/>
              <a:gd name="connsiteX4" fmla="*/ 3868 w 9759"/>
              <a:gd name="connsiteY4" fmla="*/ 300 h 9995"/>
              <a:gd name="connsiteX5" fmla="*/ 3847 w 9759"/>
              <a:gd name="connsiteY5" fmla="*/ 394 h 9995"/>
              <a:gd name="connsiteX6" fmla="*/ 3823 w 9759"/>
              <a:gd name="connsiteY6" fmla="*/ 492 h 9995"/>
              <a:gd name="connsiteX7" fmla="*/ 3797 w 9759"/>
              <a:gd name="connsiteY7" fmla="*/ 587 h 9995"/>
              <a:gd name="connsiteX8" fmla="*/ 3774 w 9759"/>
              <a:gd name="connsiteY8" fmla="*/ 683 h 9995"/>
              <a:gd name="connsiteX9" fmla="*/ 3746 w 9759"/>
              <a:gd name="connsiteY9" fmla="*/ 778 h 9995"/>
              <a:gd name="connsiteX10" fmla="*/ 3715 w 9759"/>
              <a:gd name="connsiteY10" fmla="*/ 870 h 9995"/>
              <a:gd name="connsiteX11" fmla="*/ 3681 w 9759"/>
              <a:gd name="connsiteY11" fmla="*/ 961 h 9995"/>
              <a:gd name="connsiteX12" fmla="*/ 3650 w 9759"/>
              <a:gd name="connsiteY12" fmla="*/ 1053 h 9995"/>
              <a:gd name="connsiteX13" fmla="*/ 3613 w 9759"/>
              <a:gd name="connsiteY13" fmla="*/ 1145 h 9995"/>
              <a:gd name="connsiteX14" fmla="*/ 3572 w 9759"/>
              <a:gd name="connsiteY14" fmla="*/ 1232 h 9995"/>
              <a:gd name="connsiteX15" fmla="*/ 3533 w 9759"/>
              <a:gd name="connsiteY15" fmla="*/ 1318 h 9995"/>
              <a:gd name="connsiteX16" fmla="*/ 3493 w 9759"/>
              <a:gd name="connsiteY16" fmla="*/ 1405 h 9995"/>
              <a:gd name="connsiteX17" fmla="*/ 3446 w 9759"/>
              <a:gd name="connsiteY17" fmla="*/ 1495 h 9995"/>
              <a:gd name="connsiteX18" fmla="*/ 3405 w 9759"/>
              <a:gd name="connsiteY18" fmla="*/ 1579 h 9995"/>
              <a:gd name="connsiteX19" fmla="*/ 3358 w 9759"/>
              <a:gd name="connsiteY19" fmla="*/ 1664 h 9995"/>
              <a:gd name="connsiteX20" fmla="*/ 3309 w 9759"/>
              <a:gd name="connsiteY20" fmla="*/ 1741 h 9995"/>
              <a:gd name="connsiteX21" fmla="*/ 3256 w 9759"/>
              <a:gd name="connsiteY21" fmla="*/ 1823 h 9995"/>
              <a:gd name="connsiteX22" fmla="*/ 3209 w 9759"/>
              <a:gd name="connsiteY22" fmla="*/ 1902 h 9995"/>
              <a:gd name="connsiteX23" fmla="*/ 3154 w 9759"/>
              <a:gd name="connsiteY23" fmla="*/ 1986 h 9995"/>
              <a:gd name="connsiteX24" fmla="*/ 3098 w 9759"/>
              <a:gd name="connsiteY24" fmla="*/ 2059 h 9995"/>
              <a:gd name="connsiteX25" fmla="*/ 3039 w 9759"/>
              <a:gd name="connsiteY25" fmla="*/ 2133 h 9995"/>
              <a:gd name="connsiteX26" fmla="*/ 2980 w 9759"/>
              <a:gd name="connsiteY26" fmla="*/ 2210 h 9995"/>
              <a:gd name="connsiteX27" fmla="*/ 2922 w 9759"/>
              <a:gd name="connsiteY27" fmla="*/ 2282 h 9995"/>
              <a:gd name="connsiteX28" fmla="*/ 2859 w 9759"/>
              <a:gd name="connsiteY28" fmla="*/ 2354 h 9995"/>
              <a:gd name="connsiteX29" fmla="*/ 2797 w 9759"/>
              <a:gd name="connsiteY29" fmla="*/ 2427 h 9995"/>
              <a:gd name="connsiteX30" fmla="*/ 2735 w 9759"/>
              <a:gd name="connsiteY30" fmla="*/ 2495 h 9995"/>
              <a:gd name="connsiteX31" fmla="*/ 2666 w 9759"/>
              <a:gd name="connsiteY31" fmla="*/ 2562 h 9995"/>
              <a:gd name="connsiteX32" fmla="*/ 2601 w 9759"/>
              <a:gd name="connsiteY32" fmla="*/ 2627 h 9995"/>
              <a:gd name="connsiteX33" fmla="*/ 2531 w 9759"/>
              <a:gd name="connsiteY33" fmla="*/ 2691 h 9995"/>
              <a:gd name="connsiteX34" fmla="*/ 2465 w 9759"/>
              <a:gd name="connsiteY34" fmla="*/ 2754 h 9995"/>
              <a:gd name="connsiteX35" fmla="*/ 2389 w 9759"/>
              <a:gd name="connsiteY35" fmla="*/ 2818 h 9995"/>
              <a:gd name="connsiteX36" fmla="*/ 2319 w 9759"/>
              <a:gd name="connsiteY36" fmla="*/ 2873 h 9995"/>
              <a:gd name="connsiteX37" fmla="*/ 2245 w 9759"/>
              <a:gd name="connsiteY37" fmla="*/ 2934 h 9995"/>
              <a:gd name="connsiteX38" fmla="*/ 2169 w 9759"/>
              <a:gd name="connsiteY38" fmla="*/ 2989 h 9995"/>
              <a:gd name="connsiteX39" fmla="*/ 2092 w 9759"/>
              <a:gd name="connsiteY39" fmla="*/ 3042 h 9995"/>
              <a:gd name="connsiteX40" fmla="*/ 2015 w 9759"/>
              <a:gd name="connsiteY40" fmla="*/ 3097 h 9995"/>
              <a:gd name="connsiteX41" fmla="*/ 1939 w 9759"/>
              <a:gd name="connsiteY41" fmla="*/ 3149 h 9995"/>
              <a:gd name="connsiteX42" fmla="*/ 1858 w 9759"/>
              <a:gd name="connsiteY42" fmla="*/ 3196 h 9995"/>
              <a:gd name="connsiteX43" fmla="*/ 1776 w 9759"/>
              <a:gd name="connsiteY43" fmla="*/ 3243 h 9995"/>
              <a:gd name="connsiteX44" fmla="*/ 1926 w 9759"/>
              <a:gd name="connsiteY44" fmla="*/ 6578 h 9995"/>
              <a:gd name="connsiteX45" fmla="*/ 0 w 9759"/>
              <a:gd name="connsiteY45" fmla="*/ 9995 h 9995"/>
              <a:gd name="connsiteX46" fmla="*/ 230 w 9759"/>
              <a:gd name="connsiteY46" fmla="*/ 9989 h 9995"/>
              <a:gd name="connsiteX47" fmla="*/ 462 w 9759"/>
              <a:gd name="connsiteY47" fmla="*/ 9976 h 9995"/>
              <a:gd name="connsiteX48" fmla="*/ 690 w 9759"/>
              <a:gd name="connsiteY48" fmla="*/ 9954 h 9995"/>
              <a:gd name="connsiteX49" fmla="*/ 919 w 9759"/>
              <a:gd name="connsiteY49" fmla="*/ 9932 h 9995"/>
              <a:gd name="connsiteX50" fmla="*/ 1148 w 9759"/>
              <a:gd name="connsiteY50" fmla="*/ 9899 h 9995"/>
              <a:gd name="connsiteX51" fmla="*/ 1373 w 9759"/>
              <a:gd name="connsiteY51" fmla="*/ 9866 h 9995"/>
              <a:gd name="connsiteX52" fmla="*/ 1599 w 9759"/>
              <a:gd name="connsiteY52" fmla="*/ 9825 h 9995"/>
              <a:gd name="connsiteX53" fmla="*/ 1817 w 9759"/>
              <a:gd name="connsiteY53" fmla="*/ 9779 h 9995"/>
              <a:gd name="connsiteX54" fmla="*/ 2045 w 9759"/>
              <a:gd name="connsiteY54" fmla="*/ 9732 h 9995"/>
              <a:gd name="connsiteX55" fmla="*/ 2258 w 9759"/>
              <a:gd name="connsiteY55" fmla="*/ 9674 h 9995"/>
              <a:gd name="connsiteX56" fmla="*/ 2476 w 9759"/>
              <a:gd name="connsiteY56" fmla="*/ 9617 h 9995"/>
              <a:gd name="connsiteX57" fmla="*/ 2692 w 9759"/>
              <a:gd name="connsiteY57" fmla="*/ 9554 h 9995"/>
              <a:gd name="connsiteX58" fmla="*/ 2905 w 9759"/>
              <a:gd name="connsiteY58" fmla="*/ 9483 h 9995"/>
              <a:gd name="connsiteX59" fmla="*/ 3112 w 9759"/>
              <a:gd name="connsiteY59" fmla="*/ 9406 h 9995"/>
              <a:gd name="connsiteX60" fmla="*/ 3320 w 9759"/>
              <a:gd name="connsiteY60" fmla="*/ 9331 h 9995"/>
              <a:gd name="connsiteX61" fmla="*/ 3530 w 9759"/>
              <a:gd name="connsiteY61" fmla="*/ 9245 h 9995"/>
              <a:gd name="connsiteX62" fmla="*/ 3737 w 9759"/>
              <a:gd name="connsiteY62" fmla="*/ 9160 h 9995"/>
              <a:gd name="connsiteX63" fmla="*/ 3936 w 9759"/>
              <a:gd name="connsiteY63" fmla="*/ 9064 h 9995"/>
              <a:gd name="connsiteX64" fmla="*/ 4135 w 9759"/>
              <a:gd name="connsiteY64" fmla="*/ 8968 h 9995"/>
              <a:gd name="connsiteX65" fmla="*/ 4336 w 9759"/>
              <a:gd name="connsiteY65" fmla="*/ 8865 h 9995"/>
              <a:gd name="connsiteX66" fmla="*/ 4529 w 9759"/>
              <a:gd name="connsiteY66" fmla="*/ 8760 h 9995"/>
              <a:gd name="connsiteX67" fmla="*/ 4722 w 9759"/>
              <a:gd name="connsiteY67" fmla="*/ 8652 h 9995"/>
              <a:gd name="connsiteX68" fmla="*/ 4915 w 9759"/>
              <a:gd name="connsiteY68" fmla="*/ 8536 h 9995"/>
              <a:gd name="connsiteX69" fmla="*/ 5102 w 9759"/>
              <a:gd name="connsiteY69" fmla="*/ 8419 h 9995"/>
              <a:gd name="connsiteX70" fmla="*/ 5286 w 9759"/>
              <a:gd name="connsiteY70" fmla="*/ 8295 h 9995"/>
              <a:gd name="connsiteX71" fmla="*/ 5470 w 9759"/>
              <a:gd name="connsiteY71" fmla="*/ 8169 h 9995"/>
              <a:gd name="connsiteX72" fmla="*/ 5644 w 9759"/>
              <a:gd name="connsiteY72" fmla="*/ 8040 h 9995"/>
              <a:gd name="connsiteX73" fmla="*/ 5820 w 9759"/>
              <a:gd name="connsiteY73" fmla="*/ 7904 h 9995"/>
              <a:gd name="connsiteX74" fmla="*/ 5995 w 9759"/>
              <a:gd name="connsiteY74" fmla="*/ 7768 h 9995"/>
              <a:gd name="connsiteX75" fmla="*/ 6164 w 9759"/>
              <a:gd name="connsiteY75" fmla="*/ 7625 h 9995"/>
              <a:gd name="connsiteX76" fmla="*/ 6333 w 9759"/>
              <a:gd name="connsiteY76" fmla="*/ 7480 h 9995"/>
              <a:gd name="connsiteX77" fmla="*/ 6496 w 9759"/>
              <a:gd name="connsiteY77" fmla="*/ 7329 h 9995"/>
              <a:gd name="connsiteX78" fmla="*/ 6658 w 9759"/>
              <a:gd name="connsiteY78" fmla="*/ 7179 h 9995"/>
              <a:gd name="connsiteX79" fmla="*/ 6814 w 9759"/>
              <a:gd name="connsiteY79" fmla="*/ 7025 h 9995"/>
              <a:gd name="connsiteX80" fmla="*/ 6972 w 9759"/>
              <a:gd name="connsiteY80" fmla="*/ 6862 h 9995"/>
              <a:gd name="connsiteX81" fmla="*/ 7123 w 9759"/>
              <a:gd name="connsiteY81" fmla="*/ 6697 h 9995"/>
              <a:gd name="connsiteX82" fmla="*/ 7270 w 9759"/>
              <a:gd name="connsiteY82" fmla="*/ 6535 h 9995"/>
              <a:gd name="connsiteX83" fmla="*/ 7415 w 9759"/>
              <a:gd name="connsiteY83" fmla="*/ 6364 h 9995"/>
              <a:gd name="connsiteX84" fmla="*/ 7556 w 9759"/>
              <a:gd name="connsiteY84" fmla="*/ 6189 h 9995"/>
              <a:gd name="connsiteX85" fmla="*/ 7695 w 9759"/>
              <a:gd name="connsiteY85" fmla="*/ 6016 h 9995"/>
              <a:gd name="connsiteX86" fmla="*/ 7829 w 9759"/>
              <a:gd name="connsiteY86" fmla="*/ 5836 h 9995"/>
              <a:gd name="connsiteX87" fmla="*/ 7963 w 9759"/>
              <a:gd name="connsiteY87" fmla="*/ 5653 h 9995"/>
              <a:gd name="connsiteX88" fmla="*/ 8085 w 9759"/>
              <a:gd name="connsiteY88" fmla="*/ 5468 h 9995"/>
              <a:gd name="connsiteX89" fmla="*/ 8207 w 9759"/>
              <a:gd name="connsiteY89" fmla="*/ 5278 h 9995"/>
              <a:gd name="connsiteX90" fmla="*/ 8330 w 9759"/>
              <a:gd name="connsiteY90" fmla="*/ 5090 h 9995"/>
              <a:gd name="connsiteX91" fmla="*/ 8445 w 9759"/>
              <a:gd name="connsiteY91" fmla="*/ 4893 h 9995"/>
              <a:gd name="connsiteX92" fmla="*/ 8556 w 9759"/>
              <a:gd name="connsiteY92" fmla="*/ 4700 h 9995"/>
              <a:gd name="connsiteX93" fmla="*/ 8665 w 9759"/>
              <a:gd name="connsiteY93" fmla="*/ 4500 h 9995"/>
              <a:gd name="connsiteX94" fmla="*/ 8765 w 9759"/>
              <a:gd name="connsiteY94" fmla="*/ 4294 h 9995"/>
              <a:gd name="connsiteX95" fmla="*/ 8864 w 9759"/>
              <a:gd name="connsiteY95" fmla="*/ 4090 h 9995"/>
              <a:gd name="connsiteX96" fmla="*/ 8963 w 9759"/>
              <a:gd name="connsiteY96" fmla="*/ 3885 h 9995"/>
              <a:gd name="connsiteX97" fmla="*/ 9055 w 9759"/>
              <a:gd name="connsiteY97" fmla="*/ 3674 h 9995"/>
              <a:gd name="connsiteX98" fmla="*/ 9138 w 9759"/>
              <a:gd name="connsiteY98" fmla="*/ 3464 h 9995"/>
              <a:gd name="connsiteX99" fmla="*/ 9224 w 9759"/>
              <a:gd name="connsiteY99" fmla="*/ 3248 h 9995"/>
              <a:gd name="connsiteX100" fmla="*/ 9300 w 9759"/>
              <a:gd name="connsiteY100" fmla="*/ 3030 h 9995"/>
              <a:gd name="connsiteX101" fmla="*/ 9375 w 9759"/>
              <a:gd name="connsiteY101" fmla="*/ 2816 h 9995"/>
              <a:gd name="connsiteX102" fmla="*/ 9444 w 9759"/>
              <a:gd name="connsiteY102" fmla="*/ 2593 h 9995"/>
              <a:gd name="connsiteX103" fmla="*/ 9507 w 9759"/>
              <a:gd name="connsiteY103" fmla="*/ 2369 h 9995"/>
              <a:gd name="connsiteX104" fmla="*/ 9567 w 9759"/>
              <a:gd name="connsiteY104" fmla="*/ 2143 h 9995"/>
              <a:gd name="connsiteX105" fmla="*/ 9624 w 9759"/>
              <a:gd name="connsiteY105" fmla="*/ 1918 h 9995"/>
              <a:gd name="connsiteX106" fmla="*/ 9673 w 9759"/>
              <a:gd name="connsiteY106" fmla="*/ 1690 h 9995"/>
              <a:gd name="connsiteX107" fmla="*/ 9719 w 9759"/>
              <a:gd name="connsiteY107" fmla="*/ 1458 h 9995"/>
              <a:gd name="connsiteX108" fmla="*/ 9759 w 9759"/>
              <a:gd name="connsiteY108" fmla="*/ 1222 h 9995"/>
              <a:gd name="connsiteX109" fmla="*/ 6575 w 9759"/>
              <a:gd name="connsiteY109" fmla="*/ 1876 h 9995"/>
              <a:gd name="connsiteX110" fmla="*/ 3916 w 9759"/>
              <a:gd name="connsiteY110" fmla="*/ 0 h 9995"/>
              <a:gd name="connsiteX0" fmla="*/ 3777 w 9764"/>
              <a:gd name="connsiteY0" fmla="*/ 0 h 9994"/>
              <a:gd name="connsiteX1" fmla="*/ 3777 w 9764"/>
              <a:gd name="connsiteY1" fmla="*/ 0 h 9994"/>
              <a:gd name="connsiteX2" fmla="*/ 3765 w 9764"/>
              <a:gd name="connsiteY2" fmla="*/ 99 h 9994"/>
              <a:gd name="connsiteX3" fmla="*/ 3745 w 9764"/>
              <a:gd name="connsiteY3" fmla="*/ 201 h 9994"/>
              <a:gd name="connsiteX4" fmla="*/ 3728 w 9764"/>
              <a:gd name="connsiteY4" fmla="*/ 300 h 9994"/>
              <a:gd name="connsiteX5" fmla="*/ 3706 w 9764"/>
              <a:gd name="connsiteY5" fmla="*/ 394 h 9994"/>
              <a:gd name="connsiteX6" fmla="*/ 3681 w 9764"/>
              <a:gd name="connsiteY6" fmla="*/ 492 h 9994"/>
              <a:gd name="connsiteX7" fmla="*/ 3655 w 9764"/>
              <a:gd name="connsiteY7" fmla="*/ 587 h 9994"/>
              <a:gd name="connsiteX8" fmla="*/ 3631 w 9764"/>
              <a:gd name="connsiteY8" fmla="*/ 683 h 9994"/>
              <a:gd name="connsiteX9" fmla="*/ 3603 w 9764"/>
              <a:gd name="connsiteY9" fmla="*/ 778 h 9994"/>
              <a:gd name="connsiteX10" fmla="*/ 3571 w 9764"/>
              <a:gd name="connsiteY10" fmla="*/ 870 h 9994"/>
              <a:gd name="connsiteX11" fmla="*/ 3536 w 9764"/>
              <a:gd name="connsiteY11" fmla="*/ 961 h 9994"/>
              <a:gd name="connsiteX12" fmla="*/ 3504 w 9764"/>
              <a:gd name="connsiteY12" fmla="*/ 1054 h 9994"/>
              <a:gd name="connsiteX13" fmla="*/ 3466 w 9764"/>
              <a:gd name="connsiteY13" fmla="*/ 1146 h 9994"/>
              <a:gd name="connsiteX14" fmla="*/ 3424 w 9764"/>
              <a:gd name="connsiteY14" fmla="*/ 1233 h 9994"/>
              <a:gd name="connsiteX15" fmla="*/ 3384 w 9764"/>
              <a:gd name="connsiteY15" fmla="*/ 1319 h 9994"/>
              <a:gd name="connsiteX16" fmla="*/ 3343 w 9764"/>
              <a:gd name="connsiteY16" fmla="*/ 1406 h 9994"/>
              <a:gd name="connsiteX17" fmla="*/ 3295 w 9764"/>
              <a:gd name="connsiteY17" fmla="*/ 1496 h 9994"/>
              <a:gd name="connsiteX18" fmla="*/ 3253 w 9764"/>
              <a:gd name="connsiteY18" fmla="*/ 1580 h 9994"/>
              <a:gd name="connsiteX19" fmla="*/ 3205 w 9764"/>
              <a:gd name="connsiteY19" fmla="*/ 1665 h 9994"/>
              <a:gd name="connsiteX20" fmla="*/ 3155 w 9764"/>
              <a:gd name="connsiteY20" fmla="*/ 1742 h 9994"/>
              <a:gd name="connsiteX21" fmla="*/ 3100 w 9764"/>
              <a:gd name="connsiteY21" fmla="*/ 1824 h 9994"/>
              <a:gd name="connsiteX22" fmla="*/ 3052 w 9764"/>
              <a:gd name="connsiteY22" fmla="*/ 1903 h 9994"/>
              <a:gd name="connsiteX23" fmla="*/ 2996 w 9764"/>
              <a:gd name="connsiteY23" fmla="*/ 1987 h 9994"/>
              <a:gd name="connsiteX24" fmla="*/ 2939 w 9764"/>
              <a:gd name="connsiteY24" fmla="*/ 2060 h 9994"/>
              <a:gd name="connsiteX25" fmla="*/ 2878 w 9764"/>
              <a:gd name="connsiteY25" fmla="*/ 2134 h 9994"/>
              <a:gd name="connsiteX26" fmla="*/ 2818 w 9764"/>
              <a:gd name="connsiteY26" fmla="*/ 2211 h 9994"/>
              <a:gd name="connsiteX27" fmla="*/ 2758 w 9764"/>
              <a:gd name="connsiteY27" fmla="*/ 2283 h 9994"/>
              <a:gd name="connsiteX28" fmla="*/ 2694 w 9764"/>
              <a:gd name="connsiteY28" fmla="*/ 2355 h 9994"/>
              <a:gd name="connsiteX29" fmla="*/ 2630 w 9764"/>
              <a:gd name="connsiteY29" fmla="*/ 2428 h 9994"/>
              <a:gd name="connsiteX30" fmla="*/ 2567 w 9764"/>
              <a:gd name="connsiteY30" fmla="*/ 2496 h 9994"/>
              <a:gd name="connsiteX31" fmla="*/ 2496 w 9764"/>
              <a:gd name="connsiteY31" fmla="*/ 2563 h 9994"/>
              <a:gd name="connsiteX32" fmla="*/ 2429 w 9764"/>
              <a:gd name="connsiteY32" fmla="*/ 2628 h 9994"/>
              <a:gd name="connsiteX33" fmla="*/ 2358 w 9764"/>
              <a:gd name="connsiteY33" fmla="*/ 2692 h 9994"/>
              <a:gd name="connsiteX34" fmla="*/ 2290 w 9764"/>
              <a:gd name="connsiteY34" fmla="*/ 2755 h 9994"/>
              <a:gd name="connsiteX35" fmla="*/ 2212 w 9764"/>
              <a:gd name="connsiteY35" fmla="*/ 2819 h 9994"/>
              <a:gd name="connsiteX36" fmla="*/ 2140 w 9764"/>
              <a:gd name="connsiteY36" fmla="*/ 2874 h 9994"/>
              <a:gd name="connsiteX37" fmla="*/ 2064 w 9764"/>
              <a:gd name="connsiteY37" fmla="*/ 2935 h 9994"/>
              <a:gd name="connsiteX38" fmla="*/ 1987 w 9764"/>
              <a:gd name="connsiteY38" fmla="*/ 2990 h 9994"/>
              <a:gd name="connsiteX39" fmla="*/ 1908 w 9764"/>
              <a:gd name="connsiteY39" fmla="*/ 3044 h 9994"/>
              <a:gd name="connsiteX40" fmla="*/ 1829 w 9764"/>
              <a:gd name="connsiteY40" fmla="*/ 3099 h 9994"/>
              <a:gd name="connsiteX41" fmla="*/ 1751 w 9764"/>
              <a:gd name="connsiteY41" fmla="*/ 3151 h 9994"/>
              <a:gd name="connsiteX42" fmla="*/ 1668 w 9764"/>
              <a:gd name="connsiteY42" fmla="*/ 3198 h 9994"/>
              <a:gd name="connsiteX43" fmla="*/ 1584 w 9764"/>
              <a:gd name="connsiteY43" fmla="*/ 3245 h 9994"/>
              <a:gd name="connsiteX44" fmla="*/ 1738 w 9764"/>
              <a:gd name="connsiteY44" fmla="*/ 6581 h 9994"/>
              <a:gd name="connsiteX45" fmla="*/ 0 w 9764"/>
              <a:gd name="connsiteY45" fmla="*/ 9994 h 9994"/>
              <a:gd name="connsiteX46" fmla="*/ 237 w 9764"/>
              <a:gd name="connsiteY46" fmla="*/ 9981 h 9994"/>
              <a:gd name="connsiteX47" fmla="*/ 471 w 9764"/>
              <a:gd name="connsiteY47" fmla="*/ 9959 h 9994"/>
              <a:gd name="connsiteX48" fmla="*/ 706 w 9764"/>
              <a:gd name="connsiteY48" fmla="*/ 9937 h 9994"/>
              <a:gd name="connsiteX49" fmla="*/ 940 w 9764"/>
              <a:gd name="connsiteY49" fmla="*/ 9904 h 9994"/>
              <a:gd name="connsiteX50" fmla="*/ 1171 w 9764"/>
              <a:gd name="connsiteY50" fmla="*/ 9871 h 9994"/>
              <a:gd name="connsiteX51" fmla="*/ 1402 w 9764"/>
              <a:gd name="connsiteY51" fmla="*/ 9830 h 9994"/>
              <a:gd name="connsiteX52" fmla="*/ 1626 w 9764"/>
              <a:gd name="connsiteY52" fmla="*/ 9784 h 9994"/>
              <a:gd name="connsiteX53" fmla="*/ 1860 w 9764"/>
              <a:gd name="connsiteY53" fmla="*/ 9737 h 9994"/>
              <a:gd name="connsiteX54" fmla="*/ 2078 w 9764"/>
              <a:gd name="connsiteY54" fmla="*/ 9679 h 9994"/>
              <a:gd name="connsiteX55" fmla="*/ 2301 w 9764"/>
              <a:gd name="connsiteY55" fmla="*/ 9622 h 9994"/>
              <a:gd name="connsiteX56" fmla="*/ 2522 w 9764"/>
              <a:gd name="connsiteY56" fmla="*/ 9559 h 9994"/>
              <a:gd name="connsiteX57" fmla="*/ 2741 w 9764"/>
              <a:gd name="connsiteY57" fmla="*/ 9488 h 9994"/>
              <a:gd name="connsiteX58" fmla="*/ 2953 w 9764"/>
              <a:gd name="connsiteY58" fmla="*/ 9411 h 9994"/>
              <a:gd name="connsiteX59" fmla="*/ 3166 w 9764"/>
              <a:gd name="connsiteY59" fmla="*/ 9336 h 9994"/>
              <a:gd name="connsiteX60" fmla="*/ 3381 w 9764"/>
              <a:gd name="connsiteY60" fmla="*/ 9250 h 9994"/>
              <a:gd name="connsiteX61" fmla="*/ 3593 w 9764"/>
              <a:gd name="connsiteY61" fmla="*/ 9165 h 9994"/>
              <a:gd name="connsiteX62" fmla="*/ 3797 w 9764"/>
              <a:gd name="connsiteY62" fmla="*/ 9069 h 9994"/>
              <a:gd name="connsiteX63" fmla="*/ 4001 w 9764"/>
              <a:gd name="connsiteY63" fmla="*/ 8972 h 9994"/>
              <a:gd name="connsiteX64" fmla="*/ 4207 w 9764"/>
              <a:gd name="connsiteY64" fmla="*/ 8869 h 9994"/>
              <a:gd name="connsiteX65" fmla="*/ 4405 w 9764"/>
              <a:gd name="connsiteY65" fmla="*/ 8764 h 9994"/>
              <a:gd name="connsiteX66" fmla="*/ 4603 w 9764"/>
              <a:gd name="connsiteY66" fmla="*/ 8656 h 9994"/>
              <a:gd name="connsiteX67" fmla="*/ 4800 w 9764"/>
              <a:gd name="connsiteY67" fmla="*/ 8540 h 9994"/>
              <a:gd name="connsiteX68" fmla="*/ 4992 w 9764"/>
              <a:gd name="connsiteY68" fmla="*/ 8423 h 9994"/>
              <a:gd name="connsiteX69" fmla="*/ 5181 w 9764"/>
              <a:gd name="connsiteY69" fmla="*/ 8299 h 9994"/>
              <a:gd name="connsiteX70" fmla="*/ 5369 w 9764"/>
              <a:gd name="connsiteY70" fmla="*/ 8173 h 9994"/>
              <a:gd name="connsiteX71" fmla="*/ 5547 w 9764"/>
              <a:gd name="connsiteY71" fmla="*/ 8044 h 9994"/>
              <a:gd name="connsiteX72" fmla="*/ 5728 w 9764"/>
              <a:gd name="connsiteY72" fmla="*/ 7908 h 9994"/>
              <a:gd name="connsiteX73" fmla="*/ 5907 w 9764"/>
              <a:gd name="connsiteY73" fmla="*/ 7772 h 9994"/>
              <a:gd name="connsiteX74" fmla="*/ 6080 w 9764"/>
              <a:gd name="connsiteY74" fmla="*/ 7629 h 9994"/>
              <a:gd name="connsiteX75" fmla="*/ 6253 w 9764"/>
              <a:gd name="connsiteY75" fmla="*/ 7484 h 9994"/>
              <a:gd name="connsiteX76" fmla="*/ 6420 w 9764"/>
              <a:gd name="connsiteY76" fmla="*/ 7333 h 9994"/>
              <a:gd name="connsiteX77" fmla="*/ 6586 w 9764"/>
              <a:gd name="connsiteY77" fmla="*/ 7183 h 9994"/>
              <a:gd name="connsiteX78" fmla="*/ 6746 w 9764"/>
              <a:gd name="connsiteY78" fmla="*/ 7029 h 9994"/>
              <a:gd name="connsiteX79" fmla="*/ 6908 w 9764"/>
              <a:gd name="connsiteY79" fmla="*/ 6865 h 9994"/>
              <a:gd name="connsiteX80" fmla="*/ 7063 w 9764"/>
              <a:gd name="connsiteY80" fmla="*/ 6700 h 9994"/>
              <a:gd name="connsiteX81" fmla="*/ 7214 w 9764"/>
              <a:gd name="connsiteY81" fmla="*/ 6538 h 9994"/>
              <a:gd name="connsiteX82" fmla="*/ 7362 w 9764"/>
              <a:gd name="connsiteY82" fmla="*/ 6367 h 9994"/>
              <a:gd name="connsiteX83" fmla="*/ 7507 w 9764"/>
              <a:gd name="connsiteY83" fmla="*/ 6192 h 9994"/>
              <a:gd name="connsiteX84" fmla="*/ 7649 w 9764"/>
              <a:gd name="connsiteY84" fmla="*/ 6019 h 9994"/>
              <a:gd name="connsiteX85" fmla="*/ 7786 w 9764"/>
              <a:gd name="connsiteY85" fmla="*/ 5839 h 9994"/>
              <a:gd name="connsiteX86" fmla="*/ 7924 w 9764"/>
              <a:gd name="connsiteY86" fmla="*/ 5656 h 9994"/>
              <a:gd name="connsiteX87" fmla="*/ 8049 w 9764"/>
              <a:gd name="connsiteY87" fmla="*/ 5471 h 9994"/>
              <a:gd name="connsiteX88" fmla="*/ 8174 w 9764"/>
              <a:gd name="connsiteY88" fmla="*/ 5281 h 9994"/>
              <a:gd name="connsiteX89" fmla="*/ 8300 w 9764"/>
              <a:gd name="connsiteY89" fmla="*/ 5093 h 9994"/>
              <a:gd name="connsiteX90" fmla="*/ 8418 w 9764"/>
              <a:gd name="connsiteY90" fmla="*/ 4895 h 9994"/>
              <a:gd name="connsiteX91" fmla="*/ 8531 w 9764"/>
              <a:gd name="connsiteY91" fmla="*/ 4702 h 9994"/>
              <a:gd name="connsiteX92" fmla="*/ 8643 w 9764"/>
              <a:gd name="connsiteY92" fmla="*/ 4502 h 9994"/>
              <a:gd name="connsiteX93" fmla="*/ 8745 w 9764"/>
              <a:gd name="connsiteY93" fmla="*/ 4296 h 9994"/>
              <a:gd name="connsiteX94" fmla="*/ 8847 w 9764"/>
              <a:gd name="connsiteY94" fmla="*/ 4092 h 9994"/>
              <a:gd name="connsiteX95" fmla="*/ 8948 w 9764"/>
              <a:gd name="connsiteY95" fmla="*/ 3887 h 9994"/>
              <a:gd name="connsiteX96" fmla="*/ 9043 w 9764"/>
              <a:gd name="connsiteY96" fmla="*/ 3676 h 9994"/>
              <a:gd name="connsiteX97" fmla="*/ 9128 w 9764"/>
              <a:gd name="connsiteY97" fmla="*/ 3466 h 9994"/>
              <a:gd name="connsiteX98" fmla="*/ 9216 w 9764"/>
              <a:gd name="connsiteY98" fmla="*/ 3250 h 9994"/>
              <a:gd name="connsiteX99" fmla="*/ 9294 w 9764"/>
              <a:gd name="connsiteY99" fmla="*/ 3032 h 9994"/>
              <a:gd name="connsiteX100" fmla="*/ 9371 w 9764"/>
              <a:gd name="connsiteY100" fmla="*/ 2817 h 9994"/>
              <a:gd name="connsiteX101" fmla="*/ 9441 w 9764"/>
              <a:gd name="connsiteY101" fmla="*/ 2594 h 9994"/>
              <a:gd name="connsiteX102" fmla="*/ 9506 w 9764"/>
              <a:gd name="connsiteY102" fmla="*/ 2370 h 9994"/>
              <a:gd name="connsiteX103" fmla="*/ 9567 w 9764"/>
              <a:gd name="connsiteY103" fmla="*/ 2144 h 9994"/>
              <a:gd name="connsiteX104" fmla="*/ 9626 w 9764"/>
              <a:gd name="connsiteY104" fmla="*/ 1919 h 9994"/>
              <a:gd name="connsiteX105" fmla="*/ 9676 w 9764"/>
              <a:gd name="connsiteY105" fmla="*/ 1691 h 9994"/>
              <a:gd name="connsiteX106" fmla="*/ 9723 w 9764"/>
              <a:gd name="connsiteY106" fmla="*/ 1459 h 9994"/>
              <a:gd name="connsiteX107" fmla="*/ 9764 w 9764"/>
              <a:gd name="connsiteY107" fmla="*/ 1223 h 9994"/>
              <a:gd name="connsiteX108" fmla="*/ 6501 w 9764"/>
              <a:gd name="connsiteY108" fmla="*/ 1877 h 9994"/>
              <a:gd name="connsiteX109" fmla="*/ 3777 w 9764"/>
              <a:gd name="connsiteY109" fmla="*/ 0 h 9994"/>
              <a:gd name="connsiteX0" fmla="*/ 3692 w 9824"/>
              <a:gd name="connsiteY0" fmla="*/ 0 h 10233"/>
              <a:gd name="connsiteX1" fmla="*/ 3692 w 9824"/>
              <a:gd name="connsiteY1" fmla="*/ 0 h 10233"/>
              <a:gd name="connsiteX2" fmla="*/ 3680 w 9824"/>
              <a:gd name="connsiteY2" fmla="*/ 99 h 10233"/>
              <a:gd name="connsiteX3" fmla="*/ 3660 w 9824"/>
              <a:gd name="connsiteY3" fmla="*/ 201 h 10233"/>
              <a:gd name="connsiteX4" fmla="*/ 3642 w 9824"/>
              <a:gd name="connsiteY4" fmla="*/ 300 h 10233"/>
              <a:gd name="connsiteX5" fmla="*/ 3620 w 9824"/>
              <a:gd name="connsiteY5" fmla="*/ 394 h 10233"/>
              <a:gd name="connsiteX6" fmla="*/ 3594 w 9824"/>
              <a:gd name="connsiteY6" fmla="*/ 492 h 10233"/>
              <a:gd name="connsiteX7" fmla="*/ 3567 w 9824"/>
              <a:gd name="connsiteY7" fmla="*/ 587 h 10233"/>
              <a:gd name="connsiteX8" fmla="*/ 3543 w 9824"/>
              <a:gd name="connsiteY8" fmla="*/ 683 h 10233"/>
              <a:gd name="connsiteX9" fmla="*/ 3514 w 9824"/>
              <a:gd name="connsiteY9" fmla="*/ 778 h 10233"/>
              <a:gd name="connsiteX10" fmla="*/ 3481 w 9824"/>
              <a:gd name="connsiteY10" fmla="*/ 871 h 10233"/>
              <a:gd name="connsiteX11" fmla="*/ 3445 w 9824"/>
              <a:gd name="connsiteY11" fmla="*/ 962 h 10233"/>
              <a:gd name="connsiteX12" fmla="*/ 3413 w 9824"/>
              <a:gd name="connsiteY12" fmla="*/ 1055 h 10233"/>
              <a:gd name="connsiteX13" fmla="*/ 3374 w 9824"/>
              <a:gd name="connsiteY13" fmla="*/ 1147 h 10233"/>
              <a:gd name="connsiteX14" fmla="*/ 3331 w 9824"/>
              <a:gd name="connsiteY14" fmla="*/ 1234 h 10233"/>
              <a:gd name="connsiteX15" fmla="*/ 3290 w 9824"/>
              <a:gd name="connsiteY15" fmla="*/ 1320 h 10233"/>
              <a:gd name="connsiteX16" fmla="*/ 3248 w 9824"/>
              <a:gd name="connsiteY16" fmla="*/ 1407 h 10233"/>
              <a:gd name="connsiteX17" fmla="*/ 3199 w 9824"/>
              <a:gd name="connsiteY17" fmla="*/ 1497 h 10233"/>
              <a:gd name="connsiteX18" fmla="*/ 3156 w 9824"/>
              <a:gd name="connsiteY18" fmla="*/ 1581 h 10233"/>
              <a:gd name="connsiteX19" fmla="*/ 3106 w 9824"/>
              <a:gd name="connsiteY19" fmla="*/ 1666 h 10233"/>
              <a:gd name="connsiteX20" fmla="*/ 3055 w 9824"/>
              <a:gd name="connsiteY20" fmla="*/ 1743 h 10233"/>
              <a:gd name="connsiteX21" fmla="*/ 2999 w 9824"/>
              <a:gd name="connsiteY21" fmla="*/ 1825 h 10233"/>
              <a:gd name="connsiteX22" fmla="*/ 2950 w 9824"/>
              <a:gd name="connsiteY22" fmla="*/ 1904 h 10233"/>
              <a:gd name="connsiteX23" fmla="*/ 2892 w 9824"/>
              <a:gd name="connsiteY23" fmla="*/ 1988 h 10233"/>
              <a:gd name="connsiteX24" fmla="*/ 2834 w 9824"/>
              <a:gd name="connsiteY24" fmla="*/ 2061 h 10233"/>
              <a:gd name="connsiteX25" fmla="*/ 2772 w 9824"/>
              <a:gd name="connsiteY25" fmla="*/ 2135 h 10233"/>
              <a:gd name="connsiteX26" fmla="*/ 2710 w 9824"/>
              <a:gd name="connsiteY26" fmla="*/ 2212 h 10233"/>
              <a:gd name="connsiteX27" fmla="*/ 2649 w 9824"/>
              <a:gd name="connsiteY27" fmla="*/ 2284 h 10233"/>
              <a:gd name="connsiteX28" fmla="*/ 2583 w 9824"/>
              <a:gd name="connsiteY28" fmla="*/ 2356 h 10233"/>
              <a:gd name="connsiteX29" fmla="*/ 2518 w 9824"/>
              <a:gd name="connsiteY29" fmla="*/ 2429 h 10233"/>
              <a:gd name="connsiteX30" fmla="*/ 2453 w 9824"/>
              <a:gd name="connsiteY30" fmla="*/ 2497 h 10233"/>
              <a:gd name="connsiteX31" fmla="*/ 2380 w 9824"/>
              <a:gd name="connsiteY31" fmla="*/ 2565 h 10233"/>
              <a:gd name="connsiteX32" fmla="*/ 2312 w 9824"/>
              <a:gd name="connsiteY32" fmla="*/ 2630 h 10233"/>
              <a:gd name="connsiteX33" fmla="*/ 2239 w 9824"/>
              <a:gd name="connsiteY33" fmla="*/ 2694 h 10233"/>
              <a:gd name="connsiteX34" fmla="*/ 2169 w 9824"/>
              <a:gd name="connsiteY34" fmla="*/ 2757 h 10233"/>
              <a:gd name="connsiteX35" fmla="*/ 2089 w 9824"/>
              <a:gd name="connsiteY35" fmla="*/ 2821 h 10233"/>
              <a:gd name="connsiteX36" fmla="*/ 2016 w 9824"/>
              <a:gd name="connsiteY36" fmla="*/ 2876 h 10233"/>
              <a:gd name="connsiteX37" fmla="*/ 1938 w 9824"/>
              <a:gd name="connsiteY37" fmla="*/ 2937 h 10233"/>
              <a:gd name="connsiteX38" fmla="*/ 1859 w 9824"/>
              <a:gd name="connsiteY38" fmla="*/ 2992 h 10233"/>
              <a:gd name="connsiteX39" fmla="*/ 1778 w 9824"/>
              <a:gd name="connsiteY39" fmla="*/ 3046 h 10233"/>
              <a:gd name="connsiteX40" fmla="*/ 1697 w 9824"/>
              <a:gd name="connsiteY40" fmla="*/ 3101 h 10233"/>
              <a:gd name="connsiteX41" fmla="*/ 1617 w 9824"/>
              <a:gd name="connsiteY41" fmla="*/ 3153 h 10233"/>
              <a:gd name="connsiteX42" fmla="*/ 1532 w 9824"/>
              <a:gd name="connsiteY42" fmla="*/ 3200 h 10233"/>
              <a:gd name="connsiteX43" fmla="*/ 1446 w 9824"/>
              <a:gd name="connsiteY43" fmla="*/ 3247 h 10233"/>
              <a:gd name="connsiteX44" fmla="*/ 1604 w 9824"/>
              <a:gd name="connsiteY44" fmla="*/ 6585 h 10233"/>
              <a:gd name="connsiteX45" fmla="*/ 67 w 9824"/>
              <a:gd name="connsiteY45" fmla="*/ 9987 h 10233"/>
              <a:gd name="connsiteX46" fmla="*/ 306 w 9824"/>
              <a:gd name="connsiteY46" fmla="*/ 9965 h 10233"/>
              <a:gd name="connsiteX47" fmla="*/ 547 w 9824"/>
              <a:gd name="connsiteY47" fmla="*/ 9943 h 10233"/>
              <a:gd name="connsiteX48" fmla="*/ 787 w 9824"/>
              <a:gd name="connsiteY48" fmla="*/ 9910 h 10233"/>
              <a:gd name="connsiteX49" fmla="*/ 1023 w 9824"/>
              <a:gd name="connsiteY49" fmla="*/ 9877 h 10233"/>
              <a:gd name="connsiteX50" fmla="*/ 1260 w 9824"/>
              <a:gd name="connsiteY50" fmla="*/ 9836 h 10233"/>
              <a:gd name="connsiteX51" fmla="*/ 1489 w 9824"/>
              <a:gd name="connsiteY51" fmla="*/ 9790 h 10233"/>
              <a:gd name="connsiteX52" fmla="*/ 1729 w 9824"/>
              <a:gd name="connsiteY52" fmla="*/ 9743 h 10233"/>
              <a:gd name="connsiteX53" fmla="*/ 1952 w 9824"/>
              <a:gd name="connsiteY53" fmla="*/ 9685 h 10233"/>
              <a:gd name="connsiteX54" fmla="*/ 2181 w 9824"/>
              <a:gd name="connsiteY54" fmla="*/ 9628 h 10233"/>
              <a:gd name="connsiteX55" fmla="*/ 2407 w 9824"/>
              <a:gd name="connsiteY55" fmla="*/ 9565 h 10233"/>
              <a:gd name="connsiteX56" fmla="*/ 2631 w 9824"/>
              <a:gd name="connsiteY56" fmla="*/ 9494 h 10233"/>
              <a:gd name="connsiteX57" fmla="*/ 2848 w 9824"/>
              <a:gd name="connsiteY57" fmla="*/ 9417 h 10233"/>
              <a:gd name="connsiteX58" fmla="*/ 3067 w 9824"/>
              <a:gd name="connsiteY58" fmla="*/ 9342 h 10233"/>
              <a:gd name="connsiteX59" fmla="*/ 3287 w 9824"/>
              <a:gd name="connsiteY59" fmla="*/ 9256 h 10233"/>
              <a:gd name="connsiteX60" fmla="*/ 3504 w 9824"/>
              <a:gd name="connsiteY60" fmla="*/ 9171 h 10233"/>
              <a:gd name="connsiteX61" fmla="*/ 3713 w 9824"/>
              <a:gd name="connsiteY61" fmla="*/ 9074 h 10233"/>
              <a:gd name="connsiteX62" fmla="*/ 3922 w 9824"/>
              <a:gd name="connsiteY62" fmla="*/ 8977 h 10233"/>
              <a:gd name="connsiteX63" fmla="*/ 4133 w 9824"/>
              <a:gd name="connsiteY63" fmla="*/ 8874 h 10233"/>
              <a:gd name="connsiteX64" fmla="*/ 4335 w 9824"/>
              <a:gd name="connsiteY64" fmla="*/ 8769 h 10233"/>
              <a:gd name="connsiteX65" fmla="*/ 4538 w 9824"/>
              <a:gd name="connsiteY65" fmla="*/ 8661 h 10233"/>
              <a:gd name="connsiteX66" fmla="*/ 4740 w 9824"/>
              <a:gd name="connsiteY66" fmla="*/ 8545 h 10233"/>
              <a:gd name="connsiteX67" fmla="*/ 4937 w 9824"/>
              <a:gd name="connsiteY67" fmla="*/ 8428 h 10233"/>
              <a:gd name="connsiteX68" fmla="*/ 5130 w 9824"/>
              <a:gd name="connsiteY68" fmla="*/ 8304 h 10233"/>
              <a:gd name="connsiteX69" fmla="*/ 5323 w 9824"/>
              <a:gd name="connsiteY69" fmla="*/ 8178 h 10233"/>
              <a:gd name="connsiteX70" fmla="*/ 5505 w 9824"/>
              <a:gd name="connsiteY70" fmla="*/ 8049 h 10233"/>
              <a:gd name="connsiteX71" fmla="*/ 5690 w 9824"/>
              <a:gd name="connsiteY71" fmla="*/ 7913 h 10233"/>
              <a:gd name="connsiteX72" fmla="*/ 5874 w 9824"/>
              <a:gd name="connsiteY72" fmla="*/ 7777 h 10233"/>
              <a:gd name="connsiteX73" fmla="*/ 6051 w 9824"/>
              <a:gd name="connsiteY73" fmla="*/ 7634 h 10233"/>
              <a:gd name="connsiteX74" fmla="*/ 6228 w 9824"/>
              <a:gd name="connsiteY74" fmla="*/ 7488 h 10233"/>
              <a:gd name="connsiteX75" fmla="*/ 6399 w 9824"/>
              <a:gd name="connsiteY75" fmla="*/ 7337 h 10233"/>
              <a:gd name="connsiteX76" fmla="*/ 6569 w 9824"/>
              <a:gd name="connsiteY76" fmla="*/ 7187 h 10233"/>
              <a:gd name="connsiteX77" fmla="*/ 6733 w 9824"/>
              <a:gd name="connsiteY77" fmla="*/ 7033 h 10233"/>
              <a:gd name="connsiteX78" fmla="*/ 6899 w 9824"/>
              <a:gd name="connsiteY78" fmla="*/ 6869 h 10233"/>
              <a:gd name="connsiteX79" fmla="*/ 7058 w 9824"/>
              <a:gd name="connsiteY79" fmla="*/ 6704 h 10233"/>
              <a:gd name="connsiteX80" fmla="*/ 7212 w 9824"/>
              <a:gd name="connsiteY80" fmla="*/ 6542 h 10233"/>
              <a:gd name="connsiteX81" fmla="*/ 7364 w 9824"/>
              <a:gd name="connsiteY81" fmla="*/ 6371 h 10233"/>
              <a:gd name="connsiteX82" fmla="*/ 7512 w 9824"/>
              <a:gd name="connsiteY82" fmla="*/ 6196 h 10233"/>
              <a:gd name="connsiteX83" fmla="*/ 7658 w 9824"/>
              <a:gd name="connsiteY83" fmla="*/ 6023 h 10233"/>
              <a:gd name="connsiteX84" fmla="*/ 7798 w 9824"/>
              <a:gd name="connsiteY84" fmla="*/ 5843 h 10233"/>
              <a:gd name="connsiteX85" fmla="*/ 7940 w 9824"/>
              <a:gd name="connsiteY85" fmla="*/ 5659 h 10233"/>
              <a:gd name="connsiteX86" fmla="*/ 8068 w 9824"/>
              <a:gd name="connsiteY86" fmla="*/ 5474 h 10233"/>
              <a:gd name="connsiteX87" fmla="*/ 8196 w 9824"/>
              <a:gd name="connsiteY87" fmla="*/ 5284 h 10233"/>
              <a:gd name="connsiteX88" fmla="*/ 8325 w 9824"/>
              <a:gd name="connsiteY88" fmla="*/ 5096 h 10233"/>
              <a:gd name="connsiteX89" fmla="*/ 8445 w 9824"/>
              <a:gd name="connsiteY89" fmla="*/ 4898 h 10233"/>
              <a:gd name="connsiteX90" fmla="*/ 8561 w 9824"/>
              <a:gd name="connsiteY90" fmla="*/ 4705 h 10233"/>
              <a:gd name="connsiteX91" fmla="*/ 8676 w 9824"/>
              <a:gd name="connsiteY91" fmla="*/ 4505 h 10233"/>
              <a:gd name="connsiteX92" fmla="*/ 8780 w 9824"/>
              <a:gd name="connsiteY92" fmla="*/ 4299 h 10233"/>
              <a:gd name="connsiteX93" fmla="*/ 8885 w 9824"/>
              <a:gd name="connsiteY93" fmla="*/ 4094 h 10233"/>
              <a:gd name="connsiteX94" fmla="*/ 8988 w 9824"/>
              <a:gd name="connsiteY94" fmla="*/ 3889 h 10233"/>
              <a:gd name="connsiteX95" fmla="*/ 9086 w 9824"/>
              <a:gd name="connsiteY95" fmla="*/ 3678 h 10233"/>
              <a:gd name="connsiteX96" fmla="*/ 9173 w 9824"/>
              <a:gd name="connsiteY96" fmla="*/ 3468 h 10233"/>
              <a:gd name="connsiteX97" fmla="*/ 9263 w 9824"/>
              <a:gd name="connsiteY97" fmla="*/ 3252 h 10233"/>
              <a:gd name="connsiteX98" fmla="*/ 9343 w 9824"/>
              <a:gd name="connsiteY98" fmla="*/ 3034 h 10233"/>
              <a:gd name="connsiteX99" fmla="*/ 9422 w 9824"/>
              <a:gd name="connsiteY99" fmla="*/ 2819 h 10233"/>
              <a:gd name="connsiteX100" fmla="*/ 9493 w 9824"/>
              <a:gd name="connsiteY100" fmla="*/ 2596 h 10233"/>
              <a:gd name="connsiteX101" fmla="*/ 9560 w 9824"/>
              <a:gd name="connsiteY101" fmla="*/ 2371 h 10233"/>
              <a:gd name="connsiteX102" fmla="*/ 9622 w 9824"/>
              <a:gd name="connsiteY102" fmla="*/ 2145 h 10233"/>
              <a:gd name="connsiteX103" fmla="*/ 9683 w 9824"/>
              <a:gd name="connsiteY103" fmla="*/ 1920 h 10233"/>
              <a:gd name="connsiteX104" fmla="*/ 9734 w 9824"/>
              <a:gd name="connsiteY104" fmla="*/ 1692 h 10233"/>
              <a:gd name="connsiteX105" fmla="*/ 9782 w 9824"/>
              <a:gd name="connsiteY105" fmla="*/ 1460 h 10233"/>
              <a:gd name="connsiteX106" fmla="*/ 9824 w 9824"/>
              <a:gd name="connsiteY106" fmla="*/ 1224 h 10233"/>
              <a:gd name="connsiteX107" fmla="*/ 6482 w 9824"/>
              <a:gd name="connsiteY107" fmla="*/ 1878 h 10233"/>
              <a:gd name="connsiteX108" fmla="*/ 3692 w 9824"/>
              <a:gd name="connsiteY108" fmla="*/ 0 h 10233"/>
              <a:gd name="connsiteX0" fmla="*/ 3447 w 9689"/>
              <a:gd name="connsiteY0" fmla="*/ 0 h 9738"/>
              <a:gd name="connsiteX1" fmla="*/ 3447 w 9689"/>
              <a:gd name="connsiteY1" fmla="*/ 0 h 9738"/>
              <a:gd name="connsiteX2" fmla="*/ 3435 w 9689"/>
              <a:gd name="connsiteY2" fmla="*/ 97 h 9738"/>
              <a:gd name="connsiteX3" fmla="*/ 3415 w 9689"/>
              <a:gd name="connsiteY3" fmla="*/ 196 h 9738"/>
              <a:gd name="connsiteX4" fmla="*/ 3396 w 9689"/>
              <a:gd name="connsiteY4" fmla="*/ 293 h 9738"/>
              <a:gd name="connsiteX5" fmla="*/ 3374 w 9689"/>
              <a:gd name="connsiteY5" fmla="*/ 385 h 9738"/>
              <a:gd name="connsiteX6" fmla="*/ 3347 w 9689"/>
              <a:gd name="connsiteY6" fmla="*/ 481 h 9738"/>
              <a:gd name="connsiteX7" fmla="*/ 3320 w 9689"/>
              <a:gd name="connsiteY7" fmla="*/ 574 h 9738"/>
              <a:gd name="connsiteX8" fmla="*/ 3295 w 9689"/>
              <a:gd name="connsiteY8" fmla="*/ 667 h 9738"/>
              <a:gd name="connsiteX9" fmla="*/ 3266 w 9689"/>
              <a:gd name="connsiteY9" fmla="*/ 760 h 9738"/>
              <a:gd name="connsiteX10" fmla="*/ 3232 w 9689"/>
              <a:gd name="connsiteY10" fmla="*/ 851 h 9738"/>
              <a:gd name="connsiteX11" fmla="*/ 3196 w 9689"/>
              <a:gd name="connsiteY11" fmla="*/ 940 h 9738"/>
              <a:gd name="connsiteX12" fmla="*/ 3163 w 9689"/>
              <a:gd name="connsiteY12" fmla="*/ 1031 h 9738"/>
              <a:gd name="connsiteX13" fmla="*/ 3123 w 9689"/>
              <a:gd name="connsiteY13" fmla="*/ 1121 h 9738"/>
              <a:gd name="connsiteX14" fmla="*/ 3080 w 9689"/>
              <a:gd name="connsiteY14" fmla="*/ 1206 h 9738"/>
              <a:gd name="connsiteX15" fmla="*/ 3038 w 9689"/>
              <a:gd name="connsiteY15" fmla="*/ 1290 h 9738"/>
              <a:gd name="connsiteX16" fmla="*/ 2995 w 9689"/>
              <a:gd name="connsiteY16" fmla="*/ 1375 h 9738"/>
              <a:gd name="connsiteX17" fmla="*/ 2945 w 9689"/>
              <a:gd name="connsiteY17" fmla="*/ 1463 h 9738"/>
              <a:gd name="connsiteX18" fmla="*/ 2902 w 9689"/>
              <a:gd name="connsiteY18" fmla="*/ 1545 h 9738"/>
              <a:gd name="connsiteX19" fmla="*/ 2851 w 9689"/>
              <a:gd name="connsiteY19" fmla="*/ 1628 h 9738"/>
              <a:gd name="connsiteX20" fmla="*/ 2799 w 9689"/>
              <a:gd name="connsiteY20" fmla="*/ 1703 h 9738"/>
              <a:gd name="connsiteX21" fmla="*/ 2742 w 9689"/>
              <a:gd name="connsiteY21" fmla="*/ 1783 h 9738"/>
              <a:gd name="connsiteX22" fmla="*/ 2692 w 9689"/>
              <a:gd name="connsiteY22" fmla="*/ 1861 h 9738"/>
              <a:gd name="connsiteX23" fmla="*/ 2633 w 9689"/>
              <a:gd name="connsiteY23" fmla="*/ 1943 h 9738"/>
              <a:gd name="connsiteX24" fmla="*/ 2574 w 9689"/>
              <a:gd name="connsiteY24" fmla="*/ 2014 h 9738"/>
              <a:gd name="connsiteX25" fmla="*/ 2511 w 9689"/>
              <a:gd name="connsiteY25" fmla="*/ 2086 h 9738"/>
              <a:gd name="connsiteX26" fmla="*/ 2448 w 9689"/>
              <a:gd name="connsiteY26" fmla="*/ 2162 h 9738"/>
              <a:gd name="connsiteX27" fmla="*/ 2385 w 9689"/>
              <a:gd name="connsiteY27" fmla="*/ 2232 h 9738"/>
              <a:gd name="connsiteX28" fmla="*/ 2318 w 9689"/>
              <a:gd name="connsiteY28" fmla="*/ 2302 h 9738"/>
              <a:gd name="connsiteX29" fmla="*/ 2252 w 9689"/>
              <a:gd name="connsiteY29" fmla="*/ 2374 h 9738"/>
              <a:gd name="connsiteX30" fmla="*/ 2186 w 9689"/>
              <a:gd name="connsiteY30" fmla="*/ 2440 h 9738"/>
              <a:gd name="connsiteX31" fmla="*/ 2112 w 9689"/>
              <a:gd name="connsiteY31" fmla="*/ 2507 h 9738"/>
              <a:gd name="connsiteX32" fmla="*/ 2042 w 9689"/>
              <a:gd name="connsiteY32" fmla="*/ 2570 h 9738"/>
              <a:gd name="connsiteX33" fmla="*/ 1968 w 9689"/>
              <a:gd name="connsiteY33" fmla="*/ 2633 h 9738"/>
              <a:gd name="connsiteX34" fmla="*/ 1897 w 9689"/>
              <a:gd name="connsiteY34" fmla="*/ 2694 h 9738"/>
              <a:gd name="connsiteX35" fmla="*/ 1815 w 9689"/>
              <a:gd name="connsiteY35" fmla="*/ 2757 h 9738"/>
              <a:gd name="connsiteX36" fmla="*/ 1741 w 9689"/>
              <a:gd name="connsiteY36" fmla="*/ 2811 h 9738"/>
              <a:gd name="connsiteX37" fmla="*/ 1662 w 9689"/>
              <a:gd name="connsiteY37" fmla="*/ 2870 h 9738"/>
              <a:gd name="connsiteX38" fmla="*/ 1581 w 9689"/>
              <a:gd name="connsiteY38" fmla="*/ 2924 h 9738"/>
              <a:gd name="connsiteX39" fmla="*/ 1499 w 9689"/>
              <a:gd name="connsiteY39" fmla="*/ 2977 h 9738"/>
              <a:gd name="connsiteX40" fmla="*/ 1416 w 9689"/>
              <a:gd name="connsiteY40" fmla="*/ 3030 h 9738"/>
              <a:gd name="connsiteX41" fmla="*/ 1335 w 9689"/>
              <a:gd name="connsiteY41" fmla="*/ 3081 h 9738"/>
              <a:gd name="connsiteX42" fmla="*/ 1248 w 9689"/>
              <a:gd name="connsiteY42" fmla="*/ 3127 h 9738"/>
              <a:gd name="connsiteX43" fmla="*/ 1161 w 9689"/>
              <a:gd name="connsiteY43" fmla="*/ 3173 h 9738"/>
              <a:gd name="connsiteX44" fmla="*/ 1322 w 9689"/>
              <a:gd name="connsiteY44" fmla="*/ 6435 h 9738"/>
              <a:gd name="connsiteX45" fmla="*/ 0 w 9689"/>
              <a:gd name="connsiteY45" fmla="*/ 9738 h 9738"/>
              <a:gd name="connsiteX46" fmla="*/ 246 w 9689"/>
              <a:gd name="connsiteY46" fmla="*/ 9717 h 9738"/>
              <a:gd name="connsiteX47" fmla="*/ 490 w 9689"/>
              <a:gd name="connsiteY47" fmla="*/ 9684 h 9738"/>
              <a:gd name="connsiteX48" fmla="*/ 730 w 9689"/>
              <a:gd name="connsiteY48" fmla="*/ 9652 h 9738"/>
              <a:gd name="connsiteX49" fmla="*/ 972 w 9689"/>
              <a:gd name="connsiteY49" fmla="*/ 9612 h 9738"/>
              <a:gd name="connsiteX50" fmla="*/ 1205 w 9689"/>
              <a:gd name="connsiteY50" fmla="*/ 9567 h 9738"/>
              <a:gd name="connsiteX51" fmla="*/ 1449 w 9689"/>
              <a:gd name="connsiteY51" fmla="*/ 9521 h 9738"/>
              <a:gd name="connsiteX52" fmla="*/ 1676 w 9689"/>
              <a:gd name="connsiteY52" fmla="*/ 9464 h 9738"/>
              <a:gd name="connsiteX53" fmla="*/ 1909 w 9689"/>
              <a:gd name="connsiteY53" fmla="*/ 9409 h 9738"/>
              <a:gd name="connsiteX54" fmla="*/ 2139 w 9689"/>
              <a:gd name="connsiteY54" fmla="*/ 9347 h 9738"/>
              <a:gd name="connsiteX55" fmla="*/ 2367 w 9689"/>
              <a:gd name="connsiteY55" fmla="*/ 9278 h 9738"/>
              <a:gd name="connsiteX56" fmla="*/ 2588 w 9689"/>
              <a:gd name="connsiteY56" fmla="*/ 9203 h 9738"/>
              <a:gd name="connsiteX57" fmla="*/ 2811 w 9689"/>
              <a:gd name="connsiteY57" fmla="*/ 9129 h 9738"/>
              <a:gd name="connsiteX58" fmla="*/ 3035 w 9689"/>
              <a:gd name="connsiteY58" fmla="*/ 9045 h 9738"/>
              <a:gd name="connsiteX59" fmla="*/ 3256 w 9689"/>
              <a:gd name="connsiteY59" fmla="*/ 8962 h 9738"/>
              <a:gd name="connsiteX60" fmla="*/ 3469 w 9689"/>
              <a:gd name="connsiteY60" fmla="*/ 8867 h 9738"/>
              <a:gd name="connsiteX61" fmla="*/ 3681 w 9689"/>
              <a:gd name="connsiteY61" fmla="*/ 8773 h 9738"/>
              <a:gd name="connsiteX62" fmla="*/ 3896 w 9689"/>
              <a:gd name="connsiteY62" fmla="*/ 8672 h 9738"/>
              <a:gd name="connsiteX63" fmla="*/ 4102 w 9689"/>
              <a:gd name="connsiteY63" fmla="*/ 8569 h 9738"/>
              <a:gd name="connsiteX64" fmla="*/ 4308 w 9689"/>
              <a:gd name="connsiteY64" fmla="*/ 8464 h 9738"/>
              <a:gd name="connsiteX65" fmla="*/ 4514 w 9689"/>
              <a:gd name="connsiteY65" fmla="*/ 8350 h 9738"/>
              <a:gd name="connsiteX66" fmla="*/ 4714 w 9689"/>
              <a:gd name="connsiteY66" fmla="*/ 8236 h 9738"/>
              <a:gd name="connsiteX67" fmla="*/ 4911 w 9689"/>
              <a:gd name="connsiteY67" fmla="*/ 8115 h 9738"/>
              <a:gd name="connsiteX68" fmla="*/ 5107 w 9689"/>
              <a:gd name="connsiteY68" fmla="*/ 7992 h 9738"/>
              <a:gd name="connsiteX69" fmla="*/ 5293 w 9689"/>
              <a:gd name="connsiteY69" fmla="*/ 7866 h 9738"/>
              <a:gd name="connsiteX70" fmla="*/ 5481 w 9689"/>
              <a:gd name="connsiteY70" fmla="*/ 7733 h 9738"/>
              <a:gd name="connsiteX71" fmla="*/ 5668 w 9689"/>
              <a:gd name="connsiteY71" fmla="*/ 7600 h 9738"/>
              <a:gd name="connsiteX72" fmla="*/ 5848 w 9689"/>
              <a:gd name="connsiteY72" fmla="*/ 7460 h 9738"/>
              <a:gd name="connsiteX73" fmla="*/ 6029 w 9689"/>
              <a:gd name="connsiteY73" fmla="*/ 7318 h 9738"/>
              <a:gd name="connsiteX74" fmla="*/ 6203 w 9689"/>
              <a:gd name="connsiteY74" fmla="*/ 7170 h 9738"/>
              <a:gd name="connsiteX75" fmla="*/ 6376 w 9689"/>
              <a:gd name="connsiteY75" fmla="*/ 7023 h 9738"/>
              <a:gd name="connsiteX76" fmla="*/ 6543 w 9689"/>
              <a:gd name="connsiteY76" fmla="*/ 6873 h 9738"/>
              <a:gd name="connsiteX77" fmla="*/ 6712 w 9689"/>
              <a:gd name="connsiteY77" fmla="*/ 6713 h 9738"/>
              <a:gd name="connsiteX78" fmla="*/ 6873 w 9689"/>
              <a:gd name="connsiteY78" fmla="*/ 6551 h 9738"/>
              <a:gd name="connsiteX79" fmla="*/ 7030 w 9689"/>
              <a:gd name="connsiteY79" fmla="*/ 6393 h 9738"/>
              <a:gd name="connsiteX80" fmla="*/ 7185 w 9689"/>
              <a:gd name="connsiteY80" fmla="*/ 6226 h 9738"/>
              <a:gd name="connsiteX81" fmla="*/ 7336 w 9689"/>
              <a:gd name="connsiteY81" fmla="*/ 6055 h 9738"/>
              <a:gd name="connsiteX82" fmla="*/ 7484 w 9689"/>
              <a:gd name="connsiteY82" fmla="*/ 5886 h 9738"/>
              <a:gd name="connsiteX83" fmla="*/ 7627 w 9689"/>
              <a:gd name="connsiteY83" fmla="*/ 5710 h 9738"/>
              <a:gd name="connsiteX84" fmla="*/ 7771 w 9689"/>
              <a:gd name="connsiteY84" fmla="*/ 5530 h 9738"/>
              <a:gd name="connsiteX85" fmla="*/ 7902 w 9689"/>
              <a:gd name="connsiteY85" fmla="*/ 5349 h 9738"/>
              <a:gd name="connsiteX86" fmla="*/ 8032 w 9689"/>
              <a:gd name="connsiteY86" fmla="*/ 5164 h 9738"/>
              <a:gd name="connsiteX87" fmla="*/ 8163 w 9689"/>
              <a:gd name="connsiteY87" fmla="*/ 4980 h 9738"/>
              <a:gd name="connsiteX88" fmla="*/ 8285 w 9689"/>
              <a:gd name="connsiteY88" fmla="*/ 4786 h 9738"/>
              <a:gd name="connsiteX89" fmla="*/ 8403 w 9689"/>
              <a:gd name="connsiteY89" fmla="*/ 4598 h 9738"/>
              <a:gd name="connsiteX90" fmla="*/ 8520 w 9689"/>
              <a:gd name="connsiteY90" fmla="*/ 4402 h 9738"/>
              <a:gd name="connsiteX91" fmla="*/ 8626 w 9689"/>
              <a:gd name="connsiteY91" fmla="*/ 4201 h 9738"/>
              <a:gd name="connsiteX92" fmla="*/ 8733 w 9689"/>
              <a:gd name="connsiteY92" fmla="*/ 4001 h 9738"/>
              <a:gd name="connsiteX93" fmla="*/ 8838 w 9689"/>
              <a:gd name="connsiteY93" fmla="*/ 3800 h 9738"/>
              <a:gd name="connsiteX94" fmla="*/ 8938 w 9689"/>
              <a:gd name="connsiteY94" fmla="*/ 3594 h 9738"/>
              <a:gd name="connsiteX95" fmla="*/ 9026 w 9689"/>
              <a:gd name="connsiteY95" fmla="*/ 3389 h 9738"/>
              <a:gd name="connsiteX96" fmla="*/ 9118 w 9689"/>
              <a:gd name="connsiteY96" fmla="*/ 3178 h 9738"/>
              <a:gd name="connsiteX97" fmla="*/ 9199 w 9689"/>
              <a:gd name="connsiteY97" fmla="*/ 2965 h 9738"/>
              <a:gd name="connsiteX98" fmla="*/ 9280 w 9689"/>
              <a:gd name="connsiteY98" fmla="*/ 2755 h 9738"/>
              <a:gd name="connsiteX99" fmla="*/ 9352 w 9689"/>
              <a:gd name="connsiteY99" fmla="*/ 2537 h 9738"/>
              <a:gd name="connsiteX100" fmla="*/ 9420 w 9689"/>
              <a:gd name="connsiteY100" fmla="*/ 2317 h 9738"/>
              <a:gd name="connsiteX101" fmla="*/ 9483 w 9689"/>
              <a:gd name="connsiteY101" fmla="*/ 2096 h 9738"/>
              <a:gd name="connsiteX102" fmla="*/ 9545 w 9689"/>
              <a:gd name="connsiteY102" fmla="*/ 1876 h 9738"/>
              <a:gd name="connsiteX103" fmla="*/ 9597 w 9689"/>
              <a:gd name="connsiteY103" fmla="*/ 1653 h 9738"/>
              <a:gd name="connsiteX104" fmla="*/ 9646 w 9689"/>
              <a:gd name="connsiteY104" fmla="*/ 1427 h 9738"/>
              <a:gd name="connsiteX105" fmla="*/ 9689 w 9689"/>
              <a:gd name="connsiteY105" fmla="*/ 1196 h 9738"/>
              <a:gd name="connsiteX106" fmla="*/ 6287 w 9689"/>
              <a:gd name="connsiteY106" fmla="*/ 1835 h 9738"/>
              <a:gd name="connsiteX107" fmla="*/ 3447 w 9689"/>
              <a:gd name="connsiteY107" fmla="*/ 0 h 9738"/>
              <a:gd name="connsiteX0" fmla="*/ 3342 w 9784"/>
              <a:gd name="connsiteY0" fmla="*/ 0 h 10219"/>
              <a:gd name="connsiteX1" fmla="*/ 3342 w 9784"/>
              <a:gd name="connsiteY1" fmla="*/ 0 h 10219"/>
              <a:gd name="connsiteX2" fmla="*/ 3329 w 9784"/>
              <a:gd name="connsiteY2" fmla="*/ 100 h 10219"/>
              <a:gd name="connsiteX3" fmla="*/ 3309 w 9784"/>
              <a:gd name="connsiteY3" fmla="*/ 201 h 10219"/>
              <a:gd name="connsiteX4" fmla="*/ 3289 w 9784"/>
              <a:gd name="connsiteY4" fmla="*/ 301 h 10219"/>
              <a:gd name="connsiteX5" fmla="*/ 3266 w 9784"/>
              <a:gd name="connsiteY5" fmla="*/ 395 h 10219"/>
              <a:gd name="connsiteX6" fmla="*/ 3238 w 9784"/>
              <a:gd name="connsiteY6" fmla="*/ 494 h 10219"/>
              <a:gd name="connsiteX7" fmla="*/ 3211 w 9784"/>
              <a:gd name="connsiteY7" fmla="*/ 589 h 10219"/>
              <a:gd name="connsiteX8" fmla="*/ 3185 w 9784"/>
              <a:gd name="connsiteY8" fmla="*/ 685 h 10219"/>
              <a:gd name="connsiteX9" fmla="*/ 3155 w 9784"/>
              <a:gd name="connsiteY9" fmla="*/ 780 h 10219"/>
              <a:gd name="connsiteX10" fmla="*/ 3120 w 9784"/>
              <a:gd name="connsiteY10" fmla="*/ 874 h 10219"/>
              <a:gd name="connsiteX11" fmla="*/ 3083 w 9784"/>
              <a:gd name="connsiteY11" fmla="*/ 965 h 10219"/>
              <a:gd name="connsiteX12" fmla="*/ 3049 w 9784"/>
              <a:gd name="connsiteY12" fmla="*/ 1059 h 10219"/>
              <a:gd name="connsiteX13" fmla="*/ 3007 w 9784"/>
              <a:gd name="connsiteY13" fmla="*/ 1151 h 10219"/>
              <a:gd name="connsiteX14" fmla="*/ 2963 w 9784"/>
              <a:gd name="connsiteY14" fmla="*/ 1238 h 10219"/>
              <a:gd name="connsiteX15" fmla="*/ 2920 w 9784"/>
              <a:gd name="connsiteY15" fmla="*/ 1325 h 10219"/>
              <a:gd name="connsiteX16" fmla="*/ 2875 w 9784"/>
              <a:gd name="connsiteY16" fmla="*/ 1412 h 10219"/>
              <a:gd name="connsiteX17" fmla="*/ 2824 w 9784"/>
              <a:gd name="connsiteY17" fmla="*/ 1502 h 10219"/>
              <a:gd name="connsiteX18" fmla="*/ 2779 w 9784"/>
              <a:gd name="connsiteY18" fmla="*/ 1587 h 10219"/>
              <a:gd name="connsiteX19" fmla="*/ 2727 w 9784"/>
              <a:gd name="connsiteY19" fmla="*/ 1672 h 10219"/>
              <a:gd name="connsiteX20" fmla="*/ 2673 w 9784"/>
              <a:gd name="connsiteY20" fmla="*/ 1749 h 10219"/>
              <a:gd name="connsiteX21" fmla="*/ 2614 w 9784"/>
              <a:gd name="connsiteY21" fmla="*/ 1831 h 10219"/>
              <a:gd name="connsiteX22" fmla="*/ 2562 w 9784"/>
              <a:gd name="connsiteY22" fmla="*/ 1911 h 10219"/>
              <a:gd name="connsiteX23" fmla="*/ 2502 w 9784"/>
              <a:gd name="connsiteY23" fmla="*/ 1995 h 10219"/>
              <a:gd name="connsiteX24" fmla="*/ 2441 w 9784"/>
              <a:gd name="connsiteY24" fmla="*/ 2068 h 10219"/>
              <a:gd name="connsiteX25" fmla="*/ 2376 w 9784"/>
              <a:gd name="connsiteY25" fmla="*/ 2142 h 10219"/>
              <a:gd name="connsiteX26" fmla="*/ 2311 w 9784"/>
              <a:gd name="connsiteY26" fmla="*/ 2220 h 10219"/>
              <a:gd name="connsiteX27" fmla="*/ 2246 w 9784"/>
              <a:gd name="connsiteY27" fmla="*/ 2292 h 10219"/>
              <a:gd name="connsiteX28" fmla="*/ 2176 w 9784"/>
              <a:gd name="connsiteY28" fmla="*/ 2364 h 10219"/>
              <a:gd name="connsiteX29" fmla="*/ 2108 w 9784"/>
              <a:gd name="connsiteY29" fmla="*/ 2438 h 10219"/>
              <a:gd name="connsiteX30" fmla="*/ 2040 w 9784"/>
              <a:gd name="connsiteY30" fmla="*/ 2506 h 10219"/>
              <a:gd name="connsiteX31" fmla="*/ 1964 w 9784"/>
              <a:gd name="connsiteY31" fmla="*/ 2574 h 10219"/>
              <a:gd name="connsiteX32" fmla="*/ 1892 w 9784"/>
              <a:gd name="connsiteY32" fmla="*/ 2639 h 10219"/>
              <a:gd name="connsiteX33" fmla="*/ 1815 w 9784"/>
              <a:gd name="connsiteY33" fmla="*/ 2704 h 10219"/>
              <a:gd name="connsiteX34" fmla="*/ 1742 w 9784"/>
              <a:gd name="connsiteY34" fmla="*/ 2766 h 10219"/>
              <a:gd name="connsiteX35" fmla="*/ 1657 w 9784"/>
              <a:gd name="connsiteY35" fmla="*/ 2831 h 10219"/>
              <a:gd name="connsiteX36" fmla="*/ 1581 w 9784"/>
              <a:gd name="connsiteY36" fmla="*/ 2887 h 10219"/>
              <a:gd name="connsiteX37" fmla="*/ 1499 w 9784"/>
              <a:gd name="connsiteY37" fmla="*/ 2947 h 10219"/>
              <a:gd name="connsiteX38" fmla="*/ 1416 w 9784"/>
              <a:gd name="connsiteY38" fmla="*/ 3003 h 10219"/>
              <a:gd name="connsiteX39" fmla="*/ 1331 w 9784"/>
              <a:gd name="connsiteY39" fmla="*/ 3057 h 10219"/>
              <a:gd name="connsiteX40" fmla="*/ 1245 w 9784"/>
              <a:gd name="connsiteY40" fmla="*/ 3112 h 10219"/>
              <a:gd name="connsiteX41" fmla="*/ 1162 w 9784"/>
              <a:gd name="connsiteY41" fmla="*/ 3164 h 10219"/>
              <a:gd name="connsiteX42" fmla="*/ 1072 w 9784"/>
              <a:gd name="connsiteY42" fmla="*/ 3211 h 10219"/>
              <a:gd name="connsiteX43" fmla="*/ 982 w 9784"/>
              <a:gd name="connsiteY43" fmla="*/ 3258 h 10219"/>
              <a:gd name="connsiteX44" fmla="*/ 1148 w 9784"/>
              <a:gd name="connsiteY44" fmla="*/ 6608 h 10219"/>
              <a:gd name="connsiteX45" fmla="*/ 38 w 9784"/>
              <a:gd name="connsiteY45" fmla="*/ 9978 h 10219"/>
              <a:gd name="connsiteX46" fmla="*/ 290 w 9784"/>
              <a:gd name="connsiteY46" fmla="*/ 9945 h 10219"/>
              <a:gd name="connsiteX47" fmla="*/ 537 w 9784"/>
              <a:gd name="connsiteY47" fmla="*/ 9912 h 10219"/>
              <a:gd name="connsiteX48" fmla="*/ 787 w 9784"/>
              <a:gd name="connsiteY48" fmla="*/ 9871 h 10219"/>
              <a:gd name="connsiteX49" fmla="*/ 1028 w 9784"/>
              <a:gd name="connsiteY49" fmla="*/ 9824 h 10219"/>
              <a:gd name="connsiteX50" fmla="*/ 1280 w 9784"/>
              <a:gd name="connsiteY50" fmla="*/ 9777 h 10219"/>
              <a:gd name="connsiteX51" fmla="*/ 1514 w 9784"/>
              <a:gd name="connsiteY51" fmla="*/ 9719 h 10219"/>
              <a:gd name="connsiteX52" fmla="*/ 1754 w 9784"/>
              <a:gd name="connsiteY52" fmla="*/ 9662 h 10219"/>
              <a:gd name="connsiteX53" fmla="*/ 1992 w 9784"/>
              <a:gd name="connsiteY53" fmla="*/ 9598 h 10219"/>
              <a:gd name="connsiteX54" fmla="*/ 2227 w 9784"/>
              <a:gd name="connsiteY54" fmla="*/ 9528 h 10219"/>
              <a:gd name="connsiteX55" fmla="*/ 2455 w 9784"/>
              <a:gd name="connsiteY55" fmla="*/ 9451 h 10219"/>
              <a:gd name="connsiteX56" fmla="*/ 2685 w 9784"/>
              <a:gd name="connsiteY56" fmla="*/ 9375 h 10219"/>
              <a:gd name="connsiteX57" fmla="*/ 2916 w 9784"/>
              <a:gd name="connsiteY57" fmla="*/ 9288 h 10219"/>
              <a:gd name="connsiteX58" fmla="*/ 3145 w 9784"/>
              <a:gd name="connsiteY58" fmla="*/ 9203 h 10219"/>
              <a:gd name="connsiteX59" fmla="*/ 3364 w 9784"/>
              <a:gd name="connsiteY59" fmla="*/ 9106 h 10219"/>
              <a:gd name="connsiteX60" fmla="*/ 3583 w 9784"/>
              <a:gd name="connsiteY60" fmla="*/ 9009 h 10219"/>
              <a:gd name="connsiteX61" fmla="*/ 3805 w 9784"/>
              <a:gd name="connsiteY61" fmla="*/ 8905 h 10219"/>
              <a:gd name="connsiteX62" fmla="*/ 4018 w 9784"/>
              <a:gd name="connsiteY62" fmla="*/ 8800 h 10219"/>
              <a:gd name="connsiteX63" fmla="*/ 4230 w 9784"/>
              <a:gd name="connsiteY63" fmla="*/ 8692 h 10219"/>
              <a:gd name="connsiteX64" fmla="*/ 4443 w 9784"/>
              <a:gd name="connsiteY64" fmla="*/ 8575 h 10219"/>
              <a:gd name="connsiteX65" fmla="*/ 4649 w 9784"/>
              <a:gd name="connsiteY65" fmla="*/ 8458 h 10219"/>
              <a:gd name="connsiteX66" fmla="*/ 4853 w 9784"/>
              <a:gd name="connsiteY66" fmla="*/ 8333 h 10219"/>
              <a:gd name="connsiteX67" fmla="*/ 5055 w 9784"/>
              <a:gd name="connsiteY67" fmla="*/ 8207 h 10219"/>
              <a:gd name="connsiteX68" fmla="*/ 5247 w 9784"/>
              <a:gd name="connsiteY68" fmla="*/ 8078 h 10219"/>
              <a:gd name="connsiteX69" fmla="*/ 5441 w 9784"/>
              <a:gd name="connsiteY69" fmla="*/ 7941 h 10219"/>
              <a:gd name="connsiteX70" fmla="*/ 5634 w 9784"/>
              <a:gd name="connsiteY70" fmla="*/ 7804 h 10219"/>
              <a:gd name="connsiteX71" fmla="*/ 5820 w 9784"/>
              <a:gd name="connsiteY71" fmla="*/ 7661 h 10219"/>
              <a:gd name="connsiteX72" fmla="*/ 6007 w 9784"/>
              <a:gd name="connsiteY72" fmla="*/ 7515 h 10219"/>
              <a:gd name="connsiteX73" fmla="*/ 6186 w 9784"/>
              <a:gd name="connsiteY73" fmla="*/ 7363 h 10219"/>
              <a:gd name="connsiteX74" fmla="*/ 6365 w 9784"/>
              <a:gd name="connsiteY74" fmla="*/ 7212 h 10219"/>
              <a:gd name="connsiteX75" fmla="*/ 6537 w 9784"/>
              <a:gd name="connsiteY75" fmla="*/ 7058 h 10219"/>
              <a:gd name="connsiteX76" fmla="*/ 6711 w 9784"/>
              <a:gd name="connsiteY76" fmla="*/ 6894 h 10219"/>
              <a:gd name="connsiteX77" fmla="*/ 6878 w 9784"/>
              <a:gd name="connsiteY77" fmla="*/ 6727 h 10219"/>
              <a:gd name="connsiteX78" fmla="*/ 7040 w 9784"/>
              <a:gd name="connsiteY78" fmla="*/ 6565 h 10219"/>
              <a:gd name="connsiteX79" fmla="*/ 7200 w 9784"/>
              <a:gd name="connsiteY79" fmla="*/ 6394 h 10219"/>
              <a:gd name="connsiteX80" fmla="*/ 7355 w 9784"/>
              <a:gd name="connsiteY80" fmla="*/ 6218 h 10219"/>
              <a:gd name="connsiteX81" fmla="*/ 7508 w 9784"/>
              <a:gd name="connsiteY81" fmla="*/ 6044 h 10219"/>
              <a:gd name="connsiteX82" fmla="*/ 7656 w 9784"/>
              <a:gd name="connsiteY82" fmla="*/ 5864 h 10219"/>
              <a:gd name="connsiteX83" fmla="*/ 7804 w 9784"/>
              <a:gd name="connsiteY83" fmla="*/ 5679 h 10219"/>
              <a:gd name="connsiteX84" fmla="*/ 7940 w 9784"/>
              <a:gd name="connsiteY84" fmla="*/ 5493 h 10219"/>
              <a:gd name="connsiteX85" fmla="*/ 8074 w 9784"/>
              <a:gd name="connsiteY85" fmla="*/ 5303 h 10219"/>
              <a:gd name="connsiteX86" fmla="*/ 8209 w 9784"/>
              <a:gd name="connsiteY86" fmla="*/ 5114 h 10219"/>
              <a:gd name="connsiteX87" fmla="*/ 8335 w 9784"/>
              <a:gd name="connsiteY87" fmla="*/ 4915 h 10219"/>
              <a:gd name="connsiteX88" fmla="*/ 8457 w 9784"/>
              <a:gd name="connsiteY88" fmla="*/ 4722 h 10219"/>
              <a:gd name="connsiteX89" fmla="*/ 8577 w 9784"/>
              <a:gd name="connsiteY89" fmla="*/ 4520 h 10219"/>
              <a:gd name="connsiteX90" fmla="*/ 8687 w 9784"/>
              <a:gd name="connsiteY90" fmla="*/ 4314 h 10219"/>
              <a:gd name="connsiteX91" fmla="*/ 8797 w 9784"/>
              <a:gd name="connsiteY91" fmla="*/ 4109 h 10219"/>
              <a:gd name="connsiteX92" fmla="*/ 8906 w 9784"/>
              <a:gd name="connsiteY92" fmla="*/ 3902 h 10219"/>
              <a:gd name="connsiteX93" fmla="*/ 9009 w 9784"/>
              <a:gd name="connsiteY93" fmla="*/ 3691 h 10219"/>
              <a:gd name="connsiteX94" fmla="*/ 9100 w 9784"/>
              <a:gd name="connsiteY94" fmla="*/ 3480 h 10219"/>
              <a:gd name="connsiteX95" fmla="*/ 9195 w 9784"/>
              <a:gd name="connsiteY95" fmla="*/ 3264 h 10219"/>
              <a:gd name="connsiteX96" fmla="*/ 9278 w 9784"/>
              <a:gd name="connsiteY96" fmla="*/ 3045 h 10219"/>
              <a:gd name="connsiteX97" fmla="*/ 9362 w 9784"/>
              <a:gd name="connsiteY97" fmla="*/ 2829 h 10219"/>
              <a:gd name="connsiteX98" fmla="*/ 9436 w 9784"/>
              <a:gd name="connsiteY98" fmla="*/ 2605 h 10219"/>
              <a:gd name="connsiteX99" fmla="*/ 9506 w 9784"/>
              <a:gd name="connsiteY99" fmla="*/ 2379 h 10219"/>
              <a:gd name="connsiteX100" fmla="*/ 9571 w 9784"/>
              <a:gd name="connsiteY100" fmla="*/ 2152 h 10219"/>
              <a:gd name="connsiteX101" fmla="*/ 9635 w 9784"/>
              <a:gd name="connsiteY101" fmla="*/ 1926 h 10219"/>
              <a:gd name="connsiteX102" fmla="*/ 9689 w 9784"/>
              <a:gd name="connsiteY102" fmla="*/ 1697 h 10219"/>
              <a:gd name="connsiteX103" fmla="*/ 9740 w 9784"/>
              <a:gd name="connsiteY103" fmla="*/ 1465 h 10219"/>
              <a:gd name="connsiteX104" fmla="*/ 9784 w 9784"/>
              <a:gd name="connsiteY104" fmla="*/ 1228 h 10219"/>
              <a:gd name="connsiteX105" fmla="*/ 6273 w 9784"/>
              <a:gd name="connsiteY105" fmla="*/ 1884 h 10219"/>
              <a:gd name="connsiteX106" fmla="*/ 3342 w 9784"/>
              <a:gd name="connsiteY106" fmla="*/ 0 h 10219"/>
              <a:gd name="connsiteX0" fmla="*/ 3120 w 9704"/>
              <a:gd name="connsiteY0" fmla="*/ 0 h 9732"/>
              <a:gd name="connsiteX1" fmla="*/ 3120 w 9704"/>
              <a:gd name="connsiteY1" fmla="*/ 0 h 9732"/>
              <a:gd name="connsiteX2" fmla="*/ 3106 w 9704"/>
              <a:gd name="connsiteY2" fmla="*/ 98 h 9732"/>
              <a:gd name="connsiteX3" fmla="*/ 3086 w 9704"/>
              <a:gd name="connsiteY3" fmla="*/ 197 h 9732"/>
              <a:gd name="connsiteX4" fmla="*/ 3066 w 9704"/>
              <a:gd name="connsiteY4" fmla="*/ 295 h 9732"/>
              <a:gd name="connsiteX5" fmla="*/ 3042 w 9704"/>
              <a:gd name="connsiteY5" fmla="*/ 387 h 9732"/>
              <a:gd name="connsiteX6" fmla="*/ 3013 w 9704"/>
              <a:gd name="connsiteY6" fmla="*/ 483 h 9732"/>
              <a:gd name="connsiteX7" fmla="*/ 2986 w 9704"/>
              <a:gd name="connsiteY7" fmla="*/ 576 h 9732"/>
              <a:gd name="connsiteX8" fmla="*/ 2959 w 9704"/>
              <a:gd name="connsiteY8" fmla="*/ 670 h 9732"/>
              <a:gd name="connsiteX9" fmla="*/ 2929 w 9704"/>
              <a:gd name="connsiteY9" fmla="*/ 763 h 9732"/>
              <a:gd name="connsiteX10" fmla="*/ 2893 w 9704"/>
              <a:gd name="connsiteY10" fmla="*/ 855 h 9732"/>
              <a:gd name="connsiteX11" fmla="*/ 2855 w 9704"/>
              <a:gd name="connsiteY11" fmla="*/ 944 h 9732"/>
              <a:gd name="connsiteX12" fmla="*/ 2820 w 9704"/>
              <a:gd name="connsiteY12" fmla="*/ 1036 h 9732"/>
              <a:gd name="connsiteX13" fmla="*/ 2777 w 9704"/>
              <a:gd name="connsiteY13" fmla="*/ 1126 h 9732"/>
              <a:gd name="connsiteX14" fmla="*/ 2732 w 9704"/>
              <a:gd name="connsiteY14" fmla="*/ 1211 h 9732"/>
              <a:gd name="connsiteX15" fmla="*/ 2688 w 9704"/>
              <a:gd name="connsiteY15" fmla="*/ 1297 h 9732"/>
              <a:gd name="connsiteX16" fmla="*/ 2642 w 9704"/>
              <a:gd name="connsiteY16" fmla="*/ 1382 h 9732"/>
              <a:gd name="connsiteX17" fmla="*/ 2590 w 9704"/>
              <a:gd name="connsiteY17" fmla="*/ 1470 h 9732"/>
              <a:gd name="connsiteX18" fmla="*/ 2544 w 9704"/>
              <a:gd name="connsiteY18" fmla="*/ 1553 h 9732"/>
              <a:gd name="connsiteX19" fmla="*/ 2491 w 9704"/>
              <a:gd name="connsiteY19" fmla="*/ 1636 h 9732"/>
              <a:gd name="connsiteX20" fmla="*/ 2436 w 9704"/>
              <a:gd name="connsiteY20" fmla="*/ 1712 h 9732"/>
              <a:gd name="connsiteX21" fmla="*/ 2376 w 9704"/>
              <a:gd name="connsiteY21" fmla="*/ 1792 h 9732"/>
              <a:gd name="connsiteX22" fmla="*/ 2323 w 9704"/>
              <a:gd name="connsiteY22" fmla="*/ 1870 h 9732"/>
              <a:gd name="connsiteX23" fmla="*/ 2261 w 9704"/>
              <a:gd name="connsiteY23" fmla="*/ 1952 h 9732"/>
              <a:gd name="connsiteX24" fmla="*/ 2199 w 9704"/>
              <a:gd name="connsiteY24" fmla="*/ 2024 h 9732"/>
              <a:gd name="connsiteX25" fmla="*/ 2132 w 9704"/>
              <a:gd name="connsiteY25" fmla="*/ 2096 h 9732"/>
              <a:gd name="connsiteX26" fmla="*/ 2066 w 9704"/>
              <a:gd name="connsiteY26" fmla="*/ 2172 h 9732"/>
              <a:gd name="connsiteX27" fmla="*/ 2000 w 9704"/>
              <a:gd name="connsiteY27" fmla="*/ 2243 h 9732"/>
              <a:gd name="connsiteX28" fmla="*/ 1928 w 9704"/>
              <a:gd name="connsiteY28" fmla="*/ 2313 h 9732"/>
              <a:gd name="connsiteX29" fmla="*/ 1859 w 9704"/>
              <a:gd name="connsiteY29" fmla="*/ 2386 h 9732"/>
              <a:gd name="connsiteX30" fmla="*/ 1789 w 9704"/>
              <a:gd name="connsiteY30" fmla="*/ 2452 h 9732"/>
              <a:gd name="connsiteX31" fmla="*/ 1711 w 9704"/>
              <a:gd name="connsiteY31" fmla="*/ 2519 h 9732"/>
              <a:gd name="connsiteX32" fmla="*/ 1638 w 9704"/>
              <a:gd name="connsiteY32" fmla="*/ 2582 h 9732"/>
              <a:gd name="connsiteX33" fmla="*/ 1559 w 9704"/>
              <a:gd name="connsiteY33" fmla="*/ 2646 h 9732"/>
              <a:gd name="connsiteX34" fmla="*/ 1484 w 9704"/>
              <a:gd name="connsiteY34" fmla="*/ 2707 h 9732"/>
              <a:gd name="connsiteX35" fmla="*/ 1398 w 9704"/>
              <a:gd name="connsiteY35" fmla="*/ 2770 h 9732"/>
              <a:gd name="connsiteX36" fmla="*/ 1320 w 9704"/>
              <a:gd name="connsiteY36" fmla="*/ 2825 h 9732"/>
              <a:gd name="connsiteX37" fmla="*/ 1236 w 9704"/>
              <a:gd name="connsiteY37" fmla="*/ 2884 h 9732"/>
              <a:gd name="connsiteX38" fmla="*/ 1151 w 9704"/>
              <a:gd name="connsiteY38" fmla="*/ 2939 h 9732"/>
              <a:gd name="connsiteX39" fmla="*/ 1064 w 9704"/>
              <a:gd name="connsiteY39" fmla="*/ 2991 h 9732"/>
              <a:gd name="connsiteX40" fmla="*/ 976 w 9704"/>
              <a:gd name="connsiteY40" fmla="*/ 3045 h 9732"/>
              <a:gd name="connsiteX41" fmla="*/ 892 w 9704"/>
              <a:gd name="connsiteY41" fmla="*/ 3096 h 9732"/>
              <a:gd name="connsiteX42" fmla="*/ 800 w 9704"/>
              <a:gd name="connsiteY42" fmla="*/ 3142 h 9732"/>
              <a:gd name="connsiteX43" fmla="*/ 708 w 9704"/>
              <a:gd name="connsiteY43" fmla="*/ 3188 h 9732"/>
              <a:gd name="connsiteX44" fmla="*/ 877 w 9704"/>
              <a:gd name="connsiteY44" fmla="*/ 6466 h 9732"/>
              <a:gd name="connsiteX45" fmla="*/ 0 w 9704"/>
              <a:gd name="connsiteY45" fmla="*/ 9732 h 9732"/>
              <a:gd name="connsiteX46" fmla="*/ 253 w 9704"/>
              <a:gd name="connsiteY46" fmla="*/ 9700 h 9732"/>
              <a:gd name="connsiteX47" fmla="*/ 508 w 9704"/>
              <a:gd name="connsiteY47" fmla="*/ 9659 h 9732"/>
              <a:gd name="connsiteX48" fmla="*/ 755 w 9704"/>
              <a:gd name="connsiteY48" fmla="*/ 9613 h 9732"/>
              <a:gd name="connsiteX49" fmla="*/ 1012 w 9704"/>
              <a:gd name="connsiteY49" fmla="*/ 9567 h 9732"/>
              <a:gd name="connsiteX50" fmla="*/ 1251 w 9704"/>
              <a:gd name="connsiteY50" fmla="*/ 9511 h 9732"/>
              <a:gd name="connsiteX51" fmla="*/ 1497 w 9704"/>
              <a:gd name="connsiteY51" fmla="*/ 9455 h 9732"/>
              <a:gd name="connsiteX52" fmla="*/ 1740 w 9704"/>
              <a:gd name="connsiteY52" fmla="*/ 9392 h 9732"/>
              <a:gd name="connsiteX53" fmla="*/ 1980 w 9704"/>
              <a:gd name="connsiteY53" fmla="*/ 9324 h 9732"/>
              <a:gd name="connsiteX54" fmla="*/ 2213 w 9704"/>
              <a:gd name="connsiteY54" fmla="*/ 9248 h 9732"/>
              <a:gd name="connsiteX55" fmla="*/ 2448 w 9704"/>
              <a:gd name="connsiteY55" fmla="*/ 9174 h 9732"/>
              <a:gd name="connsiteX56" fmla="*/ 2684 w 9704"/>
              <a:gd name="connsiteY56" fmla="*/ 9089 h 9732"/>
              <a:gd name="connsiteX57" fmla="*/ 2918 w 9704"/>
              <a:gd name="connsiteY57" fmla="*/ 9006 h 9732"/>
              <a:gd name="connsiteX58" fmla="*/ 3142 w 9704"/>
              <a:gd name="connsiteY58" fmla="*/ 8911 h 9732"/>
              <a:gd name="connsiteX59" fmla="*/ 3366 w 9704"/>
              <a:gd name="connsiteY59" fmla="*/ 8816 h 9732"/>
              <a:gd name="connsiteX60" fmla="*/ 3593 w 9704"/>
              <a:gd name="connsiteY60" fmla="*/ 8714 h 9732"/>
              <a:gd name="connsiteX61" fmla="*/ 3811 w 9704"/>
              <a:gd name="connsiteY61" fmla="*/ 8611 h 9732"/>
              <a:gd name="connsiteX62" fmla="*/ 4027 w 9704"/>
              <a:gd name="connsiteY62" fmla="*/ 8506 h 9732"/>
              <a:gd name="connsiteX63" fmla="*/ 4245 w 9704"/>
              <a:gd name="connsiteY63" fmla="*/ 8391 h 9732"/>
              <a:gd name="connsiteX64" fmla="*/ 4456 w 9704"/>
              <a:gd name="connsiteY64" fmla="*/ 8277 h 9732"/>
              <a:gd name="connsiteX65" fmla="*/ 4664 w 9704"/>
              <a:gd name="connsiteY65" fmla="*/ 8154 h 9732"/>
              <a:gd name="connsiteX66" fmla="*/ 4871 w 9704"/>
              <a:gd name="connsiteY66" fmla="*/ 8031 h 9732"/>
              <a:gd name="connsiteX67" fmla="*/ 5067 w 9704"/>
              <a:gd name="connsiteY67" fmla="*/ 7905 h 9732"/>
              <a:gd name="connsiteX68" fmla="*/ 5265 w 9704"/>
              <a:gd name="connsiteY68" fmla="*/ 7771 h 9732"/>
              <a:gd name="connsiteX69" fmla="*/ 5462 w 9704"/>
              <a:gd name="connsiteY69" fmla="*/ 7637 h 9732"/>
              <a:gd name="connsiteX70" fmla="*/ 5652 w 9704"/>
              <a:gd name="connsiteY70" fmla="*/ 7497 h 9732"/>
              <a:gd name="connsiteX71" fmla="*/ 5844 w 9704"/>
              <a:gd name="connsiteY71" fmla="*/ 7354 h 9732"/>
              <a:gd name="connsiteX72" fmla="*/ 6027 w 9704"/>
              <a:gd name="connsiteY72" fmla="*/ 7205 h 9732"/>
              <a:gd name="connsiteX73" fmla="*/ 6210 w 9704"/>
              <a:gd name="connsiteY73" fmla="*/ 7057 h 9732"/>
              <a:gd name="connsiteX74" fmla="*/ 6385 w 9704"/>
              <a:gd name="connsiteY74" fmla="*/ 6907 h 9732"/>
              <a:gd name="connsiteX75" fmla="*/ 6563 w 9704"/>
              <a:gd name="connsiteY75" fmla="*/ 6746 h 9732"/>
              <a:gd name="connsiteX76" fmla="*/ 6734 w 9704"/>
              <a:gd name="connsiteY76" fmla="*/ 6583 h 9732"/>
              <a:gd name="connsiteX77" fmla="*/ 6899 w 9704"/>
              <a:gd name="connsiteY77" fmla="*/ 6424 h 9732"/>
              <a:gd name="connsiteX78" fmla="*/ 7063 w 9704"/>
              <a:gd name="connsiteY78" fmla="*/ 6257 h 9732"/>
              <a:gd name="connsiteX79" fmla="*/ 7221 w 9704"/>
              <a:gd name="connsiteY79" fmla="*/ 6085 h 9732"/>
              <a:gd name="connsiteX80" fmla="*/ 7378 w 9704"/>
              <a:gd name="connsiteY80" fmla="*/ 5914 h 9732"/>
              <a:gd name="connsiteX81" fmla="*/ 7529 w 9704"/>
              <a:gd name="connsiteY81" fmla="*/ 5738 h 9732"/>
              <a:gd name="connsiteX82" fmla="*/ 7680 w 9704"/>
              <a:gd name="connsiteY82" fmla="*/ 5557 h 9732"/>
              <a:gd name="connsiteX83" fmla="*/ 7819 w 9704"/>
              <a:gd name="connsiteY83" fmla="*/ 5375 h 9732"/>
              <a:gd name="connsiteX84" fmla="*/ 7956 w 9704"/>
              <a:gd name="connsiteY84" fmla="*/ 5189 h 9732"/>
              <a:gd name="connsiteX85" fmla="*/ 8094 w 9704"/>
              <a:gd name="connsiteY85" fmla="*/ 5004 h 9732"/>
              <a:gd name="connsiteX86" fmla="*/ 8223 w 9704"/>
              <a:gd name="connsiteY86" fmla="*/ 4810 h 9732"/>
              <a:gd name="connsiteX87" fmla="*/ 8348 w 9704"/>
              <a:gd name="connsiteY87" fmla="*/ 4621 h 9732"/>
              <a:gd name="connsiteX88" fmla="*/ 8470 w 9704"/>
              <a:gd name="connsiteY88" fmla="*/ 4423 h 9732"/>
              <a:gd name="connsiteX89" fmla="*/ 8583 w 9704"/>
              <a:gd name="connsiteY89" fmla="*/ 4222 h 9732"/>
              <a:gd name="connsiteX90" fmla="*/ 8695 w 9704"/>
              <a:gd name="connsiteY90" fmla="*/ 4021 h 9732"/>
              <a:gd name="connsiteX91" fmla="*/ 8807 w 9704"/>
              <a:gd name="connsiteY91" fmla="*/ 3818 h 9732"/>
              <a:gd name="connsiteX92" fmla="*/ 8912 w 9704"/>
              <a:gd name="connsiteY92" fmla="*/ 3612 h 9732"/>
              <a:gd name="connsiteX93" fmla="*/ 9005 w 9704"/>
              <a:gd name="connsiteY93" fmla="*/ 3405 h 9732"/>
              <a:gd name="connsiteX94" fmla="*/ 9102 w 9704"/>
              <a:gd name="connsiteY94" fmla="*/ 3194 h 9732"/>
              <a:gd name="connsiteX95" fmla="*/ 9187 w 9704"/>
              <a:gd name="connsiteY95" fmla="*/ 2980 h 9732"/>
              <a:gd name="connsiteX96" fmla="*/ 9273 w 9704"/>
              <a:gd name="connsiteY96" fmla="*/ 2768 h 9732"/>
              <a:gd name="connsiteX97" fmla="*/ 9348 w 9704"/>
              <a:gd name="connsiteY97" fmla="*/ 2549 h 9732"/>
              <a:gd name="connsiteX98" fmla="*/ 9420 w 9704"/>
              <a:gd name="connsiteY98" fmla="*/ 2328 h 9732"/>
              <a:gd name="connsiteX99" fmla="*/ 9486 w 9704"/>
              <a:gd name="connsiteY99" fmla="*/ 2106 h 9732"/>
              <a:gd name="connsiteX100" fmla="*/ 9552 w 9704"/>
              <a:gd name="connsiteY100" fmla="*/ 1885 h 9732"/>
              <a:gd name="connsiteX101" fmla="*/ 9607 w 9704"/>
              <a:gd name="connsiteY101" fmla="*/ 1661 h 9732"/>
              <a:gd name="connsiteX102" fmla="*/ 9659 w 9704"/>
              <a:gd name="connsiteY102" fmla="*/ 1434 h 9732"/>
              <a:gd name="connsiteX103" fmla="*/ 9704 w 9704"/>
              <a:gd name="connsiteY103" fmla="*/ 1202 h 9732"/>
              <a:gd name="connsiteX104" fmla="*/ 6115 w 9704"/>
              <a:gd name="connsiteY104" fmla="*/ 1844 h 9732"/>
              <a:gd name="connsiteX105" fmla="*/ 3120 w 9704"/>
              <a:gd name="connsiteY105" fmla="*/ 0 h 9732"/>
              <a:gd name="connsiteX0" fmla="*/ 2954 w 9739"/>
              <a:gd name="connsiteY0" fmla="*/ 0 h 9967"/>
              <a:gd name="connsiteX1" fmla="*/ 2954 w 9739"/>
              <a:gd name="connsiteY1" fmla="*/ 0 h 9967"/>
              <a:gd name="connsiteX2" fmla="*/ 2940 w 9739"/>
              <a:gd name="connsiteY2" fmla="*/ 101 h 9967"/>
              <a:gd name="connsiteX3" fmla="*/ 2919 w 9739"/>
              <a:gd name="connsiteY3" fmla="*/ 202 h 9967"/>
              <a:gd name="connsiteX4" fmla="*/ 2899 w 9739"/>
              <a:gd name="connsiteY4" fmla="*/ 303 h 9967"/>
              <a:gd name="connsiteX5" fmla="*/ 2874 w 9739"/>
              <a:gd name="connsiteY5" fmla="*/ 398 h 9967"/>
              <a:gd name="connsiteX6" fmla="*/ 2844 w 9739"/>
              <a:gd name="connsiteY6" fmla="*/ 496 h 9967"/>
              <a:gd name="connsiteX7" fmla="*/ 2816 w 9739"/>
              <a:gd name="connsiteY7" fmla="*/ 592 h 9967"/>
              <a:gd name="connsiteX8" fmla="*/ 2788 w 9739"/>
              <a:gd name="connsiteY8" fmla="*/ 688 h 9967"/>
              <a:gd name="connsiteX9" fmla="*/ 2757 w 9739"/>
              <a:gd name="connsiteY9" fmla="*/ 784 h 9967"/>
              <a:gd name="connsiteX10" fmla="*/ 2720 w 9739"/>
              <a:gd name="connsiteY10" fmla="*/ 879 h 9967"/>
              <a:gd name="connsiteX11" fmla="*/ 2681 w 9739"/>
              <a:gd name="connsiteY11" fmla="*/ 970 h 9967"/>
              <a:gd name="connsiteX12" fmla="*/ 2645 w 9739"/>
              <a:gd name="connsiteY12" fmla="*/ 1065 h 9967"/>
              <a:gd name="connsiteX13" fmla="*/ 2601 w 9739"/>
              <a:gd name="connsiteY13" fmla="*/ 1157 h 9967"/>
              <a:gd name="connsiteX14" fmla="*/ 2554 w 9739"/>
              <a:gd name="connsiteY14" fmla="*/ 1244 h 9967"/>
              <a:gd name="connsiteX15" fmla="*/ 2509 w 9739"/>
              <a:gd name="connsiteY15" fmla="*/ 1333 h 9967"/>
              <a:gd name="connsiteX16" fmla="*/ 2462 w 9739"/>
              <a:gd name="connsiteY16" fmla="*/ 1420 h 9967"/>
              <a:gd name="connsiteX17" fmla="*/ 2408 w 9739"/>
              <a:gd name="connsiteY17" fmla="*/ 1510 h 9967"/>
              <a:gd name="connsiteX18" fmla="*/ 2361 w 9739"/>
              <a:gd name="connsiteY18" fmla="*/ 1596 h 9967"/>
              <a:gd name="connsiteX19" fmla="*/ 2306 w 9739"/>
              <a:gd name="connsiteY19" fmla="*/ 1681 h 9967"/>
              <a:gd name="connsiteX20" fmla="*/ 2249 w 9739"/>
              <a:gd name="connsiteY20" fmla="*/ 1759 h 9967"/>
              <a:gd name="connsiteX21" fmla="*/ 2187 w 9739"/>
              <a:gd name="connsiteY21" fmla="*/ 1841 h 9967"/>
              <a:gd name="connsiteX22" fmla="*/ 2133 w 9739"/>
              <a:gd name="connsiteY22" fmla="*/ 1921 h 9967"/>
              <a:gd name="connsiteX23" fmla="*/ 2069 w 9739"/>
              <a:gd name="connsiteY23" fmla="*/ 2006 h 9967"/>
              <a:gd name="connsiteX24" fmla="*/ 2005 w 9739"/>
              <a:gd name="connsiteY24" fmla="*/ 2080 h 9967"/>
              <a:gd name="connsiteX25" fmla="*/ 1936 w 9739"/>
              <a:gd name="connsiteY25" fmla="*/ 2154 h 9967"/>
              <a:gd name="connsiteX26" fmla="*/ 1868 w 9739"/>
              <a:gd name="connsiteY26" fmla="*/ 2232 h 9967"/>
              <a:gd name="connsiteX27" fmla="*/ 1800 w 9739"/>
              <a:gd name="connsiteY27" fmla="*/ 2305 h 9967"/>
              <a:gd name="connsiteX28" fmla="*/ 1726 w 9739"/>
              <a:gd name="connsiteY28" fmla="*/ 2377 h 9967"/>
              <a:gd name="connsiteX29" fmla="*/ 1655 w 9739"/>
              <a:gd name="connsiteY29" fmla="*/ 2452 h 9967"/>
              <a:gd name="connsiteX30" fmla="*/ 1583 w 9739"/>
              <a:gd name="connsiteY30" fmla="*/ 2520 h 9967"/>
              <a:gd name="connsiteX31" fmla="*/ 1502 w 9739"/>
              <a:gd name="connsiteY31" fmla="*/ 2588 h 9967"/>
              <a:gd name="connsiteX32" fmla="*/ 1427 w 9739"/>
              <a:gd name="connsiteY32" fmla="*/ 2653 h 9967"/>
              <a:gd name="connsiteX33" fmla="*/ 1346 w 9739"/>
              <a:gd name="connsiteY33" fmla="*/ 2719 h 9967"/>
              <a:gd name="connsiteX34" fmla="*/ 1268 w 9739"/>
              <a:gd name="connsiteY34" fmla="*/ 2782 h 9967"/>
              <a:gd name="connsiteX35" fmla="*/ 1180 w 9739"/>
              <a:gd name="connsiteY35" fmla="*/ 2846 h 9967"/>
              <a:gd name="connsiteX36" fmla="*/ 1099 w 9739"/>
              <a:gd name="connsiteY36" fmla="*/ 2903 h 9967"/>
              <a:gd name="connsiteX37" fmla="*/ 1013 w 9739"/>
              <a:gd name="connsiteY37" fmla="*/ 2963 h 9967"/>
              <a:gd name="connsiteX38" fmla="*/ 925 w 9739"/>
              <a:gd name="connsiteY38" fmla="*/ 3020 h 9967"/>
              <a:gd name="connsiteX39" fmla="*/ 835 w 9739"/>
              <a:gd name="connsiteY39" fmla="*/ 3073 h 9967"/>
              <a:gd name="connsiteX40" fmla="*/ 745 w 9739"/>
              <a:gd name="connsiteY40" fmla="*/ 3129 h 9967"/>
              <a:gd name="connsiteX41" fmla="*/ 658 w 9739"/>
              <a:gd name="connsiteY41" fmla="*/ 3181 h 9967"/>
              <a:gd name="connsiteX42" fmla="*/ 563 w 9739"/>
              <a:gd name="connsiteY42" fmla="*/ 3229 h 9967"/>
              <a:gd name="connsiteX43" fmla="*/ 469 w 9739"/>
              <a:gd name="connsiteY43" fmla="*/ 3276 h 9967"/>
              <a:gd name="connsiteX44" fmla="*/ 643 w 9739"/>
              <a:gd name="connsiteY44" fmla="*/ 6644 h 9967"/>
              <a:gd name="connsiteX45" fmla="*/ 0 w 9739"/>
              <a:gd name="connsiteY45" fmla="*/ 9967 h 9967"/>
              <a:gd name="connsiteX46" fmla="*/ 262 w 9739"/>
              <a:gd name="connsiteY46" fmla="*/ 9925 h 9967"/>
              <a:gd name="connsiteX47" fmla="*/ 517 w 9739"/>
              <a:gd name="connsiteY47" fmla="*/ 9878 h 9967"/>
              <a:gd name="connsiteX48" fmla="*/ 782 w 9739"/>
              <a:gd name="connsiteY48" fmla="*/ 9830 h 9967"/>
              <a:gd name="connsiteX49" fmla="*/ 1028 w 9739"/>
              <a:gd name="connsiteY49" fmla="*/ 9773 h 9967"/>
              <a:gd name="connsiteX50" fmla="*/ 1282 w 9739"/>
              <a:gd name="connsiteY50" fmla="*/ 9715 h 9967"/>
              <a:gd name="connsiteX51" fmla="*/ 1532 w 9739"/>
              <a:gd name="connsiteY51" fmla="*/ 9651 h 9967"/>
              <a:gd name="connsiteX52" fmla="*/ 1779 w 9739"/>
              <a:gd name="connsiteY52" fmla="*/ 9581 h 9967"/>
              <a:gd name="connsiteX53" fmla="*/ 2020 w 9739"/>
              <a:gd name="connsiteY53" fmla="*/ 9503 h 9967"/>
              <a:gd name="connsiteX54" fmla="*/ 2262 w 9739"/>
              <a:gd name="connsiteY54" fmla="*/ 9427 h 9967"/>
              <a:gd name="connsiteX55" fmla="*/ 2505 w 9739"/>
              <a:gd name="connsiteY55" fmla="*/ 9339 h 9967"/>
              <a:gd name="connsiteX56" fmla="*/ 2746 w 9739"/>
              <a:gd name="connsiteY56" fmla="*/ 9254 h 9967"/>
              <a:gd name="connsiteX57" fmla="*/ 2977 w 9739"/>
              <a:gd name="connsiteY57" fmla="*/ 9156 h 9967"/>
              <a:gd name="connsiteX58" fmla="*/ 3208 w 9739"/>
              <a:gd name="connsiteY58" fmla="*/ 9059 h 9967"/>
              <a:gd name="connsiteX59" fmla="*/ 3442 w 9739"/>
              <a:gd name="connsiteY59" fmla="*/ 8954 h 9967"/>
              <a:gd name="connsiteX60" fmla="*/ 3666 w 9739"/>
              <a:gd name="connsiteY60" fmla="*/ 8848 h 9967"/>
              <a:gd name="connsiteX61" fmla="*/ 3889 w 9739"/>
              <a:gd name="connsiteY61" fmla="*/ 8740 h 9967"/>
              <a:gd name="connsiteX62" fmla="*/ 4113 w 9739"/>
              <a:gd name="connsiteY62" fmla="*/ 8622 h 9967"/>
              <a:gd name="connsiteX63" fmla="*/ 4331 w 9739"/>
              <a:gd name="connsiteY63" fmla="*/ 8505 h 9967"/>
              <a:gd name="connsiteX64" fmla="*/ 4545 w 9739"/>
              <a:gd name="connsiteY64" fmla="*/ 8379 h 9967"/>
              <a:gd name="connsiteX65" fmla="*/ 4759 w 9739"/>
              <a:gd name="connsiteY65" fmla="*/ 8252 h 9967"/>
              <a:gd name="connsiteX66" fmla="*/ 4961 w 9739"/>
              <a:gd name="connsiteY66" fmla="*/ 8123 h 9967"/>
              <a:gd name="connsiteX67" fmla="*/ 5165 w 9739"/>
              <a:gd name="connsiteY67" fmla="*/ 7985 h 9967"/>
              <a:gd name="connsiteX68" fmla="*/ 5368 w 9739"/>
              <a:gd name="connsiteY68" fmla="*/ 7847 h 9967"/>
              <a:gd name="connsiteX69" fmla="*/ 5563 w 9739"/>
              <a:gd name="connsiteY69" fmla="*/ 7703 h 9967"/>
              <a:gd name="connsiteX70" fmla="*/ 5761 w 9739"/>
              <a:gd name="connsiteY70" fmla="*/ 7557 h 9967"/>
              <a:gd name="connsiteX71" fmla="*/ 5950 w 9739"/>
              <a:gd name="connsiteY71" fmla="*/ 7403 h 9967"/>
              <a:gd name="connsiteX72" fmla="*/ 6138 w 9739"/>
              <a:gd name="connsiteY72" fmla="*/ 7251 h 9967"/>
              <a:gd name="connsiteX73" fmla="*/ 6319 w 9739"/>
              <a:gd name="connsiteY73" fmla="*/ 7097 h 9967"/>
              <a:gd name="connsiteX74" fmla="*/ 6502 w 9739"/>
              <a:gd name="connsiteY74" fmla="*/ 6932 h 9967"/>
              <a:gd name="connsiteX75" fmla="*/ 6678 w 9739"/>
              <a:gd name="connsiteY75" fmla="*/ 6764 h 9967"/>
              <a:gd name="connsiteX76" fmla="*/ 6848 w 9739"/>
              <a:gd name="connsiteY76" fmla="*/ 6601 h 9967"/>
              <a:gd name="connsiteX77" fmla="*/ 7017 w 9739"/>
              <a:gd name="connsiteY77" fmla="*/ 6429 h 9967"/>
              <a:gd name="connsiteX78" fmla="*/ 7180 w 9739"/>
              <a:gd name="connsiteY78" fmla="*/ 6253 h 9967"/>
              <a:gd name="connsiteX79" fmla="*/ 7342 w 9739"/>
              <a:gd name="connsiteY79" fmla="*/ 6077 h 9967"/>
              <a:gd name="connsiteX80" fmla="*/ 7498 w 9739"/>
              <a:gd name="connsiteY80" fmla="*/ 5896 h 9967"/>
              <a:gd name="connsiteX81" fmla="*/ 7653 w 9739"/>
              <a:gd name="connsiteY81" fmla="*/ 5710 h 9967"/>
              <a:gd name="connsiteX82" fmla="*/ 7797 w 9739"/>
              <a:gd name="connsiteY82" fmla="*/ 5523 h 9967"/>
              <a:gd name="connsiteX83" fmla="*/ 7938 w 9739"/>
              <a:gd name="connsiteY83" fmla="*/ 5332 h 9967"/>
              <a:gd name="connsiteX84" fmla="*/ 8080 w 9739"/>
              <a:gd name="connsiteY84" fmla="*/ 5142 h 9967"/>
              <a:gd name="connsiteX85" fmla="*/ 8213 w 9739"/>
              <a:gd name="connsiteY85" fmla="*/ 4942 h 9967"/>
              <a:gd name="connsiteX86" fmla="*/ 8342 w 9739"/>
              <a:gd name="connsiteY86" fmla="*/ 4748 h 9967"/>
              <a:gd name="connsiteX87" fmla="*/ 8467 w 9739"/>
              <a:gd name="connsiteY87" fmla="*/ 4545 h 9967"/>
              <a:gd name="connsiteX88" fmla="*/ 8584 w 9739"/>
              <a:gd name="connsiteY88" fmla="*/ 4338 h 9967"/>
              <a:gd name="connsiteX89" fmla="*/ 8699 w 9739"/>
              <a:gd name="connsiteY89" fmla="*/ 4132 h 9967"/>
              <a:gd name="connsiteX90" fmla="*/ 8815 w 9739"/>
              <a:gd name="connsiteY90" fmla="*/ 3923 h 9967"/>
              <a:gd name="connsiteX91" fmla="*/ 8923 w 9739"/>
              <a:gd name="connsiteY91" fmla="*/ 3711 h 9967"/>
              <a:gd name="connsiteX92" fmla="*/ 9019 w 9739"/>
              <a:gd name="connsiteY92" fmla="*/ 3499 h 9967"/>
              <a:gd name="connsiteX93" fmla="*/ 9119 w 9739"/>
              <a:gd name="connsiteY93" fmla="*/ 3282 h 9967"/>
              <a:gd name="connsiteX94" fmla="*/ 9206 w 9739"/>
              <a:gd name="connsiteY94" fmla="*/ 3062 h 9967"/>
              <a:gd name="connsiteX95" fmla="*/ 9295 w 9739"/>
              <a:gd name="connsiteY95" fmla="*/ 2844 h 9967"/>
              <a:gd name="connsiteX96" fmla="*/ 9372 w 9739"/>
              <a:gd name="connsiteY96" fmla="*/ 2619 h 9967"/>
              <a:gd name="connsiteX97" fmla="*/ 9446 w 9739"/>
              <a:gd name="connsiteY97" fmla="*/ 2392 h 9967"/>
              <a:gd name="connsiteX98" fmla="*/ 9514 w 9739"/>
              <a:gd name="connsiteY98" fmla="*/ 2164 h 9967"/>
              <a:gd name="connsiteX99" fmla="*/ 9582 w 9739"/>
              <a:gd name="connsiteY99" fmla="*/ 1937 h 9967"/>
              <a:gd name="connsiteX100" fmla="*/ 9639 w 9739"/>
              <a:gd name="connsiteY100" fmla="*/ 1707 h 9967"/>
              <a:gd name="connsiteX101" fmla="*/ 9693 w 9739"/>
              <a:gd name="connsiteY101" fmla="*/ 1473 h 9967"/>
              <a:gd name="connsiteX102" fmla="*/ 9739 w 9739"/>
              <a:gd name="connsiteY102" fmla="*/ 1235 h 9967"/>
              <a:gd name="connsiteX103" fmla="*/ 6041 w 9739"/>
              <a:gd name="connsiteY103" fmla="*/ 1895 h 9967"/>
              <a:gd name="connsiteX104" fmla="*/ 2954 w 9739"/>
              <a:gd name="connsiteY104" fmla="*/ 0 h 9967"/>
              <a:gd name="connsiteX0" fmla="*/ 2764 w 9731"/>
              <a:gd name="connsiteY0" fmla="*/ 0 h 9958"/>
              <a:gd name="connsiteX1" fmla="*/ 2764 w 9731"/>
              <a:gd name="connsiteY1" fmla="*/ 0 h 9958"/>
              <a:gd name="connsiteX2" fmla="*/ 2750 w 9731"/>
              <a:gd name="connsiteY2" fmla="*/ 101 h 9958"/>
              <a:gd name="connsiteX3" fmla="*/ 2728 w 9731"/>
              <a:gd name="connsiteY3" fmla="*/ 203 h 9958"/>
              <a:gd name="connsiteX4" fmla="*/ 2708 w 9731"/>
              <a:gd name="connsiteY4" fmla="*/ 304 h 9958"/>
              <a:gd name="connsiteX5" fmla="*/ 2682 w 9731"/>
              <a:gd name="connsiteY5" fmla="*/ 399 h 9958"/>
              <a:gd name="connsiteX6" fmla="*/ 2651 w 9731"/>
              <a:gd name="connsiteY6" fmla="*/ 498 h 9958"/>
              <a:gd name="connsiteX7" fmla="*/ 2622 w 9731"/>
              <a:gd name="connsiteY7" fmla="*/ 594 h 9958"/>
              <a:gd name="connsiteX8" fmla="*/ 2594 w 9731"/>
              <a:gd name="connsiteY8" fmla="*/ 690 h 9958"/>
              <a:gd name="connsiteX9" fmla="*/ 2562 w 9731"/>
              <a:gd name="connsiteY9" fmla="*/ 787 h 9958"/>
              <a:gd name="connsiteX10" fmla="*/ 2524 w 9731"/>
              <a:gd name="connsiteY10" fmla="*/ 882 h 9958"/>
              <a:gd name="connsiteX11" fmla="*/ 2484 w 9731"/>
              <a:gd name="connsiteY11" fmla="*/ 973 h 9958"/>
              <a:gd name="connsiteX12" fmla="*/ 2447 w 9731"/>
              <a:gd name="connsiteY12" fmla="*/ 1069 h 9958"/>
              <a:gd name="connsiteX13" fmla="*/ 2402 w 9731"/>
              <a:gd name="connsiteY13" fmla="*/ 1161 h 9958"/>
              <a:gd name="connsiteX14" fmla="*/ 2353 w 9731"/>
              <a:gd name="connsiteY14" fmla="*/ 1248 h 9958"/>
              <a:gd name="connsiteX15" fmla="*/ 2307 w 9731"/>
              <a:gd name="connsiteY15" fmla="*/ 1337 h 9958"/>
              <a:gd name="connsiteX16" fmla="*/ 2259 w 9731"/>
              <a:gd name="connsiteY16" fmla="*/ 1425 h 9958"/>
              <a:gd name="connsiteX17" fmla="*/ 2204 w 9731"/>
              <a:gd name="connsiteY17" fmla="*/ 1515 h 9958"/>
              <a:gd name="connsiteX18" fmla="*/ 2155 w 9731"/>
              <a:gd name="connsiteY18" fmla="*/ 1601 h 9958"/>
              <a:gd name="connsiteX19" fmla="*/ 2099 w 9731"/>
              <a:gd name="connsiteY19" fmla="*/ 1687 h 9958"/>
              <a:gd name="connsiteX20" fmla="*/ 2040 w 9731"/>
              <a:gd name="connsiteY20" fmla="*/ 1765 h 9958"/>
              <a:gd name="connsiteX21" fmla="*/ 1977 w 9731"/>
              <a:gd name="connsiteY21" fmla="*/ 1847 h 9958"/>
              <a:gd name="connsiteX22" fmla="*/ 1921 w 9731"/>
              <a:gd name="connsiteY22" fmla="*/ 1927 h 9958"/>
              <a:gd name="connsiteX23" fmla="*/ 1855 w 9731"/>
              <a:gd name="connsiteY23" fmla="*/ 2013 h 9958"/>
              <a:gd name="connsiteX24" fmla="*/ 1790 w 9731"/>
              <a:gd name="connsiteY24" fmla="*/ 2087 h 9958"/>
              <a:gd name="connsiteX25" fmla="*/ 1719 w 9731"/>
              <a:gd name="connsiteY25" fmla="*/ 2161 h 9958"/>
              <a:gd name="connsiteX26" fmla="*/ 1649 w 9731"/>
              <a:gd name="connsiteY26" fmla="*/ 2239 h 9958"/>
              <a:gd name="connsiteX27" fmla="*/ 1579 w 9731"/>
              <a:gd name="connsiteY27" fmla="*/ 2313 h 9958"/>
              <a:gd name="connsiteX28" fmla="*/ 1503 w 9731"/>
              <a:gd name="connsiteY28" fmla="*/ 2385 h 9958"/>
              <a:gd name="connsiteX29" fmla="*/ 1430 w 9731"/>
              <a:gd name="connsiteY29" fmla="*/ 2460 h 9958"/>
              <a:gd name="connsiteX30" fmla="*/ 1356 w 9731"/>
              <a:gd name="connsiteY30" fmla="*/ 2528 h 9958"/>
              <a:gd name="connsiteX31" fmla="*/ 1273 w 9731"/>
              <a:gd name="connsiteY31" fmla="*/ 2597 h 9958"/>
              <a:gd name="connsiteX32" fmla="*/ 1196 w 9731"/>
              <a:gd name="connsiteY32" fmla="*/ 2662 h 9958"/>
              <a:gd name="connsiteX33" fmla="*/ 1113 w 9731"/>
              <a:gd name="connsiteY33" fmla="*/ 2728 h 9958"/>
              <a:gd name="connsiteX34" fmla="*/ 1033 w 9731"/>
              <a:gd name="connsiteY34" fmla="*/ 2791 h 9958"/>
              <a:gd name="connsiteX35" fmla="*/ 943 w 9731"/>
              <a:gd name="connsiteY35" fmla="*/ 2855 h 9958"/>
              <a:gd name="connsiteX36" fmla="*/ 859 w 9731"/>
              <a:gd name="connsiteY36" fmla="*/ 2913 h 9958"/>
              <a:gd name="connsiteX37" fmla="*/ 771 w 9731"/>
              <a:gd name="connsiteY37" fmla="*/ 2973 h 9958"/>
              <a:gd name="connsiteX38" fmla="*/ 681 w 9731"/>
              <a:gd name="connsiteY38" fmla="*/ 3030 h 9958"/>
              <a:gd name="connsiteX39" fmla="*/ 588 w 9731"/>
              <a:gd name="connsiteY39" fmla="*/ 3083 h 9958"/>
              <a:gd name="connsiteX40" fmla="*/ 496 w 9731"/>
              <a:gd name="connsiteY40" fmla="*/ 3139 h 9958"/>
              <a:gd name="connsiteX41" fmla="*/ 407 w 9731"/>
              <a:gd name="connsiteY41" fmla="*/ 3192 h 9958"/>
              <a:gd name="connsiteX42" fmla="*/ 309 w 9731"/>
              <a:gd name="connsiteY42" fmla="*/ 3240 h 9958"/>
              <a:gd name="connsiteX43" fmla="*/ 213 w 9731"/>
              <a:gd name="connsiteY43" fmla="*/ 3287 h 9958"/>
              <a:gd name="connsiteX44" fmla="*/ 391 w 9731"/>
              <a:gd name="connsiteY44" fmla="*/ 6666 h 9958"/>
              <a:gd name="connsiteX45" fmla="*/ 0 w 9731"/>
              <a:gd name="connsiteY45" fmla="*/ 9958 h 9958"/>
              <a:gd name="connsiteX46" fmla="*/ 262 w 9731"/>
              <a:gd name="connsiteY46" fmla="*/ 9911 h 9958"/>
              <a:gd name="connsiteX47" fmla="*/ 534 w 9731"/>
              <a:gd name="connsiteY47" fmla="*/ 9863 h 9958"/>
              <a:gd name="connsiteX48" fmla="*/ 787 w 9731"/>
              <a:gd name="connsiteY48" fmla="*/ 9805 h 9958"/>
              <a:gd name="connsiteX49" fmla="*/ 1047 w 9731"/>
              <a:gd name="connsiteY49" fmla="*/ 9747 h 9958"/>
              <a:gd name="connsiteX50" fmla="*/ 1304 w 9731"/>
              <a:gd name="connsiteY50" fmla="*/ 9683 h 9958"/>
              <a:gd name="connsiteX51" fmla="*/ 1558 w 9731"/>
              <a:gd name="connsiteY51" fmla="*/ 9613 h 9958"/>
              <a:gd name="connsiteX52" fmla="*/ 1805 w 9731"/>
              <a:gd name="connsiteY52" fmla="*/ 9534 h 9958"/>
              <a:gd name="connsiteX53" fmla="*/ 2054 w 9731"/>
              <a:gd name="connsiteY53" fmla="*/ 9458 h 9958"/>
              <a:gd name="connsiteX54" fmla="*/ 2303 w 9731"/>
              <a:gd name="connsiteY54" fmla="*/ 9370 h 9958"/>
              <a:gd name="connsiteX55" fmla="*/ 2551 w 9731"/>
              <a:gd name="connsiteY55" fmla="*/ 9285 h 9958"/>
              <a:gd name="connsiteX56" fmla="*/ 2788 w 9731"/>
              <a:gd name="connsiteY56" fmla="*/ 9186 h 9958"/>
              <a:gd name="connsiteX57" fmla="*/ 3025 w 9731"/>
              <a:gd name="connsiteY57" fmla="*/ 9089 h 9958"/>
              <a:gd name="connsiteX58" fmla="*/ 3265 w 9731"/>
              <a:gd name="connsiteY58" fmla="*/ 8984 h 9958"/>
              <a:gd name="connsiteX59" fmla="*/ 3495 w 9731"/>
              <a:gd name="connsiteY59" fmla="*/ 8877 h 9958"/>
              <a:gd name="connsiteX60" fmla="*/ 3724 w 9731"/>
              <a:gd name="connsiteY60" fmla="*/ 8769 h 9958"/>
              <a:gd name="connsiteX61" fmla="*/ 3954 w 9731"/>
              <a:gd name="connsiteY61" fmla="*/ 8651 h 9958"/>
              <a:gd name="connsiteX62" fmla="*/ 4178 w 9731"/>
              <a:gd name="connsiteY62" fmla="*/ 8533 h 9958"/>
              <a:gd name="connsiteX63" fmla="*/ 4398 w 9731"/>
              <a:gd name="connsiteY63" fmla="*/ 8407 h 9958"/>
              <a:gd name="connsiteX64" fmla="*/ 4618 w 9731"/>
              <a:gd name="connsiteY64" fmla="*/ 8279 h 9958"/>
              <a:gd name="connsiteX65" fmla="*/ 4825 w 9731"/>
              <a:gd name="connsiteY65" fmla="*/ 8150 h 9958"/>
              <a:gd name="connsiteX66" fmla="*/ 5034 w 9731"/>
              <a:gd name="connsiteY66" fmla="*/ 8011 h 9958"/>
              <a:gd name="connsiteX67" fmla="*/ 5243 w 9731"/>
              <a:gd name="connsiteY67" fmla="*/ 7873 h 9958"/>
              <a:gd name="connsiteX68" fmla="*/ 5443 w 9731"/>
              <a:gd name="connsiteY68" fmla="*/ 7729 h 9958"/>
              <a:gd name="connsiteX69" fmla="*/ 5646 w 9731"/>
              <a:gd name="connsiteY69" fmla="*/ 7582 h 9958"/>
              <a:gd name="connsiteX70" fmla="*/ 5840 w 9731"/>
              <a:gd name="connsiteY70" fmla="*/ 7428 h 9958"/>
              <a:gd name="connsiteX71" fmla="*/ 6033 w 9731"/>
              <a:gd name="connsiteY71" fmla="*/ 7275 h 9958"/>
              <a:gd name="connsiteX72" fmla="*/ 6219 w 9731"/>
              <a:gd name="connsiteY72" fmla="*/ 7120 h 9958"/>
              <a:gd name="connsiteX73" fmla="*/ 6407 w 9731"/>
              <a:gd name="connsiteY73" fmla="*/ 6955 h 9958"/>
              <a:gd name="connsiteX74" fmla="*/ 6588 w 9731"/>
              <a:gd name="connsiteY74" fmla="*/ 6786 h 9958"/>
              <a:gd name="connsiteX75" fmla="*/ 6763 w 9731"/>
              <a:gd name="connsiteY75" fmla="*/ 6623 h 9958"/>
              <a:gd name="connsiteX76" fmla="*/ 6936 w 9731"/>
              <a:gd name="connsiteY76" fmla="*/ 6450 h 9958"/>
              <a:gd name="connsiteX77" fmla="*/ 7103 w 9731"/>
              <a:gd name="connsiteY77" fmla="*/ 6274 h 9958"/>
              <a:gd name="connsiteX78" fmla="*/ 7270 w 9731"/>
              <a:gd name="connsiteY78" fmla="*/ 6097 h 9958"/>
              <a:gd name="connsiteX79" fmla="*/ 7430 w 9731"/>
              <a:gd name="connsiteY79" fmla="*/ 5916 h 9958"/>
              <a:gd name="connsiteX80" fmla="*/ 7589 w 9731"/>
              <a:gd name="connsiteY80" fmla="*/ 5729 h 9958"/>
              <a:gd name="connsiteX81" fmla="*/ 7737 w 9731"/>
              <a:gd name="connsiteY81" fmla="*/ 5541 h 9958"/>
              <a:gd name="connsiteX82" fmla="*/ 7882 w 9731"/>
              <a:gd name="connsiteY82" fmla="*/ 5350 h 9958"/>
              <a:gd name="connsiteX83" fmla="*/ 8028 w 9731"/>
              <a:gd name="connsiteY83" fmla="*/ 5159 h 9958"/>
              <a:gd name="connsiteX84" fmla="*/ 8164 w 9731"/>
              <a:gd name="connsiteY84" fmla="*/ 4958 h 9958"/>
              <a:gd name="connsiteX85" fmla="*/ 8297 w 9731"/>
              <a:gd name="connsiteY85" fmla="*/ 4764 h 9958"/>
              <a:gd name="connsiteX86" fmla="*/ 8425 w 9731"/>
              <a:gd name="connsiteY86" fmla="*/ 4560 h 9958"/>
              <a:gd name="connsiteX87" fmla="*/ 8545 w 9731"/>
              <a:gd name="connsiteY87" fmla="*/ 4352 h 9958"/>
              <a:gd name="connsiteX88" fmla="*/ 8663 w 9731"/>
              <a:gd name="connsiteY88" fmla="*/ 4146 h 9958"/>
              <a:gd name="connsiteX89" fmla="*/ 8782 w 9731"/>
              <a:gd name="connsiteY89" fmla="*/ 3936 h 9958"/>
              <a:gd name="connsiteX90" fmla="*/ 8893 w 9731"/>
              <a:gd name="connsiteY90" fmla="*/ 3723 h 9958"/>
              <a:gd name="connsiteX91" fmla="*/ 8992 w 9731"/>
              <a:gd name="connsiteY91" fmla="*/ 3511 h 9958"/>
              <a:gd name="connsiteX92" fmla="*/ 9094 w 9731"/>
              <a:gd name="connsiteY92" fmla="*/ 3293 h 9958"/>
              <a:gd name="connsiteX93" fmla="*/ 9184 w 9731"/>
              <a:gd name="connsiteY93" fmla="*/ 3072 h 9958"/>
              <a:gd name="connsiteX94" fmla="*/ 9275 w 9731"/>
              <a:gd name="connsiteY94" fmla="*/ 2853 h 9958"/>
              <a:gd name="connsiteX95" fmla="*/ 9354 w 9731"/>
              <a:gd name="connsiteY95" fmla="*/ 2628 h 9958"/>
              <a:gd name="connsiteX96" fmla="*/ 9430 w 9731"/>
              <a:gd name="connsiteY96" fmla="*/ 2400 h 9958"/>
              <a:gd name="connsiteX97" fmla="*/ 9500 w 9731"/>
              <a:gd name="connsiteY97" fmla="*/ 2171 h 9958"/>
              <a:gd name="connsiteX98" fmla="*/ 9570 w 9731"/>
              <a:gd name="connsiteY98" fmla="*/ 1943 h 9958"/>
              <a:gd name="connsiteX99" fmla="*/ 9628 w 9731"/>
              <a:gd name="connsiteY99" fmla="*/ 1713 h 9958"/>
              <a:gd name="connsiteX100" fmla="*/ 9684 w 9731"/>
              <a:gd name="connsiteY100" fmla="*/ 1478 h 9958"/>
              <a:gd name="connsiteX101" fmla="*/ 9731 w 9731"/>
              <a:gd name="connsiteY101" fmla="*/ 1239 h 9958"/>
              <a:gd name="connsiteX102" fmla="*/ 5934 w 9731"/>
              <a:gd name="connsiteY102" fmla="*/ 1901 h 9958"/>
              <a:gd name="connsiteX103" fmla="*/ 2764 w 9731"/>
              <a:gd name="connsiteY103" fmla="*/ 0 h 9958"/>
              <a:gd name="connsiteX0" fmla="*/ 2621 w 9781"/>
              <a:gd name="connsiteY0" fmla="*/ 0 h 9953"/>
              <a:gd name="connsiteX1" fmla="*/ 2621 w 9781"/>
              <a:gd name="connsiteY1" fmla="*/ 0 h 9953"/>
              <a:gd name="connsiteX2" fmla="*/ 2607 w 9781"/>
              <a:gd name="connsiteY2" fmla="*/ 101 h 9953"/>
              <a:gd name="connsiteX3" fmla="*/ 2584 w 9781"/>
              <a:gd name="connsiteY3" fmla="*/ 204 h 9953"/>
              <a:gd name="connsiteX4" fmla="*/ 2564 w 9781"/>
              <a:gd name="connsiteY4" fmla="*/ 305 h 9953"/>
              <a:gd name="connsiteX5" fmla="*/ 2537 w 9781"/>
              <a:gd name="connsiteY5" fmla="*/ 401 h 9953"/>
              <a:gd name="connsiteX6" fmla="*/ 2505 w 9781"/>
              <a:gd name="connsiteY6" fmla="*/ 500 h 9953"/>
              <a:gd name="connsiteX7" fmla="*/ 2475 w 9781"/>
              <a:gd name="connsiteY7" fmla="*/ 597 h 9953"/>
              <a:gd name="connsiteX8" fmla="*/ 2447 w 9781"/>
              <a:gd name="connsiteY8" fmla="*/ 693 h 9953"/>
              <a:gd name="connsiteX9" fmla="*/ 2414 w 9781"/>
              <a:gd name="connsiteY9" fmla="*/ 790 h 9953"/>
              <a:gd name="connsiteX10" fmla="*/ 2375 w 9781"/>
              <a:gd name="connsiteY10" fmla="*/ 886 h 9953"/>
              <a:gd name="connsiteX11" fmla="*/ 2334 w 9781"/>
              <a:gd name="connsiteY11" fmla="*/ 977 h 9953"/>
              <a:gd name="connsiteX12" fmla="*/ 2296 w 9781"/>
              <a:gd name="connsiteY12" fmla="*/ 1074 h 9953"/>
              <a:gd name="connsiteX13" fmla="*/ 2249 w 9781"/>
              <a:gd name="connsiteY13" fmla="*/ 1166 h 9953"/>
              <a:gd name="connsiteX14" fmla="*/ 2199 w 9781"/>
              <a:gd name="connsiteY14" fmla="*/ 1253 h 9953"/>
              <a:gd name="connsiteX15" fmla="*/ 2152 w 9781"/>
              <a:gd name="connsiteY15" fmla="*/ 1343 h 9953"/>
              <a:gd name="connsiteX16" fmla="*/ 2102 w 9781"/>
              <a:gd name="connsiteY16" fmla="*/ 1431 h 9953"/>
              <a:gd name="connsiteX17" fmla="*/ 2046 w 9781"/>
              <a:gd name="connsiteY17" fmla="*/ 1521 h 9953"/>
              <a:gd name="connsiteX18" fmla="*/ 1996 w 9781"/>
              <a:gd name="connsiteY18" fmla="*/ 1608 h 9953"/>
              <a:gd name="connsiteX19" fmla="*/ 1938 w 9781"/>
              <a:gd name="connsiteY19" fmla="*/ 1694 h 9953"/>
              <a:gd name="connsiteX20" fmla="*/ 1877 w 9781"/>
              <a:gd name="connsiteY20" fmla="*/ 1772 h 9953"/>
              <a:gd name="connsiteX21" fmla="*/ 1813 w 9781"/>
              <a:gd name="connsiteY21" fmla="*/ 1855 h 9953"/>
              <a:gd name="connsiteX22" fmla="*/ 1755 w 9781"/>
              <a:gd name="connsiteY22" fmla="*/ 1935 h 9953"/>
              <a:gd name="connsiteX23" fmla="*/ 1687 w 9781"/>
              <a:gd name="connsiteY23" fmla="*/ 2021 h 9953"/>
              <a:gd name="connsiteX24" fmla="*/ 1620 w 9781"/>
              <a:gd name="connsiteY24" fmla="*/ 2096 h 9953"/>
              <a:gd name="connsiteX25" fmla="*/ 1548 w 9781"/>
              <a:gd name="connsiteY25" fmla="*/ 2170 h 9953"/>
              <a:gd name="connsiteX26" fmla="*/ 1476 w 9781"/>
              <a:gd name="connsiteY26" fmla="*/ 2248 h 9953"/>
              <a:gd name="connsiteX27" fmla="*/ 1404 w 9781"/>
              <a:gd name="connsiteY27" fmla="*/ 2323 h 9953"/>
              <a:gd name="connsiteX28" fmla="*/ 1326 w 9781"/>
              <a:gd name="connsiteY28" fmla="*/ 2395 h 9953"/>
              <a:gd name="connsiteX29" fmla="*/ 1251 w 9781"/>
              <a:gd name="connsiteY29" fmla="*/ 2470 h 9953"/>
              <a:gd name="connsiteX30" fmla="*/ 1174 w 9781"/>
              <a:gd name="connsiteY30" fmla="*/ 2539 h 9953"/>
              <a:gd name="connsiteX31" fmla="*/ 1089 w 9781"/>
              <a:gd name="connsiteY31" fmla="*/ 2608 h 9953"/>
              <a:gd name="connsiteX32" fmla="*/ 1010 w 9781"/>
              <a:gd name="connsiteY32" fmla="*/ 2673 h 9953"/>
              <a:gd name="connsiteX33" fmla="*/ 925 w 9781"/>
              <a:gd name="connsiteY33" fmla="*/ 2740 h 9953"/>
              <a:gd name="connsiteX34" fmla="*/ 843 w 9781"/>
              <a:gd name="connsiteY34" fmla="*/ 2803 h 9953"/>
              <a:gd name="connsiteX35" fmla="*/ 750 w 9781"/>
              <a:gd name="connsiteY35" fmla="*/ 2867 h 9953"/>
              <a:gd name="connsiteX36" fmla="*/ 664 w 9781"/>
              <a:gd name="connsiteY36" fmla="*/ 2925 h 9953"/>
              <a:gd name="connsiteX37" fmla="*/ 573 w 9781"/>
              <a:gd name="connsiteY37" fmla="*/ 2986 h 9953"/>
              <a:gd name="connsiteX38" fmla="*/ 481 w 9781"/>
              <a:gd name="connsiteY38" fmla="*/ 3043 h 9953"/>
              <a:gd name="connsiteX39" fmla="*/ 385 w 9781"/>
              <a:gd name="connsiteY39" fmla="*/ 3096 h 9953"/>
              <a:gd name="connsiteX40" fmla="*/ 291 w 9781"/>
              <a:gd name="connsiteY40" fmla="*/ 3152 h 9953"/>
              <a:gd name="connsiteX41" fmla="*/ 199 w 9781"/>
              <a:gd name="connsiteY41" fmla="*/ 3205 h 9953"/>
              <a:gd name="connsiteX42" fmla="*/ 99 w 9781"/>
              <a:gd name="connsiteY42" fmla="*/ 3254 h 9953"/>
              <a:gd name="connsiteX43" fmla="*/ 0 w 9781"/>
              <a:gd name="connsiteY43" fmla="*/ 3301 h 9953"/>
              <a:gd name="connsiteX44" fmla="*/ 183 w 9781"/>
              <a:gd name="connsiteY44" fmla="*/ 6694 h 9953"/>
              <a:gd name="connsiteX45" fmla="*/ 50 w 9781"/>
              <a:gd name="connsiteY45" fmla="*/ 9953 h 9953"/>
              <a:gd name="connsiteX46" fmla="*/ 330 w 9781"/>
              <a:gd name="connsiteY46" fmla="*/ 9905 h 9953"/>
              <a:gd name="connsiteX47" fmla="*/ 590 w 9781"/>
              <a:gd name="connsiteY47" fmla="*/ 9846 h 9953"/>
              <a:gd name="connsiteX48" fmla="*/ 857 w 9781"/>
              <a:gd name="connsiteY48" fmla="*/ 9788 h 9953"/>
              <a:gd name="connsiteX49" fmla="*/ 1121 w 9781"/>
              <a:gd name="connsiteY49" fmla="*/ 9724 h 9953"/>
              <a:gd name="connsiteX50" fmla="*/ 1382 w 9781"/>
              <a:gd name="connsiteY50" fmla="*/ 9654 h 9953"/>
              <a:gd name="connsiteX51" fmla="*/ 1636 w 9781"/>
              <a:gd name="connsiteY51" fmla="*/ 9574 h 9953"/>
              <a:gd name="connsiteX52" fmla="*/ 1892 w 9781"/>
              <a:gd name="connsiteY52" fmla="*/ 9498 h 9953"/>
              <a:gd name="connsiteX53" fmla="*/ 2148 w 9781"/>
              <a:gd name="connsiteY53" fmla="*/ 9410 h 9953"/>
              <a:gd name="connsiteX54" fmla="*/ 2403 w 9781"/>
              <a:gd name="connsiteY54" fmla="*/ 9324 h 9953"/>
              <a:gd name="connsiteX55" fmla="*/ 2646 w 9781"/>
              <a:gd name="connsiteY55" fmla="*/ 9225 h 9953"/>
              <a:gd name="connsiteX56" fmla="*/ 2890 w 9781"/>
              <a:gd name="connsiteY56" fmla="*/ 9127 h 9953"/>
              <a:gd name="connsiteX57" fmla="*/ 3136 w 9781"/>
              <a:gd name="connsiteY57" fmla="*/ 9022 h 9953"/>
              <a:gd name="connsiteX58" fmla="*/ 3373 w 9781"/>
              <a:gd name="connsiteY58" fmla="*/ 8914 h 9953"/>
              <a:gd name="connsiteX59" fmla="*/ 3608 w 9781"/>
              <a:gd name="connsiteY59" fmla="*/ 8806 h 9953"/>
              <a:gd name="connsiteX60" fmla="*/ 3844 w 9781"/>
              <a:gd name="connsiteY60" fmla="*/ 8687 h 9953"/>
              <a:gd name="connsiteX61" fmla="*/ 4074 w 9781"/>
              <a:gd name="connsiteY61" fmla="*/ 8569 h 9953"/>
              <a:gd name="connsiteX62" fmla="*/ 4301 w 9781"/>
              <a:gd name="connsiteY62" fmla="*/ 8442 h 9953"/>
              <a:gd name="connsiteX63" fmla="*/ 4527 w 9781"/>
              <a:gd name="connsiteY63" fmla="*/ 8314 h 9953"/>
              <a:gd name="connsiteX64" fmla="*/ 4739 w 9781"/>
              <a:gd name="connsiteY64" fmla="*/ 8184 h 9953"/>
              <a:gd name="connsiteX65" fmla="*/ 4954 w 9781"/>
              <a:gd name="connsiteY65" fmla="*/ 8045 h 9953"/>
              <a:gd name="connsiteX66" fmla="*/ 5169 w 9781"/>
              <a:gd name="connsiteY66" fmla="*/ 7906 h 9953"/>
              <a:gd name="connsiteX67" fmla="*/ 5374 w 9781"/>
              <a:gd name="connsiteY67" fmla="*/ 7762 h 9953"/>
              <a:gd name="connsiteX68" fmla="*/ 5583 w 9781"/>
              <a:gd name="connsiteY68" fmla="*/ 7614 h 9953"/>
              <a:gd name="connsiteX69" fmla="*/ 5782 w 9781"/>
              <a:gd name="connsiteY69" fmla="*/ 7459 h 9953"/>
              <a:gd name="connsiteX70" fmla="*/ 5981 w 9781"/>
              <a:gd name="connsiteY70" fmla="*/ 7306 h 9953"/>
              <a:gd name="connsiteX71" fmla="*/ 6172 w 9781"/>
              <a:gd name="connsiteY71" fmla="*/ 7150 h 9953"/>
              <a:gd name="connsiteX72" fmla="*/ 6365 w 9781"/>
              <a:gd name="connsiteY72" fmla="*/ 6984 h 9953"/>
              <a:gd name="connsiteX73" fmla="*/ 6551 w 9781"/>
              <a:gd name="connsiteY73" fmla="*/ 6815 h 9953"/>
              <a:gd name="connsiteX74" fmla="*/ 6731 w 9781"/>
              <a:gd name="connsiteY74" fmla="*/ 6651 h 9953"/>
              <a:gd name="connsiteX75" fmla="*/ 6909 w 9781"/>
              <a:gd name="connsiteY75" fmla="*/ 6477 h 9953"/>
              <a:gd name="connsiteX76" fmla="*/ 7080 w 9781"/>
              <a:gd name="connsiteY76" fmla="*/ 6300 h 9953"/>
              <a:gd name="connsiteX77" fmla="*/ 7252 w 9781"/>
              <a:gd name="connsiteY77" fmla="*/ 6123 h 9953"/>
              <a:gd name="connsiteX78" fmla="*/ 7416 w 9781"/>
              <a:gd name="connsiteY78" fmla="*/ 5941 h 9953"/>
              <a:gd name="connsiteX79" fmla="*/ 7580 w 9781"/>
              <a:gd name="connsiteY79" fmla="*/ 5753 h 9953"/>
              <a:gd name="connsiteX80" fmla="*/ 7732 w 9781"/>
              <a:gd name="connsiteY80" fmla="*/ 5564 h 9953"/>
              <a:gd name="connsiteX81" fmla="*/ 7881 w 9781"/>
              <a:gd name="connsiteY81" fmla="*/ 5373 h 9953"/>
              <a:gd name="connsiteX82" fmla="*/ 8031 w 9781"/>
              <a:gd name="connsiteY82" fmla="*/ 5181 h 9953"/>
              <a:gd name="connsiteX83" fmla="*/ 8171 w 9781"/>
              <a:gd name="connsiteY83" fmla="*/ 4979 h 9953"/>
              <a:gd name="connsiteX84" fmla="*/ 8307 w 9781"/>
              <a:gd name="connsiteY84" fmla="*/ 4784 h 9953"/>
              <a:gd name="connsiteX85" fmla="*/ 8439 w 9781"/>
              <a:gd name="connsiteY85" fmla="*/ 4579 h 9953"/>
              <a:gd name="connsiteX86" fmla="*/ 8562 w 9781"/>
              <a:gd name="connsiteY86" fmla="*/ 4370 h 9953"/>
              <a:gd name="connsiteX87" fmla="*/ 8683 w 9781"/>
              <a:gd name="connsiteY87" fmla="*/ 4163 h 9953"/>
              <a:gd name="connsiteX88" fmla="*/ 8806 w 9781"/>
              <a:gd name="connsiteY88" fmla="*/ 3953 h 9953"/>
              <a:gd name="connsiteX89" fmla="*/ 8920 w 9781"/>
              <a:gd name="connsiteY89" fmla="*/ 3739 h 9953"/>
              <a:gd name="connsiteX90" fmla="*/ 9022 w 9781"/>
              <a:gd name="connsiteY90" fmla="*/ 3526 h 9953"/>
              <a:gd name="connsiteX91" fmla="*/ 9126 w 9781"/>
              <a:gd name="connsiteY91" fmla="*/ 3307 h 9953"/>
              <a:gd name="connsiteX92" fmla="*/ 9219 w 9781"/>
              <a:gd name="connsiteY92" fmla="*/ 3085 h 9953"/>
              <a:gd name="connsiteX93" fmla="*/ 9312 w 9781"/>
              <a:gd name="connsiteY93" fmla="*/ 2865 h 9953"/>
              <a:gd name="connsiteX94" fmla="*/ 9394 w 9781"/>
              <a:gd name="connsiteY94" fmla="*/ 2639 h 9953"/>
              <a:gd name="connsiteX95" fmla="*/ 9472 w 9781"/>
              <a:gd name="connsiteY95" fmla="*/ 2410 h 9953"/>
              <a:gd name="connsiteX96" fmla="*/ 9544 w 9781"/>
              <a:gd name="connsiteY96" fmla="*/ 2180 h 9953"/>
              <a:gd name="connsiteX97" fmla="*/ 9616 w 9781"/>
              <a:gd name="connsiteY97" fmla="*/ 1951 h 9953"/>
              <a:gd name="connsiteX98" fmla="*/ 9675 w 9781"/>
              <a:gd name="connsiteY98" fmla="*/ 1720 h 9953"/>
              <a:gd name="connsiteX99" fmla="*/ 9733 w 9781"/>
              <a:gd name="connsiteY99" fmla="*/ 1484 h 9953"/>
              <a:gd name="connsiteX100" fmla="*/ 9781 w 9781"/>
              <a:gd name="connsiteY100" fmla="*/ 1244 h 9953"/>
              <a:gd name="connsiteX101" fmla="*/ 5879 w 9781"/>
              <a:gd name="connsiteY101" fmla="*/ 1909 h 9953"/>
              <a:gd name="connsiteX102" fmla="*/ 2621 w 9781"/>
              <a:gd name="connsiteY102" fmla="*/ 0 h 9953"/>
              <a:gd name="connsiteX0" fmla="*/ 2680 w 10000"/>
              <a:gd name="connsiteY0" fmla="*/ 0 h 10176"/>
              <a:gd name="connsiteX1" fmla="*/ 2680 w 10000"/>
              <a:gd name="connsiteY1" fmla="*/ 0 h 10176"/>
              <a:gd name="connsiteX2" fmla="*/ 2665 w 10000"/>
              <a:gd name="connsiteY2" fmla="*/ 101 h 10176"/>
              <a:gd name="connsiteX3" fmla="*/ 2642 w 10000"/>
              <a:gd name="connsiteY3" fmla="*/ 205 h 10176"/>
              <a:gd name="connsiteX4" fmla="*/ 2621 w 10000"/>
              <a:gd name="connsiteY4" fmla="*/ 306 h 10176"/>
              <a:gd name="connsiteX5" fmla="*/ 2594 w 10000"/>
              <a:gd name="connsiteY5" fmla="*/ 403 h 10176"/>
              <a:gd name="connsiteX6" fmla="*/ 2561 w 10000"/>
              <a:gd name="connsiteY6" fmla="*/ 502 h 10176"/>
              <a:gd name="connsiteX7" fmla="*/ 2530 w 10000"/>
              <a:gd name="connsiteY7" fmla="*/ 600 h 10176"/>
              <a:gd name="connsiteX8" fmla="*/ 2502 w 10000"/>
              <a:gd name="connsiteY8" fmla="*/ 696 h 10176"/>
              <a:gd name="connsiteX9" fmla="*/ 2468 w 10000"/>
              <a:gd name="connsiteY9" fmla="*/ 794 h 10176"/>
              <a:gd name="connsiteX10" fmla="*/ 2428 w 10000"/>
              <a:gd name="connsiteY10" fmla="*/ 890 h 10176"/>
              <a:gd name="connsiteX11" fmla="*/ 2386 w 10000"/>
              <a:gd name="connsiteY11" fmla="*/ 982 h 10176"/>
              <a:gd name="connsiteX12" fmla="*/ 2347 w 10000"/>
              <a:gd name="connsiteY12" fmla="*/ 1079 h 10176"/>
              <a:gd name="connsiteX13" fmla="*/ 2299 w 10000"/>
              <a:gd name="connsiteY13" fmla="*/ 1172 h 10176"/>
              <a:gd name="connsiteX14" fmla="*/ 2248 w 10000"/>
              <a:gd name="connsiteY14" fmla="*/ 1259 h 10176"/>
              <a:gd name="connsiteX15" fmla="*/ 2200 w 10000"/>
              <a:gd name="connsiteY15" fmla="*/ 1349 h 10176"/>
              <a:gd name="connsiteX16" fmla="*/ 2149 w 10000"/>
              <a:gd name="connsiteY16" fmla="*/ 1438 h 10176"/>
              <a:gd name="connsiteX17" fmla="*/ 2092 w 10000"/>
              <a:gd name="connsiteY17" fmla="*/ 1528 h 10176"/>
              <a:gd name="connsiteX18" fmla="*/ 2041 w 10000"/>
              <a:gd name="connsiteY18" fmla="*/ 1616 h 10176"/>
              <a:gd name="connsiteX19" fmla="*/ 1981 w 10000"/>
              <a:gd name="connsiteY19" fmla="*/ 1702 h 10176"/>
              <a:gd name="connsiteX20" fmla="*/ 1919 w 10000"/>
              <a:gd name="connsiteY20" fmla="*/ 1780 h 10176"/>
              <a:gd name="connsiteX21" fmla="*/ 1854 w 10000"/>
              <a:gd name="connsiteY21" fmla="*/ 1864 h 10176"/>
              <a:gd name="connsiteX22" fmla="*/ 1794 w 10000"/>
              <a:gd name="connsiteY22" fmla="*/ 1944 h 10176"/>
              <a:gd name="connsiteX23" fmla="*/ 1725 w 10000"/>
              <a:gd name="connsiteY23" fmla="*/ 2031 h 10176"/>
              <a:gd name="connsiteX24" fmla="*/ 1656 w 10000"/>
              <a:gd name="connsiteY24" fmla="*/ 2106 h 10176"/>
              <a:gd name="connsiteX25" fmla="*/ 1583 w 10000"/>
              <a:gd name="connsiteY25" fmla="*/ 2180 h 10176"/>
              <a:gd name="connsiteX26" fmla="*/ 1509 w 10000"/>
              <a:gd name="connsiteY26" fmla="*/ 2259 h 10176"/>
              <a:gd name="connsiteX27" fmla="*/ 1435 w 10000"/>
              <a:gd name="connsiteY27" fmla="*/ 2334 h 10176"/>
              <a:gd name="connsiteX28" fmla="*/ 1356 w 10000"/>
              <a:gd name="connsiteY28" fmla="*/ 2406 h 10176"/>
              <a:gd name="connsiteX29" fmla="*/ 1279 w 10000"/>
              <a:gd name="connsiteY29" fmla="*/ 2482 h 10176"/>
              <a:gd name="connsiteX30" fmla="*/ 1200 w 10000"/>
              <a:gd name="connsiteY30" fmla="*/ 2551 h 10176"/>
              <a:gd name="connsiteX31" fmla="*/ 1113 w 10000"/>
              <a:gd name="connsiteY31" fmla="*/ 2620 h 10176"/>
              <a:gd name="connsiteX32" fmla="*/ 1033 w 10000"/>
              <a:gd name="connsiteY32" fmla="*/ 2686 h 10176"/>
              <a:gd name="connsiteX33" fmla="*/ 946 w 10000"/>
              <a:gd name="connsiteY33" fmla="*/ 2753 h 10176"/>
              <a:gd name="connsiteX34" fmla="*/ 862 w 10000"/>
              <a:gd name="connsiteY34" fmla="*/ 2816 h 10176"/>
              <a:gd name="connsiteX35" fmla="*/ 767 w 10000"/>
              <a:gd name="connsiteY35" fmla="*/ 2881 h 10176"/>
              <a:gd name="connsiteX36" fmla="*/ 679 w 10000"/>
              <a:gd name="connsiteY36" fmla="*/ 2939 h 10176"/>
              <a:gd name="connsiteX37" fmla="*/ 586 w 10000"/>
              <a:gd name="connsiteY37" fmla="*/ 3000 h 10176"/>
              <a:gd name="connsiteX38" fmla="*/ 492 w 10000"/>
              <a:gd name="connsiteY38" fmla="*/ 3057 h 10176"/>
              <a:gd name="connsiteX39" fmla="*/ 394 w 10000"/>
              <a:gd name="connsiteY39" fmla="*/ 3111 h 10176"/>
              <a:gd name="connsiteX40" fmla="*/ 298 w 10000"/>
              <a:gd name="connsiteY40" fmla="*/ 3167 h 10176"/>
              <a:gd name="connsiteX41" fmla="*/ 203 w 10000"/>
              <a:gd name="connsiteY41" fmla="*/ 3220 h 10176"/>
              <a:gd name="connsiteX42" fmla="*/ 101 w 10000"/>
              <a:gd name="connsiteY42" fmla="*/ 3269 h 10176"/>
              <a:gd name="connsiteX43" fmla="*/ 0 w 10000"/>
              <a:gd name="connsiteY43" fmla="*/ 3317 h 10176"/>
              <a:gd name="connsiteX44" fmla="*/ 187 w 10000"/>
              <a:gd name="connsiteY44" fmla="*/ 6726 h 10176"/>
              <a:gd name="connsiteX45" fmla="*/ 337 w 10000"/>
              <a:gd name="connsiteY45" fmla="*/ 9952 h 10176"/>
              <a:gd name="connsiteX46" fmla="*/ 603 w 10000"/>
              <a:gd name="connsiteY46" fmla="*/ 9892 h 10176"/>
              <a:gd name="connsiteX47" fmla="*/ 876 w 10000"/>
              <a:gd name="connsiteY47" fmla="*/ 9834 h 10176"/>
              <a:gd name="connsiteX48" fmla="*/ 1146 w 10000"/>
              <a:gd name="connsiteY48" fmla="*/ 9770 h 10176"/>
              <a:gd name="connsiteX49" fmla="*/ 1413 w 10000"/>
              <a:gd name="connsiteY49" fmla="*/ 9700 h 10176"/>
              <a:gd name="connsiteX50" fmla="*/ 1673 w 10000"/>
              <a:gd name="connsiteY50" fmla="*/ 9619 h 10176"/>
              <a:gd name="connsiteX51" fmla="*/ 1934 w 10000"/>
              <a:gd name="connsiteY51" fmla="*/ 9543 h 10176"/>
              <a:gd name="connsiteX52" fmla="*/ 2196 w 10000"/>
              <a:gd name="connsiteY52" fmla="*/ 9454 h 10176"/>
              <a:gd name="connsiteX53" fmla="*/ 2457 w 10000"/>
              <a:gd name="connsiteY53" fmla="*/ 9368 h 10176"/>
              <a:gd name="connsiteX54" fmla="*/ 2705 w 10000"/>
              <a:gd name="connsiteY54" fmla="*/ 9269 h 10176"/>
              <a:gd name="connsiteX55" fmla="*/ 2955 w 10000"/>
              <a:gd name="connsiteY55" fmla="*/ 9170 h 10176"/>
              <a:gd name="connsiteX56" fmla="*/ 3206 w 10000"/>
              <a:gd name="connsiteY56" fmla="*/ 9065 h 10176"/>
              <a:gd name="connsiteX57" fmla="*/ 3449 w 10000"/>
              <a:gd name="connsiteY57" fmla="*/ 8956 h 10176"/>
              <a:gd name="connsiteX58" fmla="*/ 3689 w 10000"/>
              <a:gd name="connsiteY58" fmla="*/ 8848 h 10176"/>
              <a:gd name="connsiteX59" fmla="*/ 3930 w 10000"/>
              <a:gd name="connsiteY59" fmla="*/ 8728 h 10176"/>
              <a:gd name="connsiteX60" fmla="*/ 4165 w 10000"/>
              <a:gd name="connsiteY60" fmla="*/ 8609 h 10176"/>
              <a:gd name="connsiteX61" fmla="*/ 4397 w 10000"/>
              <a:gd name="connsiteY61" fmla="*/ 8482 h 10176"/>
              <a:gd name="connsiteX62" fmla="*/ 4628 w 10000"/>
              <a:gd name="connsiteY62" fmla="*/ 8353 h 10176"/>
              <a:gd name="connsiteX63" fmla="*/ 4845 w 10000"/>
              <a:gd name="connsiteY63" fmla="*/ 8223 h 10176"/>
              <a:gd name="connsiteX64" fmla="*/ 5065 w 10000"/>
              <a:gd name="connsiteY64" fmla="*/ 8083 h 10176"/>
              <a:gd name="connsiteX65" fmla="*/ 5285 w 10000"/>
              <a:gd name="connsiteY65" fmla="*/ 7943 h 10176"/>
              <a:gd name="connsiteX66" fmla="*/ 5494 w 10000"/>
              <a:gd name="connsiteY66" fmla="*/ 7799 h 10176"/>
              <a:gd name="connsiteX67" fmla="*/ 5708 w 10000"/>
              <a:gd name="connsiteY67" fmla="*/ 7650 h 10176"/>
              <a:gd name="connsiteX68" fmla="*/ 5911 w 10000"/>
              <a:gd name="connsiteY68" fmla="*/ 7494 h 10176"/>
              <a:gd name="connsiteX69" fmla="*/ 6115 w 10000"/>
              <a:gd name="connsiteY69" fmla="*/ 7341 h 10176"/>
              <a:gd name="connsiteX70" fmla="*/ 6310 w 10000"/>
              <a:gd name="connsiteY70" fmla="*/ 7184 h 10176"/>
              <a:gd name="connsiteX71" fmla="*/ 6508 w 10000"/>
              <a:gd name="connsiteY71" fmla="*/ 7017 h 10176"/>
              <a:gd name="connsiteX72" fmla="*/ 6698 w 10000"/>
              <a:gd name="connsiteY72" fmla="*/ 6847 h 10176"/>
              <a:gd name="connsiteX73" fmla="*/ 6882 w 10000"/>
              <a:gd name="connsiteY73" fmla="*/ 6682 h 10176"/>
              <a:gd name="connsiteX74" fmla="*/ 7064 w 10000"/>
              <a:gd name="connsiteY74" fmla="*/ 6508 h 10176"/>
              <a:gd name="connsiteX75" fmla="*/ 7239 w 10000"/>
              <a:gd name="connsiteY75" fmla="*/ 6330 h 10176"/>
              <a:gd name="connsiteX76" fmla="*/ 7414 w 10000"/>
              <a:gd name="connsiteY76" fmla="*/ 6152 h 10176"/>
              <a:gd name="connsiteX77" fmla="*/ 7582 w 10000"/>
              <a:gd name="connsiteY77" fmla="*/ 5969 h 10176"/>
              <a:gd name="connsiteX78" fmla="*/ 7750 w 10000"/>
              <a:gd name="connsiteY78" fmla="*/ 5780 h 10176"/>
              <a:gd name="connsiteX79" fmla="*/ 7905 w 10000"/>
              <a:gd name="connsiteY79" fmla="*/ 5590 h 10176"/>
              <a:gd name="connsiteX80" fmla="*/ 8057 w 10000"/>
              <a:gd name="connsiteY80" fmla="*/ 5398 h 10176"/>
              <a:gd name="connsiteX81" fmla="*/ 8211 w 10000"/>
              <a:gd name="connsiteY81" fmla="*/ 5205 h 10176"/>
              <a:gd name="connsiteX82" fmla="*/ 8354 w 10000"/>
              <a:gd name="connsiteY82" fmla="*/ 5003 h 10176"/>
              <a:gd name="connsiteX83" fmla="*/ 8493 w 10000"/>
              <a:gd name="connsiteY83" fmla="*/ 4807 h 10176"/>
              <a:gd name="connsiteX84" fmla="*/ 8628 w 10000"/>
              <a:gd name="connsiteY84" fmla="*/ 4601 h 10176"/>
              <a:gd name="connsiteX85" fmla="*/ 8754 w 10000"/>
              <a:gd name="connsiteY85" fmla="*/ 4391 h 10176"/>
              <a:gd name="connsiteX86" fmla="*/ 8877 w 10000"/>
              <a:gd name="connsiteY86" fmla="*/ 4183 h 10176"/>
              <a:gd name="connsiteX87" fmla="*/ 9003 w 10000"/>
              <a:gd name="connsiteY87" fmla="*/ 3972 h 10176"/>
              <a:gd name="connsiteX88" fmla="*/ 9120 w 10000"/>
              <a:gd name="connsiteY88" fmla="*/ 3757 h 10176"/>
              <a:gd name="connsiteX89" fmla="*/ 9224 w 10000"/>
              <a:gd name="connsiteY89" fmla="*/ 3543 h 10176"/>
              <a:gd name="connsiteX90" fmla="*/ 9330 w 10000"/>
              <a:gd name="connsiteY90" fmla="*/ 3323 h 10176"/>
              <a:gd name="connsiteX91" fmla="*/ 9425 w 10000"/>
              <a:gd name="connsiteY91" fmla="*/ 3100 h 10176"/>
              <a:gd name="connsiteX92" fmla="*/ 9520 w 10000"/>
              <a:gd name="connsiteY92" fmla="*/ 2879 h 10176"/>
              <a:gd name="connsiteX93" fmla="*/ 9604 w 10000"/>
              <a:gd name="connsiteY93" fmla="*/ 2651 h 10176"/>
              <a:gd name="connsiteX94" fmla="*/ 9684 w 10000"/>
              <a:gd name="connsiteY94" fmla="*/ 2421 h 10176"/>
              <a:gd name="connsiteX95" fmla="*/ 9758 w 10000"/>
              <a:gd name="connsiteY95" fmla="*/ 2190 h 10176"/>
              <a:gd name="connsiteX96" fmla="*/ 9831 w 10000"/>
              <a:gd name="connsiteY96" fmla="*/ 1960 h 10176"/>
              <a:gd name="connsiteX97" fmla="*/ 9892 w 10000"/>
              <a:gd name="connsiteY97" fmla="*/ 1728 h 10176"/>
              <a:gd name="connsiteX98" fmla="*/ 9951 w 10000"/>
              <a:gd name="connsiteY98" fmla="*/ 1491 h 10176"/>
              <a:gd name="connsiteX99" fmla="*/ 10000 w 10000"/>
              <a:gd name="connsiteY99" fmla="*/ 1250 h 10176"/>
              <a:gd name="connsiteX100" fmla="*/ 6011 w 10000"/>
              <a:gd name="connsiteY100" fmla="*/ 1918 h 10176"/>
              <a:gd name="connsiteX101" fmla="*/ 2680 w 10000"/>
              <a:gd name="connsiteY101" fmla="*/ 0 h 10176"/>
              <a:gd name="connsiteX0" fmla="*/ 2680 w 10000"/>
              <a:gd name="connsiteY0" fmla="*/ 0 h 9892"/>
              <a:gd name="connsiteX1" fmla="*/ 2680 w 10000"/>
              <a:gd name="connsiteY1" fmla="*/ 0 h 9892"/>
              <a:gd name="connsiteX2" fmla="*/ 2665 w 10000"/>
              <a:gd name="connsiteY2" fmla="*/ 101 h 9892"/>
              <a:gd name="connsiteX3" fmla="*/ 2642 w 10000"/>
              <a:gd name="connsiteY3" fmla="*/ 205 h 9892"/>
              <a:gd name="connsiteX4" fmla="*/ 2621 w 10000"/>
              <a:gd name="connsiteY4" fmla="*/ 306 h 9892"/>
              <a:gd name="connsiteX5" fmla="*/ 2594 w 10000"/>
              <a:gd name="connsiteY5" fmla="*/ 403 h 9892"/>
              <a:gd name="connsiteX6" fmla="*/ 2561 w 10000"/>
              <a:gd name="connsiteY6" fmla="*/ 502 h 9892"/>
              <a:gd name="connsiteX7" fmla="*/ 2530 w 10000"/>
              <a:gd name="connsiteY7" fmla="*/ 600 h 9892"/>
              <a:gd name="connsiteX8" fmla="*/ 2502 w 10000"/>
              <a:gd name="connsiteY8" fmla="*/ 696 h 9892"/>
              <a:gd name="connsiteX9" fmla="*/ 2468 w 10000"/>
              <a:gd name="connsiteY9" fmla="*/ 794 h 9892"/>
              <a:gd name="connsiteX10" fmla="*/ 2428 w 10000"/>
              <a:gd name="connsiteY10" fmla="*/ 890 h 9892"/>
              <a:gd name="connsiteX11" fmla="*/ 2386 w 10000"/>
              <a:gd name="connsiteY11" fmla="*/ 982 h 9892"/>
              <a:gd name="connsiteX12" fmla="*/ 2347 w 10000"/>
              <a:gd name="connsiteY12" fmla="*/ 1079 h 9892"/>
              <a:gd name="connsiteX13" fmla="*/ 2299 w 10000"/>
              <a:gd name="connsiteY13" fmla="*/ 1172 h 9892"/>
              <a:gd name="connsiteX14" fmla="*/ 2248 w 10000"/>
              <a:gd name="connsiteY14" fmla="*/ 1259 h 9892"/>
              <a:gd name="connsiteX15" fmla="*/ 2200 w 10000"/>
              <a:gd name="connsiteY15" fmla="*/ 1349 h 9892"/>
              <a:gd name="connsiteX16" fmla="*/ 2149 w 10000"/>
              <a:gd name="connsiteY16" fmla="*/ 1438 h 9892"/>
              <a:gd name="connsiteX17" fmla="*/ 2092 w 10000"/>
              <a:gd name="connsiteY17" fmla="*/ 1528 h 9892"/>
              <a:gd name="connsiteX18" fmla="*/ 2041 w 10000"/>
              <a:gd name="connsiteY18" fmla="*/ 1616 h 9892"/>
              <a:gd name="connsiteX19" fmla="*/ 1981 w 10000"/>
              <a:gd name="connsiteY19" fmla="*/ 1702 h 9892"/>
              <a:gd name="connsiteX20" fmla="*/ 1919 w 10000"/>
              <a:gd name="connsiteY20" fmla="*/ 1780 h 9892"/>
              <a:gd name="connsiteX21" fmla="*/ 1854 w 10000"/>
              <a:gd name="connsiteY21" fmla="*/ 1864 h 9892"/>
              <a:gd name="connsiteX22" fmla="*/ 1794 w 10000"/>
              <a:gd name="connsiteY22" fmla="*/ 1944 h 9892"/>
              <a:gd name="connsiteX23" fmla="*/ 1725 w 10000"/>
              <a:gd name="connsiteY23" fmla="*/ 2031 h 9892"/>
              <a:gd name="connsiteX24" fmla="*/ 1656 w 10000"/>
              <a:gd name="connsiteY24" fmla="*/ 2106 h 9892"/>
              <a:gd name="connsiteX25" fmla="*/ 1583 w 10000"/>
              <a:gd name="connsiteY25" fmla="*/ 2180 h 9892"/>
              <a:gd name="connsiteX26" fmla="*/ 1509 w 10000"/>
              <a:gd name="connsiteY26" fmla="*/ 2259 h 9892"/>
              <a:gd name="connsiteX27" fmla="*/ 1435 w 10000"/>
              <a:gd name="connsiteY27" fmla="*/ 2334 h 9892"/>
              <a:gd name="connsiteX28" fmla="*/ 1356 w 10000"/>
              <a:gd name="connsiteY28" fmla="*/ 2406 h 9892"/>
              <a:gd name="connsiteX29" fmla="*/ 1279 w 10000"/>
              <a:gd name="connsiteY29" fmla="*/ 2482 h 9892"/>
              <a:gd name="connsiteX30" fmla="*/ 1200 w 10000"/>
              <a:gd name="connsiteY30" fmla="*/ 2551 h 9892"/>
              <a:gd name="connsiteX31" fmla="*/ 1113 w 10000"/>
              <a:gd name="connsiteY31" fmla="*/ 2620 h 9892"/>
              <a:gd name="connsiteX32" fmla="*/ 1033 w 10000"/>
              <a:gd name="connsiteY32" fmla="*/ 2686 h 9892"/>
              <a:gd name="connsiteX33" fmla="*/ 946 w 10000"/>
              <a:gd name="connsiteY33" fmla="*/ 2753 h 9892"/>
              <a:gd name="connsiteX34" fmla="*/ 862 w 10000"/>
              <a:gd name="connsiteY34" fmla="*/ 2816 h 9892"/>
              <a:gd name="connsiteX35" fmla="*/ 767 w 10000"/>
              <a:gd name="connsiteY35" fmla="*/ 2881 h 9892"/>
              <a:gd name="connsiteX36" fmla="*/ 679 w 10000"/>
              <a:gd name="connsiteY36" fmla="*/ 2939 h 9892"/>
              <a:gd name="connsiteX37" fmla="*/ 586 w 10000"/>
              <a:gd name="connsiteY37" fmla="*/ 3000 h 9892"/>
              <a:gd name="connsiteX38" fmla="*/ 492 w 10000"/>
              <a:gd name="connsiteY38" fmla="*/ 3057 h 9892"/>
              <a:gd name="connsiteX39" fmla="*/ 394 w 10000"/>
              <a:gd name="connsiteY39" fmla="*/ 3111 h 9892"/>
              <a:gd name="connsiteX40" fmla="*/ 298 w 10000"/>
              <a:gd name="connsiteY40" fmla="*/ 3167 h 9892"/>
              <a:gd name="connsiteX41" fmla="*/ 203 w 10000"/>
              <a:gd name="connsiteY41" fmla="*/ 3220 h 9892"/>
              <a:gd name="connsiteX42" fmla="*/ 101 w 10000"/>
              <a:gd name="connsiteY42" fmla="*/ 3269 h 9892"/>
              <a:gd name="connsiteX43" fmla="*/ 0 w 10000"/>
              <a:gd name="connsiteY43" fmla="*/ 3317 h 9892"/>
              <a:gd name="connsiteX44" fmla="*/ 187 w 10000"/>
              <a:gd name="connsiteY44" fmla="*/ 6726 h 9892"/>
              <a:gd name="connsiteX45" fmla="*/ 603 w 10000"/>
              <a:gd name="connsiteY45" fmla="*/ 9892 h 9892"/>
              <a:gd name="connsiteX46" fmla="*/ 876 w 10000"/>
              <a:gd name="connsiteY46" fmla="*/ 9834 h 9892"/>
              <a:gd name="connsiteX47" fmla="*/ 1146 w 10000"/>
              <a:gd name="connsiteY47" fmla="*/ 9770 h 9892"/>
              <a:gd name="connsiteX48" fmla="*/ 1413 w 10000"/>
              <a:gd name="connsiteY48" fmla="*/ 9700 h 9892"/>
              <a:gd name="connsiteX49" fmla="*/ 1673 w 10000"/>
              <a:gd name="connsiteY49" fmla="*/ 9619 h 9892"/>
              <a:gd name="connsiteX50" fmla="*/ 1934 w 10000"/>
              <a:gd name="connsiteY50" fmla="*/ 9543 h 9892"/>
              <a:gd name="connsiteX51" fmla="*/ 2196 w 10000"/>
              <a:gd name="connsiteY51" fmla="*/ 9454 h 9892"/>
              <a:gd name="connsiteX52" fmla="*/ 2457 w 10000"/>
              <a:gd name="connsiteY52" fmla="*/ 9368 h 9892"/>
              <a:gd name="connsiteX53" fmla="*/ 2705 w 10000"/>
              <a:gd name="connsiteY53" fmla="*/ 9269 h 9892"/>
              <a:gd name="connsiteX54" fmla="*/ 2955 w 10000"/>
              <a:gd name="connsiteY54" fmla="*/ 9170 h 9892"/>
              <a:gd name="connsiteX55" fmla="*/ 3206 w 10000"/>
              <a:gd name="connsiteY55" fmla="*/ 9065 h 9892"/>
              <a:gd name="connsiteX56" fmla="*/ 3449 w 10000"/>
              <a:gd name="connsiteY56" fmla="*/ 8956 h 9892"/>
              <a:gd name="connsiteX57" fmla="*/ 3689 w 10000"/>
              <a:gd name="connsiteY57" fmla="*/ 8848 h 9892"/>
              <a:gd name="connsiteX58" fmla="*/ 3930 w 10000"/>
              <a:gd name="connsiteY58" fmla="*/ 8728 h 9892"/>
              <a:gd name="connsiteX59" fmla="*/ 4165 w 10000"/>
              <a:gd name="connsiteY59" fmla="*/ 8609 h 9892"/>
              <a:gd name="connsiteX60" fmla="*/ 4397 w 10000"/>
              <a:gd name="connsiteY60" fmla="*/ 8482 h 9892"/>
              <a:gd name="connsiteX61" fmla="*/ 4628 w 10000"/>
              <a:gd name="connsiteY61" fmla="*/ 8353 h 9892"/>
              <a:gd name="connsiteX62" fmla="*/ 4845 w 10000"/>
              <a:gd name="connsiteY62" fmla="*/ 8223 h 9892"/>
              <a:gd name="connsiteX63" fmla="*/ 5065 w 10000"/>
              <a:gd name="connsiteY63" fmla="*/ 8083 h 9892"/>
              <a:gd name="connsiteX64" fmla="*/ 5285 w 10000"/>
              <a:gd name="connsiteY64" fmla="*/ 7943 h 9892"/>
              <a:gd name="connsiteX65" fmla="*/ 5494 w 10000"/>
              <a:gd name="connsiteY65" fmla="*/ 7799 h 9892"/>
              <a:gd name="connsiteX66" fmla="*/ 5708 w 10000"/>
              <a:gd name="connsiteY66" fmla="*/ 7650 h 9892"/>
              <a:gd name="connsiteX67" fmla="*/ 5911 w 10000"/>
              <a:gd name="connsiteY67" fmla="*/ 7494 h 9892"/>
              <a:gd name="connsiteX68" fmla="*/ 6115 w 10000"/>
              <a:gd name="connsiteY68" fmla="*/ 7341 h 9892"/>
              <a:gd name="connsiteX69" fmla="*/ 6310 w 10000"/>
              <a:gd name="connsiteY69" fmla="*/ 7184 h 9892"/>
              <a:gd name="connsiteX70" fmla="*/ 6508 w 10000"/>
              <a:gd name="connsiteY70" fmla="*/ 7017 h 9892"/>
              <a:gd name="connsiteX71" fmla="*/ 6698 w 10000"/>
              <a:gd name="connsiteY71" fmla="*/ 6847 h 9892"/>
              <a:gd name="connsiteX72" fmla="*/ 6882 w 10000"/>
              <a:gd name="connsiteY72" fmla="*/ 6682 h 9892"/>
              <a:gd name="connsiteX73" fmla="*/ 7064 w 10000"/>
              <a:gd name="connsiteY73" fmla="*/ 6508 h 9892"/>
              <a:gd name="connsiteX74" fmla="*/ 7239 w 10000"/>
              <a:gd name="connsiteY74" fmla="*/ 6330 h 9892"/>
              <a:gd name="connsiteX75" fmla="*/ 7414 w 10000"/>
              <a:gd name="connsiteY75" fmla="*/ 6152 h 9892"/>
              <a:gd name="connsiteX76" fmla="*/ 7582 w 10000"/>
              <a:gd name="connsiteY76" fmla="*/ 5969 h 9892"/>
              <a:gd name="connsiteX77" fmla="*/ 7750 w 10000"/>
              <a:gd name="connsiteY77" fmla="*/ 5780 h 9892"/>
              <a:gd name="connsiteX78" fmla="*/ 7905 w 10000"/>
              <a:gd name="connsiteY78" fmla="*/ 5590 h 9892"/>
              <a:gd name="connsiteX79" fmla="*/ 8057 w 10000"/>
              <a:gd name="connsiteY79" fmla="*/ 5398 h 9892"/>
              <a:gd name="connsiteX80" fmla="*/ 8211 w 10000"/>
              <a:gd name="connsiteY80" fmla="*/ 5205 h 9892"/>
              <a:gd name="connsiteX81" fmla="*/ 8354 w 10000"/>
              <a:gd name="connsiteY81" fmla="*/ 5003 h 9892"/>
              <a:gd name="connsiteX82" fmla="*/ 8493 w 10000"/>
              <a:gd name="connsiteY82" fmla="*/ 4807 h 9892"/>
              <a:gd name="connsiteX83" fmla="*/ 8628 w 10000"/>
              <a:gd name="connsiteY83" fmla="*/ 4601 h 9892"/>
              <a:gd name="connsiteX84" fmla="*/ 8754 w 10000"/>
              <a:gd name="connsiteY84" fmla="*/ 4391 h 9892"/>
              <a:gd name="connsiteX85" fmla="*/ 8877 w 10000"/>
              <a:gd name="connsiteY85" fmla="*/ 4183 h 9892"/>
              <a:gd name="connsiteX86" fmla="*/ 9003 w 10000"/>
              <a:gd name="connsiteY86" fmla="*/ 3972 h 9892"/>
              <a:gd name="connsiteX87" fmla="*/ 9120 w 10000"/>
              <a:gd name="connsiteY87" fmla="*/ 3757 h 9892"/>
              <a:gd name="connsiteX88" fmla="*/ 9224 w 10000"/>
              <a:gd name="connsiteY88" fmla="*/ 3543 h 9892"/>
              <a:gd name="connsiteX89" fmla="*/ 9330 w 10000"/>
              <a:gd name="connsiteY89" fmla="*/ 3323 h 9892"/>
              <a:gd name="connsiteX90" fmla="*/ 9425 w 10000"/>
              <a:gd name="connsiteY90" fmla="*/ 3100 h 9892"/>
              <a:gd name="connsiteX91" fmla="*/ 9520 w 10000"/>
              <a:gd name="connsiteY91" fmla="*/ 2879 h 9892"/>
              <a:gd name="connsiteX92" fmla="*/ 9604 w 10000"/>
              <a:gd name="connsiteY92" fmla="*/ 2651 h 9892"/>
              <a:gd name="connsiteX93" fmla="*/ 9684 w 10000"/>
              <a:gd name="connsiteY93" fmla="*/ 2421 h 9892"/>
              <a:gd name="connsiteX94" fmla="*/ 9758 w 10000"/>
              <a:gd name="connsiteY94" fmla="*/ 2190 h 9892"/>
              <a:gd name="connsiteX95" fmla="*/ 9831 w 10000"/>
              <a:gd name="connsiteY95" fmla="*/ 1960 h 9892"/>
              <a:gd name="connsiteX96" fmla="*/ 9892 w 10000"/>
              <a:gd name="connsiteY96" fmla="*/ 1728 h 9892"/>
              <a:gd name="connsiteX97" fmla="*/ 9951 w 10000"/>
              <a:gd name="connsiteY97" fmla="*/ 1491 h 9892"/>
              <a:gd name="connsiteX98" fmla="*/ 10000 w 10000"/>
              <a:gd name="connsiteY98" fmla="*/ 1250 h 9892"/>
              <a:gd name="connsiteX99" fmla="*/ 6011 w 10000"/>
              <a:gd name="connsiteY99" fmla="*/ 1918 h 9892"/>
              <a:gd name="connsiteX100" fmla="*/ 2680 w 10000"/>
              <a:gd name="connsiteY100" fmla="*/ 0 h 9892"/>
              <a:gd name="connsiteX0" fmla="*/ 2680 w 10000"/>
              <a:gd name="connsiteY0" fmla="*/ 0 h 9941"/>
              <a:gd name="connsiteX1" fmla="*/ 2680 w 10000"/>
              <a:gd name="connsiteY1" fmla="*/ 0 h 9941"/>
              <a:gd name="connsiteX2" fmla="*/ 2665 w 10000"/>
              <a:gd name="connsiteY2" fmla="*/ 102 h 9941"/>
              <a:gd name="connsiteX3" fmla="*/ 2642 w 10000"/>
              <a:gd name="connsiteY3" fmla="*/ 207 h 9941"/>
              <a:gd name="connsiteX4" fmla="*/ 2621 w 10000"/>
              <a:gd name="connsiteY4" fmla="*/ 309 h 9941"/>
              <a:gd name="connsiteX5" fmla="*/ 2594 w 10000"/>
              <a:gd name="connsiteY5" fmla="*/ 407 h 9941"/>
              <a:gd name="connsiteX6" fmla="*/ 2561 w 10000"/>
              <a:gd name="connsiteY6" fmla="*/ 507 h 9941"/>
              <a:gd name="connsiteX7" fmla="*/ 2530 w 10000"/>
              <a:gd name="connsiteY7" fmla="*/ 607 h 9941"/>
              <a:gd name="connsiteX8" fmla="*/ 2502 w 10000"/>
              <a:gd name="connsiteY8" fmla="*/ 704 h 9941"/>
              <a:gd name="connsiteX9" fmla="*/ 2468 w 10000"/>
              <a:gd name="connsiteY9" fmla="*/ 803 h 9941"/>
              <a:gd name="connsiteX10" fmla="*/ 2428 w 10000"/>
              <a:gd name="connsiteY10" fmla="*/ 900 h 9941"/>
              <a:gd name="connsiteX11" fmla="*/ 2386 w 10000"/>
              <a:gd name="connsiteY11" fmla="*/ 993 h 9941"/>
              <a:gd name="connsiteX12" fmla="*/ 2347 w 10000"/>
              <a:gd name="connsiteY12" fmla="*/ 1091 h 9941"/>
              <a:gd name="connsiteX13" fmla="*/ 2299 w 10000"/>
              <a:gd name="connsiteY13" fmla="*/ 1185 h 9941"/>
              <a:gd name="connsiteX14" fmla="*/ 2248 w 10000"/>
              <a:gd name="connsiteY14" fmla="*/ 1273 h 9941"/>
              <a:gd name="connsiteX15" fmla="*/ 2200 w 10000"/>
              <a:gd name="connsiteY15" fmla="*/ 1364 h 9941"/>
              <a:gd name="connsiteX16" fmla="*/ 2149 w 10000"/>
              <a:gd name="connsiteY16" fmla="*/ 1454 h 9941"/>
              <a:gd name="connsiteX17" fmla="*/ 2092 w 10000"/>
              <a:gd name="connsiteY17" fmla="*/ 1545 h 9941"/>
              <a:gd name="connsiteX18" fmla="*/ 2041 w 10000"/>
              <a:gd name="connsiteY18" fmla="*/ 1634 h 9941"/>
              <a:gd name="connsiteX19" fmla="*/ 1981 w 10000"/>
              <a:gd name="connsiteY19" fmla="*/ 1721 h 9941"/>
              <a:gd name="connsiteX20" fmla="*/ 1919 w 10000"/>
              <a:gd name="connsiteY20" fmla="*/ 1799 h 9941"/>
              <a:gd name="connsiteX21" fmla="*/ 1854 w 10000"/>
              <a:gd name="connsiteY21" fmla="*/ 1884 h 9941"/>
              <a:gd name="connsiteX22" fmla="*/ 1794 w 10000"/>
              <a:gd name="connsiteY22" fmla="*/ 1965 h 9941"/>
              <a:gd name="connsiteX23" fmla="*/ 1725 w 10000"/>
              <a:gd name="connsiteY23" fmla="*/ 2053 h 9941"/>
              <a:gd name="connsiteX24" fmla="*/ 1656 w 10000"/>
              <a:gd name="connsiteY24" fmla="*/ 2129 h 9941"/>
              <a:gd name="connsiteX25" fmla="*/ 1583 w 10000"/>
              <a:gd name="connsiteY25" fmla="*/ 2204 h 9941"/>
              <a:gd name="connsiteX26" fmla="*/ 1509 w 10000"/>
              <a:gd name="connsiteY26" fmla="*/ 2284 h 9941"/>
              <a:gd name="connsiteX27" fmla="*/ 1435 w 10000"/>
              <a:gd name="connsiteY27" fmla="*/ 2359 h 9941"/>
              <a:gd name="connsiteX28" fmla="*/ 1356 w 10000"/>
              <a:gd name="connsiteY28" fmla="*/ 2432 h 9941"/>
              <a:gd name="connsiteX29" fmla="*/ 1279 w 10000"/>
              <a:gd name="connsiteY29" fmla="*/ 2509 h 9941"/>
              <a:gd name="connsiteX30" fmla="*/ 1200 w 10000"/>
              <a:gd name="connsiteY30" fmla="*/ 2579 h 9941"/>
              <a:gd name="connsiteX31" fmla="*/ 1113 w 10000"/>
              <a:gd name="connsiteY31" fmla="*/ 2649 h 9941"/>
              <a:gd name="connsiteX32" fmla="*/ 1033 w 10000"/>
              <a:gd name="connsiteY32" fmla="*/ 2715 h 9941"/>
              <a:gd name="connsiteX33" fmla="*/ 946 w 10000"/>
              <a:gd name="connsiteY33" fmla="*/ 2783 h 9941"/>
              <a:gd name="connsiteX34" fmla="*/ 862 w 10000"/>
              <a:gd name="connsiteY34" fmla="*/ 2847 h 9941"/>
              <a:gd name="connsiteX35" fmla="*/ 767 w 10000"/>
              <a:gd name="connsiteY35" fmla="*/ 2912 h 9941"/>
              <a:gd name="connsiteX36" fmla="*/ 679 w 10000"/>
              <a:gd name="connsiteY36" fmla="*/ 2971 h 9941"/>
              <a:gd name="connsiteX37" fmla="*/ 586 w 10000"/>
              <a:gd name="connsiteY37" fmla="*/ 3033 h 9941"/>
              <a:gd name="connsiteX38" fmla="*/ 492 w 10000"/>
              <a:gd name="connsiteY38" fmla="*/ 3090 h 9941"/>
              <a:gd name="connsiteX39" fmla="*/ 394 w 10000"/>
              <a:gd name="connsiteY39" fmla="*/ 3145 h 9941"/>
              <a:gd name="connsiteX40" fmla="*/ 298 w 10000"/>
              <a:gd name="connsiteY40" fmla="*/ 3202 h 9941"/>
              <a:gd name="connsiteX41" fmla="*/ 203 w 10000"/>
              <a:gd name="connsiteY41" fmla="*/ 3255 h 9941"/>
              <a:gd name="connsiteX42" fmla="*/ 101 w 10000"/>
              <a:gd name="connsiteY42" fmla="*/ 3305 h 9941"/>
              <a:gd name="connsiteX43" fmla="*/ 0 w 10000"/>
              <a:gd name="connsiteY43" fmla="*/ 3353 h 9941"/>
              <a:gd name="connsiteX44" fmla="*/ 187 w 10000"/>
              <a:gd name="connsiteY44" fmla="*/ 6799 h 9941"/>
              <a:gd name="connsiteX45" fmla="*/ 876 w 10000"/>
              <a:gd name="connsiteY45" fmla="*/ 9941 h 9941"/>
              <a:gd name="connsiteX46" fmla="*/ 1146 w 10000"/>
              <a:gd name="connsiteY46" fmla="*/ 9877 h 9941"/>
              <a:gd name="connsiteX47" fmla="*/ 1413 w 10000"/>
              <a:gd name="connsiteY47" fmla="*/ 9806 h 9941"/>
              <a:gd name="connsiteX48" fmla="*/ 1673 w 10000"/>
              <a:gd name="connsiteY48" fmla="*/ 9724 h 9941"/>
              <a:gd name="connsiteX49" fmla="*/ 1934 w 10000"/>
              <a:gd name="connsiteY49" fmla="*/ 9647 h 9941"/>
              <a:gd name="connsiteX50" fmla="*/ 2196 w 10000"/>
              <a:gd name="connsiteY50" fmla="*/ 9557 h 9941"/>
              <a:gd name="connsiteX51" fmla="*/ 2457 w 10000"/>
              <a:gd name="connsiteY51" fmla="*/ 9470 h 9941"/>
              <a:gd name="connsiteX52" fmla="*/ 2705 w 10000"/>
              <a:gd name="connsiteY52" fmla="*/ 9370 h 9941"/>
              <a:gd name="connsiteX53" fmla="*/ 2955 w 10000"/>
              <a:gd name="connsiteY53" fmla="*/ 9270 h 9941"/>
              <a:gd name="connsiteX54" fmla="*/ 3206 w 10000"/>
              <a:gd name="connsiteY54" fmla="*/ 9164 h 9941"/>
              <a:gd name="connsiteX55" fmla="*/ 3449 w 10000"/>
              <a:gd name="connsiteY55" fmla="*/ 9054 h 9941"/>
              <a:gd name="connsiteX56" fmla="*/ 3689 w 10000"/>
              <a:gd name="connsiteY56" fmla="*/ 8945 h 9941"/>
              <a:gd name="connsiteX57" fmla="*/ 3930 w 10000"/>
              <a:gd name="connsiteY57" fmla="*/ 8823 h 9941"/>
              <a:gd name="connsiteX58" fmla="*/ 4165 w 10000"/>
              <a:gd name="connsiteY58" fmla="*/ 8703 h 9941"/>
              <a:gd name="connsiteX59" fmla="*/ 4397 w 10000"/>
              <a:gd name="connsiteY59" fmla="*/ 8575 h 9941"/>
              <a:gd name="connsiteX60" fmla="*/ 4628 w 10000"/>
              <a:gd name="connsiteY60" fmla="*/ 8444 h 9941"/>
              <a:gd name="connsiteX61" fmla="*/ 4845 w 10000"/>
              <a:gd name="connsiteY61" fmla="*/ 8313 h 9941"/>
              <a:gd name="connsiteX62" fmla="*/ 5065 w 10000"/>
              <a:gd name="connsiteY62" fmla="*/ 8171 h 9941"/>
              <a:gd name="connsiteX63" fmla="*/ 5285 w 10000"/>
              <a:gd name="connsiteY63" fmla="*/ 8030 h 9941"/>
              <a:gd name="connsiteX64" fmla="*/ 5494 w 10000"/>
              <a:gd name="connsiteY64" fmla="*/ 7884 h 9941"/>
              <a:gd name="connsiteX65" fmla="*/ 5708 w 10000"/>
              <a:gd name="connsiteY65" fmla="*/ 7734 h 9941"/>
              <a:gd name="connsiteX66" fmla="*/ 5911 w 10000"/>
              <a:gd name="connsiteY66" fmla="*/ 7576 h 9941"/>
              <a:gd name="connsiteX67" fmla="*/ 6115 w 10000"/>
              <a:gd name="connsiteY67" fmla="*/ 7421 h 9941"/>
              <a:gd name="connsiteX68" fmla="*/ 6310 w 10000"/>
              <a:gd name="connsiteY68" fmla="*/ 7262 h 9941"/>
              <a:gd name="connsiteX69" fmla="*/ 6508 w 10000"/>
              <a:gd name="connsiteY69" fmla="*/ 7094 h 9941"/>
              <a:gd name="connsiteX70" fmla="*/ 6698 w 10000"/>
              <a:gd name="connsiteY70" fmla="*/ 6922 h 9941"/>
              <a:gd name="connsiteX71" fmla="*/ 6882 w 10000"/>
              <a:gd name="connsiteY71" fmla="*/ 6755 h 9941"/>
              <a:gd name="connsiteX72" fmla="*/ 7064 w 10000"/>
              <a:gd name="connsiteY72" fmla="*/ 6579 h 9941"/>
              <a:gd name="connsiteX73" fmla="*/ 7239 w 10000"/>
              <a:gd name="connsiteY73" fmla="*/ 6399 h 9941"/>
              <a:gd name="connsiteX74" fmla="*/ 7414 w 10000"/>
              <a:gd name="connsiteY74" fmla="*/ 6219 h 9941"/>
              <a:gd name="connsiteX75" fmla="*/ 7582 w 10000"/>
              <a:gd name="connsiteY75" fmla="*/ 6034 h 9941"/>
              <a:gd name="connsiteX76" fmla="*/ 7750 w 10000"/>
              <a:gd name="connsiteY76" fmla="*/ 5843 h 9941"/>
              <a:gd name="connsiteX77" fmla="*/ 7905 w 10000"/>
              <a:gd name="connsiteY77" fmla="*/ 5651 h 9941"/>
              <a:gd name="connsiteX78" fmla="*/ 8057 w 10000"/>
              <a:gd name="connsiteY78" fmla="*/ 5457 h 9941"/>
              <a:gd name="connsiteX79" fmla="*/ 8211 w 10000"/>
              <a:gd name="connsiteY79" fmla="*/ 5262 h 9941"/>
              <a:gd name="connsiteX80" fmla="*/ 8354 w 10000"/>
              <a:gd name="connsiteY80" fmla="*/ 5058 h 9941"/>
              <a:gd name="connsiteX81" fmla="*/ 8493 w 10000"/>
              <a:gd name="connsiteY81" fmla="*/ 4859 h 9941"/>
              <a:gd name="connsiteX82" fmla="*/ 8628 w 10000"/>
              <a:gd name="connsiteY82" fmla="*/ 4651 h 9941"/>
              <a:gd name="connsiteX83" fmla="*/ 8754 w 10000"/>
              <a:gd name="connsiteY83" fmla="*/ 4439 h 9941"/>
              <a:gd name="connsiteX84" fmla="*/ 8877 w 10000"/>
              <a:gd name="connsiteY84" fmla="*/ 4229 h 9941"/>
              <a:gd name="connsiteX85" fmla="*/ 9003 w 10000"/>
              <a:gd name="connsiteY85" fmla="*/ 4015 h 9941"/>
              <a:gd name="connsiteX86" fmla="*/ 9120 w 10000"/>
              <a:gd name="connsiteY86" fmla="*/ 3798 h 9941"/>
              <a:gd name="connsiteX87" fmla="*/ 9224 w 10000"/>
              <a:gd name="connsiteY87" fmla="*/ 3582 h 9941"/>
              <a:gd name="connsiteX88" fmla="*/ 9330 w 10000"/>
              <a:gd name="connsiteY88" fmla="*/ 3359 h 9941"/>
              <a:gd name="connsiteX89" fmla="*/ 9425 w 10000"/>
              <a:gd name="connsiteY89" fmla="*/ 3134 h 9941"/>
              <a:gd name="connsiteX90" fmla="*/ 9520 w 10000"/>
              <a:gd name="connsiteY90" fmla="*/ 2910 h 9941"/>
              <a:gd name="connsiteX91" fmla="*/ 9604 w 10000"/>
              <a:gd name="connsiteY91" fmla="*/ 2680 h 9941"/>
              <a:gd name="connsiteX92" fmla="*/ 9684 w 10000"/>
              <a:gd name="connsiteY92" fmla="*/ 2447 h 9941"/>
              <a:gd name="connsiteX93" fmla="*/ 9758 w 10000"/>
              <a:gd name="connsiteY93" fmla="*/ 2214 h 9941"/>
              <a:gd name="connsiteX94" fmla="*/ 9831 w 10000"/>
              <a:gd name="connsiteY94" fmla="*/ 1981 h 9941"/>
              <a:gd name="connsiteX95" fmla="*/ 9892 w 10000"/>
              <a:gd name="connsiteY95" fmla="*/ 1747 h 9941"/>
              <a:gd name="connsiteX96" fmla="*/ 9951 w 10000"/>
              <a:gd name="connsiteY96" fmla="*/ 1507 h 9941"/>
              <a:gd name="connsiteX97" fmla="*/ 10000 w 10000"/>
              <a:gd name="connsiteY97" fmla="*/ 1264 h 9941"/>
              <a:gd name="connsiteX98" fmla="*/ 6011 w 10000"/>
              <a:gd name="connsiteY98" fmla="*/ 1939 h 9941"/>
              <a:gd name="connsiteX99" fmla="*/ 2680 w 10000"/>
              <a:gd name="connsiteY99" fmla="*/ 0 h 9941"/>
              <a:gd name="connsiteX0" fmla="*/ 2680 w 10000"/>
              <a:gd name="connsiteY0" fmla="*/ 0 h 9936"/>
              <a:gd name="connsiteX1" fmla="*/ 2680 w 10000"/>
              <a:gd name="connsiteY1" fmla="*/ 0 h 9936"/>
              <a:gd name="connsiteX2" fmla="*/ 2665 w 10000"/>
              <a:gd name="connsiteY2" fmla="*/ 103 h 9936"/>
              <a:gd name="connsiteX3" fmla="*/ 2642 w 10000"/>
              <a:gd name="connsiteY3" fmla="*/ 208 h 9936"/>
              <a:gd name="connsiteX4" fmla="*/ 2621 w 10000"/>
              <a:gd name="connsiteY4" fmla="*/ 311 h 9936"/>
              <a:gd name="connsiteX5" fmla="*/ 2594 w 10000"/>
              <a:gd name="connsiteY5" fmla="*/ 409 h 9936"/>
              <a:gd name="connsiteX6" fmla="*/ 2561 w 10000"/>
              <a:gd name="connsiteY6" fmla="*/ 510 h 9936"/>
              <a:gd name="connsiteX7" fmla="*/ 2530 w 10000"/>
              <a:gd name="connsiteY7" fmla="*/ 611 h 9936"/>
              <a:gd name="connsiteX8" fmla="*/ 2502 w 10000"/>
              <a:gd name="connsiteY8" fmla="*/ 708 h 9936"/>
              <a:gd name="connsiteX9" fmla="*/ 2468 w 10000"/>
              <a:gd name="connsiteY9" fmla="*/ 808 h 9936"/>
              <a:gd name="connsiteX10" fmla="*/ 2428 w 10000"/>
              <a:gd name="connsiteY10" fmla="*/ 905 h 9936"/>
              <a:gd name="connsiteX11" fmla="*/ 2386 w 10000"/>
              <a:gd name="connsiteY11" fmla="*/ 999 h 9936"/>
              <a:gd name="connsiteX12" fmla="*/ 2347 w 10000"/>
              <a:gd name="connsiteY12" fmla="*/ 1097 h 9936"/>
              <a:gd name="connsiteX13" fmla="*/ 2299 w 10000"/>
              <a:gd name="connsiteY13" fmla="*/ 1192 h 9936"/>
              <a:gd name="connsiteX14" fmla="*/ 2248 w 10000"/>
              <a:gd name="connsiteY14" fmla="*/ 1281 h 9936"/>
              <a:gd name="connsiteX15" fmla="*/ 2200 w 10000"/>
              <a:gd name="connsiteY15" fmla="*/ 1372 h 9936"/>
              <a:gd name="connsiteX16" fmla="*/ 2149 w 10000"/>
              <a:gd name="connsiteY16" fmla="*/ 1463 h 9936"/>
              <a:gd name="connsiteX17" fmla="*/ 2092 w 10000"/>
              <a:gd name="connsiteY17" fmla="*/ 1554 h 9936"/>
              <a:gd name="connsiteX18" fmla="*/ 2041 w 10000"/>
              <a:gd name="connsiteY18" fmla="*/ 1644 h 9936"/>
              <a:gd name="connsiteX19" fmla="*/ 1981 w 10000"/>
              <a:gd name="connsiteY19" fmla="*/ 1731 h 9936"/>
              <a:gd name="connsiteX20" fmla="*/ 1919 w 10000"/>
              <a:gd name="connsiteY20" fmla="*/ 1810 h 9936"/>
              <a:gd name="connsiteX21" fmla="*/ 1854 w 10000"/>
              <a:gd name="connsiteY21" fmla="*/ 1895 h 9936"/>
              <a:gd name="connsiteX22" fmla="*/ 1794 w 10000"/>
              <a:gd name="connsiteY22" fmla="*/ 1977 h 9936"/>
              <a:gd name="connsiteX23" fmla="*/ 1725 w 10000"/>
              <a:gd name="connsiteY23" fmla="*/ 2065 h 9936"/>
              <a:gd name="connsiteX24" fmla="*/ 1656 w 10000"/>
              <a:gd name="connsiteY24" fmla="*/ 2142 h 9936"/>
              <a:gd name="connsiteX25" fmla="*/ 1583 w 10000"/>
              <a:gd name="connsiteY25" fmla="*/ 2217 h 9936"/>
              <a:gd name="connsiteX26" fmla="*/ 1509 w 10000"/>
              <a:gd name="connsiteY26" fmla="*/ 2298 h 9936"/>
              <a:gd name="connsiteX27" fmla="*/ 1435 w 10000"/>
              <a:gd name="connsiteY27" fmla="*/ 2373 h 9936"/>
              <a:gd name="connsiteX28" fmla="*/ 1356 w 10000"/>
              <a:gd name="connsiteY28" fmla="*/ 2446 h 9936"/>
              <a:gd name="connsiteX29" fmla="*/ 1279 w 10000"/>
              <a:gd name="connsiteY29" fmla="*/ 2524 h 9936"/>
              <a:gd name="connsiteX30" fmla="*/ 1200 w 10000"/>
              <a:gd name="connsiteY30" fmla="*/ 2594 h 9936"/>
              <a:gd name="connsiteX31" fmla="*/ 1113 w 10000"/>
              <a:gd name="connsiteY31" fmla="*/ 2665 h 9936"/>
              <a:gd name="connsiteX32" fmla="*/ 1033 w 10000"/>
              <a:gd name="connsiteY32" fmla="*/ 2731 h 9936"/>
              <a:gd name="connsiteX33" fmla="*/ 946 w 10000"/>
              <a:gd name="connsiteY33" fmla="*/ 2800 h 9936"/>
              <a:gd name="connsiteX34" fmla="*/ 862 w 10000"/>
              <a:gd name="connsiteY34" fmla="*/ 2864 h 9936"/>
              <a:gd name="connsiteX35" fmla="*/ 767 w 10000"/>
              <a:gd name="connsiteY35" fmla="*/ 2929 h 9936"/>
              <a:gd name="connsiteX36" fmla="*/ 679 w 10000"/>
              <a:gd name="connsiteY36" fmla="*/ 2989 h 9936"/>
              <a:gd name="connsiteX37" fmla="*/ 586 w 10000"/>
              <a:gd name="connsiteY37" fmla="*/ 3051 h 9936"/>
              <a:gd name="connsiteX38" fmla="*/ 492 w 10000"/>
              <a:gd name="connsiteY38" fmla="*/ 3108 h 9936"/>
              <a:gd name="connsiteX39" fmla="*/ 394 w 10000"/>
              <a:gd name="connsiteY39" fmla="*/ 3164 h 9936"/>
              <a:gd name="connsiteX40" fmla="*/ 298 w 10000"/>
              <a:gd name="connsiteY40" fmla="*/ 3221 h 9936"/>
              <a:gd name="connsiteX41" fmla="*/ 203 w 10000"/>
              <a:gd name="connsiteY41" fmla="*/ 3274 h 9936"/>
              <a:gd name="connsiteX42" fmla="*/ 101 w 10000"/>
              <a:gd name="connsiteY42" fmla="*/ 3325 h 9936"/>
              <a:gd name="connsiteX43" fmla="*/ 0 w 10000"/>
              <a:gd name="connsiteY43" fmla="*/ 3373 h 9936"/>
              <a:gd name="connsiteX44" fmla="*/ 187 w 10000"/>
              <a:gd name="connsiteY44" fmla="*/ 6839 h 9936"/>
              <a:gd name="connsiteX45" fmla="*/ 1146 w 10000"/>
              <a:gd name="connsiteY45" fmla="*/ 9936 h 9936"/>
              <a:gd name="connsiteX46" fmla="*/ 1413 w 10000"/>
              <a:gd name="connsiteY46" fmla="*/ 9864 h 9936"/>
              <a:gd name="connsiteX47" fmla="*/ 1673 w 10000"/>
              <a:gd name="connsiteY47" fmla="*/ 9782 h 9936"/>
              <a:gd name="connsiteX48" fmla="*/ 1934 w 10000"/>
              <a:gd name="connsiteY48" fmla="*/ 9704 h 9936"/>
              <a:gd name="connsiteX49" fmla="*/ 2196 w 10000"/>
              <a:gd name="connsiteY49" fmla="*/ 9614 h 9936"/>
              <a:gd name="connsiteX50" fmla="*/ 2457 w 10000"/>
              <a:gd name="connsiteY50" fmla="*/ 9526 h 9936"/>
              <a:gd name="connsiteX51" fmla="*/ 2705 w 10000"/>
              <a:gd name="connsiteY51" fmla="*/ 9426 h 9936"/>
              <a:gd name="connsiteX52" fmla="*/ 2955 w 10000"/>
              <a:gd name="connsiteY52" fmla="*/ 9325 h 9936"/>
              <a:gd name="connsiteX53" fmla="*/ 3206 w 10000"/>
              <a:gd name="connsiteY53" fmla="*/ 9218 h 9936"/>
              <a:gd name="connsiteX54" fmla="*/ 3449 w 10000"/>
              <a:gd name="connsiteY54" fmla="*/ 9108 h 9936"/>
              <a:gd name="connsiteX55" fmla="*/ 3689 w 10000"/>
              <a:gd name="connsiteY55" fmla="*/ 8998 h 9936"/>
              <a:gd name="connsiteX56" fmla="*/ 3930 w 10000"/>
              <a:gd name="connsiteY56" fmla="*/ 8875 h 9936"/>
              <a:gd name="connsiteX57" fmla="*/ 4165 w 10000"/>
              <a:gd name="connsiteY57" fmla="*/ 8755 h 9936"/>
              <a:gd name="connsiteX58" fmla="*/ 4397 w 10000"/>
              <a:gd name="connsiteY58" fmla="*/ 8626 h 9936"/>
              <a:gd name="connsiteX59" fmla="*/ 4628 w 10000"/>
              <a:gd name="connsiteY59" fmla="*/ 8494 h 9936"/>
              <a:gd name="connsiteX60" fmla="*/ 4845 w 10000"/>
              <a:gd name="connsiteY60" fmla="*/ 8362 h 9936"/>
              <a:gd name="connsiteX61" fmla="*/ 5065 w 10000"/>
              <a:gd name="connsiteY61" fmla="*/ 8219 h 9936"/>
              <a:gd name="connsiteX62" fmla="*/ 5285 w 10000"/>
              <a:gd name="connsiteY62" fmla="*/ 8078 h 9936"/>
              <a:gd name="connsiteX63" fmla="*/ 5494 w 10000"/>
              <a:gd name="connsiteY63" fmla="*/ 7931 h 9936"/>
              <a:gd name="connsiteX64" fmla="*/ 5708 w 10000"/>
              <a:gd name="connsiteY64" fmla="*/ 7780 h 9936"/>
              <a:gd name="connsiteX65" fmla="*/ 5911 w 10000"/>
              <a:gd name="connsiteY65" fmla="*/ 7621 h 9936"/>
              <a:gd name="connsiteX66" fmla="*/ 6115 w 10000"/>
              <a:gd name="connsiteY66" fmla="*/ 7465 h 9936"/>
              <a:gd name="connsiteX67" fmla="*/ 6310 w 10000"/>
              <a:gd name="connsiteY67" fmla="*/ 7305 h 9936"/>
              <a:gd name="connsiteX68" fmla="*/ 6508 w 10000"/>
              <a:gd name="connsiteY68" fmla="*/ 7136 h 9936"/>
              <a:gd name="connsiteX69" fmla="*/ 6698 w 10000"/>
              <a:gd name="connsiteY69" fmla="*/ 6963 h 9936"/>
              <a:gd name="connsiteX70" fmla="*/ 6882 w 10000"/>
              <a:gd name="connsiteY70" fmla="*/ 6795 h 9936"/>
              <a:gd name="connsiteX71" fmla="*/ 7064 w 10000"/>
              <a:gd name="connsiteY71" fmla="*/ 6618 h 9936"/>
              <a:gd name="connsiteX72" fmla="*/ 7239 w 10000"/>
              <a:gd name="connsiteY72" fmla="*/ 6437 h 9936"/>
              <a:gd name="connsiteX73" fmla="*/ 7414 w 10000"/>
              <a:gd name="connsiteY73" fmla="*/ 6256 h 9936"/>
              <a:gd name="connsiteX74" fmla="*/ 7582 w 10000"/>
              <a:gd name="connsiteY74" fmla="*/ 6070 h 9936"/>
              <a:gd name="connsiteX75" fmla="*/ 7750 w 10000"/>
              <a:gd name="connsiteY75" fmla="*/ 5878 h 9936"/>
              <a:gd name="connsiteX76" fmla="*/ 7905 w 10000"/>
              <a:gd name="connsiteY76" fmla="*/ 5685 h 9936"/>
              <a:gd name="connsiteX77" fmla="*/ 8057 w 10000"/>
              <a:gd name="connsiteY77" fmla="*/ 5489 h 9936"/>
              <a:gd name="connsiteX78" fmla="*/ 8211 w 10000"/>
              <a:gd name="connsiteY78" fmla="*/ 5293 h 9936"/>
              <a:gd name="connsiteX79" fmla="*/ 8354 w 10000"/>
              <a:gd name="connsiteY79" fmla="*/ 5088 h 9936"/>
              <a:gd name="connsiteX80" fmla="*/ 8493 w 10000"/>
              <a:gd name="connsiteY80" fmla="*/ 4888 h 9936"/>
              <a:gd name="connsiteX81" fmla="*/ 8628 w 10000"/>
              <a:gd name="connsiteY81" fmla="*/ 4679 h 9936"/>
              <a:gd name="connsiteX82" fmla="*/ 8754 w 10000"/>
              <a:gd name="connsiteY82" fmla="*/ 4465 h 9936"/>
              <a:gd name="connsiteX83" fmla="*/ 8877 w 10000"/>
              <a:gd name="connsiteY83" fmla="*/ 4254 h 9936"/>
              <a:gd name="connsiteX84" fmla="*/ 9003 w 10000"/>
              <a:gd name="connsiteY84" fmla="*/ 4039 h 9936"/>
              <a:gd name="connsiteX85" fmla="*/ 9120 w 10000"/>
              <a:gd name="connsiteY85" fmla="*/ 3821 h 9936"/>
              <a:gd name="connsiteX86" fmla="*/ 9224 w 10000"/>
              <a:gd name="connsiteY86" fmla="*/ 3603 h 9936"/>
              <a:gd name="connsiteX87" fmla="*/ 9330 w 10000"/>
              <a:gd name="connsiteY87" fmla="*/ 3379 h 9936"/>
              <a:gd name="connsiteX88" fmla="*/ 9425 w 10000"/>
              <a:gd name="connsiteY88" fmla="*/ 3153 h 9936"/>
              <a:gd name="connsiteX89" fmla="*/ 9520 w 10000"/>
              <a:gd name="connsiteY89" fmla="*/ 2927 h 9936"/>
              <a:gd name="connsiteX90" fmla="*/ 9604 w 10000"/>
              <a:gd name="connsiteY90" fmla="*/ 2696 h 9936"/>
              <a:gd name="connsiteX91" fmla="*/ 9684 w 10000"/>
              <a:gd name="connsiteY91" fmla="*/ 2462 h 9936"/>
              <a:gd name="connsiteX92" fmla="*/ 9758 w 10000"/>
              <a:gd name="connsiteY92" fmla="*/ 2227 h 9936"/>
              <a:gd name="connsiteX93" fmla="*/ 9831 w 10000"/>
              <a:gd name="connsiteY93" fmla="*/ 1993 h 9936"/>
              <a:gd name="connsiteX94" fmla="*/ 9892 w 10000"/>
              <a:gd name="connsiteY94" fmla="*/ 1757 h 9936"/>
              <a:gd name="connsiteX95" fmla="*/ 9951 w 10000"/>
              <a:gd name="connsiteY95" fmla="*/ 1516 h 9936"/>
              <a:gd name="connsiteX96" fmla="*/ 10000 w 10000"/>
              <a:gd name="connsiteY96" fmla="*/ 1272 h 9936"/>
              <a:gd name="connsiteX97" fmla="*/ 6011 w 10000"/>
              <a:gd name="connsiteY97" fmla="*/ 1951 h 9936"/>
              <a:gd name="connsiteX98" fmla="*/ 2680 w 10000"/>
              <a:gd name="connsiteY98" fmla="*/ 0 h 9936"/>
              <a:gd name="connsiteX0" fmla="*/ 2680 w 10000"/>
              <a:gd name="connsiteY0" fmla="*/ 0 h 10000"/>
              <a:gd name="connsiteX1" fmla="*/ 2680 w 10000"/>
              <a:gd name="connsiteY1" fmla="*/ 0 h 10000"/>
              <a:gd name="connsiteX2" fmla="*/ 2665 w 10000"/>
              <a:gd name="connsiteY2" fmla="*/ 104 h 10000"/>
              <a:gd name="connsiteX3" fmla="*/ 2642 w 10000"/>
              <a:gd name="connsiteY3" fmla="*/ 209 h 10000"/>
              <a:gd name="connsiteX4" fmla="*/ 2621 w 10000"/>
              <a:gd name="connsiteY4" fmla="*/ 313 h 10000"/>
              <a:gd name="connsiteX5" fmla="*/ 2594 w 10000"/>
              <a:gd name="connsiteY5" fmla="*/ 412 h 10000"/>
              <a:gd name="connsiteX6" fmla="*/ 2561 w 10000"/>
              <a:gd name="connsiteY6" fmla="*/ 513 h 10000"/>
              <a:gd name="connsiteX7" fmla="*/ 2530 w 10000"/>
              <a:gd name="connsiteY7" fmla="*/ 615 h 10000"/>
              <a:gd name="connsiteX8" fmla="*/ 2502 w 10000"/>
              <a:gd name="connsiteY8" fmla="*/ 713 h 10000"/>
              <a:gd name="connsiteX9" fmla="*/ 2468 w 10000"/>
              <a:gd name="connsiteY9" fmla="*/ 813 h 10000"/>
              <a:gd name="connsiteX10" fmla="*/ 2428 w 10000"/>
              <a:gd name="connsiteY10" fmla="*/ 911 h 10000"/>
              <a:gd name="connsiteX11" fmla="*/ 2386 w 10000"/>
              <a:gd name="connsiteY11" fmla="*/ 1005 h 10000"/>
              <a:gd name="connsiteX12" fmla="*/ 2347 w 10000"/>
              <a:gd name="connsiteY12" fmla="*/ 1104 h 10000"/>
              <a:gd name="connsiteX13" fmla="*/ 2299 w 10000"/>
              <a:gd name="connsiteY13" fmla="*/ 1200 h 10000"/>
              <a:gd name="connsiteX14" fmla="*/ 2248 w 10000"/>
              <a:gd name="connsiteY14" fmla="*/ 1289 h 10000"/>
              <a:gd name="connsiteX15" fmla="*/ 2200 w 10000"/>
              <a:gd name="connsiteY15" fmla="*/ 1381 h 10000"/>
              <a:gd name="connsiteX16" fmla="*/ 2149 w 10000"/>
              <a:gd name="connsiteY16" fmla="*/ 1472 h 10000"/>
              <a:gd name="connsiteX17" fmla="*/ 2092 w 10000"/>
              <a:gd name="connsiteY17" fmla="*/ 1564 h 10000"/>
              <a:gd name="connsiteX18" fmla="*/ 2041 w 10000"/>
              <a:gd name="connsiteY18" fmla="*/ 1655 h 10000"/>
              <a:gd name="connsiteX19" fmla="*/ 1981 w 10000"/>
              <a:gd name="connsiteY19" fmla="*/ 1742 h 10000"/>
              <a:gd name="connsiteX20" fmla="*/ 1919 w 10000"/>
              <a:gd name="connsiteY20" fmla="*/ 1822 h 10000"/>
              <a:gd name="connsiteX21" fmla="*/ 1854 w 10000"/>
              <a:gd name="connsiteY21" fmla="*/ 1907 h 10000"/>
              <a:gd name="connsiteX22" fmla="*/ 1794 w 10000"/>
              <a:gd name="connsiteY22" fmla="*/ 1990 h 10000"/>
              <a:gd name="connsiteX23" fmla="*/ 1725 w 10000"/>
              <a:gd name="connsiteY23" fmla="*/ 2078 h 10000"/>
              <a:gd name="connsiteX24" fmla="*/ 1656 w 10000"/>
              <a:gd name="connsiteY24" fmla="*/ 2156 h 10000"/>
              <a:gd name="connsiteX25" fmla="*/ 1583 w 10000"/>
              <a:gd name="connsiteY25" fmla="*/ 2231 h 10000"/>
              <a:gd name="connsiteX26" fmla="*/ 1509 w 10000"/>
              <a:gd name="connsiteY26" fmla="*/ 2313 h 10000"/>
              <a:gd name="connsiteX27" fmla="*/ 1435 w 10000"/>
              <a:gd name="connsiteY27" fmla="*/ 2388 h 10000"/>
              <a:gd name="connsiteX28" fmla="*/ 1356 w 10000"/>
              <a:gd name="connsiteY28" fmla="*/ 2462 h 10000"/>
              <a:gd name="connsiteX29" fmla="*/ 1279 w 10000"/>
              <a:gd name="connsiteY29" fmla="*/ 2540 h 10000"/>
              <a:gd name="connsiteX30" fmla="*/ 1200 w 10000"/>
              <a:gd name="connsiteY30" fmla="*/ 2611 h 10000"/>
              <a:gd name="connsiteX31" fmla="*/ 1113 w 10000"/>
              <a:gd name="connsiteY31" fmla="*/ 2682 h 10000"/>
              <a:gd name="connsiteX32" fmla="*/ 1033 w 10000"/>
              <a:gd name="connsiteY32" fmla="*/ 2749 h 10000"/>
              <a:gd name="connsiteX33" fmla="*/ 946 w 10000"/>
              <a:gd name="connsiteY33" fmla="*/ 2818 h 10000"/>
              <a:gd name="connsiteX34" fmla="*/ 862 w 10000"/>
              <a:gd name="connsiteY34" fmla="*/ 2882 h 10000"/>
              <a:gd name="connsiteX35" fmla="*/ 767 w 10000"/>
              <a:gd name="connsiteY35" fmla="*/ 2948 h 10000"/>
              <a:gd name="connsiteX36" fmla="*/ 679 w 10000"/>
              <a:gd name="connsiteY36" fmla="*/ 3008 h 10000"/>
              <a:gd name="connsiteX37" fmla="*/ 586 w 10000"/>
              <a:gd name="connsiteY37" fmla="*/ 3071 h 10000"/>
              <a:gd name="connsiteX38" fmla="*/ 492 w 10000"/>
              <a:gd name="connsiteY38" fmla="*/ 3128 h 10000"/>
              <a:gd name="connsiteX39" fmla="*/ 394 w 10000"/>
              <a:gd name="connsiteY39" fmla="*/ 3184 h 10000"/>
              <a:gd name="connsiteX40" fmla="*/ 298 w 10000"/>
              <a:gd name="connsiteY40" fmla="*/ 3242 h 10000"/>
              <a:gd name="connsiteX41" fmla="*/ 203 w 10000"/>
              <a:gd name="connsiteY41" fmla="*/ 3295 h 10000"/>
              <a:gd name="connsiteX42" fmla="*/ 101 w 10000"/>
              <a:gd name="connsiteY42" fmla="*/ 3346 h 10000"/>
              <a:gd name="connsiteX43" fmla="*/ 0 w 10000"/>
              <a:gd name="connsiteY43" fmla="*/ 3395 h 10000"/>
              <a:gd name="connsiteX44" fmla="*/ 187 w 10000"/>
              <a:gd name="connsiteY44" fmla="*/ 6883 h 10000"/>
              <a:gd name="connsiteX45" fmla="*/ 1146 w 10000"/>
              <a:gd name="connsiteY45" fmla="*/ 10000 h 10000"/>
              <a:gd name="connsiteX46" fmla="*/ 1673 w 10000"/>
              <a:gd name="connsiteY46" fmla="*/ 9845 h 10000"/>
              <a:gd name="connsiteX47" fmla="*/ 1934 w 10000"/>
              <a:gd name="connsiteY47" fmla="*/ 9767 h 10000"/>
              <a:gd name="connsiteX48" fmla="*/ 2196 w 10000"/>
              <a:gd name="connsiteY48" fmla="*/ 9676 h 10000"/>
              <a:gd name="connsiteX49" fmla="*/ 2457 w 10000"/>
              <a:gd name="connsiteY49" fmla="*/ 9587 h 10000"/>
              <a:gd name="connsiteX50" fmla="*/ 2705 w 10000"/>
              <a:gd name="connsiteY50" fmla="*/ 9487 h 10000"/>
              <a:gd name="connsiteX51" fmla="*/ 2955 w 10000"/>
              <a:gd name="connsiteY51" fmla="*/ 9385 h 10000"/>
              <a:gd name="connsiteX52" fmla="*/ 3206 w 10000"/>
              <a:gd name="connsiteY52" fmla="*/ 9277 h 10000"/>
              <a:gd name="connsiteX53" fmla="*/ 3449 w 10000"/>
              <a:gd name="connsiteY53" fmla="*/ 9167 h 10000"/>
              <a:gd name="connsiteX54" fmla="*/ 3689 w 10000"/>
              <a:gd name="connsiteY54" fmla="*/ 9056 h 10000"/>
              <a:gd name="connsiteX55" fmla="*/ 3930 w 10000"/>
              <a:gd name="connsiteY55" fmla="*/ 8932 h 10000"/>
              <a:gd name="connsiteX56" fmla="*/ 4165 w 10000"/>
              <a:gd name="connsiteY56" fmla="*/ 8811 h 10000"/>
              <a:gd name="connsiteX57" fmla="*/ 4397 w 10000"/>
              <a:gd name="connsiteY57" fmla="*/ 8682 h 10000"/>
              <a:gd name="connsiteX58" fmla="*/ 4628 w 10000"/>
              <a:gd name="connsiteY58" fmla="*/ 8549 h 10000"/>
              <a:gd name="connsiteX59" fmla="*/ 4845 w 10000"/>
              <a:gd name="connsiteY59" fmla="*/ 8416 h 10000"/>
              <a:gd name="connsiteX60" fmla="*/ 5065 w 10000"/>
              <a:gd name="connsiteY60" fmla="*/ 8272 h 10000"/>
              <a:gd name="connsiteX61" fmla="*/ 5285 w 10000"/>
              <a:gd name="connsiteY61" fmla="*/ 8130 h 10000"/>
              <a:gd name="connsiteX62" fmla="*/ 5494 w 10000"/>
              <a:gd name="connsiteY62" fmla="*/ 7982 h 10000"/>
              <a:gd name="connsiteX63" fmla="*/ 5708 w 10000"/>
              <a:gd name="connsiteY63" fmla="*/ 7830 h 10000"/>
              <a:gd name="connsiteX64" fmla="*/ 5911 w 10000"/>
              <a:gd name="connsiteY64" fmla="*/ 7670 h 10000"/>
              <a:gd name="connsiteX65" fmla="*/ 6115 w 10000"/>
              <a:gd name="connsiteY65" fmla="*/ 7513 h 10000"/>
              <a:gd name="connsiteX66" fmla="*/ 6310 w 10000"/>
              <a:gd name="connsiteY66" fmla="*/ 7352 h 10000"/>
              <a:gd name="connsiteX67" fmla="*/ 6508 w 10000"/>
              <a:gd name="connsiteY67" fmla="*/ 7182 h 10000"/>
              <a:gd name="connsiteX68" fmla="*/ 6698 w 10000"/>
              <a:gd name="connsiteY68" fmla="*/ 7008 h 10000"/>
              <a:gd name="connsiteX69" fmla="*/ 6882 w 10000"/>
              <a:gd name="connsiteY69" fmla="*/ 6839 h 10000"/>
              <a:gd name="connsiteX70" fmla="*/ 7064 w 10000"/>
              <a:gd name="connsiteY70" fmla="*/ 6661 h 10000"/>
              <a:gd name="connsiteX71" fmla="*/ 7239 w 10000"/>
              <a:gd name="connsiteY71" fmla="*/ 6478 h 10000"/>
              <a:gd name="connsiteX72" fmla="*/ 7414 w 10000"/>
              <a:gd name="connsiteY72" fmla="*/ 6296 h 10000"/>
              <a:gd name="connsiteX73" fmla="*/ 7582 w 10000"/>
              <a:gd name="connsiteY73" fmla="*/ 6109 h 10000"/>
              <a:gd name="connsiteX74" fmla="*/ 7750 w 10000"/>
              <a:gd name="connsiteY74" fmla="*/ 5916 h 10000"/>
              <a:gd name="connsiteX75" fmla="*/ 7905 w 10000"/>
              <a:gd name="connsiteY75" fmla="*/ 5722 h 10000"/>
              <a:gd name="connsiteX76" fmla="*/ 8057 w 10000"/>
              <a:gd name="connsiteY76" fmla="*/ 5524 h 10000"/>
              <a:gd name="connsiteX77" fmla="*/ 8211 w 10000"/>
              <a:gd name="connsiteY77" fmla="*/ 5327 h 10000"/>
              <a:gd name="connsiteX78" fmla="*/ 8354 w 10000"/>
              <a:gd name="connsiteY78" fmla="*/ 5121 h 10000"/>
              <a:gd name="connsiteX79" fmla="*/ 8493 w 10000"/>
              <a:gd name="connsiteY79" fmla="*/ 4919 h 10000"/>
              <a:gd name="connsiteX80" fmla="*/ 8628 w 10000"/>
              <a:gd name="connsiteY80" fmla="*/ 4709 h 10000"/>
              <a:gd name="connsiteX81" fmla="*/ 8754 w 10000"/>
              <a:gd name="connsiteY81" fmla="*/ 4494 h 10000"/>
              <a:gd name="connsiteX82" fmla="*/ 8877 w 10000"/>
              <a:gd name="connsiteY82" fmla="*/ 4281 h 10000"/>
              <a:gd name="connsiteX83" fmla="*/ 9003 w 10000"/>
              <a:gd name="connsiteY83" fmla="*/ 4065 h 10000"/>
              <a:gd name="connsiteX84" fmla="*/ 9120 w 10000"/>
              <a:gd name="connsiteY84" fmla="*/ 3846 h 10000"/>
              <a:gd name="connsiteX85" fmla="*/ 9224 w 10000"/>
              <a:gd name="connsiteY85" fmla="*/ 3626 h 10000"/>
              <a:gd name="connsiteX86" fmla="*/ 9330 w 10000"/>
              <a:gd name="connsiteY86" fmla="*/ 3401 h 10000"/>
              <a:gd name="connsiteX87" fmla="*/ 9425 w 10000"/>
              <a:gd name="connsiteY87" fmla="*/ 3173 h 10000"/>
              <a:gd name="connsiteX88" fmla="*/ 9520 w 10000"/>
              <a:gd name="connsiteY88" fmla="*/ 2946 h 10000"/>
              <a:gd name="connsiteX89" fmla="*/ 9604 w 10000"/>
              <a:gd name="connsiteY89" fmla="*/ 2713 h 10000"/>
              <a:gd name="connsiteX90" fmla="*/ 9684 w 10000"/>
              <a:gd name="connsiteY90" fmla="*/ 2478 h 10000"/>
              <a:gd name="connsiteX91" fmla="*/ 9758 w 10000"/>
              <a:gd name="connsiteY91" fmla="*/ 2241 h 10000"/>
              <a:gd name="connsiteX92" fmla="*/ 9831 w 10000"/>
              <a:gd name="connsiteY92" fmla="*/ 2006 h 10000"/>
              <a:gd name="connsiteX93" fmla="*/ 9892 w 10000"/>
              <a:gd name="connsiteY93" fmla="*/ 1768 h 10000"/>
              <a:gd name="connsiteX94" fmla="*/ 9951 w 10000"/>
              <a:gd name="connsiteY94" fmla="*/ 1526 h 10000"/>
              <a:gd name="connsiteX95" fmla="*/ 10000 w 10000"/>
              <a:gd name="connsiteY95" fmla="*/ 1280 h 10000"/>
              <a:gd name="connsiteX96" fmla="*/ 6011 w 10000"/>
              <a:gd name="connsiteY96" fmla="*/ 1964 h 10000"/>
              <a:gd name="connsiteX97" fmla="*/ 2680 w 10000"/>
              <a:gd name="connsiteY97" fmla="*/ 0 h 10000"/>
              <a:gd name="connsiteX0" fmla="*/ 2680 w 10000"/>
              <a:gd name="connsiteY0" fmla="*/ 0 h 9845"/>
              <a:gd name="connsiteX1" fmla="*/ 2680 w 10000"/>
              <a:gd name="connsiteY1" fmla="*/ 0 h 9845"/>
              <a:gd name="connsiteX2" fmla="*/ 2665 w 10000"/>
              <a:gd name="connsiteY2" fmla="*/ 104 h 9845"/>
              <a:gd name="connsiteX3" fmla="*/ 2642 w 10000"/>
              <a:gd name="connsiteY3" fmla="*/ 209 h 9845"/>
              <a:gd name="connsiteX4" fmla="*/ 2621 w 10000"/>
              <a:gd name="connsiteY4" fmla="*/ 313 h 9845"/>
              <a:gd name="connsiteX5" fmla="*/ 2594 w 10000"/>
              <a:gd name="connsiteY5" fmla="*/ 412 h 9845"/>
              <a:gd name="connsiteX6" fmla="*/ 2561 w 10000"/>
              <a:gd name="connsiteY6" fmla="*/ 513 h 9845"/>
              <a:gd name="connsiteX7" fmla="*/ 2530 w 10000"/>
              <a:gd name="connsiteY7" fmla="*/ 615 h 9845"/>
              <a:gd name="connsiteX8" fmla="*/ 2502 w 10000"/>
              <a:gd name="connsiteY8" fmla="*/ 713 h 9845"/>
              <a:gd name="connsiteX9" fmla="*/ 2468 w 10000"/>
              <a:gd name="connsiteY9" fmla="*/ 813 h 9845"/>
              <a:gd name="connsiteX10" fmla="*/ 2428 w 10000"/>
              <a:gd name="connsiteY10" fmla="*/ 911 h 9845"/>
              <a:gd name="connsiteX11" fmla="*/ 2386 w 10000"/>
              <a:gd name="connsiteY11" fmla="*/ 1005 h 9845"/>
              <a:gd name="connsiteX12" fmla="*/ 2347 w 10000"/>
              <a:gd name="connsiteY12" fmla="*/ 1104 h 9845"/>
              <a:gd name="connsiteX13" fmla="*/ 2299 w 10000"/>
              <a:gd name="connsiteY13" fmla="*/ 1200 h 9845"/>
              <a:gd name="connsiteX14" fmla="*/ 2248 w 10000"/>
              <a:gd name="connsiteY14" fmla="*/ 1289 h 9845"/>
              <a:gd name="connsiteX15" fmla="*/ 2200 w 10000"/>
              <a:gd name="connsiteY15" fmla="*/ 1381 h 9845"/>
              <a:gd name="connsiteX16" fmla="*/ 2149 w 10000"/>
              <a:gd name="connsiteY16" fmla="*/ 1472 h 9845"/>
              <a:gd name="connsiteX17" fmla="*/ 2092 w 10000"/>
              <a:gd name="connsiteY17" fmla="*/ 1564 h 9845"/>
              <a:gd name="connsiteX18" fmla="*/ 2041 w 10000"/>
              <a:gd name="connsiteY18" fmla="*/ 1655 h 9845"/>
              <a:gd name="connsiteX19" fmla="*/ 1981 w 10000"/>
              <a:gd name="connsiteY19" fmla="*/ 1742 h 9845"/>
              <a:gd name="connsiteX20" fmla="*/ 1919 w 10000"/>
              <a:gd name="connsiteY20" fmla="*/ 1822 h 9845"/>
              <a:gd name="connsiteX21" fmla="*/ 1854 w 10000"/>
              <a:gd name="connsiteY21" fmla="*/ 1907 h 9845"/>
              <a:gd name="connsiteX22" fmla="*/ 1794 w 10000"/>
              <a:gd name="connsiteY22" fmla="*/ 1990 h 9845"/>
              <a:gd name="connsiteX23" fmla="*/ 1725 w 10000"/>
              <a:gd name="connsiteY23" fmla="*/ 2078 h 9845"/>
              <a:gd name="connsiteX24" fmla="*/ 1656 w 10000"/>
              <a:gd name="connsiteY24" fmla="*/ 2156 h 9845"/>
              <a:gd name="connsiteX25" fmla="*/ 1583 w 10000"/>
              <a:gd name="connsiteY25" fmla="*/ 2231 h 9845"/>
              <a:gd name="connsiteX26" fmla="*/ 1509 w 10000"/>
              <a:gd name="connsiteY26" fmla="*/ 2313 h 9845"/>
              <a:gd name="connsiteX27" fmla="*/ 1435 w 10000"/>
              <a:gd name="connsiteY27" fmla="*/ 2388 h 9845"/>
              <a:gd name="connsiteX28" fmla="*/ 1356 w 10000"/>
              <a:gd name="connsiteY28" fmla="*/ 2462 h 9845"/>
              <a:gd name="connsiteX29" fmla="*/ 1279 w 10000"/>
              <a:gd name="connsiteY29" fmla="*/ 2540 h 9845"/>
              <a:gd name="connsiteX30" fmla="*/ 1200 w 10000"/>
              <a:gd name="connsiteY30" fmla="*/ 2611 h 9845"/>
              <a:gd name="connsiteX31" fmla="*/ 1113 w 10000"/>
              <a:gd name="connsiteY31" fmla="*/ 2682 h 9845"/>
              <a:gd name="connsiteX32" fmla="*/ 1033 w 10000"/>
              <a:gd name="connsiteY32" fmla="*/ 2749 h 9845"/>
              <a:gd name="connsiteX33" fmla="*/ 946 w 10000"/>
              <a:gd name="connsiteY33" fmla="*/ 2818 h 9845"/>
              <a:gd name="connsiteX34" fmla="*/ 862 w 10000"/>
              <a:gd name="connsiteY34" fmla="*/ 2882 h 9845"/>
              <a:gd name="connsiteX35" fmla="*/ 767 w 10000"/>
              <a:gd name="connsiteY35" fmla="*/ 2948 h 9845"/>
              <a:gd name="connsiteX36" fmla="*/ 679 w 10000"/>
              <a:gd name="connsiteY36" fmla="*/ 3008 h 9845"/>
              <a:gd name="connsiteX37" fmla="*/ 586 w 10000"/>
              <a:gd name="connsiteY37" fmla="*/ 3071 h 9845"/>
              <a:gd name="connsiteX38" fmla="*/ 492 w 10000"/>
              <a:gd name="connsiteY38" fmla="*/ 3128 h 9845"/>
              <a:gd name="connsiteX39" fmla="*/ 394 w 10000"/>
              <a:gd name="connsiteY39" fmla="*/ 3184 h 9845"/>
              <a:gd name="connsiteX40" fmla="*/ 298 w 10000"/>
              <a:gd name="connsiteY40" fmla="*/ 3242 h 9845"/>
              <a:gd name="connsiteX41" fmla="*/ 203 w 10000"/>
              <a:gd name="connsiteY41" fmla="*/ 3295 h 9845"/>
              <a:gd name="connsiteX42" fmla="*/ 101 w 10000"/>
              <a:gd name="connsiteY42" fmla="*/ 3346 h 9845"/>
              <a:gd name="connsiteX43" fmla="*/ 0 w 10000"/>
              <a:gd name="connsiteY43" fmla="*/ 3395 h 9845"/>
              <a:gd name="connsiteX44" fmla="*/ 187 w 10000"/>
              <a:gd name="connsiteY44" fmla="*/ 6883 h 9845"/>
              <a:gd name="connsiteX45" fmla="*/ 1673 w 10000"/>
              <a:gd name="connsiteY45" fmla="*/ 9845 h 9845"/>
              <a:gd name="connsiteX46" fmla="*/ 1934 w 10000"/>
              <a:gd name="connsiteY46" fmla="*/ 9767 h 9845"/>
              <a:gd name="connsiteX47" fmla="*/ 2196 w 10000"/>
              <a:gd name="connsiteY47" fmla="*/ 9676 h 9845"/>
              <a:gd name="connsiteX48" fmla="*/ 2457 w 10000"/>
              <a:gd name="connsiteY48" fmla="*/ 9587 h 9845"/>
              <a:gd name="connsiteX49" fmla="*/ 2705 w 10000"/>
              <a:gd name="connsiteY49" fmla="*/ 9487 h 9845"/>
              <a:gd name="connsiteX50" fmla="*/ 2955 w 10000"/>
              <a:gd name="connsiteY50" fmla="*/ 9385 h 9845"/>
              <a:gd name="connsiteX51" fmla="*/ 3206 w 10000"/>
              <a:gd name="connsiteY51" fmla="*/ 9277 h 9845"/>
              <a:gd name="connsiteX52" fmla="*/ 3449 w 10000"/>
              <a:gd name="connsiteY52" fmla="*/ 9167 h 9845"/>
              <a:gd name="connsiteX53" fmla="*/ 3689 w 10000"/>
              <a:gd name="connsiteY53" fmla="*/ 9056 h 9845"/>
              <a:gd name="connsiteX54" fmla="*/ 3930 w 10000"/>
              <a:gd name="connsiteY54" fmla="*/ 8932 h 9845"/>
              <a:gd name="connsiteX55" fmla="*/ 4165 w 10000"/>
              <a:gd name="connsiteY55" fmla="*/ 8811 h 9845"/>
              <a:gd name="connsiteX56" fmla="*/ 4397 w 10000"/>
              <a:gd name="connsiteY56" fmla="*/ 8682 h 9845"/>
              <a:gd name="connsiteX57" fmla="*/ 4628 w 10000"/>
              <a:gd name="connsiteY57" fmla="*/ 8549 h 9845"/>
              <a:gd name="connsiteX58" fmla="*/ 4845 w 10000"/>
              <a:gd name="connsiteY58" fmla="*/ 8416 h 9845"/>
              <a:gd name="connsiteX59" fmla="*/ 5065 w 10000"/>
              <a:gd name="connsiteY59" fmla="*/ 8272 h 9845"/>
              <a:gd name="connsiteX60" fmla="*/ 5285 w 10000"/>
              <a:gd name="connsiteY60" fmla="*/ 8130 h 9845"/>
              <a:gd name="connsiteX61" fmla="*/ 5494 w 10000"/>
              <a:gd name="connsiteY61" fmla="*/ 7982 h 9845"/>
              <a:gd name="connsiteX62" fmla="*/ 5708 w 10000"/>
              <a:gd name="connsiteY62" fmla="*/ 7830 h 9845"/>
              <a:gd name="connsiteX63" fmla="*/ 5911 w 10000"/>
              <a:gd name="connsiteY63" fmla="*/ 7670 h 9845"/>
              <a:gd name="connsiteX64" fmla="*/ 6115 w 10000"/>
              <a:gd name="connsiteY64" fmla="*/ 7513 h 9845"/>
              <a:gd name="connsiteX65" fmla="*/ 6310 w 10000"/>
              <a:gd name="connsiteY65" fmla="*/ 7352 h 9845"/>
              <a:gd name="connsiteX66" fmla="*/ 6508 w 10000"/>
              <a:gd name="connsiteY66" fmla="*/ 7182 h 9845"/>
              <a:gd name="connsiteX67" fmla="*/ 6698 w 10000"/>
              <a:gd name="connsiteY67" fmla="*/ 7008 h 9845"/>
              <a:gd name="connsiteX68" fmla="*/ 6882 w 10000"/>
              <a:gd name="connsiteY68" fmla="*/ 6839 h 9845"/>
              <a:gd name="connsiteX69" fmla="*/ 7064 w 10000"/>
              <a:gd name="connsiteY69" fmla="*/ 6661 h 9845"/>
              <a:gd name="connsiteX70" fmla="*/ 7239 w 10000"/>
              <a:gd name="connsiteY70" fmla="*/ 6478 h 9845"/>
              <a:gd name="connsiteX71" fmla="*/ 7414 w 10000"/>
              <a:gd name="connsiteY71" fmla="*/ 6296 h 9845"/>
              <a:gd name="connsiteX72" fmla="*/ 7582 w 10000"/>
              <a:gd name="connsiteY72" fmla="*/ 6109 h 9845"/>
              <a:gd name="connsiteX73" fmla="*/ 7750 w 10000"/>
              <a:gd name="connsiteY73" fmla="*/ 5916 h 9845"/>
              <a:gd name="connsiteX74" fmla="*/ 7905 w 10000"/>
              <a:gd name="connsiteY74" fmla="*/ 5722 h 9845"/>
              <a:gd name="connsiteX75" fmla="*/ 8057 w 10000"/>
              <a:gd name="connsiteY75" fmla="*/ 5524 h 9845"/>
              <a:gd name="connsiteX76" fmla="*/ 8211 w 10000"/>
              <a:gd name="connsiteY76" fmla="*/ 5327 h 9845"/>
              <a:gd name="connsiteX77" fmla="*/ 8354 w 10000"/>
              <a:gd name="connsiteY77" fmla="*/ 5121 h 9845"/>
              <a:gd name="connsiteX78" fmla="*/ 8493 w 10000"/>
              <a:gd name="connsiteY78" fmla="*/ 4919 h 9845"/>
              <a:gd name="connsiteX79" fmla="*/ 8628 w 10000"/>
              <a:gd name="connsiteY79" fmla="*/ 4709 h 9845"/>
              <a:gd name="connsiteX80" fmla="*/ 8754 w 10000"/>
              <a:gd name="connsiteY80" fmla="*/ 4494 h 9845"/>
              <a:gd name="connsiteX81" fmla="*/ 8877 w 10000"/>
              <a:gd name="connsiteY81" fmla="*/ 4281 h 9845"/>
              <a:gd name="connsiteX82" fmla="*/ 9003 w 10000"/>
              <a:gd name="connsiteY82" fmla="*/ 4065 h 9845"/>
              <a:gd name="connsiteX83" fmla="*/ 9120 w 10000"/>
              <a:gd name="connsiteY83" fmla="*/ 3846 h 9845"/>
              <a:gd name="connsiteX84" fmla="*/ 9224 w 10000"/>
              <a:gd name="connsiteY84" fmla="*/ 3626 h 9845"/>
              <a:gd name="connsiteX85" fmla="*/ 9330 w 10000"/>
              <a:gd name="connsiteY85" fmla="*/ 3401 h 9845"/>
              <a:gd name="connsiteX86" fmla="*/ 9425 w 10000"/>
              <a:gd name="connsiteY86" fmla="*/ 3173 h 9845"/>
              <a:gd name="connsiteX87" fmla="*/ 9520 w 10000"/>
              <a:gd name="connsiteY87" fmla="*/ 2946 h 9845"/>
              <a:gd name="connsiteX88" fmla="*/ 9604 w 10000"/>
              <a:gd name="connsiteY88" fmla="*/ 2713 h 9845"/>
              <a:gd name="connsiteX89" fmla="*/ 9684 w 10000"/>
              <a:gd name="connsiteY89" fmla="*/ 2478 h 9845"/>
              <a:gd name="connsiteX90" fmla="*/ 9758 w 10000"/>
              <a:gd name="connsiteY90" fmla="*/ 2241 h 9845"/>
              <a:gd name="connsiteX91" fmla="*/ 9831 w 10000"/>
              <a:gd name="connsiteY91" fmla="*/ 2006 h 9845"/>
              <a:gd name="connsiteX92" fmla="*/ 9892 w 10000"/>
              <a:gd name="connsiteY92" fmla="*/ 1768 h 9845"/>
              <a:gd name="connsiteX93" fmla="*/ 9951 w 10000"/>
              <a:gd name="connsiteY93" fmla="*/ 1526 h 9845"/>
              <a:gd name="connsiteX94" fmla="*/ 10000 w 10000"/>
              <a:gd name="connsiteY94" fmla="*/ 1280 h 9845"/>
              <a:gd name="connsiteX95" fmla="*/ 6011 w 10000"/>
              <a:gd name="connsiteY95" fmla="*/ 1964 h 9845"/>
              <a:gd name="connsiteX96" fmla="*/ 2680 w 10000"/>
              <a:gd name="connsiteY96" fmla="*/ 0 h 9845"/>
              <a:gd name="connsiteX0" fmla="*/ 2680 w 10000"/>
              <a:gd name="connsiteY0" fmla="*/ 0 h 10115"/>
              <a:gd name="connsiteX1" fmla="*/ 2680 w 10000"/>
              <a:gd name="connsiteY1" fmla="*/ 0 h 10115"/>
              <a:gd name="connsiteX2" fmla="*/ 2665 w 10000"/>
              <a:gd name="connsiteY2" fmla="*/ 106 h 10115"/>
              <a:gd name="connsiteX3" fmla="*/ 2642 w 10000"/>
              <a:gd name="connsiteY3" fmla="*/ 212 h 10115"/>
              <a:gd name="connsiteX4" fmla="*/ 2621 w 10000"/>
              <a:gd name="connsiteY4" fmla="*/ 318 h 10115"/>
              <a:gd name="connsiteX5" fmla="*/ 2594 w 10000"/>
              <a:gd name="connsiteY5" fmla="*/ 418 h 10115"/>
              <a:gd name="connsiteX6" fmla="*/ 2561 w 10000"/>
              <a:gd name="connsiteY6" fmla="*/ 521 h 10115"/>
              <a:gd name="connsiteX7" fmla="*/ 2530 w 10000"/>
              <a:gd name="connsiteY7" fmla="*/ 625 h 10115"/>
              <a:gd name="connsiteX8" fmla="*/ 2502 w 10000"/>
              <a:gd name="connsiteY8" fmla="*/ 724 h 10115"/>
              <a:gd name="connsiteX9" fmla="*/ 2468 w 10000"/>
              <a:gd name="connsiteY9" fmla="*/ 826 h 10115"/>
              <a:gd name="connsiteX10" fmla="*/ 2428 w 10000"/>
              <a:gd name="connsiteY10" fmla="*/ 925 h 10115"/>
              <a:gd name="connsiteX11" fmla="*/ 2386 w 10000"/>
              <a:gd name="connsiteY11" fmla="*/ 1021 h 10115"/>
              <a:gd name="connsiteX12" fmla="*/ 2347 w 10000"/>
              <a:gd name="connsiteY12" fmla="*/ 1121 h 10115"/>
              <a:gd name="connsiteX13" fmla="*/ 2299 w 10000"/>
              <a:gd name="connsiteY13" fmla="*/ 1219 h 10115"/>
              <a:gd name="connsiteX14" fmla="*/ 2248 w 10000"/>
              <a:gd name="connsiteY14" fmla="*/ 1309 h 10115"/>
              <a:gd name="connsiteX15" fmla="*/ 2200 w 10000"/>
              <a:gd name="connsiteY15" fmla="*/ 1403 h 10115"/>
              <a:gd name="connsiteX16" fmla="*/ 2149 w 10000"/>
              <a:gd name="connsiteY16" fmla="*/ 1495 h 10115"/>
              <a:gd name="connsiteX17" fmla="*/ 2092 w 10000"/>
              <a:gd name="connsiteY17" fmla="*/ 1589 h 10115"/>
              <a:gd name="connsiteX18" fmla="*/ 2041 w 10000"/>
              <a:gd name="connsiteY18" fmla="*/ 1681 h 10115"/>
              <a:gd name="connsiteX19" fmla="*/ 1981 w 10000"/>
              <a:gd name="connsiteY19" fmla="*/ 1769 h 10115"/>
              <a:gd name="connsiteX20" fmla="*/ 1919 w 10000"/>
              <a:gd name="connsiteY20" fmla="*/ 1851 h 10115"/>
              <a:gd name="connsiteX21" fmla="*/ 1854 w 10000"/>
              <a:gd name="connsiteY21" fmla="*/ 1937 h 10115"/>
              <a:gd name="connsiteX22" fmla="*/ 1794 w 10000"/>
              <a:gd name="connsiteY22" fmla="*/ 2021 h 10115"/>
              <a:gd name="connsiteX23" fmla="*/ 1725 w 10000"/>
              <a:gd name="connsiteY23" fmla="*/ 2111 h 10115"/>
              <a:gd name="connsiteX24" fmla="*/ 1656 w 10000"/>
              <a:gd name="connsiteY24" fmla="*/ 2190 h 10115"/>
              <a:gd name="connsiteX25" fmla="*/ 1583 w 10000"/>
              <a:gd name="connsiteY25" fmla="*/ 2266 h 10115"/>
              <a:gd name="connsiteX26" fmla="*/ 1509 w 10000"/>
              <a:gd name="connsiteY26" fmla="*/ 2349 h 10115"/>
              <a:gd name="connsiteX27" fmla="*/ 1435 w 10000"/>
              <a:gd name="connsiteY27" fmla="*/ 2426 h 10115"/>
              <a:gd name="connsiteX28" fmla="*/ 1356 w 10000"/>
              <a:gd name="connsiteY28" fmla="*/ 2501 h 10115"/>
              <a:gd name="connsiteX29" fmla="*/ 1279 w 10000"/>
              <a:gd name="connsiteY29" fmla="*/ 2580 h 10115"/>
              <a:gd name="connsiteX30" fmla="*/ 1200 w 10000"/>
              <a:gd name="connsiteY30" fmla="*/ 2652 h 10115"/>
              <a:gd name="connsiteX31" fmla="*/ 1113 w 10000"/>
              <a:gd name="connsiteY31" fmla="*/ 2724 h 10115"/>
              <a:gd name="connsiteX32" fmla="*/ 1033 w 10000"/>
              <a:gd name="connsiteY32" fmla="*/ 2792 h 10115"/>
              <a:gd name="connsiteX33" fmla="*/ 946 w 10000"/>
              <a:gd name="connsiteY33" fmla="*/ 2862 h 10115"/>
              <a:gd name="connsiteX34" fmla="*/ 862 w 10000"/>
              <a:gd name="connsiteY34" fmla="*/ 2927 h 10115"/>
              <a:gd name="connsiteX35" fmla="*/ 767 w 10000"/>
              <a:gd name="connsiteY35" fmla="*/ 2994 h 10115"/>
              <a:gd name="connsiteX36" fmla="*/ 679 w 10000"/>
              <a:gd name="connsiteY36" fmla="*/ 3055 h 10115"/>
              <a:gd name="connsiteX37" fmla="*/ 586 w 10000"/>
              <a:gd name="connsiteY37" fmla="*/ 3119 h 10115"/>
              <a:gd name="connsiteX38" fmla="*/ 492 w 10000"/>
              <a:gd name="connsiteY38" fmla="*/ 3177 h 10115"/>
              <a:gd name="connsiteX39" fmla="*/ 394 w 10000"/>
              <a:gd name="connsiteY39" fmla="*/ 3234 h 10115"/>
              <a:gd name="connsiteX40" fmla="*/ 298 w 10000"/>
              <a:gd name="connsiteY40" fmla="*/ 3293 h 10115"/>
              <a:gd name="connsiteX41" fmla="*/ 203 w 10000"/>
              <a:gd name="connsiteY41" fmla="*/ 3347 h 10115"/>
              <a:gd name="connsiteX42" fmla="*/ 101 w 10000"/>
              <a:gd name="connsiteY42" fmla="*/ 3399 h 10115"/>
              <a:gd name="connsiteX43" fmla="*/ 0 w 10000"/>
              <a:gd name="connsiteY43" fmla="*/ 3448 h 10115"/>
              <a:gd name="connsiteX44" fmla="*/ 187 w 10000"/>
              <a:gd name="connsiteY44" fmla="*/ 6991 h 10115"/>
              <a:gd name="connsiteX45" fmla="*/ 1934 w 10000"/>
              <a:gd name="connsiteY45" fmla="*/ 9921 h 10115"/>
              <a:gd name="connsiteX46" fmla="*/ 2196 w 10000"/>
              <a:gd name="connsiteY46" fmla="*/ 9828 h 10115"/>
              <a:gd name="connsiteX47" fmla="*/ 2457 w 10000"/>
              <a:gd name="connsiteY47" fmla="*/ 9738 h 10115"/>
              <a:gd name="connsiteX48" fmla="*/ 2705 w 10000"/>
              <a:gd name="connsiteY48" fmla="*/ 9636 h 10115"/>
              <a:gd name="connsiteX49" fmla="*/ 2955 w 10000"/>
              <a:gd name="connsiteY49" fmla="*/ 9533 h 10115"/>
              <a:gd name="connsiteX50" fmla="*/ 3206 w 10000"/>
              <a:gd name="connsiteY50" fmla="*/ 9423 h 10115"/>
              <a:gd name="connsiteX51" fmla="*/ 3449 w 10000"/>
              <a:gd name="connsiteY51" fmla="*/ 9311 h 10115"/>
              <a:gd name="connsiteX52" fmla="*/ 3689 w 10000"/>
              <a:gd name="connsiteY52" fmla="*/ 9199 h 10115"/>
              <a:gd name="connsiteX53" fmla="*/ 3930 w 10000"/>
              <a:gd name="connsiteY53" fmla="*/ 9073 h 10115"/>
              <a:gd name="connsiteX54" fmla="*/ 4165 w 10000"/>
              <a:gd name="connsiteY54" fmla="*/ 8950 h 10115"/>
              <a:gd name="connsiteX55" fmla="*/ 4397 w 10000"/>
              <a:gd name="connsiteY55" fmla="*/ 8819 h 10115"/>
              <a:gd name="connsiteX56" fmla="*/ 4628 w 10000"/>
              <a:gd name="connsiteY56" fmla="*/ 8684 h 10115"/>
              <a:gd name="connsiteX57" fmla="*/ 4845 w 10000"/>
              <a:gd name="connsiteY57" fmla="*/ 8549 h 10115"/>
              <a:gd name="connsiteX58" fmla="*/ 5065 w 10000"/>
              <a:gd name="connsiteY58" fmla="*/ 8402 h 10115"/>
              <a:gd name="connsiteX59" fmla="*/ 5285 w 10000"/>
              <a:gd name="connsiteY59" fmla="*/ 8258 h 10115"/>
              <a:gd name="connsiteX60" fmla="*/ 5494 w 10000"/>
              <a:gd name="connsiteY60" fmla="*/ 8108 h 10115"/>
              <a:gd name="connsiteX61" fmla="*/ 5708 w 10000"/>
              <a:gd name="connsiteY61" fmla="*/ 7953 h 10115"/>
              <a:gd name="connsiteX62" fmla="*/ 5911 w 10000"/>
              <a:gd name="connsiteY62" fmla="*/ 7791 h 10115"/>
              <a:gd name="connsiteX63" fmla="*/ 6115 w 10000"/>
              <a:gd name="connsiteY63" fmla="*/ 7631 h 10115"/>
              <a:gd name="connsiteX64" fmla="*/ 6310 w 10000"/>
              <a:gd name="connsiteY64" fmla="*/ 7468 h 10115"/>
              <a:gd name="connsiteX65" fmla="*/ 6508 w 10000"/>
              <a:gd name="connsiteY65" fmla="*/ 7295 h 10115"/>
              <a:gd name="connsiteX66" fmla="*/ 6698 w 10000"/>
              <a:gd name="connsiteY66" fmla="*/ 7118 h 10115"/>
              <a:gd name="connsiteX67" fmla="*/ 6882 w 10000"/>
              <a:gd name="connsiteY67" fmla="*/ 6947 h 10115"/>
              <a:gd name="connsiteX68" fmla="*/ 7064 w 10000"/>
              <a:gd name="connsiteY68" fmla="*/ 6766 h 10115"/>
              <a:gd name="connsiteX69" fmla="*/ 7239 w 10000"/>
              <a:gd name="connsiteY69" fmla="*/ 6580 h 10115"/>
              <a:gd name="connsiteX70" fmla="*/ 7414 w 10000"/>
              <a:gd name="connsiteY70" fmla="*/ 6395 h 10115"/>
              <a:gd name="connsiteX71" fmla="*/ 7582 w 10000"/>
              <a:gd name="connsiteY71" fmla="*/ 6205 h 10115"/>
              <a:gd name="connsiteX72" fmla="*/ 7750 w 10000"/>
              <a:gd name="connsiteY72" fmla="*/ 6009 h 10115"/>
              <a:gd name="connsiteX73" fmla="*/ 7905 w 10000"/>
              <a:gd name="connsiteY73" fmla="*/ 5812 h 10115"/>
              <a:gd name="connsiteX74" fmla="*/ 8057 w 10000"/>
              <a:gd name="connsiteY74" fmla="*/ 5611 h 10115"/>
              <a:gd name="connsiteX75" fmla="*/ 8211 w 10000"/>
              <a:gd name="connsiteY75" fmla="*/ 5411 h 10115"/>
              <a:gd name="connsiteX76" fmla="*/ 8354 w 10000"/>
              <a:gd name="connsiteY76" fmla="*/ 5202 h 10115"/>
              <a:gd name="connsiteX77" fmla="*/ 8493 w 10000"/>
              <a:gd name="connsiteY77" fmla="*/ 4996 h 10115"/>
              <a:gd name="connsiteX78" fmla="*/ 8628 w 10000"/>
              <a:gd name="connsiteY78" fmla="*/ 4783 h 10115"/>
              <a:gd name="connsiteX79" fmla="*/ 8754 w 10000"/>
              <a:gd name="connsiteY79" fmla="*/ 4565 h 10115"/>
              <a:gd name="connsiteX80" fmla="*/ 8877 w 10000"/>
              <a:gd name="connsiteY80" fmla="*/ 4348 h 10115"/>
              <a:gd name="connsiteX81" fmla="*/ 9003 w 10000"/>
              <a:gd name="connsiteY81" fmla="*/ 4129 h 10115"/>
              <a:gd name="connsiteX82" fmla="*/ 9120 w 10000"/>
              <a:gd name="connsiteY82" fmla="*/ 3907 h 10115"/>
              <a:gd name="connsiteX83" fmla="*/ 9224 w 10000"/>
              <a:gd name="connsiteY83" fmla="*/ 3683 h 10115"/>
              <a:gd name="connsiteX84" fmla="*/ 9330 w 10000"/>
              <a:gd name="connsiteY84" fmla="*/ 3455 h 10115"/>
              <a:gd name="connsiteX85" fmla="*/ 9425 w 10000"/>
              <a:gd name="connsiteY85" fmla="*/ 3223 h 10115"/>
              <a:gd name="connsiteX86" fmla="*/ 9520 w 10000"/>
              <a:gd name="connsiteY86" fmla="*/ 2992 h 10115"/>
              <a:gd name="connsiteX87" fmla="*/ 9604 w 10000"/>
              <a:gd name="connsiteY87" fmla="*/ 2756 h 10115"/>
              <a:gd name="connsiteX88" fmla="*/ 9684 w 10000"/>
              <a:gd name="connsiteY88" fmla="*/ 2517 h 10115"/>
              <a:gd name="connsiteX89" fmla="*/ 9758 w 10000"/>
              <a:gd name="connsiteY89" fmla="*/ 2276 h 10115"/>
              <a:gd name="connsiteX90" fmla="*/ 9831 w 10000"/>
              <a:gd name="connsiteY90" fmla="*/ 2038 h 10115"/>
              <a:gd name="connsiteX91" fmla="*/ 9892 w 10000"/>
              <a:gd name="connsiteY91" fmla="*/ 1796 h 10115"/>
              <a:gd name="connsiteX92" fmla="*/ 9951 w 10000"/>
              <a:gd name="connsiteY92" fmla="*/ 1550 h 10115"/>
              <a:gd name="connsiteX93" fmla="*/ 10000 w 10000"/>
              <a:gd name="connsiteY93" fmla="*/ 1300 h 10115"/>
              <a:gd name="connsiteX94" fmla="*/ 6011 w 10000"/>
              <a:gd name="connsiteY94" fmla="*/ 1995 h 10115"/>
              <a:gd name="connsiteX95" fmla="*/ 2680 w 10000"/>
              <a:gd name="connsiteY95" fmla="*/ 0 h 10115"/>
              <a:gd name="connsiteX0" fmla="*/ 2680 w 10000"/>
              <a:gd name="connsiteY0" fmla="*/ 0 h 10157"/>
              <a:gd name="connsiteX1" fmla="*/ 2680 w 10000"/>
              <a:gd name="connsiteY1" fmla="*/ 0 h 10157"/>
              <a:gd name="connsiteX2" fmla="*/ 2665 w 10000"/>
              <a:gd name="connsiteY2" fmla="*/ 106 h 10157"/>
              <a:gd name="connsiteX3" fmla="*/ 2642 w 10000"/>
              <a:gd name="connsiteY3" fmla="*/ 212 h 10157"/>
              <a:gd name="connsiteX4" fmla="*/ 2621 w 10000"/>
              <a:gd name="connsiteY4" fmla="*/ 318 h 10157"/>
              <a:gd name="connsiteX5" fmla="*/ 2594 w 10000"/>
              <a:gd name="connsiteY5" fmla="*/ 418 h 10157"/>
              <a:gd name="connsiteX6" fmla="*/ 2561 w 10000"/>
              <a:gd name="connsiteY6" fmla="*/ 521 h 10157"/>
              <a:gd name="connsiteX7" fmla="*/ 2530 w 10000"/>
              <a:gd name="connsiteY7" fmla="*/ 625 h 10157"/>
              <a:gd name="connsiteX8" fmla="*/ 2502 w 10000"/>
              <a:gd name="connsiteY8" fmla="*/ 724 h 10157"/>
              <a:gd name="connsiteX9" fmla="*/ 2468 w 10000"/>
              <a:gd name="connsiteY9" fmla="*/ 826 h 10157"/>
              <a:gd name="connsiteX10" fmla="*/ 2428 w 10000"/>
              <a:gd name="connsiteY10" fmla="*/ 925 h 10157"/>
              <a:gd name="connsiteX11" fmla="*/ 2386 w 10000"/>
              <a:gd name="connsiteY11" fmla="*/ 1021 h 10157"/>
              <a:gd name="connsiteX12" fmla="*/ 2347 w 10000"/>
              <a:gd name="connsiteY12" fmla="*/ 1121 h 10157"/>
              <a:gd name="connsiteX13" fmla="*/ 2299 w 10000"/>
              <a:gd name="connsiteY13" fmla="*/ 1219 h 10157"/>
              <a:gd name="connsiteX14" fmla="*/ 2248 w 10000"/>
              <a:gd name="connsiteY14" fmla="*/ 1309 h 10157"/>
              <a:gd name="connsiteX15" fmla="*/ 2200 w 10000"/>
              <a:gd name="connsiteY15" fmla="*/ 1403 h 10157"/>
              <a:gd name="connsiteX16" fmla="*/ 2149 w 10000"/>
              <a:gd name="connsiteY16" fmla="*/ 1495 h 10157"/>
              <a:gd name="connsiteX17" fmla="*/ 2092 w 10000"/>
              <a:gd name="connsiteY17" fmla="*/ 1589 h 10157"/>
              <a:gd name="connsiteX18" fmla="*/ 2041 w 10000"/>
              <a:gd name="connsiteY18" fmla="*/ 1681 h 10157"/>
              <a:gd name="connsiteX19" fmla="*/ 1981 w 10000"/>
              <a:gd name="connsiteY19" fmla="*/ 1769 h 10157"/>
              <a:gd name="connsiteX20" fmla="*/ 1919 w 10000"/>
              <a:gd name="connsiteY20" fmla="*/ 1851 h 10157"/>
              <a:gd name="connsiteX21" fmla="*/ 1854 w 10000"/>
              <a:gd name="connsiteY21" fmla="*/ 1937 h 10157"/>
              <a:gd name="connsiteX22" fmla="*/ 1794 w 10000"/>
              <a:gd name="connsiteY22" fmla="*/ 2021 h 10157"/>
              <a:gd name="connsiteX23" fmla="*/ 1725 w 10000"/>
              <a:gd name="connsiteY23" fmla="*/ 2111 h 10157"/>
              <a:gd name="connsiteX24" fmla="*/ 1656 w 10000"/>
              <a:gd name="connsiteY24" fmla="*/ 2190 h 10157"/>
              <a:gd name="connsiteX25" fmla="*/ 1583 w 10000"/>
              <a:gd name="connsiteY25" fmla="*/ 2266 h 10157"/>
              <a:gd name="connsiteX26" fmla="*/ 1509 w 10000"/>
              <a:gd name="connsiteY26" fmla="*/ 2349 h 10157"/>
              <a:gd name="connsiteX27" fmla="*/ 1435 w 10000"/>
              <a:gd name="connsiteY27" fmla="*/ 2426 h 10157"/>
              <a:gd name="connsiteX28" fmla="*/ 1356 w 10000"/>
              <a:gd name="connsiteY28" fmla="*/ 2501 h 10157"/>
              <a:gd name="connsiteX29" fmla="*/ 1279 w 10000"/>
              <a:gd name="connsiteY29" fmla="*/ 2580 h 10157"/>
              <a:gd name="connsiteX30" fmla="*/ 1200 w 10000"/>
              <a:gd name="connsiteY30" fmla="*/ 2652 h 10157"/>
              <a:gd name="connsiteX31" fmla="*/ 1113 w 10000"/>
              <a:gd name="connsiteY31" fmla="*/ 2724 h 10157"/>
              <a:gd name="connsiteX32" fmla="*/ 1033 w 10000"/>
              <a:gd name="connsiteY32" fmla="*/ 2792 h 10157"/>
              <a:gd name="connsiteX33" fmla="*/ 946 w 10000"/>
              <a:gd name="connsiteY33" fmla="*/ 2862 h 10157"/>
              <a:gd name="connsiteX34" fmla="*/ 862 w 10000"/>
              <a:gd name="connsiteY34" fmla="*/ 2927 h 10157"/>
              <a:gd name="connsiteX35" fmla="*/ 767 w 10000"/>
              <a:gd name="connsiteY35" fmla="*/ 2994 h 10157"/>
              <a:gd name="connsiteX36" fmla="*/ 679 w 10000"/>
              <a:gd name="connsiteY36" fmla="*/ 3055 h 10157"/>
              <a:gd name="connsiteX37" fmla="*/ 586 w 10000"/>
              <a:gd name="connsiteY37" fmla="*/ 3119 h 10157"/>
              <a:gd name="connsiteX38" fmla="*/ 492 w 10000"/>
              <a:gd name="connsiteY38" fmla="*/ 3177 h 10157"/>
              <a:gd name="connsiteX39" fmla="*/ 394 w 10000"/>
              <a:gd name="connsiteY39" fmla="*/ 3234 h 10157"/>
              <a:gd name="connsiteX40" fmla="*/ 298 w 10000"/>
              <a:gd name="connsiteY40" fmla="*/ 3293 h 10157"/>
              <a:gd name="connsiteX41" fmla="*/ 203 w 10000"/>
              <a:gd name="connsiteY41" fmla="*/ 3347 h 10157"/>
              <a:gd name="connsiteX42" fmla="*/ 101 w 10000"/>
              <a:gd name="connsiteY42" fmla="*/ 3399 h 10157"/>
              <a:gd name="connsiteX43" fmla="*/ 0 w 10000"/>
              <a:gd name="connsiteY43" fmla="*/ 3448 h 10157"/>
              <a:gd name="connsiteX44" fmla="*/ 187 w 10000"/>
              <a:gd name="connsiteY44" fmla="*/ 6991 h 10157"/>
              <a:gd name="connsiteX45" fmla="*/ 1934 w 10000"/>
              <a:gd name="connsiteY45" fmla="*/ 9921 h 10157"/>
              <a:gd name="connsiteX46" fmla="*/ 1928 w 10000"/>
              <a:gd name="connsiteY46" fmla="*/ 9967 h 10157"/>
              <a:gd name="connsiteX47" fmla="*/ 2196 w 10000"/>
              <a:gd name="connsiteY47" fmla="*/ 9828 h 10157"/>
              <a:gd name="connsiteX48" fmla="*/ 2457 w 10000"/>
              <a:gd name="connsiteY48" fmla="*/ 9738 h 10157"/>
              <a:gd name="connsiteX49" fmla="*/ 2705 w 10000"/>
              <a:gd name="connsiteY49" fmla="*/ 9636 h 10157"/>
              <a:gd name="connsiteX50" fmla="*/ 2955 w 10000"/>
              <a:gd name="connsiteY50" fmla="*/ 9533 h 10157"/>
              <a:gd name="connsiteX51" fmla="*/ 3206 w 10000"/>
              <a:gd name="connsiteY51" fmla="*/ 9423 h 10157"/>
              <a:gd name="connsiteX52" fmla="*/ 3449 w 10000"/>
              <a:gd name="connsiteY52" fmla="*/ 9311 h 10157"/>
              <a:gd name="connsiteX53" fmla="*/ 3689 w 10000"/>
              <a:gd name="connsiteY53" fmla="*/ 9199 h 10157"/>
              <a:gd name="connsiteX54" fmla="*/ 3930 w 10000"/>
              <a:gd name="connsiteY54" fmla="*/ 9073 h 10157"/>
              <a:gd name="connsiteX55" fmla="*/ 4165 w 10000"/>
              <a:gd name="connsiteY55" fmla="*/ 8950 h 10157"/>
              <a:gd name="connsiteX56" fmla="*/ 4397 w 10000"/>
              <a:gd name="connsiteY56" fmla="*/ 8819 h 10157"/>
              <a:gd name="connsiteX57" fmla="*/ 4628 w 10000"/>
              <a:gd name="connsiteY57" fmla="*/ 8684 h 10157"/>
              <a:gd name="connsiteX58" fmla="*/ 4845 w 10000"/>
              <a:gd name="connsiteY58" fmla="*/ 8549 h 10157"/>
              <a:gd name="connsiteX59" fmla="*/ 5065 w 10000"/>
              <a:gd name="connsiteY59" fmla="*/ 8402 h 10157"/>
              <a:gd name="connsiteX60" fmla="*/ 5285 w 10000"/>
              <a:gd name="connsiteY60" fmla="*/ 8258 h 10157"/>
              <a:gd name="connsiteX61" fmla="*/ 5494 w 10000"/>
              <a:gd name="connsiteY61" fmla="*/ 8108 h 10157"/>
              <a:gd name="connsiteX62" fmla="*/ 5708 w 10000"/>
              <a:gd name="connsiteY62" fmla="*/ 7953 h 10157"/>
              <a:gd name="connsiteX63" fmla="*/ 5911 w 10000"/>
              <a:gd name="connsiteY63" fmla="*/ 7791 h 10157"/>
              <a:gd name="connsiteX64" fmla="*/ 6115 w 10000"/>
              <a:gd name="connsiteY64" fmla="*/ 7631 h 10157"/>
              <a:gd name="connsiteX65" fmla="*/ 6310 w 10000"/>
              <a:gd name="connsiteY65" fmla="*/ 7468 h 10157"/>
              <a:gd name="connsiteX66" fmla="*/ 6508 w 10000"/>
              <a:gd name="connsiteY66" fmla="*/ 7295 h 10157"/>
              <a:gd name="connsiteX67" fmla="*/ 6698 w 10000"/>
              <a:gd name="connsiteY67" fmla="*/ 7118 h 10157"/>
              <a:gd name="connsiteX68" fmla="*/ 6882 w 10000"/>
              <a:gd name="connsiteY68" fmla="*/ 6947 h 10157"/>
              <a:gd name="connsiteX69" fmla="*/ 7064 w 10000"/>
              <a:gd name="connsiteY69" fmla="*/ 6766 h 10157"/>
              <a:gd name="connsiteX70" fmla="*/ 7239 w 10000"/>
              <a:gd name="connsiteY70" fmla="*/ 6580 h 10157"/>
              <a:gd name="connsiteX71" fmla="*/ 7414 w 10000"/>
              <a:gd name="connsiteY71" fmla="*/ 6395 h 10157"/>
              <a:gd name="connsiteX72" fmla="*/ 7582 w 10000"/>
              <a:gd name="connsiteY72" fmla="*/ 6205 h 10157"/>
              <a:gd name="connsiteX73" fmla="*/ 7750 w 10000"/>
              <a:gd name="connsiteY73" fmla="*/ 6009 h 10157"/>
              <a:gd name="connsiteX74" fmla="*/ 7905 w 10000"/>
              <a:gd name="connsiteY74" fmla="*/ 5812 h 10157"/>
              <a:gd name="connsiteX75" fmla="*/ 8057 w 10000"/>
              <a:gd name="connsiteY75" fmla="*/ 5611 h 10157"/>
              <a:gd name="connsiteX76" fmla="*/ 8211 w 10000"/>
              <a:gd name="connsiteY76" fmla="*/ 5411 h 10157"/>
              <a:gd name="connsiteX77" fmla="*/ 8354 w 10000"/>
              <a:gd name="connsiteY77" fmla="*/ 5202 h 10157"/>
              <a:gd name="connsiteX78" fmla="*/ 8493 w 10000"/>
              <a:gd name="connsiteY78" fmla="*/ 4996 h 10157"/>
              <a:gd name="connsiteX79" fmla="*/ 8628 w 10000"/>
              <a:gd name="connsiteY79" fmla="*/ 4783 h 10157"/>
              <a:gd name="connsiteX80" fmla="*/ 8754 w 10000"/>
              <a:gd name="connsiteY80" fmla="*/ 4565 h 10157"/>
              <a:gd name="connsiteX81" fmla="*/ 8877 w 10000"/>
              <a:gd name="connsiteY81" fmla="*/ 4348 h 10157"/>
              <a:gd name="connsiteX82" fmla="*/ 9003 w 10000"/>
              <a:gd name="connsiteY82" fmla="*/ 4129 h 10157"/>
              <a:gd name="connsiteX83" fmla="*/ 9120 w 10000"/>
              <a:gd name="connsiteY83" fmla="*/ 3907 h 10157"/>
              <a:gd name="connsiteX84" fmla="*/ 9224 w 10000"/>
              <a:gd name="connsiteY84" fmla="*/ 3683 h 10157"/>
              <a:gd name="connsiteX85" fmla="*/ 9330 w 10000"/>
              <a:gd name="connsiteY85" fmla="*/ 3455 h 10157"/>
              <a:gd name="connsiteX86" fmla="*/ 9425 w 10000"/>
              <a:gd name="connsiteY86" fmla="*/ 3223 h 10157"/>
              <a:gd name="connsiteX87" fmla="*/ 9520 w 10000"/>
              <a:gd name="connsiteY87" fmla="*/ 2992 h 10157"/>
              <a:gd name="connsiteX88" fmla="*/ 9604 w 10000"/>
              <a:gd name="connsiteY88" fmla="*/ 2756 h 10157"/>
              <a:gd name="connsiteX89" fmla="*/ 9684 w 10000"/>
              <a:gd name="connsiteY89" fmla="*/ 2517 h 10157"/>
              <a:gd name="connsiteX90" fmla="*/ 9758 w 10000"/>
              <a:gd name="connsiteY90" fmla="*/ 2276 h 10157"/>
              <a:gd name="connsiteX91" fmla="*/ 9831 w 10000"/>
              <a:gd name="connsiteY91" fmla="*/ 2038 h 10157"/>
              <a:gd name="connsiteX92" fmla="*/ 9892 w 10000"/>
              <a:gd name="connsiteY92" fmla="*/ 1796 h 10157"/>
              <a:gd name="connsiteX93" fmla="*/ 9951 w 10000"/>
              <a:gd name="connsiteY93" fmla="*/ 1550 h 10157"/>
              <a:gd name="connsiteX94" fmla="*/ 10000 w 10000"/>
              <a:gd name="connsiteY94" fmla="*/ 1300 h 10157"/>
              <a:gd name="connsiteX95" fmla="*/ 6011 w 10000"/>
              <a:gd name="connsiteY95" fmla="*/ 1995 h 10157"/>
              <a:gd name="connsiteX96" fmla="*/ 2680 w 10000"/>
              <a:gd name="connsiteY96" fmla="*/ 0 h 10157"/>
              <a:gd name="connsiteX0" fmla="*/ 2680 w 10000"/>
              <a:gd name="connsiteY0" fmla="*/ 0 h 10161"/>
              <a:gd name="connsiteX1" fmla="*/ 2680 w 10000"/>
              <a:gd name="connsiteY1" fmla="*/ 0 h 10161"/>
              <a:gd name="connsiteX2" fmla="*/ 2665 w 10000"/>
              <a:gd name="connsiteY2" fmla="*/ 106 h 10161"/>
              <a:gd name="connsiteX3" fmla="*/ 2642 w 10000"/>
              <a:gd name="connsiteY3" fmla="*/ 212 h 10161"/>
              <a:gd name="connsiteX4" fmla="*/ 2621 w 10000"/>
              <a:gd name="connsiteY4" fmla="*/ 318 h 10161"/>
              <a:gd name="connsiteX5" fmla="*/ 2594 w 10000"/>
              <a:gd name="connsiteY5" fmla="*/ 418 h 10161"/>
              <a:gd name="connsiteX6" fmla="*/ 2561 w 10000"/>
              <a:gd name="connsiteY6" fmla="*/ 521 h 10161"/>
              <a:gd name="connsiteX7" fmla="*/ 2530 w 10000"/>
              <a:gd name="connsiteY7" fmla="*/ 625 h 10161"/>
              <a:gd name="connsiteX8" fmla="*/ 2502 w 10000"/>
              <a:gd name="connsiteY8" fmla="*/ 724 h 10161"/>
              <a:gd name="connsiteX9" fmla="*/ 2468 w 10000"/>
              <a:gd name="connsiteY9" fmla="*/ 826 h 10161"/>
              <a:gd name="connsiteX10" fmla="*/ 2428 w 10000"/>
              <a:gd name="connsiteY10" fmla="*/ 925 h 10161"/>
              <a:gd name="connsiteX11" fmla="*/ 2386 w 10000"/>
              <a:gd name="connsiteY11" fmla="*/ 1021 h 10161"/>
              <a:gd name="connsiteX12" fmla="*/ 2347 w 10000"/>
              <a:gd name="connsiteY12" fmla="*/ 1121 h 10161"/>
              <a:gd name="connsiteX13" fmla="*/ 2299 w 10000"/>
              <a:gd name="connsiteY13" fmla="*/ 1219 h 10161"/>
              <a:gd name="connsiteX14" fmla="*/ 2248 w 10000"/>
              <a:gd name="connsiteY14" fmla="*/ 1309 h 10161"/>
              <a:gd name="connsiteX15" fmla="*/ 2200 w 10000"/>
              <a:gd name="connsiteY15" fmla="*/ 1403 h 10161"/>
              <a:gd name="connsiteX16" fmla="*/ 2149 w 10000"/>
              <a:gd name="connsiteY16" fmla="*/ 1495 h 10161"/>
              <a:gd name="connsiteX17" fmla="*/ 2092 w 10000"/>
              <a:gd name="connsiteY17" fmla="*/ 1589 h 10161"/>
              <a:gd name="connsiteX18" fmla="*/ 2041 w 10000"/>
              <a:gd name="connsiteY18" fmla="*/ 1681 h 10161"/>
              <a:gd name="connsiteX19" fmla="*/ 1981 w 10000"/>
              <a:gd name="connsiteY19" fmla="*/ 1769 h 10161"/>
              <a:gd name="connsiteX20" fmla="*/ 1919 w 10000"/>
              <a:gd name="connsiteY20" fmla="*/ 1851 h 10161"/>
              <a:gd name="connsiteX21" fmla="*/ 1854 w 10000"/>
              <a:gd name="connsiteY21" fmla="*/ 1937 h 10161"/>
              <a:gd name="connsiteX22" fmla="*/ 1794 w 10000"/>
              <a:gd name="connsiteY22" fmla="*/ 2021 h 10161"/>
              <a:gd name="connsiteX23" fmla="*/ 1725 w 10000"/>
              <a:gd name="connsiteY23" fmla="*/ 2111 h 10161"/>
              <a:gd name="connsiteX24" fmla="*/ 1656 w 10000"/>
              <a:gd name="connsiteY24" fmla="*/ 2190 h 10161"/>
              <a:gd name="connsiteX25" fmla="*/ 1583 w 10000"/>
              <a:gd name="connsiteY25" fmla="*/ 2266 h 10161"/>
              <a:gd name="connsiteX26" fmla="*/ 1509 w 10000"/>
              <a:gd name="connsiteY26" fmla="*/ 2349 h 10161"/>
              <a:gd name="connsiteX27" fmla="*/ 1435 w 10000"/>
              <a:gd name="connsiteY27" fmla="*/ 2426 h 10161"/>
              <a:gd name="connsiteX28" fmla="*/ 1356 w 10000"/>
              <a:gd name="connsiteY28" fmla="*/ 2501 h 10161"/>
              <a:gd name="connsiteX29" fmla="*/ 1279 w 10000"/>
              <a:gd name="connsiteY29" fmla="*/ 2580 h 10161"/>
              <a:gd name="connsiteX30" fmla="*/ 1200 w 10000"/>
              <a:gd name="connsiteY30" fmla="*/ 2652 h 10161"/>
              <a:gd name="connsiteX31" fmla="*/ 1113 w 10000"/>
              <a:gd name="connsiteY31" fmla="*/ 2724 h 10161"/>
              <a:gd name="connsiteX32" fmla="*/ 1033 w 10000"/>
              <a:gd name="connsiteY32" fmla="*/ 2792 h 10161"/>
              <a:gd name="connsiteX33" fmla="*/ 946 w 10000"/>
              <a:gd name="connsiteY33" fmla="*/ 2862 h 10161"/>
              <a:gd name="connsiteX34" fmla="*/ 862 w 10000"/>
              <a:gd name="connsiteY34" fmla="*/ 2927 h 10161"/>
              <a:gd name="connsiteX35" fmla="*/ 767 w 10000"/>
              <a:gd name="connsiteY35" fmla="*/ 2994 h 10161"/>
              <a:gd name="connsiteX36" fmla="*/ 679 w 10000"/>
              <a:gd name="connsiteY36" fmla="*/ 3055 h 10161"/>
              <a:gd name="connsiteX37" fmla="*/ 586 w 10000"/>
              <a:gd name="connsiteY37" fmla="*/ 3119 h 10161"/>
              <a:gd name="connsiteX38" fmla="*/ 492 w 10000"/>
              <a:gd name="connsiteY38" fmla="*/ 3177 h 10161"/>
              <a:gd name="connsiteX39" fmla="*/ 394 w 10000"/>
              <a:gd name="connsiteY39" fmla="*/ 3234 h 10161"/>
              <a:gd name="connsiteX40" fmla="*/ 298 w 10000"/>
              <a:gd name="connsiteY40" fmla="*/ 3293 h 10161"/>
              <a:gd name="connsiteX41" fmla="*/ 203 w 10000"/>
              <a:gd name="connsiteY41" fmla="*/ 3347 h 10161"/>
              <a:gd name="connsiteX42" fmla="*/ 101 w 10000"/>
              <a:gd name="connsiteY42" fmla="*/ 3399 h 10161"/>
              <a:gd name="connsiteX43" fmla="*/ 0 w 10000"/>
              <a:gd name="connsiteY43" fmla="*/ 3448 h 10161"/>
              <a:gd name="connsiteX44" fmla="*/ 187 w 10000"/>
              <a:gd name="connsiteY44" fmla="*/ 6991 h 10161"/>
              <a:gd name="connsiteX45" fmla="*/ 1934 w 10000"/>
              <a:gd name="connsiteY45" fmla="*/ 9921 h 10161"/>
              <a:gd name="connsiteX46" fmla="*/ 1928 w 10000"/>
              <a:gd name="connsiteY46" fmla="*/ 9967 h 10161"/>
              <a:gd name="connsiteX47" fmla="*/ 2457 w 10000"/>
              <a:gd name="connsiteY47" fmla="*/ 9738 h 10161"/>
              <a:gd name="connsiteX48" fmla="*/ 2705 w 10000"/>
              <a:gd name="connsiteY48" fmla="*/ 9636 h 10161"/>
              <a:gd name="connsiteX49" fmla="*/ 2955 w 10000"/>
              <a:gd name="connsiteY49" fmla="*/ 9533 h 10161"/>
              <a:gd name="connsiteX50" fmla="*/ 3206 w 10000"/>
              <a:gd name="connsiteY50" fmla="*/ 9423 h 10161"/>
              <a:gd name="connsiteX51" fmla="*/ 3449 w 10000"/>
              <a:gd name="connsiteY51" fmla="*/ 9311 h 10161"/>
              <a:gd name="connsiteX52" fmla="*/ 3689 w 10000"/>
              <a:gd name="connsiteY52" fmla="*/ 9199 h 10161"/>
              <a:gd name="connsiteX53" fmla="*/ 3930 w 10000"/>
              <a:gd name="connsiteY53" fmla="*/ 9073 h 10161"/>
              <a:gd name="connsiteX54" fmla="*/ 4165 w 10000"/>
              <a:gd name="connsiteY54" fmla="*/ 8950 h 10161"/>
              <a:gd name="connsiteX55" fmla="*/ 4397 w 10000"/>
              <a:gd name="connsiteY55" fmla="*/ 8819 h 10161"/>
              <a:gd name="connsiteX56" fmla="*/ 4628 w 10000"/>
              <a:gd name="connsiteY56" fmla="*/ 8684 h 10161"/>
              <a:gd name="connsiteX57" fmla="*/ 4845 w 10000"/>
              <a:gd name="connsiteY57" fmla="*/ 8549 h 10161"/>
              <a:gd name="connsiteX58" fmla="*/ 5065 w 10000"/>
              <a:gd name="connsiteY58" fmla="*/ 8402 h 10161"/>
              <a:gd name="connsiteX59" fmla="*/ 5285 w 10000"/>
              <a:gd name="connsiteY59" fmla="*/ 8258 h 10161"/>
              <a:gd name="connsiteX60" fmla="*/ 5494 w 10000"/>
              <a:gd name="connsiteY60" fmla="*/ 8108 h 10161"/>
              <a:gd name="connsiteX61" fmla="*/ 5708 w 10000"/>
              <a:gd name="connsiteY61" fmla="*/ 7953 h 10161"/>
              <a:gd name="connsiteX62" fmla="*/ 5911 w 10000"/>
              <a:gd name="connsiteY62" fmla="*/ 7791 h 10161"/>
              <a:gd name="connsiteX63" fmla="*/ 6115 w 10000"/>
              <a:gd name="connsiteY63" fmla="*/ 7631 h 10161"/>
              <a:gd name="connsiteX64" fmla="*/ 6310 w 10000"/>
              <a:gd name="connsiteY64" fmla="*/ 7468 h 10161"/>
              <a:gd name="connsiteX65" fmla="*/ 6508 w 10000"/>
              <a:gd name="connsiteY65" fmla="*/ 7295 h 10161"/>
              <a:gd name="connsiteX66" fmla="*/ 6698 w 10000"/>
              <a:gd name="connsiteY66" fmla="*/ 7118 h 10161"/>
              <a:gd name="connsiteX67" fmla="*/ 6882 w 10000"/>
              <a:gd name="connsiteY67" fmla="*/ 6947 h 10161"/>
              <a:gd name="connsiteX68" fmla="*/ 7064 w 10000"/>
              <a:gd name="connsiteY68" fmla="*/ 6766 h 10161"/>
              <a:gd name="connsiteX69" fmla="*/ 7239 w 10000"/>
              <a:gd name="connsiteY69" fmla="*/ 6580 h 10161"/>
              <a:gd name="connsiteX70" fmla="*/ 7414 w 10000"/>
              <a:gd name="connsiteY70" fmla="*/ 6395 h 10161"/>
              <a:gd name="connsiteX71" fmla="*/ 7582 w 10000"/>
              <a:gd name="connsiteY71" fmla="*/ 6205 h 10161"/>
              <a:gd name="connsiteX72" fmla="*/ 7750 w 10000"/>
              <a:gd name="connsiteY72" fmla="*/ 6009 h 10161"/>
              <a:gd name="connsiteX73" fmla="*/ 7905 w 10000"/>
              <a:gd name="connsiteY73" fmla="*/ 5812 h 10161"/>
              <a:gd name="connsiteX74" fmla="*/ 8057 w 10000"/>
              <a:gd name="connsiteY74" fmla="*/ 5611 h 10161"/>
              <a:gd name="connsiteX75" fmla="*/ 8211 w 10000"/>
              <a:gd name="connsiteY75" fmla="*/ 5411 h 10161"/>
              <a:gd name="connsiteX76" fmla="*/ 8354 w 10000"/>
              <a:gd name="connsiteY76" fmla="*/ 5202 h 10161"/>
              <a:gd name="connsiteX77" fmla="*/ 8493 w 10000"/>
              <a:gd name="connsiteY77" fmla="*/ 4996 h 10161"/>
              <a:gd name="connsiteX78" fmla="*/ 8628 w 10000"/>
              <a:gd name="connsiteY78" fmla="*/ 4783 h 10161"/>
              <a:gd name="connsiteX79" fmla="*/ 8754 w 10000"/>
              <a:gd name="connsiteY79" fmla="*/ 4565 h 10161"/>
              <a:gd name="connsiteX80" fmla="*/ 8877 w 10000"/>
              <a:gd name="connsiteY80" fmla="*/ 4348 h 10161"/>
              <a:gd name="connsiteX81" fmla="*/ 9003 w 10000"/>
              <a:gd name="connsiteY81" fmla="*/ 4129 h 10161"/>
              <a:gd name="connsiteX82" fmla="*/ 9120 w 10000"/>
              <a:gd name="connsiteY82" fmla="*/ 3907 h 10161"/>
              <a:gd name="connsiteX83" fmla="*/ 9224 w 10000"/>
              <a:gd name="connsiteY83" fmla="*/ 3683 h 10161"/>
              <a:gd name="connsiteX84" fmla="*/ 9330 w 10000"/>
              <a:gd name="connsiteY84" fmla="*/ 3455 h 10161"/>
              <a:gd name="connsiteX85" fmla="*/ 9425 w 10000"/>
              <a:gd name="connsiteY85" fmla="*/ 3223 h 10161"/>
              <a:gd name="connsiteX86" fmla="*/ 9520 w 10000"/>
              <a:gd name="connsiteY86" fmla="*/ 2992 h 10161"/>
              <a:gd name="connsiteX87" fmla="*/ 9604 w 10000"/>
              <a:gd name="connsiteY87" fmla="*/ 2756 h 10161"/>
              <a:gd name="connsiteX88" fmla="*/ 9684 w 10000"/>
              <a:gd name="connsiteY88" fmla="*/ 2517 h 10161"/>
              <a:gd name="connsiteX89" fmla="*/ 9758 w 10000"/>
              <a:gd name="connsiteY89" fmla="*/ 2276 h 10161"/>
              <a:gd name="connsiteX90" fmla="*/ 9831 w 10000"/>
              <a:gd name="connsiteY90" fmla="*/ 2038 h 10161"/>
              <a:gd name="connsiteX91" fmla="*/ 9892 w 10000"/>
              <a:gd name="connsiteY91" fmla="*/ 1796 h 10161"/>
              <a:gd name="connsiteX92" fmla="*/ 9951 w 10000"/>
              <a:gd name="connsiteY92" fmla="*/ 1550 h 10161"/>
              <a:gd name="connsiteX93" fmla="*/ 10000 w 10000"/>
              <a:gd name="connsiteY93" fmla="*/ 1300 h 10161"/>
              <a:gd name="connsiteX94" fmla="*/ 6011 w 10000"/>
              <a:gd name="connsiteY94" fmla="*/ 1995 h 10161"/>
              <a:gd name="connsiteX95" fmla="*/ 2680 w 10000"/>
              <a:gd name="connsiteY95" fmla="*/ 0 h 10161"/>
              <a:gd name="connsiteX0" fmla="*/ 2680 w 10000"/>
              <a:gd name="connsiteY0" fmla="*/ 0 h 10093"/>
              <a:gd name="connsiteX1" fmla="*/ 2680 w 10000"/>
              <a:gd name="connsiteY1" fmla="*/ 0 h 10093"/>
              <a:gd name="connsiteX2" fmla="*/ 2665 w 10000"/>
              <a:gd name="connsiteY2" fmla="*/ 106 h 10093"/>
              <a:gd name="connsiteX3" fmla="*/ 2642 w 10000"/>
              <a:gd name="connsiteY3" fmla="*/ 212 h 10093"/>
              <a:gd name="connsiteX4" fmla="*/ 2621 w 10000"/>
              <a:gd name="connsiteY4" fmla="*/ 318 h 10093"/>
              <a:gd name="connsiteX5" fmla="*/ 2594 w 10000"/>
              <a:gd name="connsiteY5" fmla="*/ 418 h 10093"/>
              <a:gd name="connsiteX6" fmla="*/ 2561 w 10000"/>
              <a:gd name="connsiteY6" fmla="*/ 521 h 10093"/>
              <a:gd name="connsiteX7" fmla="*/ 2530 w 10000"/>
              <a:gd name="connsiteY7" fmla="*/ 625 h 10093"/>
              <a:gd name="connsiteX8" fmla="*/ 2502 w 10000"/>
              <a:gd name="connsiteY8" fmla="*/ 724 h 10093"/>
              <a:gd name="connsiteX9" fmla="*/ 2468 w 10000"/>
              <a:gd name="connsiteY9" fmla="*/ 826 h 10093"/>
              <a:gd name="connsiteX10" fmla="*/ 2428 w 10000"/>
              <a:gd name="connsiteY10" fmla="*/ 925 h 10093"/>
              <a:gd name="connsiteX11" fmla="*/ 2386 w 10000"/>
              <a:gd name="connsiteY11" fmla="*/ 1021 h 10093"/>
              <a:gd name="connsiteX12" fmla="*/ 2347 w 10000"/>
              <a:gd name="connsiteY12" fmla="*/ 1121 h 10093"/>
              <a:gd name="connsiteX13" fmla="*/ 2299 w 10000"/>
              <a:gd name="connsiteY13" fmla="*/ 1219 h 10093"/>
              <a:gd name="connsiteX14" fmla="*/ 2248 w 10000"/>
              <a:gd name="connsiteY14" fmla="*/ 1309 h 10093"/>
              <a:gd name="connsiteX15" fmla="*/ 2200 w 10000"/>
              <a:gd name="connsiteY15" fmla="*/ 1403 h 10093"/>
              <a:gd name="connsiteX16" fmla="*/ 2149 w 10000"/>
              <a:gd name="connsiteY16" fmla="*/ 1495 h 10093"/>
              <a:gd name="connsiteX17" fmla="*/ 2092 w 10000"/>
              <a:gd name="connsiteY17" fmla="*/ 1589 h 10093"/>
              <a:gd name="connsiteX18" fmla="*/ 2041 w 10000"/>
              <a:gd name="connsiteY18" fmla="*/ 1681 h 10093"/>
              <a:gd name="connsiteX19" fmla="*/ 1981 w 10000"/>
              <a:gd name="connsiteY19" fmla="*/ 1769 h 10093"/>
              <a:gd name="connsiteX20" fmla="*/ 1919 w 10000"/>
              <a:gd name="connsiteY20" fmla="*/ 1851 h 10093"/>
              <a:gd name="connsiteX21" fmla="*/ 1854 w 10000"/>
              <a:gd name="connsiteY21" fmla="*/ 1937 h 10093"/>
              <a:gd name="connsiteX22" fmla="*/ 1794 w 10000"/>
              <a:gd name="connsiteY22" fmla="*/ 2021 h 10093"/>
              <a:gd name="connsiteX23" fmla="*/ 1725 w 10000"/>
              <a:gd name="connsiteY23" fmla="*/ 2111 h 10093"/>
              <a:gd name="connsiteX24" fmla="*/ 1656 w 10000"/>
              <a:gd name="connsiteY24" fmla="*/ 2190 h 10093"/>
              <a:gd name="connsiteX25" fmla="*/ 1583 w 10000"/>
              <a:gd name="connsiteY25" fmla="*/ 2266 h 10093"/>
              <a:gd name="connsiteX26" fmla="*/ 1509 w 10000"/>
              <a:gd name="connsiteY26" fmla="*/ 2349 h 10093"/>
              <a:gd name="connsiteX27" fmla="*/ 1435 w 10000"/>
              <a:gd name="connsiteY27" fmla="*/ 2426 h 10093"/>
              <a:gd name="connsiteX28" fmla="*/ 1356 w 10000"/>
              <a:gd name="connsiteY28" fmla="*/ 2501 h 10093"/>
              <a:gd name="connsiteX29" fmla="*/ 1279 w 10000"/>
              <a:gd name="connsiteY29" fmla="*/ 2580 h 10093"/>
              <a:gd name="connsiteX30" fmla="*/ 1200 w 10000"/>
              <a:gd name="connsiteY30" fmla="*/ 2652 h 10093"/>
              <a:gd name="connsiteX31" fmla="*/ 1113 w 10000"/>
              <a:gd name="connsiteY31" fmla="*/ 2724 h 10093"/>
              <a:gd name="connsiteX32" fmla="*/ 1033 w 10000"/>
              <a:gd name="connsiteY32" fmla="*/ 2792 h 10093"/>
              <a:gd name="connsiteX33" fmla="*/ 946 w 10000"/>
              <a:gd name="connsiteY33" fmla="*/ 2862 h 10093"/>
              <a:gd name="connsiteX34" fmla="*/ 862 w 10000"/>
              <a:gd name="connsiteY34" fmla="*/ 2927 h 10093"/>
              <a:gd name="connsiteX35" fmla="*/ 767 w 10000"/>
              <a:gd name="connsiteY35" fmla="*/ 2994 h 10093"/>
              <a:gd name="connsiteX36" fmla="*/ 679 w 10000"/>
              <a:gd name="connsiteY36" fmla="*/ 3055 h 10093"/>
              <a:gd name="connsiteX37" fmla="*/ 586 w 10000"/>
              <a:gd name="connsiteY37" fmla="*/ 3119 h 10093"/>
              <a:gd name="connsiteX38" fmla="*/ 492 w 10000"/>
              <a:gd name="connsiteY38" fmla="*/ 3177 h 10093"/>
              <a:gd name="connsiteX39" fmla="*/ 394 w 10000"/>
              <a:gd name="connsiteY39" fmla="*/ 3234 h 10093"/>
              <a:gd name="connsiteX40" fmla="*/ 298 w 10000"/>
              <a:gd name="connsiteY40" fmla="*/ 3293 h 10093"/>
              <a:gd name="connsiteX41" fmla="*/ 203 w 10000"/>
              <a:gd name="connsiteY41" fmla="*/ 3347 h 10093"/>
              <a:gd name="connsiteX42" fmla="*/ 101 w 10000"/>
              <a:gd name="connsiteY42" fmla="*/ 3399 h 10093"/>
              <a:gd name="connsiteX43" fmla="*/ 0 w 10000"/>
              <a:gd name="connsiteY43" fmla="*/ 3448 h 10093"/>
              <a:gd name="connsiteX44" fmla="*/ 187 w 10000"/>
              <a:gd name="connsiteY44" fmla="*/ 6991 h 10093"/>
              <a:gd name="connsiteX45" fmla="*/ 1934 w 10000"/>
              <a:gd name="connsiteY45" fmla="*/ 9921 h 10093"/>
              <a:gd name="connsiteX46" fmla="*/ 2457 w 10000"/>
              <a:gd name="connsiteY46" fmla="*/ 9738 h 10093"/>
              <a:gd name="connsiteX47" fmla="*/ 2705 w 10000"/>
              <a:gd name="connsiteY47" fmla="*/ 9636 h 10093"/>
              <a:gd name="connsiteX48" fmla="*/ 2955 w 10000"/>
              <a:gd name="connsiteY48" fmla="*/ 9533 h 10093"/>
              <a:gd name="connsiteX49" fmla="*/ 3206 w 10000"/>
              <a:gd name="connsiteY49" fmla="*/ 9423 h 10093"/>
              <a:gd name="connsiteX50" fmla="*/ 3449 w 10000"/>
              <a:gd name="connsiteY50" fmla="*/ 9311 h 10093"/>
              <a:gd name="connsiteX51" fmla="*/ 3689 w 10000"/>
              <a:gd name="connsiteY51" fmla="*/ 9199 h 10093"/>
              <a:gd name="connsiteX52" fmla="*/ 3930 w 10000"/>
              <a:gd name="connsiteY52" fmla="*/ 9073 h 10093"/>
              <a:gd name="connsiteX53" fmla="*/ 4165 w 10000"/>
              <a:gd name="connsiteY53" fmla="*/ 8950 h 10093"/>
              <a:gd name="connsiteX54" fmla="*/ 4397 w 10000"/>
              <a:gd name="connsiteY54" fmla="*/ 8819 h 10093"/>
              <a:gd name="connsiteX55" fmla="*/ 4628 w 10000"/>
              <a:gd name="connsiteY55" fmla="*/ 8684 h 10093"/>
              <a:gd name="connsiteX56" fmla="*/ 4845 w 10000"/>
              <a:gd name="connsiteY56" fmla="*/ 8549 h 10093"/>
              <a:gd name="connsiteX57" fmla="*/ 5065 w 10000"/>
              <a:gd name="connsiteY57" fmla="*/ 8402 h 10093"/>
              <a:gd name="connsiteX58" fmla="*/ 5285 w 10000"/>
              <a:gd name="connsiteY58" fmla="*/ 8258 h 10093"/>
              <a:gd name="connsiteX59" fmla="*/ 5494 w 10000"/>
              <a:gd name="connsiteY59" fmla="*/ 8108 h 10093"/>
              <a:gd name="connsiteX60" fmla="*/ 5708 w 10000"/>
              <a:gd name="connsiteY60" fmla="*/ 7953 h 10093"/>
              <a:gd name="connsiteX61" fmla="*/ 5911 w 10000"/>
              <a:gd name="connsiteY61" fmla="*/ 7791 h 10093"/>
              <a:gd name="connsiteX62" fmla="*/ 6115 w 10000"/>
              <a:gd name="connsiteY62" fmla="*/ 7631 h 10093"/>
              <a:gd name="connsiteX63" fmla="*/ 6310 w 10000"/>
              <a:gd name="connsiteY63" fmla="*/ 7468 h 10093"/>
              <a:gd name="connsiteX64" fmla="*/ 6508 w 10000"/>
              <a:gd name="connsiteY64" fmla="*/ 7295 h 10093"/>
              <a:gd name="connsiteX65" fmla="*/ 6698 w 10000"/>
              <a:gd name="connsiteY65" fmla="*/ 7118 h 10093"/>
              <a:gd name="connsiteX66" fmla="*/ 6882 w 10000"/>
              <a:gd name="connsiteY66" fmla="*/ 6947 h 10093"/>
              <a:gd name="connsiteX67" fmla="*/ 7064 w 10000"/>
              <a:gd name="connsiteY67" fmla="*/ 6766 h 10093"/>
              <a:gd name="connsiteX68" fmla="*/ 7239 w 10000"/>
              <a:gd name="connsiteY68" fmla="*/ 6580 h 10093"/>
              <a:gd name="connsiteX69" fmla="*/ 7414 w 10000"/>
              <a:gd name="connsiteY69" fmla="*/ 6395 h 10093"/>
              <a:gd name="connsiteX70" fmla="*/ 7582 w 10000"/>
              <a:gd name="connsiteY70" fmla="*/ 6205 h 10093"/>
              <a:gd name="connsiteX71" fmla="*/ 7750 w 10000"/>
              <a:gd name="connsiteY71" fmla="*/ 6009 h 10093"/>
              <a:gd name="connsiteX72" fmla="*/ 7905 w 10000"/>
              <a:gd name="connsiteY72" fmla="*/ 5812 h 10093"/>
              <a:gd name="connsiteX73" fmla="*/ 8057 w 10000"/>
              <a:gd name="connsiteY73" fmla="*/ 5611 h 10093"/>
              <a:gd name="connsiteX74" fmla="*/ 8211 w 10000"/>
              <a:gd name="connsiteY74" fmla="*/ 5411 h 10093"/>
              <a:gd name="connsiteX75" fmla="*/ 8354 w 10000"/>
              <a:gd name="connsiteY75" fmla="*/ 5202 h 10093"/>
              <a:gd name="connsiteX76" fmla="*/ 8493 w 10000"/>
              <a:gd name="connsiteY76" fmla="*/ 4996 h 10093"/>
              <a:gd name="connsiteX77" fmla="*/ 8628 w 10000"/>
              <a:gd name="connsiteY77" fmla="*/ 4783 h 10093"/>
              <a:gd name="connsiteX78" fmla="*/ 8754 w 10000"/>
              <a:gd name="connsiteY78" fmla="*/ 4565 h 10093"/>
              <a:gd name="connsiteX79" fmla="*/ 8877 w 10000"/>
              <a:gd name="connsiteY79" fmla="*/ 4348 h 10093"/>
              <a:gd name="connsiteX80" fmla="*/ 9003 w 10000"/>
              <a:gd name="connsiteY80" fmla="*/ 4129 h 10093"/>
              <a:gd name="connsiteX81" fmla="*/ 9120 w 10000"/>
              <a:gd name="connsiteY81" fmla="*/ 3907 h 10093"/>
              <a:gd name="connsiteX82" fmla="*/ 9224 w 10000"/>
              <a:gd name="connsiteY82" fmla="*/ 3683 h 10093"/>
              <a:gd name="connsiteX83" fmla="*/ 9330 w 10000"/>
              <a:gd name="connsiteY83" fmla="*/ 3455 h 10093"/>
              <a:gd name="connsiteX84" fmla="*/ 9425 w 10000"/>
              <a:gd name="connsiteY84" fmla="*/ 3223 h 10093"/>
              <a:gd name="connsiteX85" fmla="*/ 9520 w 10000"/>
              <a:gd name="connsiteY85" fmla="*/ 2992 h 10093"/>
              <a:gd name="connsiteX86" fmla="*/ 9604 w 10000"/>
              <a:gd name="connsiteY86" fmla="*/ 2756 h 10093"/>
              <a:gd name="connsiteX87" fmla="*/ 9684 w 10000"/>
              <a:gd name="connsiteY87" fmla="*/ 2517 h 10093"/>
              <a:gd name="connsiteX88" fmla="*/ 9758 w 10000"/>
              <a:gd name="connsiteY88" fmla="*/ 2276 h 10093"/>
              <a:gd name="connsiteX89" fmla="*/ 9831 w 10000"/>
              <a:gd name="connsiteY89" fmla="*/ 2038 h 10093"/>
              <a:gd name="connsiteX90" fmla="*/ 9892 w 10000"/>
              <a:gd name="connsiteY90" fmla="*/ 1796 h 10093"/>
              <a:gd name="connsiteX91" fmla="*/ 9951 w 10000"/>
              <a:gd name="connsiteY91" fmla="*/ 1550 h 10093"/>
              <a:gd name="connsiteX92" fmla="*/ 10000 w 10000"/>
              <a:gd name="connsiteY92" fmla="*/ 1300 h 10093"/>
              <a:gd name="connsiteX93" fmla="*/ 6011 w 10000"/>
              <a:gd name="connsiteY93" fmla="*/ 1995 h 10093"/>
              <a:gd name="connsiteX94" fmla="*/ 2680 w 10000"/>
              <a:gd name="connsiteY94" fmla="*/ 0 h 10093"/>
              <a:gd name="connsiteX0" fmla="*/ 2680 w 10000"/>
              <a:gd name="connsiteY0" fmla="*/ 0 h 9916"/>
              <a:gd name="connsiteX1" fmla="*/ 2680 w 10000"/>
              <a:gd name="connsiteY1" fmla="*/ 0 h 9916"/>
              <a:gd name="connsiteX2" fmla="*/ 2665 w 10000"/>
              <a:gd name="connsiteY2" fmla="*/ 106 h 9916"/>
              <a:gd name="connsiteX3" fmla="*/ 2642 w 10000"/>
              <a:gd name="connsiteY3" fmla="*/ 212 h 9916"/>
              <a:gd name="connsiteX4" fmla="*/ 2621 w 10000"/>
              <a:gd name="connsiteY4" fmla="*/ 318 h 9916"/>
              <a:gd name="connsiteX5" fmla="*/ 2594 w 10000"/>
              <a:gd name="connsiteY5" fmla="*/ 418 h 9916"/>
              <a:gd name="connsiteX6" fmla="*/ 2561 w 10000"/>
              <a:gd name="connsiteY6" fmla="*/ 521 h 9916"/>
              <a:gd name="connsiteX7" fmla="*/ 2530 w 10000"/>
              <a:gd name="connsiteY7" fmla="*/ 625 h 9916"/>
              <a:gd name="connsiteX8" fmla="*/ 2502 w 10000"/>
              <a:gd name="connsiteY8" fmla="*/ 724 h 9916"/>
              <a:gd name="connsiteX9" fmla="*/ 2468 w 10000"/>
              <a:gd name="connsiteY9" fmla="*/ 826 h 9916"/>
              <a:gd name="connsiteX10" fmla="*/ 2428 w 10000"/>
              <a:gd name="connsiteY10" fmla="*/ 925 h 9916"/>
              <a:gd name="connsiteX11" fmla="*/ 2386 w 10000"/>
              <a:gd name="connsiteY11" fmla="*/ 1021 h 9916"/>
              <a:gd name="connsiteX12" fmla="*/ 2347 w 10000"/>
              <a:gd name="connsiteY12" fmla="*/ 1121 h 9916"/>
              <a:gd name="connsiteX13" fmla="*/ 2299 w 10000"/>
              <a:gd name="connsiteY13" fmla="*/ 1219 h 9916"/>
              <a:gd name="connsiteX14" fmla="*/ 2248 w 10000"/>
              <a:gd name="connsiteY14" fmla="*/ 1309 h 9916"/>
              <a:gd name="connsiteX15" fmla="*/ 2200 w 10000"/>
              <a:gd name="connsiteY15" fmla="*/ 1403 h 9916"/>
              <a:gd name="connsiteX16" fmla="*/ 2149 w 10000"/>
              <a:gd name="connsiteY16" fmla="*/ 1495 h 9916"/>
              <a:gd name="connsiteX17" fmla="*/ 2092 w 10000"/>
              <a:gd name="connsiteY17" fmla="*/ 1589 h 9916"/>
              <a:gd name="connsiteX18" fmla="*/ 2041 w 10000"/>
              <a:gd name="connsiteY18" fmla="*/ 1681 h 9916"/>
              <a:gd name="connsiteX19" fmla="*/ 1981 w 10000"/>
              <a:gd name="connsiteY19" fmla="*/ 1769 h 9916"/>
              <a:gd name="connsiteX20" fmla="*/ 1919 w 10000"/>
              <a:gd name="connsiteY20" fmla="*/ 1851 h 9916"/>
              <a:gd name="connsiteX21" fmla="*/ 1854 w 10000"/>
              <a:gd name="connsiteY21" fmla="*/ 1937 h 9916"/>
              <a:gd name="connsiteX22" fmla="*/ 1794 w 10000"/>
              <a:gd name="connsiteY22" fmla="*/ 2021 h 9916"/>
              <a:gd name="connsiteX23" fmla="*/ 1725 w 10000"/>
              <a:gd name="connsiteY23" fmla="*/ 2111 h 9916"/>
              <a:gd name="connsiteX24" fmla="*/ 1656 w 10000"/>
              <a:gd name="connsiteY24" fmla="*/ 2190 h 9916"/>
              <a:gd name="connsiteX25" fmla="*/ 1583 w 10000"/>
              <a:gd name="connsiteY25" fmla="*/ 2266 h 9916"/>
              <a:gd name="connsiteX26" fmla="*/ 1509 w 10000"/>
              <a:gd name="connsiteY26" fmla="*/ 2349 h 9916"/>
              <a:gd name="connsiteX27" fmla="*/ 1435 w 10000"/>
              <a:gd name="connsiteY27" fmla="*/ 2426 h 9916"/>
              <a:gd name="connsiteX28" fmla="*/ 1356 w 10000"/>
              <a:gd name="connsiteY28" fmla="*/ 2501 h 9916"/>
              <a:gd name="connsiteX29" fmla="*/ 1279 w 10000"/>
              <a:gd name="connsiteY29" fmla="*/ 2580 h 9916"/>
              <a:gd name="connsiteX30" fmla="*/ 1200 w 10000"/>
              <a:gd name="connsiteY30" fmla="*/ 2652 h 9916"/>
              <a:gd name="connsiteX31" fmla="*/ 1113 w 10000"/>
              <a:gd name="connsiteY31" fmla="*/ 2724 h 9916"/>
              <a:gd name="connsiteX32" fmla="*/ 1033 w 10000"/>
              <a:gd name="connsiteY32" fmla="*/ 2792 h 9916"/>
              <a:gd name="connsiteX33" fmla="*/ 946 w 10000"/>
              <a:gd name="connsiteY33" fmla="*/ 2862 h 9916"/>
              <a:gd name="connsiteX34" fmla="*/ 862 w 10000"/>
              <a:gd name="connsiteY34" fmla="*/ 2927 h 9916"/>
              <a:gd name="connsiteX35" fmla="*/ 767 w 10000"/>
              <a:gd name="connsiteY35" fmla="*/ 2994 h 9916"/>
              <a:gd name="connsiteX36" fmla="*/ 679 w 10000"/>
              <a:gd name="connsiteY36" fmla="*/ 3055 h 9916"/>
              <a:gd name="connsiteX37" fmla="*/ 586 w 10000"/>
              <a:gd name="connsiteY37" fmla="*/ 3119 h 9916"/>
              <a:gd name="connsiteX38" fmla="*/ 492 w 10000"/>
              <a:gd name="connsiteY38" fmla="*/ 3177 h 9916"/>
              <a:gd name="connsiteX39" fmla="*/ 394 w 10000"/>
              <a:gd name="connsiteY39" fmla="*/ 3234 h 9916"/>
              <a:gd name="connsiteX40" fmla="*/ 298 w 10000"/>
              <a:gd name="connsiteY40" fmla="*/ 3293 h 9916"/>
              <a:gd name="connsiteX41" fmla="*/ 203 w 10000"/>
              <a:gd name="connsiteY41" fmla="*/ 3347 h 9916"/>
              <a:gd name="connsiteX42" fmla="*/ 101 w 10000"/>
              <a:gd name="connsiteY42" fmla="*/ 3399 h 9916"/>
              <a:gd name="connsiteX43" fmla="*/ 0 w 10000"/>
              <a:gd name="connsiteY43" fmla="*/ 3448 h 9916"/>
              <a:gd name="connsiteX44" fmla="*/ 187 w 10000"/>
              <a:gd name="connsiteY44" fmla="*/ 6991 h 9916"/>
              <a:gd name="connsiteX45" fmla="*/ 2457 w 10000"/>
              <a:gd name="connsiteY45" fmla="*/ 9738 h 9916"/>
              <a:gd name="connsiteX46" fmla="*/ 2705 w 10000"/>
              <a:gd name="connsiteY46" fmla="*/ 9636 h 9916"/>
              <a:gd name="connsiteX47" fmla="*/ 2955 w 10000"/>
              <a:gd name="connsiteY47" fmla="*/ 9533 h 9916"/>
              <a:gd name="connsiteX48" fmla="*/ 3206 w 10000"/>
              <a:gd name="connsiteY48" fmla="*/ 9423 h 9916"/>
              <a:gd name="connsiteX49" fmla="*/ 3449 w 10000"/>
              <a:gd name="connsiteY49" fmla="*/ 9311 h 9916"/>
              <a:gd name="connsiteX50" fmla="*/ 3689 w 10000"/>
              <a:gd name="connsiteY50" fmla="*/ 9199 h 9916"/>
              <a:gd name="connsiteX51" fmla="*/ 3930 w 10000"/>
              <a:gd name="connsiteY51" fmla="*/ 9073 h 9916"/>
              <a:gd name="connsiteX52" fmla="*/ 4165 w 10000"/>
              <a:gd name="connsiteY52" fmla="*/ 8950 h 9916"/>
              <a:gd name="connsiteX53" fmla="*/ 4397 w 10000"/>
              <a:gd name="connsiteY53" fmla="*/ 8819 h 9916"/>
              <a:gd name="connsiteX54" fmla="*/ 4628 w 10000"/>
              <a:gd name="connsiteY54" fmla="*/ 8684 h 9916"/>
              <a:gd name="connsiteX55" fmla="*/ 4845 w 10000"/>
              <a:gd name="connsiteY55" fmla="*/ 8549 h 9916"/>
              <a:gd name="connsiteX56" fmla="*/ 5065 w 10000"/>
              <a:gd name="connsiteY56" fmla="*/ 8402 h 9916"/>
              <a:gd name="connsiteX57" fmla="*/ 5285 w 10000"/>
              <a:gd name="connsiteY57" fmla="*/ 8258 h 9916"/>
              <a:gd name="connsiteX58" fmla="*/ 5494 w 10000"/>
              <a:gd name="connsiteY58" fmla="*/ 8108 h 9916"/>
              <a:gd name="connsiteX59" fmla="*/ 5708 w 10000"/>
              <a:gd name="connsiteY59" fmla="*/ 7953 h 9916"/>
              <a:gd name="connsiteX60" fmla="*/ 5911 w 10000"/>
              <a:gd name="connsiteY60" fmla="*/ 7791 h 9916"/>
              <a:gd name="connsiteX61" fmla="*/ 6115 w 10000"/>
              <a:gd name="connsiteY61" fmla="*/ 7631 h 9916"/>
              <a:gd name="connsiteX62" fmla="*/ 6310 w 10000"/>
              <a:gd name="connsiteY62" fmla="*/ 7468 h 9916"/>
              <a:gd name="connsiteX63" fmla="*/ 6508 w 10000"/>
              <a:gd name="connsiteY63" fmla="*/ 7295 h 9916"/>
              <a:gd name="connsiteX64" fmla="*/ 6698 w 10000"/>
              <a:gd name="connsiteY64" fmla="*/ 7118 h 9916"/>
              <a:gd name="connsiteX65" fmla="*/ 6882 w 10000"/>
              <a:gd name="connsiteY65" fmla="*/ 6947 h 9916"/>
              <a:gd name="connsiteX66" fmla="*/ 7064 w 10000"/>
              <a:gd name="connsiteY66" fmla="*/ 6766 h 9916"/>
              <a:gd name="connsiteX67" fmla="*/ 7239 w 10000"/>
              <a:gd name="connsiteY67" fmla="*/ 6580 h 9916"/>
              <a:gd name="connsiteX68" fmla="*/ 7414 w 10000"/>
              <a:gd name="connsiteY68" fmla="*/ 6395 h 9916"/>
              <a:gd name="connsiteX69" fmla="*/ 7582 w 10000"/>
              <a:gd name="connsiteY69" fmla="*/ 6205 h 9916"/>
              <a:gd name="connsiteX70" fmla="*/ 7750 w 10000"/>
              <a:gd name="connsiteY70" fmla="*/ 6009 h 9916"/>
              <a:gd name="connsiteX71" fmla="*/ 7905 w 10000"/>
              <a:gd name="connsiteY71" fmla="*/ 5812 h 9916"/>
              <a:gd name="connsiteX72" fmla="*/ 8057 w 10000"/>
              <a:gd name="connsiteY72" fmla="*/ 5611 h 9916"/>
              <a:gd name="connsiteX73" fmla="*/ 8211 w 10000"/>
              <a:gd name="connsiteY73" fmla="*/ 5411 h 9916"/>
              <a:gd name="connsiteX74" fmla="*/ 8354 w 10000"/>
              <a:gd name="connsiteY74" fmla="*/ 5202 h 9916"/>
              <a:gd name="connsiteX75" fmla="*/ 8493 w 10000"/>
              <a:gd name="connsiteY75" fmla="*/ 4996 h 9916"/>
              <a:gd name="connsiteX76" fmla="*/ 8628 w 10000"/>
              <a:gd name="connsiteY76" fmla="*/ 4783 h 9916"/>
              <a:gd name="connsiteX77" fmla="*/ 8754 w 10000"/>
              <a:gd name="connsiteY77" fmla="*/ 4565 h 9916"/>
              <a:gd name="connsiteX78" fmla="*/ 8877 w 10000"/>
              <a:gd name="connsiteY78" fmla="*/ 4348 h 9916"/>
              <a:gd name="connsiteX79" fmla="*/ 9003 w 10000"/>
              <a:gd name="connsiteY79" fmla="*/ 4129 h 9916"/>
              <a:gd name="connsiteX80" fmla="*/ 9120 w 10000"/>
              <a:gd name="connsiteY80" fmla="*/ 3907 h 9916"/>
              <a:gd name="connsiteX81" fmla="*/ 9224 w 10000"/>
              <a:gd name="connsiteY81" fmla="*/ 3683 h 9916"/>
              <a:gd name="connsiteX82" fmla="*/ 9330 w 10000"/>
              <a:gd name="connsiteY82" fmla="*/ 3455 h 9916"/>
              <a:gd name="connsiteX83" fmla="*/ 9425 w 10000"/>
              <a:gd name="connsiteY83" fmla="*/ 3223 h 9916"/>
              <a:gd name="connsiteX84" fmla="*/ 9520 w 10000"/>
              <a:gd name="connsiteY84" fmla="*/ 2992 h 9916"/>
              <a:gd name="connsiteX85" fmla="*/ 9604 w 10000"/>
              <a:gd name="connsiteY85" fmla="*/ 2756 h 9916"/>
              <a:gd name="connsiteX86" fmla="*/ 9684 w 10000"/>
              <a:gd name="connsiteY86" fmla="*/ 2517 h 9916"/>
              <a:gd name="connsiteX87" fmla="*/ 9758 w 10000"/>
              <a:gd name="connsiteY87" fmla="*/ 2276 h 9916"/>
              <a:gd name="connsiteX88" fmla="*/ 9831 w 10000"/>
              <a:gd name="connsiteY88" fmla="*/ 2038 h 9916"/>
              <a:gd name="connsiteX89" fmla="*/ 9892 w 10000"/>
              <a:gd name="connsiteY89" fmla="*/ 1796 h 9916"/>
              <a:gd name="connsiteX90" fmla="*/ 9951 w 10000"/>
              <a:gd name="connsiteY90" fmla="*/ 1550 h 9916"/>
              <a:gd name="connsiteX91" fmla="*/ 10000 w 10000"/>
              <a:gd name="connsiteY91" fmla="*/ 1300 h 9916"/>
              <a:gd name="connsiteX92" fmla="*/ 6011 w 10000"/>
              <a:gd name="connsiteY92" fmla="*/ 1995 h 9916"/>
              <a:gd name="connsiteX93" fmla="*/ 2680 w 10000"/>
              <a:gd name="connsiteY93" fmla="*/ 0 h 9916"/>
              <a:gd name="connsiteX0" fmla="*/ 2680 w 10000"/>
              <a:gd name="connsiteY0" fmla="*/ 0 h 9890"/>
              <a:gd name="connsiteX1" fmla="*/ 2680 w 10000"/>
              <a:gd name="connsiteY1" fmla="*/ 0 h 9890"/>
              <a:gd name="connsiteX2" fmla="*/ 2665 w 10000"/>
              <a:gd name="connsiteY2" fmla="*/ 107 h 9890"/>
              <a:gd name="connsiteX3" fmla="*/ 2642 w 10000"/>
              <a:gd name="connsiteY3" fmla="*/ 214 h 9890"/>
              <a:gd name="connsiteX4" fmla="*/ 2621 w 10000"/>
              <a:gd name="connsiteY4" fmla="*/ 321 h 9890"/>
              <a:gd name="connsiteX5" fmla="*/ 2594 w 10000"/>
              <a:gd name="connsiteY5" fmla="*/ 422 h 9890"/>
              <a:gd name="connsiteX6" fmla="*/ 2561 w 10000"/>
              <a:gd name="connsiteY6" fmla="*/ 525 h 9890"/>
              <a:gd name="connsiteX7" fmla="*/ 2530 w 10000"/>
              <a:gd name="connsiteY7" fmla="*/ 630 h 9890"/>
              <a:gd name="connsiteX8" fmla="*/ 2502 w 10000"/>
              <a:gd name="connsiteY8" fmla="*/ 730 h 9890"/>
              <a:gd name="connsiteX9" fmla="*/ 2468 w 10000"/>
              <a:gd name="connsiteY9" fmla="*/ 833 h 9890"/>
              <a:gd name="connsiteX10" fmla="*/ 2428 w 10000"/>
              <a:gd name="connsiteY10" fmla="*/ 933 h 9890"/>
              <a:gd name="connsiteX11" fmla="*/ 2386 w 10000"/>
              <a:gd name="connsiteY11" fmla="*/ 1030 h 9890"/>
              <a:gd name="connsiteX12" fmla="*/ 2347 w 10000"/>
              <a:gd name="connsiteY12" fmla="*/ 1130 h 9890"/>
              <a:gd name="connsiteX13" fmla="*/ 2299 w 10000"/>
              <a:gd name="connsiteY13" fmla="*/ 1229 h 9890"/>
              <a:gd name="connsiteX14" fmla="*/ 2248 w 10000"/>
              <a:gd name="connsiteY14" fmla="*/ 1320 h 9890"/>
              <a:gd name="connsiteX15" fmla="*/ 2200 w 10000"/>
              <a:gd name="connsiteY15" fmla="*/ 1415 h 9890"/>
              <a:gd name="connsiteX16" fmla="*/ 2149 w 10000"/>
              <a:gd name="connsiteY16" fmla="*/ 1508 h 9890"/>
              <a:gd name="connsiteX17" fmla="*/ 2092 w 10000"/>
              <a:gd name="connsiteY17" fmla="*/ 1602 h 9890"/>
              <a:gd name="connsiteX18" fmla="*/ 2041 w 10000"/>
              <a:gd name="connsiteY18" fmla="*/ 1695 h 9890"/>
              <a:gd name="connsiteX19" fmla="*/ 1981 w 10000"/>
              <a:gd name="connsiteY19" fmla="*/ 1784 h 9890"/>
              <a:gd name="connsiteX20" fmla="*/ 1919 w 10000"/>
              <a:gd name="connsiteY20" fmla="*/ 1867 h 9890"/>
              <a:gd name="connsiteX21" fmla="*/ 1854 w 10000"/>
              <a:gd name="connsiteY21" fmla="*/ 1953 h 9890"/>
              <a:gd name="connsiteX22" fmla="*/ 1794 w 10000"/>
              <a:gd name="connsiteY22" fmla="*/ 2038 h 9890"/>
              <a:gd name="connsiteX23" fmla="*/ 1725 w 10000"/>
              <a:gd name="connsiteY23" fmla="*/ 2129 h 9890"/>
              <a:gd name="connsiteX24" fmla="*/ 1656 w 10000"/>
              <a:gd name="connsiteY24" fmla="*/ 2209 h 9890"/>
              <a:gd name="connsiteX25" fmla="*/ 1583 w 10000"/>
              <a:gd name="connsiteY25" fmla="*/ 2285 h 9890"/>
              <a:gd name="connsiteX26" fmla="*/ 1509 w 10000"/>
              <a:gd name="connsiteY26" fmla="*/ 2369 h 9890"/>
              <a:gd name="connsiteX27" fmla="*/ 1435 w 10000"/>
              <a:gd name="connsiteY27" fmla="*/ 2447 h 9890"/>
              <a:gd name="connsiteX28" fmla="*/ 1356 w 10000"/>
              <a:gd name="connsiteY28" fmla="*/ 2522 h 9890"/>
              <a:gd name="connsiteX29" fmla="*/ 1279 w 10000"/>
              <a:gd name="connsiteY29" fmla="*/ 2602 h 9890"/>
              <a:gd name="connsiteX30" fmla="*/ 1200 w 10000"/>
              <a:gd name="connsiteY30" fmla="*/ 2674 h 9890"/>
              <a:gd name="connsiteX31" fmla="*/ 1113 w 10000"/>
              <a:gd name="connsiteY31" fmla="*/ 2747 h 9890"/>
              <a:gd name="connsiteX32" fmla="*/ 1033 w 10000"/>
              <a:gd name="connsiteY32" fmla="*/ 2816 h 9890"/>
              <a:gd name="connsiteX33" fmla="*/ 946 w 10000"/>
              <a:gd name="connsiteY33" fmla="*/ 2886 h 9890"/>
              <a:gd name="connsiteX34" fmla="*/ 862 w 10000"/>
              <a:gd name="connsiteY34" fmla="*/ 2952 h 9890"/>
              <a:gd name="connsiteX35" fmla="*/ 767 w 10000"/>
              <a:gd name="connsiteY35" fmla="*/ 3019 h 9890"/>
              <a:gd name="connsiteX36" fmla="*/ 679 w 10000"/>
              <a:gd name="connsiteY36" fmla="*/ 3081 h 9890"/>
              <a:gd name="connsiteX37" fmla="*/ 586 w 10000"/>
              <a:gd name="connsiteY37" fmla="*/ 3145 h 9890"/>
              <a:gd name="connsiteX38" fmla="*/ 492 w 10000"/>
              <a:gd name="connsiteY38" fmla="*/ 3204 h 9890"/>
              <a:gd name="connsiteX39" fmla="*/ 394 w 10000"/>
              <a:gd name="connsiteY39" fmla="*/ 3261 h 9890"/>
              <a:gd name="connsiteX40" fmla="*/ 298 w 10000"/>
              <a:gd name="connsiteY40" fmla="*/ 3321 h 9890"/>
              <a:gd name="connsiteX41" fmla="*/ 203 w 10000"/>
              <a:gd name="connsiteY41" fmla="*/ 3375 h 9890"/>
              <a:gd name="connsiteX42" fmla="*/ 101 w 10000"/>
              <a:gd name="connsiteY42" fmla="*/ 3428 h 9890"/>
              <a:gd name="connsiteX43" fmla="*/ 0 w 10000"/>
              <a:gd name="connsiteY43" fmla="*/ 3477 h 9890"/>
              <a:gd name="connsiteX44" fmla="*/ 187 w 10000"/>
              <a:gd name="connsiteY44" fmla="*/ 7050 h 9890"/>
              <a:gd name="connsiteX45" fmla="*/ 2705 w 10000"/>
              <a:gd name="connsiteY45" fmla="*/ 9718 h 9890"/>
              <a:gd name="connsiteX46" fmla="*/ 2955 w 10000"/>
              <a:gd name="connsiteY46" fmla="*/ 9614 h 9890"/>
              <a:gd name="connsiteX47" fmla="*/ 3206 w 10000"/>
              <a:gd name="connsiteY47" fmla="*/ 9503 h 9890"/>
              <a:gd name="connsiteX48" fmla="*/ 3449 w 10000"/>
              <a:gd name="connsiteY48" fmla="*/ 9390 h 9890"/>
              <a:gd name="connsiteX49" fmla="*/ 3689 w 10000"/>
              <a:gd name="connsiteY49" fmla="*/ 9277 h 9890"/>
              <a:gd name="connsiteX50" fmla="*/ 3930 w 10000"/>
              <a:gd name="connsiteY50" fmla="*/ 9150 h 9890"/>
              <a:gd name="connsiteX51" fmla="*/ 4165 w 10000"/>
              <a:gd name="connsiteY51" fmla="*/ 9026 h 9890"/>
              <a:gd name="connsiteX52" fmla="*/ 4397 w 10000"/>
              <a:gd name="connsiteY52" fmla="*/ 8894 h 9890"/>
              <a:gd name="connsiteX53" fmla="*/ 4628 w 10000"/>
              <a:gd name="connsiteY53" fmla="*/ 8758 h 9890"/>
              <a:gd name="connsiteX54" fmla="*/ 4845 w 10000"/>
              <a:gd name="connsiteY54" fmla="*/ 8621 h 9890"/>
              <a:gd name="connsiteX55" fmla="*/ 5065 w 10000"/>
              <a:gd name="connsiteY55" fmla="*/ 8473 h 9890"/>
              <a:gd name="connsiteX56" fmla="*/ 5285 w 10000"/>
              <a:gd name="connsiteY56" fmla="*/ 8328 h 9890"/>
              <a:gd name="connsiteX57" fmla="*/ 5494 w 10000"/>
              <a:gd name="connsiteY57" fmla="*/ 8177 h 9890"/>
              <a:gd name="connsiteX58" fmla="*/ 5708 w 10000"/>
              <a:gd name="connsiteY58" fmla="*/ 8020 h 9890"/>
              <a:gd name="connsiteX59" fmla="*/ 5911 w 10000"/>
              <a:gd name="connsiteY59" fmla="*/ 7857 h 9890"/>
              <a:gd name="connsiteX60" fmla="*/ 6115 w 10000"/>
              <a:gd name="connsiteY60" fmla="*/ 7696 h 9890"/>
              <a:gd name="connsiteX61" fmla="*/ 6310 w 10000"/>
              <a:gd name="connsiteY61" fmla="*/ 7531 h 9890"/>
              <a:gd name="connsiteX62" fmla="*/ 6508 w 10000"/>
              <a:gd name="connsiteY62" fmla="*/ 7357 h 9890"/>
              <a:gd name="connsiteX63" fmla="*/ 6698 w 10000"/>
              <a:gd name="connsiteY63" fmla="*/ 7178 h 9890"/>
              <a:gd name="connsiteX64" fmla="*/ 6882 w 10000"/>
              <a:gd name="connsiteY64" fmla="*/ 7006 h 9890"/>
              <a:gd name="connsiteX65" fmla="*/ 7064 w 10000"/>
              <a:gd name="connsiteY65" fmla="*/ 6823 h 9890"/>
              <a:gd name="connsiteX66" fmla="*/ 7239 w 10000"/>
              <a:gd name="connsiteY66" fmla="*/ 6636 h 9890"/>
              <a:gd name="connsiteX67" fmla="*/ 7414 w 10000"/>
              <a:gd name="connsiteY67" fmla="*/ 6449 h 9890"/>
              <a:gd name="connsiteX68" fmla="*/ 7582 w 10000"/>
              <a:gd name="connsiteY68" fmla="*/ 6258 h 9890"/>
              <a:gd name="connsiteX69" fmla="*/ 7750 w 10000"/>
              <a:gd name="connsiteY69" fmla="*/ 6060 h 9890"/>
              <a:gd name="connsiteX70" fmla="*/ 7905 w 10000"/>
              <a:gd name="connsiteY70" fmla="*/ 5861 h 9890"/>
              <a:gd name="connsiteX71" fmla="*/ 8057 w 10000"/>
              <a:gd name="connsiteY71" fmla="*/ 5659 h 9890"/>
              <a:gd name="connsiteX72" fmla="*/ 8211 w 10000"/>
              <a:gd name="connsiteY72" fmla="*/ 5457 h 9890"/>
              <a:gd name="connsiteX73" fmla="*/ 8354 w 10000"/>
              <a:gd name="connsiteY73" fmla="*/ 5246 h 9890"/>
              <a:gd name="connsiteX74" fmla="*/ 8493 w 10000"/>
              <a:gd name="connsiteY74" fmla="*/ 5038 h 9890"/>
              <a:gd name="connsiteX75" fmla="*/ 8628 w 10000"/>
              <a:gd name="connsiteY75" fmla="*/ 4824 h 9890"/>
              <a:gd name="connsiteX76" fmla="*/ 8754 w 10000"/>
              <a:gd name="connsiteY76" fmla="*/ 4604 h 9890"/>
              <a:gd name="connsiteX77" fmla="*/ 8877 w 10000"/>
              <a:gd name="connsiteY77" fmla="*/ 4385 h 9890"/>
              <a:gd name="connsiteX78" fmla="*/ 9003 w 10000"/>
              <a:gd name="connsiteY78" fmla="*/ 4164 h 9890"/>
              <a:gd name="connsiteX79" fmla="*/ 9120 w 10000"/>
              <a:gd name="connsiteY79" fmla="*/ 3940 h 9890"/>
              <a:gd name="connsiteX80" fmla="*/ 9224 w 10000"/>
              <a:gd name="connsiteY80" fmla="*/ 3714 h 9890"/>
              <a:gd name="connsiteX81" fmla="*/ 9330 w 10000"/>
              <a:gd name="connsiteY81" fmla="*/ 3484 h 9890"/>
              <a:gd name="connsiteX82" fmla="*/ 9425 w 10000"/>
              <a:gd name="connsiteY82" fmla="*/ 3250 h 9890"/>
              <a:gd name="connsiteX83" fmla="*/ 9520 w 10000"/>
              <a:gd name="connsiteY83" fmla="*/ 3017 h 9890"/>
              <a:gd name="connsiteX84" fmla="*/ 9604 w 10000"/>
              <a:gd name="connsiteY84" fmla="*/ 2779 h 9890"/>
              <a:gd name="connsiteX85" fmla="*/ 9684 w 10000"/>
              <a:gd name="connsiteY85" fmla="*/ 2538 h 9890"/>
              <a:gd name="connsiteX86" fmla="*/ 9758 w 10000"/>
              <a:gd name="connsiteY86" fmla="*/ 2295 h 9890"/>
              <a:gd name="connsiteX87" fmla="*/ 9831 w 10000"/>
              <a:gd name="connsiteY87" fmla="*/ 2055 h 9890"/>
              <a:gd name="connsiteX88" fmla="*/ 9892 w 10000"/>
              <a:gd name="connsiteY88" fmla="*/ 1811 h 9890"/>
              <a:gd name="connsiteX89" fmla="*/ 9951 w 10000"/>
              <a:gd name="connsiteY89" fmla="*/ 1563 h 9890"/>
              <a:gd name="connsiteX90" fmla="*/ 10000 w 10000"/>
              <a:gd name="connsiteY90" fmla="*/ 1311 h 9890"/>
              <a:gd name="connsiteX91" fmla="*/ 6011 w 10000"/>
              <a:gd name="connsiteY91" fmla="*/ 2012 h 9890"/>
              <a:gd name="connsiteX92" fmla="*/ 2680 w 10000"/>
              <a:gd name="connsiteY92" fmla="*/ 0 h 9890"/>
              <a:gd name="connsiteX0" fmla="*/ 2680 w 10000"/>
              <a:gd name="connsiteY0" fmla="*/ 0 h 9721"/>
              <a:gd name="connsiteX1" fmla="*/ 2680 w 10000"/>
              <a:gd name="connsiteY1" fmla="*/ 0 h 9721"/>
              <a:gd name="connsiteX2" fmla="*/ 2665 w 10000"/>
              <a:gd name="connsiteY2" fmla="*/ 108 h 9721"/>
              <a:gd name="connsiteX3" fmla="*/ 2642 w 10000"/>
              <a:gd name="connsiteY3" fmla="*/ 216 h 9721"/>
              <a:gd name="connsiteX4" fmla="*/ 2621 w 10000"/>
              <a:gd name="connsiteY4" fmla="*/ 325 h 9721"/>
              <a:gd name="connsiteX5" fmla="*/ 2594 w 10000"/>
              <a:gd name="connsiteY5" fmla="*/ 427 h 9721"/>
              <a:gd name="connsiteX6" fmla="*/ 2561 w 10000"/>
              <a:gd name="connsiteY6" fmla="*/ 531 h 9721"/>
              <a:gd name="connsiteX7" fmla="*/ 2530 w 10000"/>
              <a:gd name="connsiteY7" fmla="*/ 637 h 9721"/>
              <a:gd name="connsiteX8" fmla="*/ 2502 w 10000"/>
              <a:gd name="connsiteY8" fmla="*/ 738 h 9721"/>
              <a:gd name="connsiteX9" fmla="*/ 2468 w 10000"/>
              <a:gd name="connsiteY9" fmla="*/ 842 h 9721"/>
              <a:gd name="connsiteX10" fmla="*/ 2428 w 10000"/>
              <a:gd name="connsiteY10" fmla="*/ 943 h 9721"/>
              <a:gd name="connsiteX11" fmla="*/ 2386 w 10000"/>
              <a:gd name="connsiteY11" fmla="*/ 1041 h 9721"/>
              <a:gd name="connsiteX12" fmla="*/ 2347 w 10000"/>
              <a:gd name="connsiteY12" fmla="*/ 1143 h 9721"/>
              <a:gd name="connsiteX13" fmla="*/ 2299 w 10000"/>
              <a:gd name="connsiteY13" fmla="*/ 1243 h 9721"/>
              <a:gd name="connsiteX14" fmla="*/ 2248 w 10000"/>
              <a:gd name="connsiteY14" fmla="*/ 1335 h 9721"/>
              <a:gd name="connsiteX15" fmla="*/ 2200 w 10000"/>
              <a:gd name="connsiteY15" fmla="*/ 1431 h 9721"/>
              <a:gd name="connsiteX16" fmla="*/ 2149 w 10000"/>
              <a:gd name="connsiteY16" fmla="*/ 1525 h 9721"/>
              <a:gd name="connsiteX17" fmla="*/ 2092 w 10000"/>
              <a:gd name="connsiteY17" fmla="*/ 1620 h 9721"/>
              <a:gd name="connsiteX18" fmla="*/ 2041 w 10000"/>
              <a:gd name="connsiteY18" fmla="*/ 1714 h 9721"/>
              <a:gd name="connsiteX19" fmla="*/ 1981 w 10000"/>
              <a:gd name="connsiteY19" fmla="*/ 1804 h 9721"/>
              <a:gd name="connsiteX20" fmla="*/ 1919 w 10000"/>
              <a:gd name="connsiteY20" fmla="*/ 1888 h 9721"/>
              <a:gd name="connsiteX21" fmla="*/ 1854 w 10000"/>
              <a:gd name="connsiteY21" fmla="*/ 1975 h 9721"/>
              <a:gd name="connsiteX22" fmla="*/ 1794 w 10000"/>
              <a:gd name="connsiteY22" fmla="*/ 2061 h 9721"/>
              <a:gd name="connsiteX23" fmla="*/ 1725 w 10000"/>
              <a:gd name="connsiteY23" fmla="*/ 2153 h 9721"/>
              <a:gd name="connsiteX24" fmla="*/ 1656 w 10000"/>
              <a:gd name="connsiteY24" fmla="*/ 2234 h 9721"/>
              <a:gd name="connsiteX25" fmla="*/ 1583 w 10000"/>
              <a:gd name="connsiteY25" fmla="*/ 2310 h 9721"/>
              <a:gd name="connsiteX26" fmla="*/ 1509 w 10000"/>
              <a:gd name="connsiteY26" fmla="*/ 2395 h 9721"/>
              <a:gd name="connsiteX27" fmla="*/ 1435 w 10000"/>
              <a:gd name="connsiteY27" fmla="*/ 2474 h 9721"/>
              <a:gd name="connsiteX28" fmla="*/ 1356 w 10000"/>
              <a:gd name="connsiteY28" fmla="*/ 2550 h 9721"/>
              <a:gd name="connsiteX29" fmla="*/ 1279 w 10000"/>
              <a:gd name="connsiteY29" fmla="*/ 2631 h 9721"/>
              <a:gd name="connsiteX30" fmla="*/ 1200 w 10000"/>
              <a:gd name="connsiteY30" fmla="*/ 2704 h 9721"/>
              <a:gd name="connsiteX31" fmla="*/ 1113 w 10000"/>
              <a:gd name="connsiteY31" fmla="*/ 2778 h 9721"/>
              <a:gd name="connsiteX32" fmla="*/ 1033 w 10000"/>
              <a:gd name="connsiteY32" fmla="*/ 2847 h 9721"/>
              <a:gd name="connsiteX33" fmla="*/ 946 w 10000"/>
              <a:gd name="connsiteY33" fmla="*/ 2918 h 9721"/>
              <a:gd name="connsiteX34" fmla="*/ 862 w 10000"/>
              <a:gd name="connsiteY34" fmla="*/ 2985 h 9721"/>
              <a:gd name="connsiteX35" fmla="*/ 767 w 10000"/>
              <a:gd name="connsiteY35" fmla="*/ 3053 h 9721"/>
              <a:gd name="connsiteX36" fmla="*/ 679 w 10000"/>
              <a:gd name="connsiteY36" fmla="*/ 3115 h 9721"/>
              <a:gd name="connsiteX37" fmla="*/ 586 w 10000"/>
              <a:gd name="connsiteY37" fmla="*/ 3180 h 9721"/>
              <a:gd name="connsiteX38" fmla="*/ 492 w 10000"/>
              <a:gd name="connsiteY38" fmla="*/ 3240 h 9721"/>
              <a:gd name="connsiteX39" fmla="*/ 394 w 10000"/>
              <a:gd name="connsiteY39" fmla="*/ 3297 h 9721"/>
              <a:gd name="connsiteX40" fmla="*/ 298 w 10000"/>
              <a:gd name="connsiteY40" fmla="*/ 3358 h 9721"/>
              <a:gd name="connsiteX41" fmla="*/ 203 w 10000"/>
              <a:gd name="connsiteY41" fmla="*/ 3413 h 9721"/>
              <a:gd name="connsiteX42" fmla="*/ 101 w 10000"/>
              <a:gd name="connsiteY42" fmla="*/ 3466 h 9721"/>
              <a:gd name="connsiteX43" fmla="*/ 0 w 10000"/>
              <a:gd name="connsiteY43" fmla="*/ 3516 h 9721"/>
              <a:gd name="connsiteX44" fmla="*/ 187 w 10000"/>
              <a:gd name="connsiteY44" fmla="*/ 7128 h 9721"/>
              <a:gd name="connsiteX45" fmla="*/ 2955 w 10000"/>
              <a:gd name="connsiteY45" fmla="*/ 9721 h 9721"/>
              <a:gd name="connsiteX46" fmla="*/ 3206 w 10000"/>
              <a:gd name="connsiteY46" fmla="*/ 9609 h 9721"/>
              <a:gd name="connsiteX47" fmla="*/ 3449 w 10000"/>
              <a:gd name="connsiteY47" fmla="*/ 9494 h 9721"/>
              <a:gd name="connsiteX48" fmla="*/ 3689 w 10000"/>
              <a:gd name="connsiteY48" fmla="*/ 9380 h 9721"/>
              <a:gd name="connsiteX49" fmla="*/ 3930 w 10000"/>
              <a:gd name="connsiteY49" fmla="*/ 9252 h 9721"/>
              <a:gd name="connsiteX50" fmla="*/ 4165 w 10000"/>
              <a:gd name="connsiteY50" fmla="*/ 9126 h 9721"/>
              <a:gd name="connsiteX51" fmla="*/ 4397 w 10000"/>
              <a:gd name="connsiteY51" fmla="*/ 8993 h 9721"/>
              <a:gd name="connsiteX52" fmla="*/ 4628 w 10000"/>
              <a:gd name="connsiteY52" fmla="*/ 8855 h 9721"/>
              <a:gd name="connsiteX53" fmla="*/ 4845 w 10000"/>
              <a:gd name="connsiteY53" fmla="*/ 8717 h 9721"/>
              <a:gd name="connsiteX54" fmla="*/ 5065 w 10000"/>
              <a:gd name="connsiteY54" fmla="*/ 8567 h 9721"/>
              <a:gd name="connsiteX55" fmla="*/ 5285 w 10000"/>
              <a:gd name="connsiteY55" fmla="*/ 8421 h 9721"/>
              <a:gd name="connsiteX56" fmla="*/ 5494 w 10000"/>
              <a:gd name="connsiteY56" fmla="*/ 8268 h 9721"/>
              <a:gd name="connsiteX57" fmla="*/ 5708 w 10000"/>
              <a:gd name="connsiteY57" fmla="*/ 8109 h 9721"/>
              <a:gd name="connsiteX58" fmla="*/ 5911 w 10000"/>
              <a:gd name="connsiteY58" fmla="*/ 7944 h 9721"/>
              <a:gd name="connsiteX59" fmla="*/ 6115 w 10000"/>
              <a:gd name="connsiteY59" fmla="*/ 7782 h 9721"/>
              <a:gd name="connsiteX60" fmla="*/ 6310 w 10000"/>
              <a:gd name="connsiteY60" fmla="*/ 7615 h 9721"/>
              <a:gd name="connsiteX61" fmla="*/ 6508 w 10000"/>
              <a:gd name="connsiteY61" fmla="*/ 7439 h 9721"/>
              <a:gd name="connsiteX62" fmla="*/ 6698 w 10000"/>
              <a:gd name="connsiteY62" fmla="*/ 7258 h 9721"/>
              <a:gd name="connsiteX63" fmla="*/ 6882 w 10000"/>
              <a:gd name="connsiteY63" fmla="*/ 7084 h 9721"/>
              <a:gd name="connsiteX64" fmla="*/ 7064 w 10000"/>
              <a:gd name="connsiteY64" fmla="*/ 6899 h 9721"/>
              <a:gd name="connsiteX65" fmla="*/ 7239 w 10000"/>
              <a:gd name="connsiteY65" fmla="*/ 6710 h 9721"/>
              <a:gd name="connsiteX66" fmla="*/ 7414 w 10000"/>
              <a:gd name="connsiteY66" fmla="*/ 6521 h 9721"/>
              <a:gd name="connsiteX67" fmla="*/ 7582 w 10000"/>
              <a:gd name="connsiteY67" fmla="*/ 6328 h 9721"/>
              <a:gd name="connsiteX68" fmla="*/ 7750 w 10000"/>
              <a:gd name="connsiteY68" fmla="*/ 6127 h 9721"/>
              <a:gd name="connsiteX69" fmla="*/ 7905 w 10000"/>
              <a:gd name="connsiteY69" fmla="*/ 5926 h 9721"/>
              <a:gd name="connsiteX70" fmla="*/ 8057 w 10000"/>
              <a:gd name="connsiteY70" fmla="*/ 5722 h 9721"/>
              <a:gd name="connsiteX71" fmla="*/ 8211 w 10000"/>
              <a:gd name="connsiteY71" fmla="*/ 5518 h 9721"/>
              <a:gd name="connsiteX72" fmla="*/ 8354 w 10000"/>
              <a:gd name="connsiteY72" fmla="*/ 5304 h 9721"/>
              <a:gd name="connsiteX73" fmla="*/ 8493 w 10000"/>
              <a:gd name="connsiteY73" fmla="*/ 5094 h 9721"/>
              <a:gd name="connsiteX74" fmla="*/ 8628 w 10000"/>
              <a:gd name="connsiteY74" fmla="*/ 4878 h 9721"/>
              <a:gd name="connsiteX75" fmla="*/ 8754 w 10000"/>
              <a:gd name="connsiteY75" fmla="*/ 4655 h 9721"/>
              <a:gd name="connsiteX76" fmla="*/ 8877 w 10000"/>
              <a:gd name="connsiteY76" fmla="*/ 4434 h 9721"/>
              <a:gd name="connsiteX77" fmla="*/ 9003 w 10000"/>
              <a:gd name="connsiteY77" fmla="*/ 4210 h 9721"/>
              <a:gd name="connsiteX78" fmla="*/ 9120 w 10000"/>
              <a:gd name="connsiteY78" fmla="*/ 3984 h 9721"/>
              <a:gd name="connsiteX79" fmla="*/ 9224 w 10000"/>
              <a:gd name="connsiteY79" fmla="*/ 3755 h 9721"/>
              <a:gd name="connsiteX80" fmla="*/ 9330 w 10000"/>
              <a:gd name="connsiteY80" fmla="*/ 3523 h 9721"/>
              <a:gd name="connsiteX81" fmla="*/ 9425 w 10000"/>
              <a:gd name="connsiteY81" fmla="*/ 3286 h 9721"/>
              <a:gd name="connsiteX82" fmla="*/ 9520 w 10000"/>
              <a:gd name="connsiteY82" fmla="*/ 3051 h 9721"/>
              <a:gd name="connsiteX83" fmla="*/ 9604 w 10000"/>
              <a:gd name="connsiteY83" fmla="*/ 2810 h 9721"/>
              <a:gd name="connsiteX84" fmla="*/ 9684 w 10000"/>
              <a:gd name="connsiteY84" fmla="*/ 2566 h 9721"/>
              <a:gd name="connsiteX85" fmla="*/ 9758 w 10000"/>
              <a:gd name="connsiteY85" fmla="*/ 2321 h 9721"/>
              <a:gd name="connsiteX86" fmla="*/ 9831 w 10000"/>
              <a:gd name="connsiteY86" fmla="*/ 2078 h 9721"/>
              <a:gd name="connsiteX87" fmla="*/ 9892 w 10000"/>
              <a:gd name="connsiteY87" fmla="*/ 1831 h 9721"/>
              <a:gd name="connsiteX88" fmla="*/ 9951 w 10000"/>
              <a:gd name="connsiteY88" fmla="*/ 1580 h 9721"/>
              <a:gd name="connsiteX89" fmla="*/ 10000 w 10000"/>
              <a:gd name="connsiteY89" fmla="*/ 1326 h 9721"/>
              <a:gd name="connsiteX90" fmla="*/ 6011 w 10000"/>
              <a:gd name="connsiteY90" fmla="*/ 2034 h 9721"/>
              <a:gd name="connsiteX91" fmla="*/ 2680 w 10000"/>
              <a:gd name="connsiteY91" fmla="*/ 0 h 9721"/>
              <a:gd name="connsiteX0" fmla="*/ 2680 w 10000"/>
              <a:gd name="connsiteY0" fmla="*/ 0 h 10045"/>
              <a:gd name="connsiteX1" fmla="*/ 2680 w 10000"/>
              <a:gd name="connsiteY1" fmla="*/ 0 h 10045"/>
              <a:gd name="connsiteX2" fmla="*/ 2665 w 10000"/>
              <a:gd name="connsiteY2" fmla="*/ 111 h 10045"/>
              <a:gd name="connsiteX3" fmla="*/ 2642 w 10000"/>
              <a:gd name="connsiteY3" fmla="*/ 222 h 10045"/>
              <a:gd name="connsiteX4" fmla="*/ 2621 w 10000"/>
              <a:gd name="connsiteY4" fmla="*/ 334 h 10045"/>
              <a:gd name="connsiteX5" fmla="*/ 2594 w 10000"/>
              <a:gd name="connsiteY5" fmla="*/ 439 h 10045"/>
              <a:gd name="connsiteX6" fmla="*/ 2561 w 10000"/>
              <a:gd name="connsiteY6" fmla="*/ 546 h 10045"/>
              <a:gd name="connsiteX7" fmla="*/ 2530 w 10000"/>
              <a:gd name="connsiteY7" fmla="*/ 655 h 10045"/>
              <a:gd name="connsiteX8" fmla="*/ 2502 w 10000"/>
              <a:gd name="connsiteY8" fmla="*/ 759 h 10045"/>
              <a:gd name="connsiteX9" fmla="*/ 2468 w 10000"/>
              <a:gd name="connsiteY9" fmla="*/ 866 h 10045"/>
              <a:gd name="connsiteX10" fmla="*/ 2428 w 10000"/>
              <a:gd name="connsiteY10" fmla="*/ 970 h 10045"/>
              <a:gd name="connsiteX11" fmla="*/ 2386 w 10000"/>
              <a:gd name="connsiteY11" fmla="*/ 1071 h 10045"/>
              <a:gd name="connsiteX12" fmla="*/ 2347 w 10000"/>
              <a:gd name="connsiteY12" fmla="*/ 1176 h 10045"/>
              <a:gd name="connsiteX13" fmla="*/ 2299 w 10000"/>
              <a:gd name="connsiteY13" fmla="*/ 1279 h 10045"/>
              <a:gd name="connsiteX14" fmla="*/ 2248 w 10000"/>
              <a:gd name="connsiteY14" fmla="*/ 1373 h 10045"/>
              <a:gd name="connsiteX15" fmla="*/ 2200 w 10000"/>
              <a:gd name="connsiteY15" fmla="*/ 1472 h 10045"/>
              <a:gd name="connsiteX16" fmla="*/ 2149 w 10000"/>
              <a:gd name="connsiteY16" fmla="*/ 1569 h 10045"/>
              <a:gd name="connsiteX17" fmla="*/ 2092 w 10000"/>
              <a:gd name="connsiteY17" fmla="*/ 1666 h 10045"/>
              <a:gd name="connsiteX18" fmla="*/ 2041 w 10000"/>
              <a:gd name="connsiteY18" fmla="*/ 1763 h 10045"/>
              <a:gd name="connsiteX19" fmla="*/ 1981 w 10000"/>
              <a:gd name="connsiteY19" fmla="*/ 1856 h 10045"/>
              <a:gd name="connsiteX20" fmla="*/ 1919 w 10000"/>
              <a:gd name="connsiteY20" fmla="*/ 1942 h 10045"/>
              <a:gd name="connsiteX21" fmla="*/ 1854 w 10000"/>
              <a:gd name="connsiteY21" fmla="*/ 2032 h 10045"/>
              <a:gd name="connsiteX22" fmla="*/ 1794 w 10000"/>
              <a:gd name="connsiteY22" fmla="*/ 2120 h 10045"/>
              <a:gd name="connsiteX23" fmla="*/ 1725 w 10000"/>
              <a:gd name="connsiteY23" fmla="*/ 2215 h 10045"/>
              <a:gd name="connsiteX24" fmla="*/ 1656 w 10000"/>
              <a:gd name="connsiteY24" fmla="*/ 2298 h 10045"/>
              <a:gd name="connsiteX25" fmla="*/ 1583 w 10000"/>
              <a:gd name="connsiteY25" fmla="*/ 2376 h 10045"/>
              <a:gd name="connsiteX26" fmla="*/ 1509 w 10000"/>
              <a:gd name="connsiteY26" fmla="*/ 2464 h 10045"/>
              <a:gd name="connsiteX27" fmla="*/ 1435 w 10000"/>
              <a:gd name="connsiteY27" fmla="*/ 2545 h 10045"/>
              <a:gd name="connsiteX28" fmla="*/ 1356 w 10000"/>
              <a:gd name="connsiteY28" fmla="*/ 2623 h 10045"/>
              <a:gd name="connsiteX29" fmla="*/ 1279 w 10000"/>
              <a:gd name="connsiteY29" fmla="*/ 2707 h 10045"/>
              <a:gd name="connsiteX30" fmla="*/ 1200 w 10000"/>
              <a:gd name="connsiteY30" fmla="*/ 2782 h 10045"/>
              <a:gd name="connsiteX31" fmla="*/ 1113 w 10000"/>
              <a:gd name="connsiteY31" fmla="*/ 2858 h 10045"/>
              <a:gd name="connsiteX32" fmla="*/ 1033 w 10000"/>
              <a:gd name="connsiteY32" fmla="*/ 2929 h 10045"/>
              <a:gd name="connsiteX33" fmla="*/ 946 w 10000"/>
              <a:gd name="connsiteY33" fmla="*/ 3002 h 10045"/>
              <a:gd name="connsiteX34" fmla="*/ 862 w 10000"/>
              <a:gd name="connsiteY34" fmla="*/ 3071 h 10045"/>
              <a:gd name="connsiteX35" fmla="*/ 767 w 10000"/>
              <a:gd name="connsiteY35" fmla="*/ 3141 h 10045"/>
              <a:gd name="connsiteX36" fmla="*/ 679 w 10000"/>
              <a:gd name="connsiteY36" fmla="*/ 3204 h 10045"/>
              <a:gd name="connsiteX37" fmla="*/ 586 w 10000"/>
              <a:gd name="connsiteY37" fmla="*/ 3271 h 10045"/>
              <a:gd name="connsiteX38" fmla="*/ 492 w 10000"/>
              <a:gd name="connsiteY38" fmla="*/ 3333 h 10045"/>
              <a:gd name="connsiteX39" fmla="*/ 394 w 10000"/>
              <a:gd name="connsiteY39" fmla="*/ 3392 h 10045"/>
              <a:gd name="connsiteX40" fmla="*/ 298 w 10000"/>
              <a:gd name="connsiteY40" fmla="*/ 3454 h 10045"/>
              <a:gd name="connsiteX41" fmla="*/ 203 w 10000"/>
              <a:gd name="connsiteY41" fmla="*/ 3511 h 10045"/>
              <a:gd name="connsiteX42" fmla="*/ 101 w 10000"/>
              <a:gd name="connsiteY42" fmla="*/ 3565 h 10045"/>
              <a:gd name="connsiteX43" fmla="*/ 0 w 10000"/>
              <a:gd name="connsiteY43" fmla="*/ 3617 h 10045"/>
              <a:gd name="connsiteX44" fmla="*/ 187 w 10000"/>
              <a:gd name="connsiteY44" fmla="*/ 7333 h 10045"/>
              <a:gd name="connsiteX45" fmla="*/ 3206 w 10000"/>
              <a:gd name="connsiteY45" fmla="*/ 9885 h 10045"/>
              <a:gd name="connsiteX46" fmla="*/ 3449 w 10000"/>
              <a:gd name="connsiteY46" fmla="*/ 9766 h 10045"/>
              <a:gd name="connsiteX47" fmla="*/ 3689 w 10000"/>
              <a:gd name="connsiteY47" fmla="*/ 9649 h 10045"/>
              <a:gd name="connsiteX48" fmla="*/ 3930 w 10000"/>
              <a:gd name="connsiteY48" fmla="*/ 9518 h 10045"/>
              <a:gd name="connsiteX49" fmla="*/ 4165 w 10000"/>
              <a:gd name="connsiteY49" fmla="*/ 9388 h 10045"/>
              <a:gd name="connsiteX50" fmla="*/ 4397 w 10000"/>
              <a:gd name="connsiteY50" fmla="*/ 9251 h 10045"/>
              <a:gd name="connsiteX51" fmla="*/ 4628 w 10000"/>
              <a:gd name="connsiteY51" fmla="*/ 9109 h 10045"/>
              <a:gd name="connsiteX52" fmla="*/ 4845 w 10000"/>
              <a:gd name="connsiteY52" fmla="*/ 8967 h 10045"/>
              <a:gd name="connsiteX53" fmla="*/ 5065 w 10000"/>
              <a:gd name="connsiteY53" fmla="*/ 8813 h 10045"/>
              <a:gd name="connsiteX54" fmla="*/ 5285 w 10000"/>
              <a:gd name="connsiteY54" fmla="*/ 8663 h 10045"/>
              <a:gd name="connsiteX55" fmla="*/ 5494 w 10000"/>
              <a:gd name="connsiteY55" fmla="*/ 8505 h 10045"/>
              <a:gd name="connsiteX56" fmla="*/ 5708 w 10000"/>
              <a:gd name="connsiteY56" fmla="*/ 8342 h 10045"/>
              <a:gd name="connsiteX57" fmla="*/ 5911 w 10000"/>
              <a:gd name="connsiteY57" fmla="*/ 8172 h 10045"/>
              <a:gd name="connsiteX58" fmla="*/ 6115 w 10000"/>
              <a:gd name="connsiteY58" fmla="*/ 8005 h 10045"/>
              <a:gd name="connsiteX59" fmla="*/ 6310 w 10000"/>
              <a:gd name="connsiteY59" fmla="*/ 7834 h 10045"/>
              <a:gd name="connsiteX60" fmla="*/ 6508 w 10000"/>
              <a:gd name="connsiteY60" fmla="*/ 7653 h 10045"/>
              <a:gd name="connsiteX61" fmla="*/ 6698 w 10000"/>
              <a:gd name="connsiteY61" fmla="*/ 7466 h 10045"/>
              <a:gd name="connsiteX62" fmla="*/ 6882 w 10000"/>
              <a:gd name="connsiteY62" fmla="*/ 7287 h 10045"/>
              <a:gd name="connsiteX63" fmla="*/ 7064 w 10000"/>
              <a:gd name="connsiteY63" fmla="*/ 7097 h 10045"/>
              <a:gd name="connsiteX64" fmla="*/ 7239 w 10000"/>
              <a:gd name="connsiteY64" fmla="*/ 6903 h 10045"/>
              <a:gd name="connsiteX65" fmla="*/ 7414 w 10000"/>
              <a:gd name="connsiteY65" fmla="*/ 6708 h 10045"/>
              <a:gd name="connsiteX66" fmla="*/ 7582 w 10000"/>
              <a:gd name="connsiteY66" fmla="*/ 6510 h 10045"/>
              <a:gd name="connsiteX67" fmla="*/ 7750 w 10000"/>
              <a:gd name="connsiteY67" fmla="*/ 6303 h 10045"/>
              <a:gd name="connsiteX68" fmla="*/ 7905 w 10000"/>
              <a:gd name="connsiteY68" fmla="*/ 6096 h 10045"/>
              <a:gd name="connsiteX69" fmla="*/ 8057 w 10000"/>
              <a:gd name="connsiteY69" fmla="*/ 5886 h 10045"/>
              <a:gd name="connsiteX70" fmla="*/ 8211 w 10000"/>
              <a:gd name="connsiteY70" fmla="*/ 5676 h 10045"/>
              <a:gd name="connsiteX71" fmla="*/ 8354 w 10000"/>
              <a:gd name="connsiteY71" fmla="*/ 5456 h 10045"/>
              <a:gd name="connsiteX72" fmla="*/ 8493 w 10000"/>
              <a:gd name="connsiteY72" fmla="*/ 5240 h 10045"/>
              <a:gd name="connsiteX73" fmla="*/ 8628 w 10000"/>
              <a:gd name="connsiteY73" fmla="*/ 5018 h 10045"/>
              <a:gd name="connsiteX74" fmla="*/ 8754 w 10000"/>
              <a:gd name="connsiteY74" fmla="*/ 4789 h 10045"/>
              <a:gd name="connsiteX75" fmla="*/ 8877 w 10000"/>
              <a:gd name="connsiteY75" fmla="*/ 4561 h 10045"/>
              <a:gd name="connsiteX76" fmla="*/ 9003 w 10000"/>
              <a:gd name="connsiteY76" fmla="*/ 4331 h 10045"/>
              <a:gd name="connsiteX77" fmla="*/ 9120 w 10000"/>
              <a:gd name="connsiteY77" fmla="*/ 4098 h 10045"/>
              <a:gd name="connsiteX78" fmla="*/ 9224 w 10000"/>
              <a:gd name="connsiteY78" fmla="*/ 3863 h 10045"/>
              <a:gd name="connsiteX79" fmla="*/ 9330 w 10000"/>
              <a:gd name="connsiteY79" fmla="*/ 3624 h 10045"/>
              <a:gd name="connsiteX80" fmla="*/ 9425 w 10000"/>
              <a:gd name="connsiteY80" fmla="*/ 3380 h 10045"/>
              <a:gd name="connsiteX81" fmla="*/ 9520 w 10000"/>
              <a:gd name="connsiteY81" fmla="*/ 3139 h 10045"/>
              <a:gd name="connsiteX82" fmla="*/ 9604 w 10000"/>
              <a:gd name="connsiteY82" fmla="*/ 2891 h 10045"/>
              <a:gd name="connsiteX83" fmla="*/ 9684 w 10000"/>
              <a:gd name="connsiteY83" fmla="*/ 2640 h 10045"/>
              <a:gd name="connsiteX84" fmla="*/ 9758 w 10000"/>
              <a:gd name="connsiteY84" fmla="*/ 2388 h 10045"/>
              <a:gd name="connsiteX85" fmla="*/ 9831 w 10000"/>
              <a:gd name="connsiteY85" fmla="*/ 2138 h 10045"/>
              <a:gd name="connsiteX86" fmla="*/ 9892 w 10000"/>
              <a:gd name="connsiteY86" fmla="*/ 1884 h 10045"/>
              <a:gd name="connsiteX87" fmla="*/ 9951 w 10000"/>
              <a:gd name="connsiteY87" fmla="*/ 1625 h 10045"/>
              <a:gd name="connsiteX88" fmla="*/ 10000 w 10000"/>
              <a:gd name="connsiteY88" fmla="*/ 1364 h 10045"/>
              <a:gd name="connsiteX89" fmla="*/ 6011 w 10000"/>
              <a:gd name="connsiteY89" fmla="*/ 2092 h 10045"/>
              <a:gd name="connsiteX90" fmla="*/ 2680 w 10000"/>
              <a:gd name="connsiteY90" fmla="*/ 0 h 10045"/>
              <a:gd name="connsiteX0" fmla="*/ 2680 w 10000"/>
              <a:gd name="connsiteY0" fmla="*/ 0 h 9766"/>
              <a:gd name="connsiteX1" fmla="*/ 2680 w 10000"/>
              <a:gd name="connsiteY1" fmla="*/ 0 h 9766"/>
              <a:gd name="connsiteX2" fmla="*/ 2665 w 10000"/>
              <a:gd name="connsiteY2" fmla="*/ 111 h 9766"/>
              <a:gd name="connsiteX3" fmla="*/ 2642 w 10000"/>
              <a:gd name="connsiteY3" fmla="*/ 222 h 9766"/>
              <a:gd name="connsiteX4" fmla="*/ 2621 w 10000"/>
              <a:gd name="connsiteY4" fmla="*/ 334 h 9766"/>
              <a:gd name="connsiteX5" fmla="*/ 2594 w 10000"/>
              <a:gd name="connsiteY5" fmla="*/ 439 h 9766"/>
              <a:gd name="connsiteX6" fmla="*/ 2561 w 10000"/>
              <a:gd name="connsiteY6" fmla="*/ 546 h 9766"/>
              <a:gd name="connsiteX7" fmla="*/ 2530 w 10000"/>
              <a:gd name="connsiteY7" fmla="*/ 655 h 9766"/>
              <a:gd name="connsiteX8" fmla="*/ 2502 w 10000"/>
              <a:gd name="connsiteY8" fmla="*/ 759 h 9766"/>
              <a:gd name="connsiteX9" fmla="*/ 2468 w 10000"/>
              <a:gd name="connsiteY9" fmla="*/ 866 h 9766"/>
              <a:gd name="connsiteX10" fmla="*/ 2428 w 10000"/>
              <a:gd name="connsiteY10" fmla="*/ 970 h 9766"/>
              <a:gd name="connsiteX11" fmla="*/ 2386 w 10000"/>
              <a:gd name="connsiteY11" fmla="*/ 1071 h 9766"/>
              <a:gd name="connsiteX12" fmla="*/ 2347 w 10000"/>
              <a:gd name="connsiteY12" fmla="*/ 1176 h 9766"/>
              <a:gd name="connsiteX13" fmla="*/ 2299 w 10000"/>
              <a:gd name="connsiteY13" fmla="*/ 1279 h 9766"/>
              <a:gd name="connsiteX14" fmla="*/ 2248 w 10000"/>
              <a:gd name="connsiteY14" fmla="*/ 1373 h 9766"/>
              <a:gd name="connsiteX15" fmla="*/ 2200 w 10000"/>
              <a:gd name="connsiteY15" fmla="*/ 1472 h 9766"/>
              <a:gd name="connsiteX16" fmla="*/ 2149 w 10000"/>
              <a:gd name="connsiteY16" fmla="*/ 1569 h 9766"/>
              <a:gd name="connsiteX17" fmla="*/ 2092 w 10000"/>
              <a:gd name="connsiteY17" fmla="*/ 1666 h 9766"/>
              <a:gd name="connsiteX18" fmla="*/ 2041 w 10000"/>
              <a:gd name="connsiteY18" fmla="*/ 1763 h 9766"/>
              <a:gd name="connsiteX19" fmla="*/ 1981 w 10000"/>
              <a:gd name="connsiteY19" fmla="*/ 1856 h 9766"/>
              <a:gd name="connsiteX20" fmla="*/ 1919 w 10000"/>
              <a:gd name="connsiteY20" fmla="*/ 1942 h 9766"/>
              <a:gd name="connsiteX21" fmla="*/ 1854 w 10000"/>
              <a:gd name="connsiteY21" fmla="*/ 2032 h 9766"/>
              <a:gd name="connsiteX22" fmla="*/ 1794 w 10000"/>
              <a:gd name="connsiteY22" fmla="*/ 2120 h 9766"/>
              <a:gd name="connsiteX23" fmla="*/ 1725 w 10000"/>
              <a:gd name="connsiteY23" fmla="*/ 2215 h 9766"/>
              <a:gd name="connsiteX24" fmla="*/ 1656 w 10000"/>
              <a:gd name="connsiteY24" fmla="*/ 2298 h 9766"/>
              <a:gd name="connsiteX25" fmla="*/ 1583 w 10000"/>
              <a:gd name="connsiteY25" fmla="*/ 2376 h 9766"/>
              <a:gd name="connsiteX26" fmla="*/ 1509 w 10000"/>
              <a:gd name="connsiteY26" fmla="*/ 2464 h 9766"/>
              <a:gd name="connsiteX27" fmla="*/ 1435 w 10000"/>
              <a:gd name="connsiteY27" fmla="*/ 2545 h 9766"/>
              <a:gd name="connsiteX28" fmla="*/ 1356 w 10000"/>
              <a:gd name="connsiteY28" fmla="*/ 2623 h 9766"/>
              <a:gd name="connsiteX29" fmla="*/ 1279 w 10000"/>
              <a:gd name="connsiteY29" fmla="*/ 2707 h 9766"/>
              <a:gd name="connsiteX30" fmla="*/ 1200 w 10000"/>
              <a:gd name="connsiteY30" fmla="*/ 2782 h 9766"/>
              <a:gd name="connsiteX31" fmla="*/ 1113 w 10000"/>
              <a:gd name="connsiteY31" fmla="*/ 2858 h 9766"/>
              <a:gd name="connsiteX32" fmla="*/ 1033 w 10000"/>
              <a:gd name="connsiteY32" fmla="*/ 2929 h 9766"/>
              <a:gd name="connsiteX33" fmla="*/ 946 w 10000"/>
              <a:gd name="connsiteY33" fmla="*/ 3002 h 9766"/>
              <a:gd name="connsiteX34" fmla="*/ 862 w 10000"/>
              <a:gd name="connsiteY34" fmla="*/ 3071 h 9766"/>
              <a:gd name="connsiteX35" fmla="*/ 767 w 10000"/>
              <a:gd name="connsiteY35" fmla="*/ 3141 h 9766"/>
              <a:gd name="connsiteX36" fmla="*/ 679 w 10000"/>
              <a:gd name="connsiteY36" fmla="*/ 3204 h 9766"/>
              <a:gd name="connsiteX37" fmla="*/ 586 w 10000"/>
              <a:gd name="connsiteY37" fmla="*/ 3271 h 9766"/>
              <a:gd name="connsiteX38" fmla="*/ 492 w 10000"/>
              <a:gd name="connsiteY38" fmla="*/ 3333 h 9766"/>
              <a:gd name="connsiteX39" fmla="*/ 394 w 10000"/>
              <a:gd name="connsiteY39" fmla="*/ 3392 h 9766"/>
              <a:gd name="connsiteX40" fmla="*/ 298 w 10000"/>
              <a:gd name="connsiteY40" fmla="*/ 3454 h 9766"/>
              <a:gd name="connsiteX41" fmla="*/ 203 w 10000"/>
              <a:gd name="connsiteY41" fmla="*/ 3511 h 9766"/>
              <a:gd name="connsiteX42" fmla="*/ 101 w 10000"/>
              <a:gd name="connsiteY42" fmla="*/ 3565 h 9766"/>
              <a:gd name="connsiteX43" fmla="*/ 0 w 10000"/>
              <a:gd name="connsiteY43" fmla="*/ 3617 h 9766"/>
              <a:gd name="connsiteX44" fmla="*/ 187 w 10000"/>
              <a:gd name="connsiteY44" fmla="*/ 7333 h 9766"/>
              <a:gd name="connsiteX45" fmla="*/ 3449 w 10000"/>
              <a:gd name="connsiteY45" fmla="*/ 9766 h 9766"/>
              <a:gd name="connsiteX46" fmla="*/ 3689 w 10000"/>
              <a:gd name="connsiteY46" fmla="*/ 9649 h 9766"/>
              <a:gd name="connsiteX47" fmla="*/ 3930 w 10000"/>
              <a:gd name="connsiteY47" fmla="*/ 9518 h 9766"/>
              <a:gd name="connsiteX48" fmla="*/ 4165 w 10000"/>
              <a:gd name="connsiteY48" fmla="*/ 9388 h 9766"/>
              <a:gd name="connsiteX49" fmla="*/ 4397 w 10000"/>
              <a:gd name="connsiteY49" fmla="*/ 9251 h 9766"/>
              <a:gd name="connsiteX50" fmla="*/ 4628 w 10000"/>
              <a:gd name="connsiteY50" fmla="*/ 9109 h 9766"/>
              <a:gd name="connsiteX51" fmla="*/ 4845 w 10000"/>
              <a:gd name="connsiteY51" fmla="*/ 8967 h 9766"/>
              <a:gd name="connsiteX52" fmla="*/ 5065 w 10000"/>
              <a:gd name="connsiteY52" fmla="*/ 8813 h 9766"/>
              <a:gd name="connsiteX53" fmla="*/ 5285 w 10000"/>
              <a:gd name="connsiteY53" fmla="*/ 8663 h 9766"/>
              <a:gd name="connsiteX54" fmla="*/ 5494 w 10000"/>
              <a:gd name="connsiteY54" fmla="*/ 8505 h 9766"/>
              <a:gd name="connsiteX55" fmla="*/ 5708 w 10000"/>
              <a:gd name="connsiteY55" fmla="*/ 8342 h 9766"/>
              <a:gd name="connsiteX56" fmla="*/ 5911 w 10000"/>
              <a:gd name="connsiteY56" fmla="*/ 8172 h 9766"/>
              <a:gd name="connsiteX57" fmla="*/ 6115 w 10000"/>
              <a:gd name="connsiteY57" fmla="*/ 8005 h 9766"/>
              <a:gd name="connsiteX58" fmla="*/ 6310 w 10000"/>
              <a:gd name="connsiteY58" fmla="*/ 7834 h 9766"/>
              <a:gd name="connsiteX59" fmla="*/ 6508 w 10000"/>
              <a:gd name="connsiteY59" fmla="*/ 7653 h 9766"/>
              <a:gd name="connsiteX60" fmla="*/ 6698 w 10000"/>
              <a:gd name="connsiteY60" fmla="*/ 7466 h 9766"/>
              <a:gd name="connsiteX61" fmla="*/ 6882 w 10000"/>
              <a:gd name="connsiteY61" fmla="*/ 7287 h 9766"/>
              <a:gd name="connsiteX62" fmla="*/ 7064 w 10000"/>
              <a:gd name="connsiteY62" fmla="*/ 7097 h 9766"/>
              <a:gd name="connsiteX63" fmla="*/ 7239 w 10000"/>
              <a:gd name="connsiteY63" fmla="*/ 6903 h 9766"/>
              <a:gd name="connsiteX64" fmla="*/ 7414 w 10000"/>
              <a:gd name="connsiteY64" fmla="*/ 6708 h 9766"/>
              <a:gd name="connsiteX65" fmla="*/ 7582 w 10000"/>
              <a:gd name="connsiteY65" fmla="*/ 6510 h 9766"/>
              <a:gd name="connsiteX66" fmla="*/ 7750 w 10000"/>
              <a:gd name="connsiteY66" fmla="*/ 6303 h 9766"/>
              <a:gd name="connsiteX67" fmla="*/ 7905 w 10000"/>
              <a:gd name="connsiteY67" fmla="*/ 6096 h 9766"/>
              <a:gd name="connsiteX68" fmla="*/ 8057 w 10000"/>
              <a:gd name="connsiteY68" fmla="*/ 5886 h 9766"/>
              <a:gd name="connsiteX69" fmla="*/ 8211 w 10000"/>
              <a:gd name="connsiteY69" fmla="*/ 5676 h 9766"/>
              <a:gd name="connsiteX70" fmla="*/ 8354 w 10000"/>
              <a:gd name="connsiteY70" fmla="*/ 5456 h 9766"/>
              <a:gd name="connsiteX71" fmla="*/ 8493 w 10000"/>
              <a:gd name="connsiteY71" fmla="*/ 5240 h 9766"/>
              <a:gd name="connsiteX72" fmla="*/ 8628 w 10000"/>
              <a:gd name="connsiteY72" fmla="*/ 5018 h 9766"/>
              <a:gd name="connsiteX73" fmla="*/ 8754 w 10000"/>
              <a:gd name="connsiteY73" fmla="*/ 4789 h 9766"/>
              <a:gd name="connsiteX74" fmla="*/ 8877 w 10000"/>
              <a:gd name="connsiteY74" fmla="*/ 4561 h 9766"/>
              <a:gd name="connsiteX75" fmla="*/ 9003 w 10000"/>
              <a:gd name="connsiteY75" fmla="*/ 4331 h 9766"/>
              <a:gd name="connsiteX76" fmla="*/ 9120 w 10000"/>
              <a:gd name="connsiteY76" fmla="*/ 4098 h 9766"/>
              <a:gd name="connsiteX77" fmla="*/ 9224 w 10000"/>
              <a:gd name="connsiteY77" fmla="*/ 3863 h 9766"/>
              <a:gd name="connsiteX78" fmla="*/ 9330 w 10000"/>
              <a:gd name="connsiteY78" fmla="*/ 3624 h 9766"/>
              <a:gd name="connsiteX79" fmla="*/ 9425 w 10000"/>
              <a:gd name="connsiteY79" fmla="*/ 3380 h 9766"/>
              <a:gd name="connsiteX80" fmla="*/ 9520 w 10000"/>
              <a:gd name="connsiteY80" fmla="*/ 3139 h 9766"/>
              <a:gd name="connsiteX81" fmla="*/ 9604 w 10000"/>
              <a:gd name="connsiteY81" fmla="*/ 2891 h 9766"/>
              <a:gd name="connsiteX82" fmla="*/ 9684 w 10000"/>
              <a:gd name="connsiteY82" fmla="*/ 2640 h 9766"/>
              <a:gd name="connsiteX83" fmla="*/ 9758 w 10000"/>
              <a:gd name="connsiteY83" fmla="*/ 2388 h 9766"/>
              <a:gd name="connsiteX84" fmla="*/ 9831 w 10000"/>
              <a:gd name="connsiteY84" fmla="*/ 2138 h 9766"/>
              <a:gd name="connsiteX85" fmla="*/ 9892 w 10000"/>
              <a:gd name="connsiteY85" fmla="*/ 1884 h 9766"/>
              <a:gd name="connsiteX86" fmla="*/ 9951 w 10000"/>
              <a:gd name="connsiteY86" fmla="*/ 1625 h 9766"/>
              <a:gd name="connsiteX87" fmla="*/ 10000 w 10000"/>
              <a:gd name="connsiteY87" fmla="*/ 1364 h 9766"/>
              <a:gd name="connsiteX88" fmla="*/ 6011 w 10000"/>
              <a:gd name="connsiteY88" fmla="*/ 2092 h 9766"/>
              <a:gd name="connsiteX89" fmla="*/ 2680 w 10000"/>
              <a:gd name="connsiteY89" fmla="*/ 0 h 9766"/>
              <a:gd name="connsiteX0" fmla="*/ 2680 w 10000"/>
              <a:gd name="connsiteY0" fmla="*/ 0 h 10000"/>
              <a:gd name="connsiteX1" fmla="*/ 2680 w 10000"/>
              <a:gd name="connsiteY1" fmla="*/ 0 h 10000"/>
              <a:gd name="connsiteX2" fmla="*/ 2665 w 10000"/>
              <a:gd name="connsiteY2" fmla="*/ 114 h 10000"/>
              <a:gd name="connsiteX3" fmla="*/ 2642 w 10000"/>
              <a:gd name="connsiteY3" fmla="*/ 227 h 10000"/>
              <a:gd name="connsiteX4" fmla="*/ 2621 w 10000"/>
              <a:gd name="connsiteY4" fmla="*/ 342 h 10000"/>
              <a:gd name="connsiteX5" fmla="*/ 2594 w 10000"/>
              <a:gd name="connsiteY5" fmla="*/ 450 h 10000"/>
              <a:gd name="connsiteX6" fmla="*/ 2561 w 10000"/>
              <a:gd name="connsiteY6" fmla="*/ 559 h 10000"/>
              <a:gd name="connsiteX7" fmla="*/ 2530 w 10000"/>
              <a:gd name="connsiteY7" fmla="*/ 671 h 10000"/>
              <a:gd name="connsiteX8" fmla="*/ 2502 w 10000"/>
              <a:gd name="connsiteY8" fmla="*/ 777 h 10000"/>
              <a:gd name="connsiteX9" fmla="*/ 2468 w 10000"/>
              <a:gd name="connsiteY9" fmla="*/ 887 h 10000"/>
              <a:gd name="connsiteX10" fmla="*/ 2428 w 10000"/>
              <a:gd name="connsiteY10" fmla="*/ 993 h 10000"/>
              <a:gd name="connsiteX11" fmla="*/ 2386 w 10000"/>
              <a:gd name="connsiteY11" fmla="*/ 1097 h 10000"/>
              <a:gd name="connsiteX12" fmla="*/ 2347 w 10000"/>
              <a:gd name="connsiteY12" fmla="*/ 1204 h 10000"/>
              <a:gd name="connsiteX13" fmla="*/ 2299 w 10000"/>
              <a:gd name="connsiteY13" fmla="*/ 1310 h 10000"/>
              <a:gd name="connsiteX14" fmla="*/ 2248 w 10000"/>
              <a:gd name="connsiteY14" fmla="*/ 1406 h 10000"/>
              <a:gd name="connsiteX15" fmla="*/ 2200 w 10000"/>
              <a:gd name="connsiteY15" fmla="*/ 1507 h 10000"/>
              <a:gd name="connsiteX16" fmla="*/ 2149 w 10000"/>
              <a:gd name="connsiteY16" fmla="*/ 1607 h 10000"/>
              <a:gd name="connsiteX17" fmla="*/ 2092 w 10000"/>
              <a:gd name="connsiteY17" fmla="*/ 1706 h 10000"/>
              <a:gd name="connsiteX18" fmla="*/ 2041 w 10000"/>
              <a:gd name="connsiteY18" fmla="*/ 1805 h 10000"/>
              <a:gd name="connsiteX19" fmla="*/ 1981 w 10000"/>
              <a:gd name="connsiteY19" fmla="*/ 1900 h 10000"/>
              <a:gd name="connsiteX20" fmla="*/ 1919 w 10000"/>
              <a:gd name="connsiteY20" fmla="*/ 1989 h 10000"/>
              <a:gd name="connsiteX21" fmla="*/ 1854 w 10000"/>
              <a:gd name="connsiteY21" fmla="*/ 2081 h 10000"/>
              <a:gd name="connsiteX22" fmla="*/ 1794 w 10000"/>
              <a:gd name="connsiteY22" fmla="*/ 2171 h 10000"/>
              <a:gd name="connsiteX23" fmla="*/ 1725 w 10000"/>
              <a:gd name="connsiteY23" fmla="*/ 2268 h 10000"/>
              <a:gd name="connsiteX24" fmla="*/ 1656 w 10000"/>
              <a:gd name="connsiteY24" fmla="*/ 2353 h 10000"/>
              <a:gd name="connsiteX25" fmla="*/ 1583 w 10000"/>
              <a:gd name="connsiteY25" fmla="*/ 2433 h 10000"/>
              <a:gd name="connsiteX26" fmla="*/ 1509 w 10000"/>
              <a:gd name="connsiteY26" fmla="*/ 2523 h 10000"/>
              <a:gd name="connsiteX27" fmla="*/ 1435 w 10000"/>
              <a:gd name="connsiteY27" fmla="*/ 2606 h 10000"/>
              <a:gd name="connsiteX28" fmla="*/ 1356 w 10000"/>
              <a:gd name="connsiteY28" fmla="*/ 2686 h 10000"/>
              <a:gd name="connsiteX29" fmla="*/ 1279 w 10000"/>
              <a:gd name="connsiteY29" fmla="*/ 2772 h 10000"/>
              <a:gd name="connsiteX30" fmla="*/ 1200 w 10000"/>
              <a:gd name="connsiteY30" fmla="*/ 2849 h 10000"/>
              <a:gd name="connsiteX31" fmla="*/ 1113 w 10000"/>
              <a:gd name="connsiteY31" fmla="*/ 2926 h 10000"/>
              <a:gd name="connsiteX32" fmla="*/ 1033 w 10000"/>
              <a:gd name="connsiteY32" fmla="*/ 2999 h 10000"/>
              <a:gd name="connsiteX33" fmla="*/ 946 w 10000"/>
              <a:gd name="connsiteY33" fmla="*/ 3074 h 10000"/>
              <a:gd name="connsiteX34" fmla="*/ 862 w 10000"/>
              <a:gd name="connsiteY34" fmla="*/ 3145 h 10000"/>
              <a:gd name="connsiteX35" fmla="*/ 767 w 10000"/>
              <a:gd name="connsiteY35" fmla="*/ 3216 h 10000"/>
              <a:gd name="connsiteX36" fmla="*/ 679 w 10000"/>
              <a:gd name="connsiteY36" fmla="*/ 3281 h 10000"/>
              <a:gd name="connsiteX37" fmla="*/ 586 w 10000"/>
              <a:gd name="connsiteY37" fmla="*/ 3349 h 10000"/>
              <a:gd name="connsiteX38" fmla="*/ 492 w 10000"/>
              <a:gd name="connsiteY38" fmla="*/ 3413 h 10000"/>
              <a:gd name="connsiteX39" fmla="*/ 394 w 10000"/>
              <a:gd name="connsiteY39" fmla="*/ 3473 h 10000"/>
              <a:gd name="connsiteX40" fmla="*/ 298 w 10000"/>
              <a:gd name="connsiteY40" fmla="*/ 3537 h 10000"/>
              <a:gd name="connsiteX41" fmla="*/ 203 w 10000"/>
              <a:gd name="connsiteY41" fmla="*/ 3595 h 10000"/>
              <a:gd name="connsiteX42" fmla="*/ 101 w 10000"/>
              <a:gd name="connsiteY42" fmla="*/ 3650 h 10000"/>
              <a:gd name="connsiteX43" fmla="*/ 0 w 10000"/>
              <a:gd name="connsiteY43" fmla="*/ 3704 h 10000"/>
              <a:gd name="connsiteX44" fmla="*/ 187 w 10000"/>
              <a:gd name="connsiteY44" fmla="*/ 7509 h 10000"/>
              <a:gd name="connsiteX45" fmla="*/ 3449 w 10000"/>
              <a:gd name="connsiteY45" fmla="*/ 10000 h 10000"/>
              <a:gd name="connsiteX46" fmla="*/ 3689 w 10000"/>
              <a:gd name="connsiteY46" fmla="*/ 9880 h 10000"/>
              <a:gd name="connsiteX47" fmla="*/ 3930 w 10000"/>
              <a:gd name="connsiteY47" fmla="*/ 9746 h 10000"/>
              <a:gd name="connsiteX48" fmla="*/ 4165 w 10000"/>
              <a:gd name="connsiteY48" fmla="*/ 9613 h 10000"/>
              <a:gd name="connsiteX49" fmla="*/ 4397 w 10000"/>
              <a:gd name="connsiteY49" fmla="*/ 9473 h 10000"/>
              <a:gd name="connsiteX50" fmla="*/ 4628 w 10000"/>
              <a:gd name="connsiteY50" fmla="*/ 9327 h 10000"/>
              <a:gd name="connsiteX51" fmla="*/ 4845 w 10000"/>
              <a:gd name="connsiteY51" fmla="*/ 9182 h 10000"/>
              <a:gd name="connsiteX52" fmla="*/ 5065 w 10000"/>
              <a:gd name="connsiteY52" fmla="*/ 9024 h 10000"/>
              <a:gd name="connsiteX53" fmla="*/ 5285 w 10000"/>
              <a:gd name="connsiteY53" fmla="*/ 8871 h 10000"/>
              <a:gd name="connsiteX54" fmla="*/ 5494 w 10000"/>
              <a:gd name="connsiteY54" fmla="*/ 8709 h 10000"/>
              <a:gd name="connsiteX55" fmla="*/ 5708 w 10000"/>
              <a:gd name="connsiteY55" fmla="*/ 8542 h 10000"/>
              <a:gd name="connsiteX56" fmla="*/ 5911 w 10000"/>
              <a:gd name="connsiteY56" fmla="*/ 8368 h 10000"/>
              <a:gd name="connsiteX57" fmla="*/ 6115 w 10000"/>
              <a:gd name="connsiteY57" fmla="*/ 8197 h 10000"/>
              <a:gd name="connsiteX58" fmla="*/ 6310 w 10000"/>
              <a:gd name="connsiteY58" fmla="*/ 8022 h 10000"/>
              <a:gd name="connsiteX59" fmla="*/ 6508 w 10000"/>
              <a:gd name="connsiteY59" fmla="*/ 7836 h 10000"/>
              <a:gd name="connsiteX60" fmla="*/ 6698 w 10000"/>
              <a:gd name="connsiteY60" fmla="*/ 7645 h 10000"/>
              <a:gd name="connsiteX61" fmla="*/ 6882 w 10000"/>
              <a:gd name="connsiteY61" fmla="*/ 7462 h 10000"/>
              <a:gd name="connsiteX62" fmla="*/ 7064 w 10000"/>
              <a:gd name="connsiteY62" fmla="*/ 7267 h 10000"/>
              <a:gd name="connsiteX63" fmla="*/ 7239 w 10000"/>
              <a:gd name="connsiteY63" fmla="*/ 7068 h 10000"/>
              <a:gd name="connsiteX64" fmla="*/ 7414 w 10000"/>
              <a:gd name="connsiteY64" fmla="*/ 6869 h 10000"/>
              <a:gd name="connsiteX65" fmla="*/ 7582 w 10000"/>
              <a:gd name="connsiteY65" fmla="*/ 6666 h 10000"/>
              <a:gd name="connsiteX66" fmla="*/ 7750 w 10000"/>
              <a:gd name="connsiteY66" fmla="*/ 6454 h 10000"/>
              <a:gd name="connsiteX67" fmla="*/ 7905 w 10000"/>
              <a:gd name="connsiteY67" fmla="*/ 6242 h 10000"/>
              <a:gd name="connsiteX68" fmla="*/ 8057 w 10000"/>
              <a:gd name="connsiteY68" fmla="*/ 6027 h 10000"/>
              <a:gd name="connsiteX69" fmla="*/ 8211 w 10000"/>
              <a:gd name="connsiteY69" fmla="*/ 5812 h 10000"/>
              <a:gd name="connsiteX70" fmla="*/ 8354 w 10000"/>
              <a:gd name="connsiteY70" fmla="*/ 5587 h 10000"/>
              <a:gd name="connsiteX71" fmla="*/ 8493 w 10000"/>
              <a:gd name="connsiteY71" fmla="*/ 5366 h 10000"/>
              <a:gd name="connsiteX72" fmla="*/ 8628 w 10000"/>
              <a:gd name="connsiteY72" fmla="*/ 5138 h 10000"/>
              <a:gd name="connsiteX73" fmla="*/ 8754 w 10000"/>
              <a:gd name="connsiteY73" fmla="*/ 4904 h 10000"/>
              <a:gd name="connsiteX74" fmla="*/ 8877 w 10000"/>
              <a:gd name="connsiteY74" fmla="*/ 4670 h 10000"/>
              <a:gd name="connsiteX75" fmla="*/ 9003 w 10000"/>
              <a:gd name="connsiteY75" fmla="*/ 4435 h 10000"/>
              <a:gd name="connsiteX76" fmla="*/ 9120 w 10000"/>
              <a:gd name="connsiteY76" fmla="*/ 4196 h 10000"/>
              <a:gd name="connsiteX77" fmla="*/ 9224 w 10000"/>
              <a:gd name="connsiteY77" fmla="*/ 3956 h 10000"/>
              <a:gd name="connsiteX78" fmla="*/ 9330 w 10000"/>
              <a:gd name="connsiteY78" fmla="*/ 3711 h 10000"/>
              <a:gd name="connsiteX79" fmla="*/ 9425 w 10000"/>
              <a:gd name="connsiteY79" fmla="*/ 3461 h 10000"/>
              <a:gd name="connsiteX80" fmla="*/ 9520 w 10000"/>
              <a:gd name="connsiteY80" fmla="*/ 3214 h 10000"/>
              <a:gd name="connsiteX81" fmla="*/ 9604 w 10000"/>
              <a:gd name="connsiteY81" fmla="*/ 2960 h 10000"/>
              <a:gd name="connsiteX82" fmla="*/ 9684 w 10000"/>
              <a:gd name="connsiteY82" fmla="*/ 2703 h 10000"/>
              <a:gd name="connsiteX83" fmla="*/ 9758 w 10000"/>
              <a:gd name="connsiteY83" fmla="*/ 2445 h 10000"/>
              <a:gd name="connsiteX84" fmla="*/ 9831 w 10000"/>
              <a:gd name="connsiteY84" fmla="*/ 2189 h 10000"/>
              <a:gd name="connsiteX85" fmla="*/ 9892 w 10000"/>
              <a:gd name="connsiteY85" fmla="*/ 1929 h 10000"/>
              <a:gd name="connsiteX86" fmla="*/ 9951 w 10000"/>
              <a:gd name="connsiteY86" fmla="*/ 1664 h 10000"/>
              <a:gd name="connsiteX87" fmla="*/ 10000 w 10000"/>
              <a:gd name="connsiteY87" fmla="*/ 1397 h 10000"/>
              <a:gd name="connsiteX88" fmla="*/ 6011 w 10000"/>
              <a:gd name="connsiteY88" fmla="*/ 2142 h 10000"/>
              <a:gd name="connsiteX89" fmla="*/ 2680 w 10000"/>
              <a:gd name="connsiteY89" fmla="*/ 0 h 10000"/>
              <a:gd name="connsiteX0" fmla="*/ 2680 w 10000"/>
              <a:gd name="connsiteY0" fmla="*/ 0 h 10084"/>
              <a:gd name="connsiteX1" fmla="*/ 2680 w 10000"/>
              <a:gd name="connsiteY1" fmla="*/ 0 h 10084"/>
              <a:gd name="connsiteX2" fmla="*/ 2665 w 10000"/>
              <a:gd name="connsiteY2" fmla="*/ 114 h 10084"/>
              <a:gd name="connsiteX3" fmla="*/ 2642 w 10000"/>
              <a:gd name="connsiteY3" fmla="*/ 227 h 10084"/>
              <a:gd name="connsiteX4" fmla="*/ 2621 w 10000"/>
              <a:gd name="connsiteY4" fmla="*/ 342 h 10084"/>
              <a:gd name="connsiteX5" fmla="*/ 2594 w 10000"/>
              <a:gd name="connsiteY5" fmla="*/ 450 h 10084"/>
              <a:gd name="connsiteX6" fmla="*/ 2561 w 10000"/>
              <a:gd name="connsiteY6" fmla="*/ 559 h 10084"/>
              <a:gd name="connsiteX7" fmla="*/ 2530 w 10000"/>
              <a:gd name="connsiteY7" fmla="*/ 671 h 10084"/>
              <a:gd name="connsiteX8" fmla="*/ 2502 w 10000"/>
              <a:gd name="connsiteY8" fmla="*/ 777 h 10084"/>
              <a:gd name="connsiteX9" fmla="*/ 2468 w 10000"/>
              <a:gd name="connsiteY9" fmla="*/ 887 h 10084"/>
              <a:gd name="connsiteX10" fmla="*/ 2428 w 10000"/>
              <a:gd name="connsiteY10" fmla="*/ 993 h 10084"/>
              <a:gd name="connsiteX11" fmla="*/ 2386 w 10000"/>
              <a:gd name="connsiteY11" fmla="*/ 1097 h 10084"/>
              <a:gd name="connsiteX12" fmla="*/ 2347 w 10000"/>
              <a:gd name="connsiteY12" fmla="*/ 1204 h 10084"/>
              <a:gd name="connsiteX13" fmla="*/ 2299 w 10000"/>
              <a:gd name="connsiteY13" fmla="*/ 1310 h 10084"/>
              <a:gd name="connsiteX14" fmla="*/ 2248 w 10000"/>
              <a:gd name="connsiteY14" fmla="*/ 1406 h 10084"/>
              <a:gd name="connsiteX15" fmla="*/ 2200 w 10000"/>
              <a:gd name="connsiteY15" fmla="*/ 1507 h 10084"/>
              <a:gd name="connsiteX16" fmla="*/ 2149 w 10000"/>
              <a:gd name="connsiteY16" fmla="*/ 1607 h 10084"/>
              <a:gd name="connsiteX17" fmla="*/ 2092 w 10000"/>
              <a:gd name="connsiteY17" fmla="*/ 1706 h 10084"/>
              <a:gd name="connsiteX18" fmla="*/ 2041 w 10000"/>
              <a:gd name="connsiteY18" fmla="*/ 1805 h 10084"/>
              <a:gd name="connsiteX19" fmla="*/ 1981 w 10000"/>
              <a:gd name="connsiteY19" fmla="*/ 1900 h 10084"/>
              <a:gd name="connsiteX20" fmla="*/ 1919 w 10000"/>
              <a:gd name="connsiteY20" fmla="*/ 1989 h 10084"/>
              <a:gd name="connsiteX21" fmla="*/ 1854 w 10000"/>
              <a:gd name="connsiteY21" fmla="*/ 2081 h 10084"/>
              <a:gd name="connsiteX22" fmla="*/ 1794 w 10000"/>
              <a:gd name="connsiteY22" fmla="*/ 2171 h 10084"/>
              <a:gd name="connsiteX23" fmla="*/ 1725 w 10000"/>
              <a:gd name="connsiteY23" fmla="*/ 2268 h 10084"/>
              <a:gd name="connsiteX24" fmla="*/ 1656 w 10000"/>
              <a:gd name="connsiteY24" fmla="*/ 2353 h 10084"/>
              <a:gd name="connsiteX25" fmla="*/ 1583 w 10000"/>
              <a:gd name="connsiteY25" fmla="*/ 2433 h 10084"/>
              <a:gd name="connsiteX26" fmla="*/ 1509 w 10000"/>
              <a:gd name="connsiteY26" fmla="*/ 2523 h 10084"/>
              <a:gd name="connsiteX27" fmla="*/ 1435 w 10000"/>
              <a:gd name="connsiteY27" fmla="*/ 2606 h 10084"/>
              <a:gd name="connsiteX28" fmla="*/ 1356 w 10000"/>
              <a:gd name="connsiteY28" fmla="*/ 2686 h 10084"/>
              <a:gd name="connsiteX29" fmla="*/ 1279 w 10000"/>
              <a:gd name="connsiteY29" fmla="*/ 2772 h 10084"/>
              <a:gd name="connsiteX30" fmla="*/ 1200 w 10000"/>
              <a:gd name="connsiteY30" fmla="*/ 2849 h 10084"/>
              <a:gd name="connsiteX31" fmla="*/ 1113 w 10000"/>
              <a:gd name="connsiteY31" fmla="*/ 2926 h 10084"/>
              <a:gd name="connsiteX32" fmla="*/ 1033 w 10000"/>
              <a:gd name="connsiteY32" fmla="*/ 2999 h 10084"/>
              <a:gd name="connsiteX33" fmla="*/ 946 w 10000"/>
              <a:gd name="connsiteY33" fmla="*/ 3074 h 10084"/>
              <a:gd name="connsiteX34" fmla="*/ 862 w 10000"/>
              <a:gd name="connsiteY34" fmla="*/ 3145 h 10084"/>
              <a:gd name="connsiteX35" fmla="*/ 767 w 10000"/>
              <a:gd name="connsiteY35" fmla="*/ 3216 h 10084"/>
              <a:gd name="connsiteX36" fmla="*/ 679 w 10000"/>
              <a:gd name="connsiteY36" fmla="*/ 3281 h 10084"/>
              <a:gd name="connsiteX37" fmla="*/ 586 w 10000"/>
              <a:gd name="connsiteY37" fmla="*/ 3349 h 10084"/>
              <a:gd name="connsiteX38" fmla="*/ 492 w 10000"/>
              <a:gd name="connsiteY38" fmla="*/ 3413 h 10084"/>
              <a:gd name="connsiteX39" fmla="*/ 394 w 10000"/>
              <a:gd name="connsiteY39" fmla="*/ 3473 h 10084"/>
              <a:gd name="connsiteX40" fmla="*/ 298 w 10000"/>
              <a:gd name="connsiteY40" fmla="*/ 3537 h 10084"/>
              <a:gd name="connsiteX41" fmla="*/ 203 w 10000"/>
              <a:gd name="connsiteY41" fmla="*/ 3595 h 10084"/>
              <a:gd name="connsiteX42" fmla="*/ 101 w 10000"/>
              <a:gd name="connsiteY42" fmla="*/ 3650 h 10084"/>
              <a:gd name="connsiteX43" fmla="*/ 0 w 10000"/>
              <a:gd name="connsiteY43" fmla="*/ 3704 h 10084"/>
              <a:gd name="connsiteX44" fmla="*/ 187 w 10000"/>
              <a:gd name="connsiteY44" fmla="*/ 7509 h 10084"/>
              <a:gd name="connsiteX45" fmla="*/ 3424 w 10000"/>
              <a:gd name="connsiteY45" fmla="*/ 10084 h 10084"/>
              <a:gd name="connsiteX46" fmla="*/ 3689 w 10000"/>
              <a:gd name="connsiteY46" fmla="*/ 9880 h 10084"/>
              <a:gd name="connsiteX47" fmla="*/ 3930 w 10000"/>
              <a:gd name="connsiteY47" fmla="*/ 9746 h 10084"/>
              <a:gd name="connsiteX48" fmla="*/ 4165 w 10000"/>
              <a:gd name="connsiteY48" fmla="*/ 9613 h 10084"/>
              <a:gd name="connsiteX49" fmla="*/ 4397 w 10000"/>
              <a:gd name="connsiteY49" fmla="*/ 9473 h 10084"/>
              <a:gd name="connsiteX50" fmla="*/ 4628 w 10000"/>
              <a:gd name="connsiteY50" fmla="*/ 9327 h 10084"/>
              <a:gd name="connsiteX51" fmla="*/ 4845 w 10000"/>
              <a:gd name="connsiteY51" fmla="*/ 9182 h 10084"/>
              <a:gd name="connsiteX52" fmla="*/ 5065 w 10000"/>
              <a:gd name="connsiteY52" fmla="*/ 9024 h 10084"/>
              <a:gd name="connsiteX53" fmla="*/ 5285 w 10000"/>
              <a:gd name="connsiteY53" fmla="*/ 8871 h 10084"/>
              <a:gd name="connsiteX54" fmla="*/ 5494 w 10000"/>
              <a:gd name="connsiteY54" fmla="*/ 8709 h 10084"/>
              <a:gd name="connsiteX55" fmla="*/ 5708 w 10000"/>
              <a:gd name="connsiteY55" fmla="*/ 8542 h 10084"/>
              <a:gd name="connsiteX56" fmla="*/ 5911 w 10000"/>
              <a:gd name="connsiteY56" fmla="*/ 8368 h 10084"/>
              <a:gd name="connsiteX57" fmla="*/ 6115 w 10000"/>
              <a:gd name="connsiteY57" fmla="*/ 8197 h 10084"/>
              <a:gd name="connsiteX58" fmla="*/ 6310 w 10000"/>
              <a:gd name="connsiteY58" fmla="*/ 8022 h 10084"/>
              <a:gd name="connsiteX59" fmla="*/ 6508 w 10000"/>
              <a:gd name="connsiteY59" fmla="*/ 7836 h 10084"/>
              <a:gd name="connsiteX60" fmla="*/ 6698 w 10000"/>
              <a:gd name="connsiteY60" fmla="*/ 7645 h 10084"/>
              <a:gd name="connsiteX61" fmla="*/ 6882 w 10000"/>
              <a:gd name="connsiteY61" fmla="*/ 7462 h 10084"/>
              <a:gd name="connsiteX62" fmla="*/ 7064 w 10000"/>
              <a:gd name="connsiteY62" fmla="*/ 7267 h 10084"/>
              <a:gd name="connsiteX63" fmla="*/ 7239 w 10000"/>
              <a:gd name="connsiteY63" fmla="*/ 7068 h 10084"/>
              <a:gd name="connsiteX64" fmla="*/ 7414 w 10000"/>
              <a:gd name="connsiteY64" fmla="*/ 6869 h 10084"/>
              <a:gd name="connsiteX65" fmla="*/ 7582 w 10000"/>
              <a:gd name="connsiteY65" fmla="*/ 6666 h 10084"/>
              <a:gd name="connsiteX66" fmla="*/ 7750 w 10000"/>
              <a:gd name="connsiteY66" fmla="*/ 6454 h 10084"/>
              <a:gd name="connsiteX67" fmla="*/ 7905 w 10000"/>
              <a:gd name="connsiteY67" fmla="*/ 6242 h 10084"/>
              <a:gd name="connsiteX68" fmla="*/ 8057 w 10000"/>
              <a:gd name="connsiteY68" fmla="*/ 6027 h 10084"/>
              <a:gd name="connsiteX69" fmla="*/ 8211 w 10000"/>
              <a:gd name="connsiteY69" fmla="*/ 5812 h 10084"/>
              <a:gd name="connsiteX70" fmla="*/ 8354 w 10000"/>
              <a:gd name="connsiteY70" fmla="*/ 5587 h 10084"/>
              <a:gd name="connsiteX71" fmla="*/ 8493 w 10000"/>
              <a:gd name="connsiteY71" fmla="*/ 5366 h 10084"/>
              <a:gd name="connsiteX72" fmla="*/ 8628 w 10000"/>
              <a:gd name="connsiteY72" fmla="*/ 5138 h 10084"/>
              <a:gd name="connsiteX73" fmla="*/ 8754 w 10000"/>
              <a:gd name="connsiteY73" fmla="*/ 4904 h 10084"/>
              <a:gd name="connsiteX74" fmla="*/ 8877 w 10000"/>
              <a:gd name="connsiteY74" fmla="*/ 4670 h 10084"/>
              <a:gd name="connsiteX75" fmla="*/ 9003 w 10000"/>
              <a:gd name="connsiteY75" fmla="*/ 4435 h 10084"/>
              <a:gd name="connsiteX76" fmla="*/ 9120 w 10000"/>
              <a:gd name="connsiteY76" fmla="*/ 4196 h 10084"/>
              <a:gd name="connsiteX77" fmla="*/ 9224 w 10000"/>
              <a:gd name="connsiteY77" fmla="*/ 3956 h 10084"/>
              <a:gd name="connsiteX78" fmla="*/ 9330 w 10000"/>
              <a:gd name="connsiteY78" fmla="*/ 3711 h 10084"/>
              <a:gd name="connsiteX79" fmla="*/ 9425 w 10000"/>
              <a:gd name="connsiteY79" fmla="*/ 3461 h 10084"/>
              <a:gd name="connsiteX80" fmla="*/ 9520 w 10000"/>
              <a:gd name="connsiteY80" fmla="*/ 3214 h 10084"/>
              <a:gd name="connsiteX81" fmla="*/ 9604 w 10000"/>
              <a:gd name="connsiteY81" fmla="*/ 2960 h 10084"/>
              <a:gd name="connsiteX82" fmla="*/ 9684 w 10000"/>
              <a:gd name="connsiteY82" fmla="*/ 2703 h 10084"/>
              <a:gd name="connsiteX83" fmla="*/ 9758 w 10000"/>
              <a:gd name="connsiteY83" fmla="*/ 2445 h 10084"/>
              <a:gd name="connsiteX84" fmla="*/ 9831 w 10000"/>
              <a:gd name="connsiteY84" fmla="*/ 2189 h 10084"/>
              <a:gd name="connsiteX85" fmla="*/ 9892 w 10000"/>
              <a:gd name="connsiteY85" fmla="*/ 1929 h 10084"/>
              <a:gd name="connsiteX86" fmla="*/ 9951 w 10000"/>
              <a:gd name="connsiteY86" fmla="*/ 1664 h 10084"/>
              <a:gd name="connsiteX87" fmla="*/ 10000 w 10000"/>
              <a:gd name="connsiteY87" fmla="*/ 1397 h 10084"/>
              <a:gd name="connsiteX88" fmla="*/ 6011 w 10000"/>
              <a:gd name="connsiteY88" fmla="*/ 2142 h 10084"/>
              <a:gd name="connsiteX89" fmla="*/ 2680 w 10000"/>
              <a:gd name="connsiteY89" fmla="*/ 0 h 10084"/>
              <a:gd name="connsiteX0" fmla="*/ 2680 w 10000"/>
              <a:gd name="connsiteY0" fmla="*/ 0 h 10048"/>
              <a:gd name="connsiteX1" fmla="*/ 2680 w 10000"/>
              <a:gd name="connsiteY1" fmla="*/ 0 h 10048"/>
              <a:gd name="connsiteX2" fmla="*/ 2665 w 10000"/>
              <a:gd name="connsiteY2" fmla="*/ 114 h 10048"/>
              <a:gd name="connsiteX3" fmla="*/ 2642 w 10000"/>
              <a:gd name="connsiteY3" fmla="*/ 227 h 10048"/>
              <a:gd name="connsiteX4" fmla="*/ 2621 w 10000"/>
              <a:gd name="connsiteY4" fmla="*/ 342 h 10048"/>
              <a:gd name="connsiteX5" fmla="*/ 2594 w 10000"/>
              <a:gd name="connsiteY5" fmla="*/ 450 h 10048"/>
              <a:gd name="connsiteX6" fmla="*/ 2561 w 10000"/>
              <a:gd name="connsiteY6" fmla="*/ 559 h 10048"/>
              <a:gd name="connsiteX7" fmla="*/ 2530 w 10000"/>
              <a:gd name="connsiteY7" fmla="*/ 671 h 10048"/>
              <a:gd name="connsiteX8" fmla="*/ 2502 w 10000"/>
              <a:gd name="connsiteY8" fmla="*/ 777 h 10048"/>
              <a:gd name="connsiteX9" fmla="*/ 2468 w 10000"/>
              <a:gd name="connsiteY9" fmla="*/ 887 h 10048"/>
              <a:gd name="connsiteX10" fmla="*/ 2428 w 10000"/>
              <a:gd name="connsiteY10" fmla="*/ 993 h 10048"/>
              <a:gd name="connsiteX11" fmla="*/ 2386 w 10000"/>
              <a:gd name="connsiteY11" fmla="*/ 1097 h 10048"/>
              <a:gd name="connsiteX12" fmla="*/ 2347 w 10000"/>
              <a:gd name="connsiteY12" fmla="*/ 1204 h 10048"/>
              <a:gd name="connsiteX13" fmla="*/ 2299 w 10000"/>
              <a:gd name="connsiteY13" fmla="*/ 1310 h 10048"/>
              <a:gd name="connsiteX14" fmla="*/ 2248 w 10000"/>
              <a:gd name="connsiteY14" fmla="*/ 1406 h 10048"/>
              <a:gd name="connsiteX15" fmla="*/ 2200 w 10000"/>
              <a:gd name="connsiteY15" fmla="*/ 1507 h 10048"/>
              <a:gd name="connsiteX16" fmla="*/ 2149 w 10000"/>
              <a:gd name="connsiteY16" fmla="*/ 1607 h 10048"/>
              <a:gd name="connsiteX17" fmla="*/ 2092 w 10000"/>
              <a:gd name="connsiteY17" fmla="*/ 1706 h 10048"/>
              <a:gd name="connsiteX18" fmla="*/ 2041 w 10000"/>
              <a:gd name="connsiteY18" fmla="*/ 1805 h 10048"/>
              <a:gd name="connsiteX19" fmla="*/ 1981 w 10000"/>
              <a:gd name="connsiteY19" fmla="*/ 1900 h 10048"/>
              <a:gd name="connsiteX20" fmla="*/ 1919 w 10000"/>
              <a:gd name="connsiteY20" fmla="*/ 1989 h 10048"/>
              <a:gd name="connsiteX21" fmla="*/ 1854 w 10000"/>
              <a:gd name="connsiteY21" fmla="*/ 2081 h 10048"/>
              <a:gd name="connsiteX22" fmla="*/ 1794 w 10000"/>
              <a:gd name="connsiteY22" fmla="*/ 2171 h 10048"/>
              <a:gd name="connsiteX23" fmla="*/ 1725 w 10000"/>
              <a:gd name="connsiteY23" fmla="*/ 2268 h 10048"/>
              <a:gd name="connsiteX24" fmla="*/ 1656 w 10000"/>
              <a:gd name="connsiteY24" fmla="*/ 2353 h 10048"/>
              <a:gd name="connsiteX25" fmla="*/ 1583 w 10000"/>
              <a:gd name="connsiteY25" fmla="*/ 2433 h 10048"/>
              <a:gd name="connsiteX26" fmla="*/ 1509 w 10000"/>
              <a:gd name="connsiteY26" fmla="*/ 2523 h 10048"/>
              <a:gd name="connsiteX27" fmla="*/ 1435 w 10000"/>
              <a:gd name="connsiteY27" fmla="*/ 2606 h 10048"/>
              <a:gd name="connsiteX28" fmla="*/ 1356 w 10000"/>
              <a:gd name="connsiteY28" fmla="*/ 2686 h 10048"/>
              <a:gd name="connsiteX29" fmla="*/ 1279 w 10000"/>
              <a:gd name="connsiteY29" fmla="*/ 2772 h 10048"/>
              <a:gd name="connsiteX30" fmla="*/ 1200 w 10000"/>
              <a:gd name="connsiteY30" fmla="*/ 2849 h 10048"/>
              <a:gd name="connsiteX31" fmla="*/ 1113 w 10000"/>
              <a:gd name="connsiteY31" fmla="*/ 2926 h 10048"/>
              <a:gd name="connsiteX32" fmla="*/ 1033 w 10000"/>
              <a:gd name="connsiteY32" fmla="*/ 2999 h 10048"/>
              <a:gd name="connsiteX33" fmla="*/ 946 w 10000"/>
              <a:gd name="connsiteY33" fmla="*/ 3074 h 10048"/>
              <a:gd name="connsiteX34" fmla="*/ 862 w 10000"/>
              <a:gd name="connsiteY34" fmla="*/ 3145 h 10048"/>
              <a:gd name="connsiteX35" fmla="*/ 767 w 10000"/>
              <a:gd name="connsiteY35" fmla="*/ 3216 h 10048"/>
              <a:gd name="connsiteX36" fmla="*/ 679 w 10000"/>
              <a:gd name="connsiteY36" fmla="*/ 3281 h 10048"/>
              <a:gd name="connsiteX37" fmla="*/ 586 w 10000"/>
              <a:gd name="connsiteY37" fmla="*/ 3349 h 10048"/>
              <a:gd name="connsiteX38" fmla="*/ 492 w 10000"/>
              <a:gd name="connsiteY38" fmla="*/ 3413 h 10048"/>
              <a:gd name="connsiteX39" fmla="*/ 394 w 10000"/>
              <a:gd name="connsiteY39" fmla="*/ 3473 h 10048"/>
              <a:gd name="connsiteX40" fmla="*/ 298 w 10000"/>
              <a:gd name="connsiteY40" fmla="*/ 3537 h 10048"/>
              <a:gd name="connsiteX41" fmla="*/ 203 w 10000"/>
              <a:gd name="connsiteY41" fmla="*/ 3595 h 10048"/>
              <a:gd name="connsiteX42" fmla="*/ 101 w 10000"/>
              <a:gd name="connsiteY42" fmla="*/ 3650 h 10048"/>
              <a:gd name="connsiteX43" fmla="*/ 0 w 10000"/>
              <a:gd name="connsiteY43" fmla="*/ 3704 h 10048"/>
              <a:gd name="connsiteX44" fmla="*/ 187 w 10000"/>
              <a:gd name="connsiteY44" fmla="*/ 7509 h 10048"/>
              <a:gd name="connsiteX45" fmla="*/ 3386 w 10000"/>
              <a:gd name="connsiteY45" fmla="*/ 10048 h 10048"/>
              <a:gd name="connsiteX46" fmla="*/ 3689 w 10000"/>
              <a:gd name="connsiteY46" fmla="*/ 9880 h 10048"/>
              <a:gd name="connsiteX47" fmla="*/ 3930 w 10000"/>
              <a:gd name="connsiteY47" fmla="*/ 9746 h 10048"/>
              <a:gd name="connsiteX48" fmla="*/ 4165 w 10000"/>
              <a:gd name="connsiteY48" fmla="*/ 9613 h 10048"/>
              <a:gd name="connsiteX49" fmla="*/ 4397 w 10000"/>
              <a:gd name="connsiteY49" fmla="*/ 9473 h 10048"/>
              <a:gd name="connsiteX50" fmla="*/ 4628 w 10000"/>
              <a:gd name="connsiteY50" fmla="*/ 9327 h 10048"/>
              <a:gd name="connsiteX51" fmla="*/ 4845 w 10000"/>
              <a:gd name="connsiteY51" fmla="*/ 9182 h 10048"/>
              <a:gd name="connsiteX52" fmla="*/ 5065 w 10000"/>
              <a:gd name="connsiteY52" fmla="*/ 9024 h 10048"/>
              <a:gd name="connsiteX53" fmla="*/ 5285 w 10000"/>
              <a:gd name="connsiteY53" fmla="*/ 8871 h 10048"/>
              <a:gd name="connsiteX54" fmla="*/ 5494 w 10000"/>
              <a:gd name="connsiteY54" fmla="*/ 8709 h 10048"/>
              <a:gd name="connsiteX55" fmla="*/ 5708 w 10000"/>
              <a:gd name="connsiteY55" fmla="*/ 8542 h 10048"/>
              <a:gd name="connsiteX56" fmla="*/ 5911 w 10000"/>
              <a:gd name="connsiteY56" fmla="*/ 8368 h 10048"/>
              <a:gd name="connsiteX57" fmla="*/ 6115 w 10000"/>
              <a:gd name="connsiteY57" fmla="*/ 8197 h 10048"/>
              <a:gd name="connsiteX58" fmla="*/ 6310 w 10000"/>
              <a:gd name="connsiteY58" fmla="*/ 8022 h 10048"/>
              <a:gd name="connsiteX59" fmla="*/ 6508 w 10000"/>
              <a:gd name="connsiteY59" fmla="*/ 7836 h 10048"/>
              <a:gd name="connsiteX60" fmla="*/ 6698 w 10000"/>
              <a:gd name="connsiteY60" fmla="*/ 7645 h 10048"/>
              <a:gd name="connsiteX61" fmla="*/ 6882 w 10000"/>
              <a:gd name="connsiteY61" fmla="*/ 7462 h 10048"/>
              <a:gd name="connsiteX62" fmla="*/ 7064 w 10000"/>
              <a:gd name="connsiteY62" fmla="*/ 7267 h 10048"/>
              <a:gd name="connsiteX63" fmla="*/ 7239 w 10000"/>
              <a:gd name="connsiteY63" fmla="*/ 7068 h 10048"/>
              <a:gd name="connsiteX64" fmla="*/ 7414 w 10000"/>
              <a:gd name="connsiteY64" fmla="*/ 6869 h 10048"/>
              <a:gd name="connsiteX65" fmla="*/ 7582 w 10000"/>
              <a:gd name="connsiteY65" fmla="*/ 6666 h 10048"/>
              <a:gd name="connsiteX66" fmla="*/ 7750 w 10000"/>
              <a:gd name="connsiteY66" fmla="*/ 6454 h 10048"/>
              <a:gd name="connsiteX67" fmla="*/ 7905 w 10000"/>
              <a:gd name="connsiteY67" fmla="*/ 6242 h 10048"/>
              <a:gd name="connsiteX68" fmla="*/ 8057 w 10000"/>
              <a:gd name="connsiteY68" fmla="*/ 6027 h 10048"/>
              <a:gd name="connsiteX69" fmla="*/ 8211 w 10000"/>
              <a:gd name="connsiteY69" fmla="*/ 5812 h 10048"/>
              <a:gd name="connsiteX70" fmla="*/ 8354 w 10000"/>
              <a:gd name="connsiteY70" fmla="*/ 5587 h 10048"/>
              <a:gd name="connsiteX71" fmla="*/ 8493 w 10000"/>
              <a:gd name="connsiteY71" fmla="*/ 5366 h 10048"/>
              <a:gd name="connsiteX72" fmla="*/ 8628 w 10000"/>
              <a:gd name="connsiteY72" fmla="*/ 5138 h 10048"/>
              <a:gd name="connsiteX73" fmla="*/ 8754 w 10000"/>
              <a:gd name="connsiteY73" fmla="*/ 4904 h 10048"/>
              <a:gd name="connsiteX74" fmla="*/ 8877 w 10000"/>
              <a:gd name="connsiteY74" fmla="*/ 4670 h 10048"/>
              <a:gd name="connsiteX75" fmla="*/ 9003 w 10000"/>
              <a:gd name="connsiteY75" fmla="*/ 4435 h 10048"/>
              <a:gd name="connsiteX76" fmla="*/ 9120 w 10000"/>
              <a:gd name="connsiteY76" fmla="*/ 4196 h 10048"/>
              <a:gd name="connsiteX77" fmla="*/ 9224 w 10000"/>
              <a:gd name="connsiteY77" fmla="*/ 3956 h 10048"/>
              <a:gd name="connsiteX78" fmla="*/ 9330 w 10000"/>
              <a:gd name="connsiteY78" fmla="*/ 3711 h 10048"/>
              <a:gd name="connsiteX79" fmla="*/ 9425 w 10000"/>
              <a:gd name="connsiteY79" fmla="*/ 3461 h 10048"/>
              <a:gd name="connsiteX80" fmla="*/ 9520 w 10000"/>
              <a:gd name="connsiteY80" fmla="*/ 3214 h 10048"/>
              <a:gd name="connsiteX81" fmla="*/ 9604 w 10000"/>
              <a:gd name="connsiteY81" fmla="*/ 2960 h 10048"/>
              <a:gd name="connsiteX82" fmla="*/ 9684 w 10000"/>
              <a:gd name="connsiteY82" fmla="*/ 2703 h 10048"/>
              <a:gd name="connsiteX83" fmla="*/ 9758 w 10000"/>
              <a:gd name="connsiteY83" fmla="*/ 2445 h 10048"/>
              <a:gd name="connsiteX84" fmla="*/ 9831 w 10000"/>
              <a:gd name="connsiteY84" fmla="*/ 2189 h 10048"/>
              <a:gd name="connsiteX85" fmla="*/ 9892 w 10000"/>
              <a:gd name="connsiteY85" fmla="*/ 1929 h 10048"/>
              <a:gd name="connsiteX86" fmla="*/ 9951 w 10000"/>
              <a:gd name="connsiteY86" fmla="*/ 1664 h 10048"/>
              <a:gd name="connsiteX87" fmla="*/ 10000 w 10000"/>
              <a:gd name="connsiteY87" fmla="*/ 1397 h 10048"/>
              <a:gd name="connsiteX88" fmla="*/ 6011 w 10000"/>
              <a:gd name="connsiteY88" fmla="*/ 2142 h 10048"/>
              <a:gd name="connsiteX89" fmla="*/ 2680 w 10000"/>
              <a:gd name="connsiteY89" fmla="*/ 0 h 10048"/>
              <a:gd name="connsiteX0" fmla="*/ 2642 w 10000"/>
              <a:gd name="connsiteY0" fmla="*/ 0 h 11448"/>
              <a:gd name="connsiteX1" fmla="*/ 2680 w 10000"/>
              <a:gd name="connsiteY1" fmla="*/ 1400 h 11448"/>
              <a:gd name="connsiteX2" fmla="*/ 2665 w 10000"/>
              <a:gd name="connsiteY2" fmla="*/ 1514 h 11448"/>
              <a:gd name="connsiteX3" fmla="*/ 2642 w 10000"/>
              <a:gd name="connsiteY3" fmla="*/ 1627 h 11448"/>
              <a:gd name="connsiteX4" fmla="*/ 2621 w 10000"/>
              <a:gd name="connsiteY4" fmla="*/ 1742 h 11448"/>
              <a:gd name="connsiteX5" fmla="*/ 2594 w 10000"/>
              <a:gd name="connsiteY5" fmla="*/ 1850 h 11448"/>
              <a:gd name="connsiteX6" fmla="*/ 2561 w 10000"/>
              <a:gd name="connsiteY6" fmla="*/ 1959 h 11448"/>
              <a:gd name="connsiteX7" fmla="*/ 2530 w 10000"/>
              <a:gd name="connsiteY7" fmla="*/ 2071 h 11448"/>
              <a:gd name="connsiteX8" fmla="*/ 2502 w 10000"/>
              <a:gd name="connsiteY8" fmla="*/ 2177 h 11448"/>
              <a:gd name="connsiteX9" fmla="*/ 2468 w 10000"/>
              <a:gd name="connsiteY9" fmla="*/ 2287 h 11448"/>
              <a:gd name="connsiteX10" fmla="*/ 2428 w 10000"/>
              <a:gd name="connsiteY10" fmla="*/ 2393 h 11448"/>
              <a:gd name="connsiteX11" fmla="*/ 2386 w 10000"/>
              <a:gd name="connsiteY11" fmla="*/ 2497 h 11448"/>
              <a:gd name="connsiteX12" fmla="*/ 2347 w 10000"/>
              <a:gd name="connsiteY12" fmla="*/ 2604 h 11448"/>
              <a:gd name="connsiteX13" fmla="*/ 2299 w 10000"/>
              <a:gd name="connsiteY13" fmla="*/ 2710 h 11448"/>
              <a:gd name="connsiteX14" fmla="*/ 2248 w 10000"/>
              <a:gd name="connsiteY14" fmla="*/ 2806 h 11448"/>
              <a:gd name="connsiteX15" fmla="*/ 2200 w 10000"/>
              <a:gd name="connsiteY15" fmla="*/ 2907 h 11448"/>
              <a:gd name="connsiteX16" fmla="*/ 2149 w 10000"/>
              <a:gd name="connsiteY16" fmla="*/ 3007 h 11448"/>
              <a:gd name="connsiteX17" fmla="*/ 2092 w 10000"/>
              <a:gd name="connsiteY17" fmla="*/ 3106 h 11448"/>
              <a:gd name="connsiteX18" fmla="*/ 2041 w 10000"/>
              <a:gd name="connsiteY18" fmla="*/ 3205 h 11448"/>
              <a:gd name="connsiteX19" fmla="*/ 1981 w 10000"/>
              <a:gd name="connsiteY19" fmla="*/ 3300 h 11448"/>
              <a:gd name="connsiteX20" fmla="*/ 1919 w 10000"/>
              <a:gd name="connsiteY20" fmla="*/ 3389 h 11448"/>
              <a:gd name="connsiteX21" fmla="*/ 1854 w 10000"/>
              <a:gd name="connsiteY21" fmla="*/ 3481 h 11448"/>
              <a:gd name="connsiteX22" fmla="*/ 1794 w 10000"/>
              <a:gd name="connsiteY22" fmla="*/ 3571 h 11448"/>
              <a:gd name="connsiteX23" fmla="*/ 1725 w 10000"/>
              <a:gd name="connsiteY23" fmla="*/ 3668 h 11448"/>
              <a:gd name="connsiteX24" fmla="*/ 1656 w 10000"/>
              <a:gd name="connsiteY24" fmla="*/ 3753 h 11448"/>
              <a:gd name="connsiteX25" fmla="*/ 1583 w 10000"/>
              <a:gd name="connsiteY25" fmla="*/ 3833 h 11448"/>
              <a:gd name="connsiteX26" fmla="*/ 1509 w 10000"/>
              <a:gd name="connsiteY26" fmla="*/ 3923 h 11448"/>
              <a:gd name="connsiteX27" fmla="*/ 1435 w 10000"/>
              <a:gd name="connsiteY27" fmla="*/ 4006 h 11448"/>
              <a:gd name="connsiteX28" fmla="*/ 1356 w 10000"/>
              <a:gd name="connsiteY28" fmla="*/ 4086 h 11448"/>
              <a:gd name="connsiteX29" fmla="*/ 1279 w 10000"/>
              <a:gd name="connsiteY29" fmla="*/ 4172 h 11448"/>
              <a:gd name="connsiteX30" fmla="*/ 1200 w 10000"/>
              <a:gd name="connsiteY30" fmla="*/ 4249 h 11448"/>
              <a:gd name="connsiteX31" fmla="*/ 1113 w 10000"/>
              <a:gd name="connsiteY31" fmla="*/ 4326 h 11448"/>
              <a:gd name="connsiteX32" fmla="*/ 1033 w 10000"/>
              <a:gd name="connsiteY32" fmla="*/ 4399 h 11448"/>
              <a:gd name="connsiteX33" fmla="*/ 946 w 10000"/>
              <a:gd name="connsiteY33" fmla="*/ 4474 h 11448"/>
              <a:gd name="connsiteX34" fmla="*/ 862 w 10000"/>
              <a:gd name="connsiteY34" fmla="*/ 4545 h 11448"/>
              <a:gd name="connsiteX35" fmla="*/ 767 w 10000"/>
              <a:gd name="connsiteY35" fmla="*/ 4616 h 11448"/>
              <a:gd name="connsiteX36" fmla="*/ 679 w 10000"/>
              <a:gd name="connsiteY36" fmla="*/ 4681 h 11448"/>
              <a:gd name="connsiteX37" fmla="*/ 586 w 10000"/>
              <a:gd name="connsiteY37" fmla="*/ 4749 h 11448"/>
              <a:gd name="connsiteX38" fmla="*/ 492 w 10000"/>
              <a:gd name="connsiteY38" fmla="*/ 4813 h 11448"/>
              <a:gd name="connsiteX39" fmla="*/ 394 w 10000"/>
              <a:gd name="connsiteY39" fmla="*/ 4873 h 11448"/>
              <a:gd name="connsiteX40" fmla="*/ 298 w 10000"/>
              <a:gd name="connsiteY40" fmla="*/ 4937 h 11448"/>
              <a:gd name="connsiteX41" fmla="*/ 203 w 10000"/>
              <a:gd name="connsiteY41" fmla="*/ 4995 h 11448"/>
              <a:gd name="connsiteX42" fmla="*/ 101 w 10000"/>
              <a:gd name="connsiteY42" fmla="*/ 5050 h 11448"/>
              <a:gd name="connsiteX43" fmla="*/ 0 w 10000"/>
              <a:gd name="connsiteY43" fmla="*/ 5104 h 11448"/>
              <a:gd name="connsiteX44" fmla="*/ 187 w 10000"/>
              <a:gd name="connsiteY44" fmla="*/ 8909 h 11448"/>
              <a:gd name="connsiteX45" fmla="*/ 3386 w 10000"/>
              <a:gd name="connsiteY45" fmla="*/ 11448 h 11448"/>
              <a:gd name="connsiteX46" fmla="*/ 3689 w 10000"/>
              <a:gd name="connsiteY46" fmla="*/ 11280 h 11448"/>
              <a:gd name="connsiteX47" fmla="*/ 3930 w 10000"/>
              <a:gd name="connsiteY47" fmla="*/ 11146 h 11448"/>
              <a:gd name="connsiteX48" fmla="*/ 4165 w 10000"/>
              <a:gd name="connsiteY48" fmla="*/ 11013 h 11448"/>
              <a:gd name="connsiteX49" fmla="*/ 4397 w 10000"/>
              <a:gd name="connsiteY49" fmla="*/ 10873 h 11448"/>
              <a:gd name="connsiteX50" fmla="*/ 4628 w 10000"/>
              <a:gd name="connsiteY50" fmla="*/ 10727 h 11448"/>
              <a:gd name="connsiteX51" fmla="*/ 4845 w 10000"/>
              <a:gd name="connsiteY51" fmla="*/ 10582 h 11448"/>
              <a:gd name="connsiteX52" fmla="*/ 5065 w 10000"/>
              <a:gd name="connsiteY52" fmla="*/ 10424 h 11448"/>
              <a:gd name="connsiteX53" fmla="*/ 5285 w 10000"/>
              <a:gd name="connsiteY53" fmla="*/ 10271 h 11448"/>
              <a:gd name="connsiteX54" fmla="*/ 5494 w 10000"/>
              <a:gd name="connsiteY54" fmla="*/ 10109 h 11448"/>
              <a:gd name="connsiteX55" fmla="*/ 5708 w 10000"/>
              <a:gd name="connsiteY55" fmla="*/ 9942 h 11448"/>
              <a:gd name="connsiteX56" fmla="*/ 5911 w 10000"/>
              <a:gd name="connsiteY56" fmla="*/ 9768 h 11448"/>
              <a:gd name="connsiteX57" fmla="*/ 6115 w 10000"/>
              <a:gd name="connsiteY57" fmla="*/ 9597 h 11448"/>
              <a:gd name="connsiteX58" fmla="*/ 6310 w 10000"/>
              <a:gd name="connsiteY58" fmla="*/ 9422 h 11448"/>
              <a:gd name="connsiteX59" fmla="*/ 6508 w 10000"/>
              <a:gd name="connsiteY59" fmla="*/ 9236 h 11448"/>
              <a:gd name="connsiteX60" fmla="*/ 6698 w 10000"/>
              <a:gd name="connsiteY60" fmla="*/ 9045 h 11448"/>
              <a:gd name="connsiteX61" fmla="*/ 6882 w 10000"/>
              <a:gd name="connsiteY61" fmla="*/ 8862 h 11448"/>
              <a:gd name="connsiteX62" fmla="*/ 7064 w 10000"/>
              <a:gd name="connsiteY62" fmla="*/ 8667 h 11448"/>
              <a:gd name="connsiteX63" fmla="*/ 7239 w 10000"/>
              <a:gd name="connsiteY63" fmla="*/ 8468 h 11448"/>
              <a:gd name="connsiteX64" fmla="*/ 7414 w 10000"/>
              <a:gd name="connsiteY64" fmla="*/ 8269 h 11448"/>
              <a:gd name="connsiteX65" fmla="*/ 7582 w 10000"/>
              <a:gd name="connsiteY65" fmla="*/ 8066 h 11448"/>
              <a:gd name="connsiteX66" fmla="*/ 7750 w 10000"/>
              <a:gd name="connsiteY66" fmla="*/ 7854 h 11448"/>
              <a:gd name="connsiteX67" fmla="*/ 7905 w 10000"/>
              <a:gd name="connsiteY67" fmla="*/ 7642 h 11448"/>
              <a:gd name="connsiteX68" fmla="*/ 8057 w 10000"/>
              <a:gd name="connsiteY68" fmla="*/ 7427 h 11448"/>
              <a:gd name="connsiteX69" fmla="*/ 8211 w 10000"/>
              <a:gd name="connsiteY69" fmla="*/ 7212 h 11448"/>
              <a:gd name="connsiteX70" fmla="*/ 8354 w 10000"/>
              <a:gd name="connsiteY70" fmla="*/ 6987 h 11448"/>
              <a:gd name="connsiteX71" fmla="*/ 8493 w 10000"/>
              <a:gd name="connsiteY71" fmla="*/ 6766 h 11448"/>
              <a:gd name="connsiteX72" fmla="*/ 8628 w 10000"/>
              <a:gd name="connsiteY72" fmla="*/ 6538 h 11448"/>
              <a:gd name="connsiteX73" fmla="*/ 8754 w 10000"/>
              <a:gd name="connsiteY73" fmla="*/ 6304 h 11448"/>
              <a:gd name="connsiteX74" fmla="*/ 8877 w 10000"/>
              <a:gd name="connsiteY74" fmla="*/ 6070 h 11448"/>
              <a:gd name="connsiteX75" fmla="*/ 9003 w 10000"/>
              <a:gd name="connsiteY75" fmla="*/ 5835 h 11448"/>
              <a:gd name="connsiteX76" fmla="*/ 9120 w 10000"/>
              <a:gd name="connsiteY76" fmla="*/ 5596 h 11448"/>
              <a:gd name="connsiteX77" fmla="*/ 9224 w 10000"/>
              <a:gd name="connsiteY77" fmla="*/ 5356 h 11448"/>
              <a:gd name="connsiteX78" fmla="*/ 9330 w 10000"/>
              <a:gd name="connsiteY78" fmla="*/ 5111 h 11448"/>
              <a:gd name="connsiteX79" fmla="*/ 9425 w 10000"/>
              <a:gd name="connsiteY79" fmla="*/ 4861 h 11448"/>
              <a:gd name="connsiteX80" fmla="*/ 9520 w 10000"/>
              <a:gd name="connsiteY80" fmla="*/ 4614 h 11448"/>
              <a:gd name="connsiteX81" fmla="*/ 9604 w 10000"/>
              <a:gd name="connsiteY81" fmla="*/ 4360 h 11448"/>
              <a:gd name="connsiteX82" fmla="*/ 9684 w 10000"/>
              <a:gd name="connsiteY82" fmla="*/ 4103 h 11448"/>
              <a:gd name="connsiteX83" fmla="*/ 9758 w 10000"/>
              <a:gd name="connsiteY83" fmla="*/ 3845 h 11448"/>
              <a:gd name="connsiteX84" fmla="*/ 9831 w 10000"/>
              <a:gd name="connsiteY84" fmla="*/ 3589 h 11448"/>
              <a:gd name="connsiteX85" fmla="*/ 9892 w 10000"/>
              <a:gd name="connsiteY85" fmla="*/ 3329 h 11448"/>
              <a:gd name="connsiteX86" fmla="*/ 9951 w 10000"/>
              <a:gd name="connsiteY86" fmla="*/ 3064 h 11448"/>
              <a:gd name="connsiteX87" fmla="*/ 10000 w 10000"/>
              <a:gd name="connsiteY87" fmla="*/ 2797 h 11448"/>
              <a:gd name="connsiteX88" fmla="*/ 6011 w 10000"/>
              <a:gd name="connsiteY88" fmla="*/ 3542 h 11448"/>
              <a:gd name="connsiteX89" fmla="*/ 2642 w 10000"/>
              <a:gd name="connsiteY89" fmla="*/ 0 h 11448"/>
              <a:gd name="connsiteX0" fmla="*/ 2705 w 10000"/>
              <a:gd name="connsiteY0" fmla="*/ 0 h 11460"/>
              <a:gd name="connsiteX1" fmla="*/ 2680 w 10000"/>
              <a:gd name="connsiteY1" fmla="*/ 1412 h 11460"/>
              <a:gd name="connsiteX2" fmla="*/ 2665 w 10000"/>
              <a:gd name="connsiteY2" fmla="*/ 1526 h 11460"/>
              <a:gd name="connsiteX3" fmla="*/ 2642 w 10000"/>
              <a:gd name="connsiteY3" fmla="*/ 1639 h 11460"/>
              <a:gd name="connsiteX4" fmla="*/ 2621 w 10000"/>
              <a:gd name="connsiteY4" fmla="*/ 1754 h 11460"/>
              <a:gd name="connsiteX5" fmla="*/ 2594 w 10000"/>
              <a:gd name="connsiteY5" fmla="*/ 1862 h 11460"/>
              <a:gd name="connsiteX6" fmla="*/ 2561 w 10000"/>
              <a:gd name="connsiteY6" fmla="*/ 1971 h 11460"/>
              <a:gd name="connsiteX7" fmla="*/ 2530 w 10000"/>
              <a:gd name="connsiteY7" fmla="*/ 2083 h 11460"/>
              <a:gd name="connsiteX8" fmla="*/ 2502 w 10000"/>
              <a:gd name="connsiteY8" fmla="*/ 2189 h 11460"/>
              <a:gd name="connsiteX9" fmla="*/ 2468 w 10000"/>
              <a:gd name="connsiteY9" fmla="*/ 2299 h 11460"/>
              <a:gd name="connsiteX10" fmla="*/ 2428 w 10000"/>
              <a:gd name="connsiteY10" fmla="*/ 2405 h 11460"/>
              <a:gd name="connsiteX11" fmla="*/ 2386 w 10000"/>
              <a:gd name="connsiteY11" fmla="*/ 2509 h 11460"/>
              <a:gd name="connsiteX12" fmla="*/ 2347 w 10000"/>
              <a:gd name="connsiteY12" fmla="*/ 2616 h 11460"/>
              <a:gd name="connsiteX13" fmla="*/ 2299 w 10000"/>
              <a:gd name="connsiteY13" fmla="*/ 2722 h 11460"/>
              <a:gd name="connsiteX14" fmla="*/ 2248 w 10000"/>
              <a:gd name="connsiteY14" fmla="*/ 2818 h 11460"/>
              <a:gd name="connsiteX15" fmla="*/ 2200 w 10000"/>
              <a:gd name="connsiteY15" fmla="*/ 2919 h 11460"/>
              <a:gd name="connsiteX16" fmla="*/ 2149 w 10000"/>
              <a:gd name="connsiteY16" fmla="*/ 3019 h 11460"/>
              <a:gd name="connsiteX17" fmla="*/ 2092 w 10000"/>
              <a:gd name="connsiteY17" fmla="*/ 3118 h 11460"/>
              <a:gd name="connsiteX18" fmla="*/ 2041 w 10000"/>
              <a:gd name="connsiteY18" fmla="*/ 3217 h 11460"/>
              <a:gd name="connsiteX19" fmla="*/ 1981 w 10000"/>
              <a:gd name="connsiteY19" fmla="*/ 3312 h 11460"/>
              <a:gd name="connsiteX20" fmla="*/ 1919 w 10000"/>
              <a:gd name="connsiteY20" fmla="*/ 3401 h 11460"/>
              <a:gd name="connsiteX21" fmla="*/ 1854 w 10000"/>
              <a:gd name="connsiteY21" fmla="*/ 3493 h 11460"/>
              <a:gd name="connsiteX22" fmla="*/ 1794 w 10000"/>
              <a:gd name="connsiteY22" fmla="*/ 3583 h 11460"/>
              <a:gd name="connsiteX23" fmla="*/ 1725 w 10000"/>
              <a:gd name="connsiteY23" fmla="*/ 3680 h 11460"/>
              <a:gd name="connsiteX24" fmla="*/ 1656 w 10000"/>
              <a:gd name="connsiteY24" fmla="*/ 3765 h 11460"/>
              <a:gd name="connsiteX25" fmla="*/ 1583 w 10000"/>
              <a:gd name="connsiteY25" fmla="*/ 3845 h 11460"/>
              <a:gd name="connsiteX26" fmla="*/ 1509 w 10000"/>
              <a:gd name="connsiteY26" fmla="*/ 3935 h 11460"/>
              <a:gd name="connsiteX27" fmla="*/ 1435 w 10000"/>
              <a:gd name="connsiteY27" fmla="*/ 4018 h 11460"/>
              <a:gd name="connsiteX28" fmla="*/ 1356 w 10000"/>
              <a:gd name="connsiteY28" fmla="*/ 4098 h 11460"/>
              <a:gd name="connsiteX29" fmla="*/ 1279 w 10000"/>
              <a:gd name="connsiteY29" fmla="*/ 4184 h 11460"/>
              <a:gd name="connsiteX30" fmla="*/ 1200 w 10000"/>
              <a:gd name="connsiteY30" fmla="*/ 4261 h 11460"/>
              <a:gd name="connsiteX31" fmla="*/ 1113 w 10000"/>
              <a:gd name="connsiteY31" fmla="*/ 4338 h 11460"/>
              <a:gd name="connsiteX32" fmla="*/ 1033 w 10000"/>
              <a:gd name="connsiteY32" fmla="*/ 4411 h 11460"/>
              <a:gd name="connsiteX33" fmla="*/ 946 w 10000"/>
              <a:gd name="connsiteY33" fmla="*/ 4486 h 11460"/>
              <a:gd name="connsiteX34" fmla="*/ 862 w 10000"/>
              <a:gd name="connsiteY34" fmla="*/ 4557 h 11460"/>
              <a:gd name="connsiteX35" fmla="*/ 767 w 10000"/>
              <a:gd name="connsiteY35" fmla="*/ 4628 h 11460"/>
              <a:gd name="connsiteX36" fmla="*/ 679 w 10000"/>
              <a:gd name="connsiteY36" fmla="*/ 4693 h 11460"/>
              <a:gd name="connsiteX37" fmla="*/ 586 w 10000"/>
              <a:gd name="connsiteY37" fmla="*/ 4761 h 11460"/>
              <a:gd name="connsiteX38" fmla="*/ 492 w 10000"/>
              <a:gd name="connsiteY38" fmla="*/ 4825 h 11460"/>
              <a:gd name="connsiteX39" fmla="*/ 394 w 10000"/>
              <a:gd name="connsiteY39" fmla="*/ 4885 h 11460"/>
              <a:gd name="connsiteX40" fmla="*/ 298 w 10000"/>
              <a:gd name="connsiteY40" fmla="*/ 4949 h 11460"/>
              <a:gd name="connsiteX41" fmla="*/ 203 w 10000"/>
              <a:gd name="connsiteY41" fmla="*/ 5007 h 11460"/>
              <a:gd name="connsiteX42" fmla="*/ 101 w 10000"/>
              <a:gd name="connsiteY42" fmla="*/ 5062 h 11460"/>
              <a:gd name="connsiteX43" fmla="*/ 0 w 10000"/>
              <a:gd name="connsiteY43" fmla="*/ 5116 h 11460"/>
              <a:gd name="connsiteX44" fmla="*/ 187 w 10000"/>
              <a:gd name="connsiteY44" fmla="*/ 8921 h 11460"/>
              <a:gd name="connsiteX45" fmla="*/ 3386 w 10000"/>
              <a:gd name="connsiteY45" fmla="*/ 11460 h 11460"/>
              <a:gd name="connsiteX46" fmla="*/ 3689 w 10000"/>
              <a:gd name="connsiteY46" fmla="*/ 11292 h 11460"/>
              <a:gd name="connsiteX47" fmla="*/ 3930 w 10000"/>
              <a:gd name="connsiteY47" fmla="*/ 11158 h 11460"/>
              <a:gd name="connsiteX48" fmla="*/ 4165 w 10000"/>
              <a:gd name="connsiteY48" fmla="*/ 11025 h 11460"/>
              <a:gd name="connsiteX49" fmla="*/ 4397 w 10000"/>
              <a:gd name="connsiteY49" fmla="*/ 10885 h 11460"/>
              <a:gd name="connsiteX50" fmla="*/ 4628 w 10000"/>
              <a:gd name="connsiteY50" fmla="*/ 10739 h 11460"/>
              <a:gd name="connsiteX51" fmla="*/ 4845 w 10000"/>
              <a:gd name="connsiteY51" fmla="*/ 10594 h 11460"/>
              <a:gd name="connsiteX52" fmla="*/ 5065 w 10000"/>
              <a:gd name="connsiteY52" fmla="*/ 10436 h 11460"/>
              <a:gd name="connsiteX53" fmla="*/ 5285 w 10000"/>
              <a:gd name="connsiteY53" fmla="*/ 10283 h 11460"/>
              <a:gd name="connsiteX54" fmla="*/ 5494 w 10000"/>
              <a:gd name="connsiteY54" fmla="*/ 10121 h 11460"/>
              <a:gd name="connsiteX55" fmla="*/ 5708 w 10000"/>
              <a:gd name="connsiteY55" fmla="*/ 9954 h 11460"/>
              <a:gd name="connsiteX56" fmla="*/ 5911 w 10000"/>
              <a:gd name="connsiteY56" fmla="*/ 9780 h 11460"/>
              <a:gd name="connsiteX57" fmla="*/ 6115 w 10000"/>
              <a:gd name="connsiteY57" fmla="*/ 9609 h 11460"/>
              <a:gd name="connsiteX58" fmla="*/ 6310 w 10000"/>
              <a:gd name="connsiteY58" fmla="*/ 9434 h 11460"/>
              <a:gd name="connsiteX59" fmla="*/ 6508 w 10000"/>
              <a:gd name="connsiteY59" fmla="*/ 9248 h 11460"/>
              <a:gd name="connsiteX60" fmla="*/ 6698 w 10000"/>
              <a:gd name="connsiteY60" fmla="*/ 9057 h 11460"/>
              <a:gd name="connsiteX61" fmla="*/ 6882 w 10000"/>
              <a:gd name="connsiteY61" fmla="*/ 8874 h 11460"/>
              <a:gd name="connsiteX62" fmla="*/ 7064 w 10000"/>
              <a:gd name="connsiteY62" fmla="*/ 8679 h 11460"/>
              <a:gd name="connsiteX63" fmla="*/ 7239 w 10000"/>
              <a:gd name="connsiteY63" fmla="*/ 8480 h 11460"/>
              <a:gd name="connsiteX64" fmla="*/ 7414 w 10000"/>
              <a:gd name="connsiteY64" fmla="*/ 8281 h 11460"/>
              <a:gd name="connsiteX65" fmla="*/ 7582 w 10000"/>
              <a:gd name="connsiteY65" fmla="*/ 8078 h 11460"/>
              <a:gd name="connsiteX66" fmla="*/ 7750 w 10000"/>
              <a:gd name="connsiteY66" fmla="*/ 7866 h 11460"/>
              <a:gd name="connsiteX67" fmla="*/ 7905 w 10000"/>
              <a:gd name="connsiteY67" fmla="*/ 7654 h 11460"/>
              <a:gd name="connsiteX68" fmla="*/ 8057 w 10000"/>
              <a:gd name="connsiteY68" fmla="*/ 7439 h 11460"/>
              <a:gd name="connsiteX69" fmla="*/ 8211 w 10000"/>
              <a:gd name="connsiteY69" fmla="*/ 7224 h 11460"/>
              <a:gd name="connsiteX70" fmla="*/ 8354 w 10000"/>
              <a:gd name="connsiteY70" fmla="*/ 6999 h 11460"/>
              <a:gd name="connsiteX71" fmla="*/ 8493 w 10000"/>
              <a:gd name="connsiteY71" fmla="*/ 6778 h 11460"/>
              <a:gd name="connsiteX72" fmla="*/ 8628 w 10000"/>
              <a:gd name="connsiteY72" fmla="*/ 6550 h 11460"/>
              <a:gd name="connsiteX73" fmla="*/ 8754 w 10000"/>
              <a:gd name="connsiteY73" fmla="*/ 6316 h 11460"/>
              <a:gd name="connsiteX74" fmla="*/ 8877 w 10000"/>
              <a:gd name="connsiteY74" fmla="*/ 6082 h 11460"/>
              <a:gd name="connsiteX75" fmla="*/ 9003 w 10000"/>
              <a:gd name="connsiteY75" fmla="*/ 5847 h 11460"/>
              <a:gd name="connsiteX76" fmla="*/ 9120 w 10000"/>
              <a:gd name="connsiteY76" fmla="*/ 5608 h 11460"/>
              <a:gd name="connsiteX77" fmla="*/ 9224 w 10000"/>
              <a:gd name="connsiteY77" fmla="*/ 5368 h 11460"/>
              <a:gd name="connsiteX78" fmla="*/ 9330 w 10000"/>
              <a:gd name="connsiteY78" fmla="*/ 5123 h 11460"/>
              <a:gd name="connsiteX79" fmla="*/ 9425 w 10000"/>
              <a:gd name="connsiteY79" fmla="*/ 4873 h 11460"/>
              <a:gd name="connsiteX80" fmla="*/ 9520 w 10000"/>
              <a:gd name="connsiteY80" fmla="*/ 4626 h 11460"/>
              <a:gd name="connsiteX81" fmla="*/ 9604 w 10000"/>
              <a:gd name="connsiteY81" fmla="*/ 4372 h 11460"/>
              <a:gd name="connsiteX82" fmla="*/ 9684 w 10000"/>
              <a:gd name="connsiteY82" fmla="*/ 4115 h 11460"/>
              <a:gd name="connsiteX83" fmla="*/ 9758 w 10000"/>
              <a:gd name="connsiteY83" fmla="*/ 3857 h 11460"/>
              <a:gd name="connsiteX84" fmla="*/ 9831 w 10000"/>
              <a:gd name="connsiteY84" fmla="*/ 3601 h 11460"/>
              <a:gd name="connsiteX85" fmla="*/ 9892 w 10000"/>
              <a:gd name="connsiteY85" fmla="*/ 3341 h 11460"/>
              <a:gd name="connsiteX86" fmla="*/ 9951 w 10000"/>
              <a:gd name="connsiteY86" fmla="*/ 3076 h 11460"/>
              <a:gd name="connsiteX87" fmla="*/ 10000 w 10000"/>
              <a:gd name="connsiteY87" fmla="*/ 2809 h 11460"/>
              <a:gd name="connsiteX88" fmla="*/ 6011 w 10000"/>
              <a:gd name="connsiteY88" fmla="*/ 3554 h 11460"/>
              <a:gd name="connsiteX89" fmla="*/ 2705 w 10000"/>
              <a:gd name="connsiteY89" fmla="*/ 0 h 11460"/>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627 w 10000"/>
              <a:gd name="connsiteY88" fmla="*/ 408 h 11472"/>
              <a:gd name="connsiteX89" fmla="*/ 2667 w 10000"/>
              <a:gd name="connsiteY89" fmla="*/ 0 h 11472"/>
              <a:gd name="connsiteX0" fmla="*/ 2667 w 9952"/>
              <a:gd name="connsiteY0" fmla="*/ 1988 h 13460"/>
              <a:gd name="connsiteX1" fmla="*/ 2680 w 9952"/>
              <a:gd name="connsiteY1" fmla="*/ 3412 h 13460"/>
              <a:gd name="connsiteX2" fmla="*/ 2665 w 9952"/>
              <a:gd name="connsiteY2" fmla="*/ 3526 h 13460"/>
              <a:gd name="connsiteX3" fmla="*/ 2642 w 9952"/>
              <a:gd name="connsiteY3" fmla="*/ 3639 h 13460"/>
              <a:gd name="connsiteX4" fmla="*/ 2621 w 9952"/>
              <a:gd name="connsiteY4" fmla="*/ 3754 h 13460"/>
              <a:gd name="connsiteX5" fmla="*/ 2594 w 9952"/>
              <a:gd name="connsiteY5" fmla="*/ 3862 h 13460"/>
              <a:gd name="connsiteX6" fmla="*/ 2561 w 9952"/>
              <a:gd name="connsiteY6" fmla="*/ 3971 h 13460"/>
              <a:gd name="connsiteX7" fmla="*/ 2530 w 9952"/>
              <a:gd name="connsiteY7" fmla="*/ 4083 h 13460"/>
              <a:gd name="connsiteX8" fmla="*/ 2502 w 9952"/>
              <a:gd name="connsiteY8" fmla="*/ 4189 h 13460"/>
              <a:gd name="connsiteX9" fmla="*/ 2468 w 9952"/>
              <a:gd name="connsiteY9" fmla="*/ 4299 h 13460"/>
              <a:gd name="connsiteX10" fmla="*/ 2428 w 9952"/>
              <a:gd name="connsiteY10" fmla="*/ 4405 h 13460"/>
              <a:gd name="connsiteX11" fmla="*/ 2386 w 9952"/>
              <a:gd name="connsiteY11" fmla="*/ 4509 h 13460"/>
              <a:gd name="connsiteX12" fmla="*/ 2347 w 9952"/>
              <a:gd name="connsiteY12" fmla="*/ 4616 h 13460"/>
              <a:gd name="connsiteX13" fmla="*/ 2299 w 9952"/>
              <a:gd name="connsiteY13" fmla="*/ 4722 h 13460"/>
              <a:gd name="connsiteX14" fmla="*/ 2248 w 9952"/>
              <a:gd name="connsiteY14" fmla="*/ 4818 h 13460"/>
              <a:gd name="connsiteX15" fmla="*/ 2200 w 9952"/>
              <a:gd name="connsiteY15" fmla="*/ 4919 h 13460"/>
              <a:gd name="connsiteX16" fmla="*/ 2149 w 9952"/>
              <a:gd name="connsiteY16" fmla="*/ 5019 h 13460"/>
              <a:gd name="connsiteX17" fmla="*/ 2092 w 9952"/>
              <a:gd name="connsiteY17" fmla="*/ 5118 h 13460"/>
              <a:gd name="connsiteX18" fmla="*/ 2041 w 9952"/>
              <a:gd name="connsiteY18" fmla="*/ 5217 h 13460"/>
              <a:gd name="connsiteX19" fmla="*/ 1981 w 9952"/>
              <a:gd name="connsiteY19" fmla="*/ 5312 h 13460"/>
              <a:gd name="connsiteX20" fmla="*/ 1919 w 9952"/>
              <a:gd name="connsiteY20" fmla="*/ 5401 h 13460"/>
              <a:gd name="connsiteX21" fmla="*/ 1854 w 9952"/>
              <a:gd name="connsiteY21" fmla="*/ 5493 h 13460"/>
              <a:gd name="connsiteX22" fmla="*/ 1794 w 9952"/>
              <a:gd name="connsiteY22" fmla="*/ 5583 h 13460"/>
              <a:gd name="connsiteX23" fmla="*/ 1725 w 9952"/>
              <a:gd name="connsiteY23" fmla="*/ 5680 h 13460"/>
              <a:gd name="connsiteX24" fmla="*/ 1656 w 9952"/>
              <a:gd name="connsiteY24" fmla="*/ 5765 h 13460"/>
              <a:gd name="connsiteX25" fmla="*/ 1583 w 9952"/>
              <a:gd name="connsiteY25" fmla="*/ 5845 h 13460"/>
              <a:gd name="connsiteX26" fmla="*/ 1509 w 9952"/>
              <a:gd name="connsiteY26" fmla="*/ 5935 h 13460"/>
              <a:gd name="connsiteX27" fmla="*/ 1435 w 9952"/>
              <a:gd name="connsiteY27" fmla="*/ 6018 h 13460"/>
              <a:gd name="connsiteX28" fmla="*/ 1356 w 9952"/>
              <a:gd name="connsiteY28" fmla="*/ 6098 h 13460"/>
              <a:gd name="connsiteX29" fmla="*/ 1279 w 9952"/>
              <a:gd name="connsiteY29" fmla="*/ 6184 h 13460"/>
              <a:gd name="connsiteX30" fmla="*/ 1200 w 9952"/>
              <a:gd name="connsiteY30" fmla="*/ 6261 h 13460"/>
              <a:gd name="connsiteX31" fmla="*/ 1113 w 9952"/>
              <a:gd name="connsiteY31" fmla="*/ 6338 h 13460"/>
              <a:gd name="connsiteX32" fmla="*/ 1033 w 9952"/>
              <a:gd name="connsiteY32" fmla="*/ 6411 h 13460"/>
              <a:gd name="connsiteX33" fmla="*/ 946 w 9952"/>
              <a:gd name="connsiteY33" fmla="*/ 6486 h 13460"/>
              <a:gd name="connsiteX34" fmla="*/ 862 w 9952"/>
              <a:gd name="connsiteY34" fmla="*/ 6557 h 13460"/>
              <a:gd name="connsiteX35" fmla="*/ 767 w 9952"/>
              <a:gd name="connsiteY35" fmla="*/ 6628 h 13460"/>
              <a:gd name="connsiteX36" fmla="*/ 679 w 9952"/>
              <a:gd name="connsiteY36" fmla="*/ 6693 h 13460"/>
              <a:gd name="connsiteX37" fmla="*/ 586 w 9952"/>
              <a:gd name="connsiteY37" fmla="*/ 6761 h 13460"/>
              <a:gd name="connsiteX38" fmla="*/ 492 w 9952"/>
              <a:gd name="connsiteY38" fmla="*/ 6825 h 13460"/>
              <a:gd name="connsiteX39" fmla="*/ 394 w 9952"/>
              <a:gd name="connsiteY39" fmla="*/ 6885 h 13460"/>
              <a:gd name="connsiteX40" fmla="*/ 298 w 9952"/>
              <a:gd name="connsiteY40" fmla="*/ 6949 h 13460"/>
              <a:gd name="connsiteX41" fmla="*/ 203 w 9952"/>
              <a:gd name="connsiteY41" fmla="*/ 7007 h 13460"/>
              <a:gd name="connsiteX42" fmla="*/ 101 w 9952"/>
              <a:gd name="connsiteY42" fmla="*/ 7062 h 13460"/>
              <a:gd name="connsiteX43" fmla="*/ 0 w 9952"/>
              <a:gd name="connsiteY43" fmla="*/ 7116 h 13460"/>
              <a:gd name="connsiteX44" fmla="*/ 187 w 9952"/>
              <a:gd name="connsiteY44" fmla="*/ 10921 h 13460"/>
              <a:gd name="connsiteX45" fmla="*/ 3386 w 9952"/>
              <a:gd name="connsiteY45" fmla="*/ 13460 h 13460"/>
              <a:gd name="connsiteX46" fmla="*/ 3689 w 9952"/>
              <a:gd name="connsiteY46" fmla="*/ 13292 h 13460"/>
              <a:gd name="connsiteX47" fmla="*/ 3930 w 9952"/>
              <a:gd name="connsiteY47" fmla="*/ 13158 h 13460"/>
              <a:gd name="connsiteX48" fmla="*/ 4165 w 9952"/>
              <a:gd name="connsiteY48" fmla="*/ 13025 h 13460"/>
              <a:gd name="connsiteX49" fmla="*/ 4397 w 9952"/>
              <a:gd name="connsiteY49" fmla="*/ 12885 h 13460"/>
              <a:gd name="connsiteX50" fmla="*/ 4628 w 9952"/>
              <a:gd name="connsiteY50" fmla="*/ 12739 h 13460"/>
              <a:gd name="connsiteX51" fmla="*/ 4845 w 9952"/>
              <a:gd name="connsiteY51" fmla="*/ 12594 h 13460"/>
              <a:gd name="connsiteX52" fmla="*/ 5065 w 9952"/>
              <a:gd name="connsiteY52" fmla="*/ 12436 h 13460"/>
              <a:gd name="connsiteX53" fmla="*/ 5285 w 9952"/>
              <a:gd name="connsiteY53" fmla="*/ 12283 h 13460"/>
              <a:gd name="connsiteX54" fmla="*/ 5494 w 9952"/>
              <a:gd name="connsiteY54" fmla="*/ 12121 h 13460"/>
              <a:gd name="connsiteX55" fmla="*/ 5708 w 9952"/>
              <a:gd name="connsiteY55" fmla="*/ 11954 h 13460"/>
              <a:gd name="connsiteX56" fmla="*/ 5911 w 9952"/>
              <a:gd name="connsiteY56" fmla="*/ 11780 h 13460"/>
              <a:gd name="connsiteX57" fmla="*/ 6115 w 9952"/>
              <a:gd name="connsiteY57" fmla="*/ 11609 h 13460"/>
              <a:gd name="connsiteX58" fmla="*/ 6310 w 9952"/>
              <a:gd name="connsiteY58" fmla="*/ 11434 h 13460"/>
              <a:gd name="connsiteX59" fmla="*/ 6508 w 9952"/>
              <a:gd name="connsiteY59" fmla="*/ 11248 h 13460"/>
              <a:gd name="connsiteX60" fmla="*/ 6698 w 9952"/>
              <a:gd name="connsiteY60" fmla="*/ 11057 h 13460"/>
              <a:gd name="connsiteX61" fmla="*/ 6882 w 9952"/>
              <a:gd name="connsiteY61" fmla="*/ 10874 h 13460"/>
              <a:gd name="connsiteX62" fmla="*/ 7064 w 9952"/>
              <a:gd name="connsiteY62" fmla="*/ 10679 h 13460"/>
              <a:gd name="connsiteX63" fmla="*/ 7239 w 9952"/>
              <a:gd name="connsiteY63" fmla="*/ 10480 h 13460"/>
              <a:gd name="connsiteX64" fmla="*/ 7414 w 9952"/>
              <a:gd name="connsiteY64" fmla="*/ 10281 h 13460"/>
              <a:gd name="connsiteX65" fmla="*/ 7582 w 9952"/>
              <a:gd name="connsiteY65" fmla="*/ 10078 h 13460"/>
              <a:gd name="connsiteX66" fmla="*/ 7750 w 9952"/>
              <a:gd name="connsiteY66" fmla="*/ 9866 h 13460"/>
              <a:gd name="connsiteX67" fmla="*/ 7905 w 9952"/>
              <a:gd name="connsiteY67" fmla="*/ 9654 h 13460"/>
              <a:gd name="connsiteX68" fmla="*/ 8057 w 9952"/>
              <a:gd name="connsiteY68" fmla="*/ 9439 h 13460"/>
              <a:gd name="connsiteX69" fmla="*/ 8211 w 9952"/>
              <a:gd name="connsiteY69" fmla="*/ 9224 h 13460"/>
              <a:gd name="connsiteX70" fmla="*/ 8354 w 9952"/>
              <a:gd name="connsiteY70" fmla="*/ 8999 h 13460"/>
              <a:gd name="connsiteX71" fmla="*/ 8493 w 9952"/>
              <a:gd name="connsiteY71" fmla="*/ 8778 h 13460"/>
              <a:gd name="connsiteX72" fmla="*/ 8628 w 9952"/>
              <a:gd name="connsiteY72" fmla="*/ 8550 h 13460"/>
              <a:gd name="connsiteX73" fmla="*/ 8754 w 9952"/>
              <a:gd name="connsiteY73" fmla="*/ 8316 h 13460"/>
              <a:gd name="connsiteX74" fmla="*/ 8877 w 9952"/>
              <a:gd name="connsiteY74" fmla="*/ 8082 h 13460"/>
              <a:gd name="connsiteX75" fmla="*/ 9003 w 9952"/>
              <a:gd name="connsiteY75" fmla="*/ 7847 h 13460"/>
              <a:gd name="connsiteX76" fmla="*/ 9120 w 9952"/>
              <a:gd name="connsiteY76" fmla="*/ 7608 h 13460"/>
              <a:gd name="connsiteX77" fmla="*/ 9224 w 9952"/>
              <a:gd name="connsiteY77" fmla="*/ 7368 h 13460"/>
              <a:gd name="connsiteX78" fmla="*/ 9330 w 9952"/>
              <a:gd name="connsiteY78" fmla="*/ 7123 h 13460"/>
              <a:gd name="connsiteX79" fmla="*/ 9425 w 9952"/>
              <a:gd name="connsiteY79" fmla="*/ 6873 h 13460"/>
              <a:gd name="connsiteX80" fmla="*/ 9520 w 9952"/>
              <a:gd name="connsiteY80" fmla="*/ 6626 h 13460"/>
              <a:gd name="connsiteX81" fmla="*/ 9604 w 9952"/>
              <a:gd name="connsiteY81" fmla="*/ 6372 h 13460"/>
              <a:gd name="connsiteX82" fmla="*/ 9684 w 9952"/>
              <a:gd name="connsiteY82" fmla="*/ 6115 h 13460"/>
              <a:gd name="connsiteX83" fmla="*/ 9758 w 9952"/>
              <a:gd name="connsiteY83" fmla="*/ 5857 h 13460"/>
              <a:gd name="connsiteX84" fmla="*/ 9831 w 9952"/>
              <a:gd name="connsiteY84" fmla="*/ 5601 h 13460"/>
              <a:gd name="connsiteX85" fmla="*/ 9892 w 9952"/>
              <a:gd name="connsiteY85" fmla="*/ 5341 h 13460"/>
              <a:gd name="connsiteX86" fmla="*/ 9951 w 9952"/>
              <a:gd name="connsiteY86" fmla="*/ 5076 h 13460"/>
              <a:gd name="connsiteX87" fmla="*/ 9862 w 9952"/>
              <a:gd name="connsiteY87" fmla="*/ 0 h 13460"/>
              <a:gd name="connsiteX88" fmla="*/ 6627 w 9952"/>
              <a:gd name="connsiteY88" fmla="*/ 2396 h 13460"/>
              <a:gd name="connsiteX89" fmla="*/ 2667 w 9952"/>
              <a:gd name="connsiteY89" fmla="*/ 1988 h 13460"/>
              <a:gd name="connsiteX0" fmla="*/ 2680 w 10208"/>
              <a:gd name="connsiteY0" fmla="*/ 1477 h 10000"/>
              <a:gd name="connsiteX1" fmla="*/ 2693 w 10208"/>
              <a:gd name="connsiteY1" fmla="*/ 2535 h 10000"/>
              <a:gd name="connsiteX2" fmla="*/ 2678 w 10208"/>
              <a:gd name="connsiteY2" fmla="*/ 2620 h 10000"/>
              <a:gd name="connsiteX3" fmla="*/ 2655 w 10208"/>
              <a:gd name="connsiteY3" fmla="*/ 2704 h 10000"/>
              <a:gd name="connsiteX4" fmla="*/ 2634 w 10208"/>
              <a:gd name="connsiteY4" fmla="*/ 2789 h 10000"/>
              <a:gd name="connsiteX5" fmla="*/ 2607 w 10208"/>
              <a:gd name="connsiteY5" fmla="*/ 2869 h 10000"/>
              <a:gd name="connsiteX6" fmla="*/ 2573 w 10208"/>
              <a:gd name="connsiteY6" fmla="*/ 2950 h 10000"/>
              <a:gd name="connsiteX7" fmla="*/ 2542 w 10208"/>
              <a:gd name="connsiteY7" fmla="*/ 3033 h 10000"/>
              <a:gd name="connsiteX8" fmla="*/ 2514 w 10208"/>
              <a:gd name="connsiteY8" fmla="*/ 3112 h 10000"/>
              <a:gd name="connsiteX9" fmla="*/ 2480 w 10208"/>
              <a:gd name="connsiteY9" fmla="*/ 3194 h 10000"/>
              <a:gd name="connsiteX10" fmla="*/ 2440 w 10208"/>
              <a:gd name="connsiteY10" fmla="*/ 3273 h 10000"/>
              <a:gd name="connsiteX11" fmla="*/ 2398 w 10208"/>
              <a:gd name="connsiteY11" fmla="*/ 3350 h 10000"/>
              <a:gd name="connsiteX12" fmla="*/ 2358 w 10208"/>
              <a:gd name="connsiteY12" fmla="*/ 3429 h 10000"/>
              <a:gd name="connsiteX13" fmla="*/ 2310 w 10208"/>
              <a:gd name="connsiteY13" fmla="*/ 3508 h 10000"/>
              <a:gd name="connsiteX14" fmla="*/ 2259 w 10208"/>
              <a:gd name="connsiteY14" fmla="*/ 3579 h 10000"/>
              <a:gd name="connsiteX15" fmla="*/ 2211 w 10208"/>
              <a:gd name="connsiteY15" fmla="*/ 3655 h 10000"/>
              <a:gd name="connsiteX16" fmla="*/ 2159 w 10208"/>
              <a:gd name="connsiteY16" fmla="*/ 3729 h 10000"/>
              <a:gd name="connsiteX17" fmla="*/ 2102 w 10208"/>
              <a:gd name="connsiteY17" fmla="*/ 3802 h 10000"/>
              <a:gd name="connsiteX18" fmla="*/ 2051 w 10208"/>
              <a:gd name="connsiteY18" fmla="*/ 3876 h 10000"/>
              <a:gd name="connsiteX19" fmla="*/ 1991 w 10208"/>
              <a:gd name="connsiteY19" fmla="*/ 3947 h 10000"/>
              <a:gd name="connsiteX20" fmla="*/ 1928 w 10208"/>
              <a:gd name="connsiteY20" fmla="*/ 4013 h 10000"/>
              <a:gd name="connsiteX21" fmla="*/ 1863 w 10208"/>
              <a:gd name="connsiteY21" fmla="*/ 4081 h 10000"/>
              <a:gd name="connsiteX22" fmla="*/ 1803 w 10208"/>
              <a:gd name="connsiteY22" fmla="*/ 4148 h 10000"/>
              <a:gd name="connsiteX23" fmla="*/ 1733 w 10208"/>
              <a:gd name="connsiteY23" fmla="*/ 4220 h 10000"/>
              <a:gd name="connsiteX24" fmla="*/ 1664 w 10208"/>
              <a:gd name="connsiteY24" fmla="*/ 4283 h 10000"/>
              <a:gd name="connsiteX25" fmla="*/ 1591 w 10208"/>
              <a:gd name="connsiteY25" fmla="*/ 4342 h 10000"/>
              <a:gd name="connsiteX26" fmla="*/ 1516 w 10208"/>
              <a:gd name="connsiteY26" fmla="*/ 4409 h 10000"/>
              <a:gd name="connsiteX27" fmla="*/ 1442 w 10208"/>
              <a:gd name="connsiteY27" fmla="*/ 4471 h 10000"/>
              <a:gd name="connsiteX28" fmla="*/ 1363 w 10208"/>
              <a:gd name="connsiteY28" fmla="*/ 4530 h 10000"/>
              <a:gd name="connsiteX29" fmla="*/ 1285 w 10208"/>
              <a:gd name="connsiteY29" fmla="*/ 4594 h 10000"/>
              <a:gd name="connsiteX30" fmla="*/ 1206 w 10208"/>
              <a:gd name="connsiteY30" fmla="*/ 4652 h 10000"/>
              <a:gd name="connsiteX31" fmla="*/ 1118 w 10208"/>
              <a:gd name="connsiteY31" fmla="*/ 4709 h 10000"/>
              <a:gd name="connsiteX32" fmla="*/ 1038 w 10208"/>
              <a:gd name="connsiteY32" fmla="*/ 4763 h 10000"/>
              <a:gd name="connsiteX33" fmla="*/ 951 w 10208"/>
              <a:gd name="connsiteY33" fmla="*/ 4819 h 10000"/>
              <a:gd name="connsiteX34" fmla="*/ 866 w 10208"/>
              <a:gd name="connsiteY34" fmla="*/ 4871 h 10000"/>
              <a:gd name="connsiteX35" fmla="*/ 771 w 10208"/>
              <a:gd name="connsiteY35" fmla="*/ 4924 h 10000"/>
              <a:gd name="connsiteX36" fmla="*/ 682 w 10208"/>
              <a:gd name="connsiteY36" fmla="*/ 4973 h 10000"/>
              <a:gd name="connsiteX37" fmla="*/ 589 w 10208"/>
              <a:gd name="connsiteY37" fmla="*/ 5023 h 10000"/>
              <a:gd name="connsiteX38" fmla="*/ 494 w 10208"/>
              <a:gd name="connsiteY38" fmla="*/ 5071 h 10000"/>
              <a:gd name="connsiteX39" fmla="*/ 396 w 10208"/>
              <a:gd name="connsiteY39" fmla="*/ 5115 h 10000"/>
              <a:gd name="connsiteX40" fmla="*/ 299 w 10208"/>
              <a:gd name="connsiteY40" fmla="*/ 5163 h 10000"/>
              <a:gd name="connsiteX41" fmla="*/ 204 w 10208"/>
              <a:gd name="connsiteY41" fmla="*/ 5206 h 10000"/>
              <a:gd name="connsiteX42" fmla="*/ 101 w 10208"/>
              <a:gd name="connsiteY42" fmla="*/ 5247 h 10000"/>
              <a:gd name="connsiteX43" fmla="*/ 0 w 10208"/>
              <a:gd name="connsiteY43" fmla="*/ 5287 h 10000"/>
              <a:gd name="connsiteX44" fmla="*/ 188 w 10208"/>
              <a:gd name="connsiteY44" fmla="*/ 8114 h 10000"/>
              <a:gd name="connsiteX45" fmla="*/ 3402 w 10208"/>
              <a:gd name="connsiteY45" fmla="*/ 10000 h 10000"/>
              <a:gd name="connsiteX46" fmla="*/ 3707 w 10208"/>
              <a:gd name="connsiteY46" fmla="*/ 9875 h 10000"/>
              <a:gd name="connsiteX47" fmla="*/ 3949 w 10208"/>
              <a:gd name="connsiteY47" fmla="*/ 9776 h 10000"/>
              <a:gd name="connsiteX48" fmla="*/ 4185 w 10208"/>
              <a:gd name="connsiteY48" fmla="*/ 9677 h 10000"/>
              <a:gd name="connsiteX49" fmla="*/ 4418 w 10208"/>
              <a:gd name="connsiteY49" fmla="*/ 9573 h 10000"/>
              <a:gd name="connsiteX50" fmla="*/ 4650 w 10208"/>
              <a:gd name="connsiteY50" fmla="*/ 9464 h 10000"/>
              <a:gd name="connsiteX51" fmla="*/ 4868 w 10208"/>
              <a:gd name="connsiteY51" fmla="*/ 9357 h 10000"/>
              <a:gd name="connsiteX52" fmla="*/ 5089 w 10208"/>
              <a:gd name="connsiteY52" fmla="*/ 9239 h 10000"/>
              <a:gd name="connsiteX53" fmla="*/ 5310 w 10208"/>
              <a:gd name="connsiteY53" fmla="*/ 9126 h 10000"/>
              <a:gd name="connsiteX54" fmla="*/ 5520 w 10208"/>
              <a:gd name="connsiteY54" fmla="*/ 9005 h 10000"/>
              <a:gd name="connsiteX55" fmla="*/ 5736 w 10208"/>
              <a:gd name="connsiteY55" fmla="*/ 8881 h 10000"/>
              <a:gd name="connsiteX56" fmla="*/ 5940 w 10208"/>
              <a:gd name="connsiteY56" fmla="*/ 8752 h 10000"/>
              <a:gd name="connsiteX57" fmla="*/ 6144 w 10208"/>
              <a:gd name="connsiteY57" fmla="*/ 8625 h 10000"/>
              <a:gd name="connsiteX58" fmla="*/ 6340 w 10208"/>
              <a:gd name="connsiteY58" fmla="*/ 8495 h 10000"/>
              <a:gd name="connsiteX59" fmla="*/ 6539 w 10208"/>
              <a:gd name="connsiteY59" fmla="*/ 8357 h 10000"/>
              <a:gd name="connsiteX60" fmla="*/ 6730 w 10208"/>
              <a:gd name="connsiteY60" fmla="*/ 8215 h 10000"/>
              <a:gd name="connsiteX61" fmla="*/ 6915 w 10208"/>
              <a:gd name="connsiteY61" fmla="*/ 8079 h 10000"/>
              <a:gd name="connsiteX62" fmla="*/ 7098 w 10208"/>
              <a:gd name="connsiteY62" fmla="*/ 7934 h 10000"/>
              <a:gd name="connsiteX63" fmla="*/ 7274 w 10208"/>
              <a:gd name="connsiteY63" fmla="*/ 7786 h 10000"/>
              <a:gd name="connsiteX64" fmla="*/ 7450 w 10208"/>
              <a:gd name="connsiteY64" fmla="*/ 7638 h 10000"/>
              <a:gd name="connsiteX65" fmla="*/ 7619 w 10208"/>
              <a:gd name="connsiteY65" fmla="*/ 7487 h 10000"/>
              <a:gd name="connsiteX66" fmla="*/ 7787 w 10208"/>
              <a:gd name="connsiteY66" fmla="*/ 7330 h 10000"/>
              <a:gd name="connsiteX67" fmla="*/ 7943 w 10208"/>
              <a:gd name="connsiteY67" fmla="*/ 7172 h 10000"/>
              <a:gd name="connsiteX68" fmla="*/ 8096 w 10208"/>
              <a:gd name="connsiteY68" fmla="*/ 7013 h 10000"/>
              <a:gd name="connsiteX69" fmla="*/ 8251 w 10208"/>
              <a:gd name="connsiteY69" fmla="*/ 6853 h 10000"/>
              <a:gd name="connsiteX70" fmla="*/ 8394 w 10208"/>
              <a:gd name="connsiteY70" fmla="*/ 6686 h 10000"/>
              <a:gd name="connsiteX71" fmla="*/ 8534 w 10208"/>
              <a:gd name="connsiteY71" fmla="*/ 6522 h 10000"/>
              <a:gd name="connsiteX72" fmla="*/ 8670 w 10208"/>
              <a:gd name="connsiteY72" fmla="*/ 6352 h 10000"/>
              <a:gd name="connsiteX73" fmla="*/ 8796 w 10208"/>
              <a:gd name="connsiteY73" fmla="*/ 6178 h 10000"/>
              <a:gd name="connsiteX74" fmla="*/ 8920 w 10208"/>
              <a:gd name="connsiteY74" fmla="*/ 6004 h 10000"/>
              <a:gd name="connsiteX75" fmla="*/ 9046 w 10208"/>
              <a:gd name="connsiteY75" fmla="*/ 5830 h 10000"/>
              <a:gd name="connsiteX76" fmla="*/ 9164 w 10208"/>
              <a:gd name="connsiteY76" fmla="*/ 5652 h 10000"/>
              <a:gd name="connsiteX77" fmla="*/ 9268 w 10208"/>
              <a:gd name="connsiteY77" fmla="*/ 5474 h 10000"/>
              <a:gd name="connsiteX78" fmla="*/ 9375 w 10208"/>
              <a:gd name="connsiteY78" fmla="*/ 5292 h 10000"/>
              <a:gd name="connsiteX79" fmla="*/ 9470 w 10208"/>
              <a:gd name="connsiteY79" fmla="*/ 5106 h 10000"/>
              <a:gd name="connsiteX80" fmla="*/ 9566 w 10208"/>
              <a:gd name="connsiteY80" fmla="*/ 4923 h 10000"/>
              <a:gd name="connsiteX81" fmla="*/ 9650 w 10208"/>
              <a:gd name="connsiteY81" fmla="*/ 4734 h 10000"/>
              <a:gd name="connsiteX82" fmla="*/ 9731 w 10208"/>
              <a:gd name="connsiteY82" fmla="*/ 4543 h 10000"/>
              <a:gd name="connsiteX83" fmla="*/ 9805 w 10208"/>
              <a:gd name="connsiteY83" fmla="*/ 4351 h 10000"/>
              <a:gd name="connsiteX84" fmla="*/ 9878 w 10208"/>
              <a:gd name="connsiteY84" fmla="*/ 4161 h 10000"/>
              <a:gd name="connsiteX85" fmla="*/ 9940 w 10208"/>
              <a:gd name="connsiteY85" fmla="*/ 3968 h 10000"/>
              <a:gd name="connsiteX86" fmla="*/ 9999 w 10208"/>
              <a:gd name="connsiteY86" fmla="*/ 3771 h 10000"/>
              <a:gd name="connsiteX87" fmla="*/ 9910 w 10208"/>
              <a:gd name="connsiteY87" fmla="*/ 0 h 10000"/>
              <a:gd name="connsiteX88" fmla="*/ 6659 w 10208"/>
              <a:gd name="connsiteY88" fmla="*/ 1780 h 10000"/>
              <a:gd name="connsiteX89" fmla="*/ 2680 w 10208"/>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705 w 10219"/>
              <a:gd name="connsiteY0" fmla="*/ 1566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705 w 10219"/>
              <a:gd name="connsiteY89" fmla="*/ 1566 h 10000"/>
              <a:gd name="connsiteX0" fmla="*/ 2680 w 10219"/>
              <a:gd name="connsiteY0" fmla="*/ 1468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68 h 10000"/>
              <a:gd name="connsiteX0" fmla="*/ 2680 w 10219"/>
              <a:gd name="connsiteY0" fmla="*/ 1468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68 h 10000"/>
              <a:gd name="connsiteX0" fmla="*/ 2718 w 10219"/>
              <a:gd name="connsiteY0" fmla="*/ 1468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718 w 10219"/>
              <a:gd name="connsiteY89" fmla="*/ 1468 h 10000"/>
              <a:gd name="connsiteX0" fmla="*/ 2680 w 10219"/>
              <a:gd name="connsiteY0" fmla="*/ 1468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6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0219" h="10000">
                <a:moveTo>
                  <a:pt x="2680" y="1468"/>
                </a:moveTo>
                <a:cubicBezTo>
                  <a:pt x="2781" y="1833"/>
                  <a:pt x="2731" y="2224"/>
                  <a:pt x="2693" y="2535"/>
                </a:cubicBezTo>
                <a:cubicBezTo>
                  <a:pt x="2689" y="2562"/>
                  <a:pt x="2685" y="2591"/>
                  <a:pt x="2678" y="2620"/>
                </a:cubicBezTo>
                <a:cubicBezTo>
                  <a:pt x="2672" y="2648"/>
                  <a:pt x="2661" y="2675"/>
                  <a:pt x="2655" y="2704"/>
                </a:cubicBezTo>
                <a:cubicBezTo>
                  <a:pt x="2647" y="2734"/>
                  <a:pt x="2641" y="2760"/>
                  <a:pt x="2634" y="2789"/>
                </a:cubicBezTo>
                <a:cubicBezTo>
                  <a:pt x="2622" y="2815"/>
                  <a:pt x="2615" y="2843"/>
                  <a:pt x="2607" y="2869"/>
                </a:cubicBezTo>
                <a:cubicBezTo>
                  <a:pt x="2599" y="2896"/>
                  <a:pt x="2588" y="2924"/>
                  <a:pt x="2573" y="2950"/>
                </a:cubicBezTo>
                <a:cubicBezTo>
                  <a:pt x="2566" y="2979"/>
                  <a:pt x="2556" y="3005"/>
                  <a:pt x="2542" y="3033"/>
                </a:cubicBezTo>
                <a:cubicBezTo>
                  <a:pt x="2534" y="3060"/>
                  <a:pt x="2525" y="3087"/>
                  <a:pt x="2514" y="3112"/>
                </a:cubicBezTo>
                <a:cubicBezTo>
                  <a:pt x="2495" y="3140"/>
                  <a:pt x="2488" y="3168"/>
                  <a:pt x="2480" y="3194"/>
                </a:cubicBezTo>
                <a:cubicBezTo>
                  <a:pt x="2469" y="3221"/>
                  <a:pt x="2452" y="3247"/>
                  <a:pt x="2440" y="3273"/>
                </a:cubicBezTo>
                <a:cubicBezTo>
                  <a:pt x="2422" y="3299"/>
                  <a:pt x="2410" y="3324"/>
                  <a:pt x="2398" y="3350"/>
                </a:cubicBezTo>
                <a:cubicBezTo>
                  <a:pt x="2384" y="3377"/>
                  <a:pt x="2369" y="3402"/>
                  <a:pt x="2358" y="3429"/>
                </a:cubicBezTo>
                <a:cubicBezTo>
                  <a:pt x="2338" y="3456"/>
                  <a:pt x="2326" y="3481"/>
                  <a:pt x="2310" y="3508"/>
                </a:cubicBezTo>
                <a:cubicBezTo>
                  <a:pt x="2292" y="3532"/>
                  <a:pt x="2279" y="3556"/>
                  <a:pt x="2259" y="3579"/>
                </a:cubicBezTo>
                <a:cubicBezTo>
                  <a:pt x="2245" y="3603"/>
                  <a:pt x="2225" y="3629"/>
                  <a:pt x="2211" y="3655"/>
                </a:cubicBezTo>
                <a:cubicBezTo>
                  <a:pt x="2197" y="3677"/>
                  <a:pt x="2174" y="3703"/>
                  <a:pt x="2159" y="3729"/>
                </a:cubicBezTo>
                <a:cubicBezTo>
                  <a:pt x="2142" y="3753"/>
                  <a:pt x="2127" y="3778"/>
                  <a:pt x="2102" y="3802"/>
                </a:cubicBezTo>
                <a:cubicBezTo>
                  <a:pt x="2087" y="3825"/>
                  <a:pt x="2068" y="3851"/>
                  <a:pt x="2051" y="3876"/>
                </a:cubicBezTo>
                <a:cubicBezTo>
                  <a:pt x="2025" y="3896"/>
                  <a:pt x="2008" y="3924"/>
                  <a:pt x="1991" y="3947"/>
                </a:cubicBezTo>
                <a:cubicBezTo>
                  <a:pt x="1970" y="3967"/>
                  <a:pt x="1944" y="3989"/>
                  <a:pt x="1928" y="4013"/>
                </a:cubicBezTo>
                <a:cubicBezTo>
                  <a:pt x="1905" y="4037"/>
                  <a:pt x="1886" y="4059"/>
                  <a:pt x="1863" y="4081"/>
                </a:cubicBezTo>
                <a:cubicBezTo>
                  <a:pt x="1840" y="4104"/>
                  <a:pt x="1823" y="4127"/>
                  <a:pt x="1803" y="4148"/>
                </a:cubicBezTo>
                <a:cubicBezTo>
                  <a:pt x="1772" y="4172"/>
                  <a:pt x="1754" y="4195"/>
                  <a:pt x="1733" y="4220"/>
                </a:cubicBezTo>
                <a:cubicBezTo>
                  <a:pt x="1706" y="4240"/>
                  <a:pt x="1684" y="4260"/>
                  <a:pt x="1664" y="4283"/>
                </a:cubicBezTo>
                <a:cubicBezTo>
                  <a:pt x="1641" y="4303"/>
                  <a:pt x="1616" y="4323"/>
                  <a:pt x="1591" y="4342"/>
                </a:cubicBezTo>
                <a:cubicBezTo>
                  <a:pt x="1566" y="4366"/>
                  <a:pt x="1542" y="4386"/>
                  <a:pt x="1516" y="4409"/>
                </a:cubicBezTo>
                <a:cubicBezTo>
                  <a:pt x="1492" y="4431"/>
                  <a:pt x="1465" y="4449"/>
                  <a:pt x="1442" y="4471"/>
                </a:cubicBezTo>
                <a:cubicBezTo>
                  <a:pt x="1416" y="4491"/>
                  <a:pt x="1389" y="4510"/>
                  <a:pt x="1363" y="4530"/>
                </a:cubicBezTo>
                <a:cubicBezTo>
                  <a:pt x="1337" y="4552"/>
                  <a:pt x="1311" y="4574"/>
                  <a:pt x="1285" y="4594"/>
                </a:cubicBezTo>
                <a:cubicBezTo>
                  <a:pt x="1260" y="4609"/>
                  <a:pt x="1231" y="4632"/>
                  <a:pt x="1206" y="4652"/>
                </a:cubicBezTo>
                <a:cubicBezTo>
                  <a:pt x="1176" y="4669"/>
                  <a:pt x="1151" y="4689"/>
                  <a:pt x="1118" y="4709"/>
                </a:cubicBezTo>
                <a:cubicBezTo>
                  <a:pt x="1092" y="4726"/>
                  <a:pt x="1066" y="4747"/>
                  <a:pt x="1038" y="4763"/>
                </a:cubicBezTo>
                <a:cubicBezTo>
                  <a:pt x="1011" y="4783"/>
                  <a:pt x="979" y="4799"/>
                  <a:pt x="951" y="4819"/>
                </a:cubicBezTo>
                <a:cubicBezTo>
                  <a:pt x="918" y="4835"/>
                  <a:pt x="890" y="4854"/>
                  <a:pt x="866" y="4871"/>
                </a:cubicBezTo>
                <a:cubicBezTo>
                  <a:pt x="832" y="4889"/>
                  <a:pt x="800" y="4908"/>
                  <a:pt x="771" y="4924"/>
                </a:cubicBezTo>
                <a:cubicBezTo>
                  <a:pt x="739" y="4942"/>
                  <a:pt x="712" y="4958"/>
                  <a:pt x="682" y="4973"/>
                </a:cubicBezTo>
                <a:cubicBezTo>
                  <a:pt x="650" y="4990"/>
                  <a:pt x="617" y="5007"/>
                  <a:pt x="589" y="5023"/>
                </a:cubicBezTo>
                <a:cubicBezTo>
                  <a:pt x="560" y="5040"/>
                  <a:pt x="524" y="5053"/>
                  <a:pt x="494" y="5071"/>
                </a:cubicBezTo>
                <a:cubicBezTo>
                  <a:pt x="461" y="5085"/>
                  <a:pt x="429" y="5103"/>
                  <a:pt x="396" y="5115"/>
                </a:cubicBezTo>
                <a:cubicBezTo>
                  <a:pt x="365" y="5133"/>
                  <a:pt x="336" y="5148"/>
                  <a:pt x="299" y="5163"/>
                </a:cubicBezTo>
                <a:cubicBezTo>
                  <a:pt x="271" y="5176"/>
                  <a:pt x="235" y="5192"/>
                  <a:pt x="204" y="5206"/>
                </a:cubicBezTo>
                <a:cubicBezTo>
                  <a:pt x="170" y="5221"/>
                  <a:pt x="135" y="5235"/>
                  <a:pt x="101" y="5247"/>
                </a:cubicBezTo>
                <a:cubicBezTo>
                  <a:pt x="67" y="5262"/>
                  <a:pt x="50" y="5270"/>
                  <a:pt x="0" y="5287"/>
                </a:cubicBezTo>
                <a:cubicBezTo>
                  <a:pt x="54" y="6233"/>
                  <a:pt x="128" y="7168"/>
                  <a:pt x="188" y="8114"/>
                </a:cubicBezTo>
                <a:lnTo>
                  <a:pt x="3402" y="10000"/>
                </a:lnTo>
                <a:lnTo>
                  <a:pt x="3707" y="9875"/>
                </a:lnTo>
                <a:cubicBezTo>
                  <a:pt x="3790" y="9843"/>
                  <a:pt x="3869" y="9809"/>
                  <a:pt x="3949" y="9776"/>
                </a:cubicBezTo>
                <a:lnTo>
                  <a:pt x="4185" y="9677"/>
                </a:lnTo>
                <a:lnTo>
                  <a:pt x="4418" y="9573"/>
                </a:lnTo>
                <a:lnTo>
                  <a:pt x="4650" y="9464"/>
                </a:lnTo>
                <a:lnTo>
                  <a:pt x="4868" y="9357"/>
                </a:lnTo>
                <a:cubicBezTo>
                  <a:pt x="4945" y="9318"/>
                  <a:pt x="5017" y="9279"/>
                  <a:pt x="5089" y="9239"/>
                </a:cubicBezTo>
                <a:lnTo>
                  <a:pt x="5310" y="9126"/>
                </a:lnTo>
                <a:cubicBezTo>
                  <a:pt x="5381" y="9084"/>
                  <a:pt x="5453" y="9045"/>
                  <a:pt x="5520" y="9005"/>
                </a:cubicBezTo>
                <a:lnTo>
                  <a:pt x="5736" y="8881"/>
                </a:lnTo>
                <a:lnTo>
                  <a:pt x="5940" y="8752"/>
                </a:lnTo>
                <a:cubicBezTo>
                  <a:pt x="6010" y="8712"/>
                  <a:pt x="6078" y="8666"/>
                  <a:pt x="6144" y="8625"/>
                </a:cubicBezTo>
                <a:cubicBezTo>
                  <a:pt x="6214" y="8582"/>
                  <a:pt x="6277" y="8537"/>
                  <a:pt x="6340" y="8495"/>
                </a:cubicBezTo>
                <a:lnTo>
                  <a:pt x="6539" y="8357"/>
                </a:lnTo>
                <a:cubicBezTo>
                  <a:pt x="6600" y="8308"/>
                  <a:pt x="6665" y="8263"/>
                  <a:pt x="6730" y="8215"/>
                </a:cubicBezTo>
                <a:lnTo>
                  <a:pt x="6915" y="8079"/>
                </a:lnTo>
                <a:lnTo>
                  <a:pt x="7098" y="7934"/>
                </a:lnTo>
                <a:cubicBezTo>
                  <a:pt x="7152" y="7883"/>
                  <a:pt x="7215" y="7836"/>
                  <a:pt x="7274" y="7786"/>
                </a:cubicBezTo>
                <a:cubicBezTo>
                  <a:pt x="7334" y="7736"/>
                  <a:pt x="7394" y="7688"/>
                  <a:pt x="7450" y="7638"/>
                </a:cubicBezTo>
                <a:cubicBezTo>
                  <a:pt x="7507" y="7589"/>
                  <a:pt x="7559" y="7536"/>
                  <a:pt x="7619" y="7487"/>
                </a:cubicBezTo>
                <a:cubicBezTo>
                  <a:pt x="7673" y="7432"/>
                  <a:pt x="7727" y="7380"/>
                  <a:pt x="7787" y="7330"/>
                </a:cubicBezTo>
                <a:cubicBezTo>
                  <a:pt x="7837" y="7277"/>
                  <a:pt x="7889" y="7229"/>
                  <a:pt x="7943" y="7172"/>
                </a:cubicBezTo>
                <a:cubicBezTo>
                  <a:pt x="7994" y="7119"/>
                  <a:pt x="8045" y="7068"/>
                  <a:pt x="8096" y="7013"/>
                </a:cubicBezTo>
                <a:cubicBezTo>
                  <a:pt x="8147" y="6958"/>
                  <a:pt x="8199" y="6906"/>
                  <a:pt x="8251" y="6853"/>
                </a:cubicBezTo>
                <a:cubicBezTo>
                  <a:pt x="8299" y="6797"/>
                  <a:pt x="8346" y="6741"/>
                  <a:pt x="8394" y="6686"/>
                </a:cubicBezTo>
                <a:cubicBezTo>
                  <a:pt x="8440" y="6632"/>
                  <a:pt x="8485" y="6574"/>
                  <a:pt x="8534" y="6522"/>
                </a:cubicBezTo>
                <a:cubicBezTo>
                  <a:pt x="8580" y="6465"/>
                  <a:pt x="8624" y="6409"/>
                  <a:pt x="8670" y="6352"/>
                </a:cubicBezTo>
                <a:cubicBezTo>
                  <a:pt x="8715" y="6294"/>
                  <a:pt x="8758" y="6238"/>
                  <a:pt x="8796" y="6178"/>
                </a:cubicBezTo>
                <a:cubicBezTo>
                  <a:pt x="8843" y="6119"/>
                  <a:pt x="8881" y="6062"/>
                  <a:pt x="8920" y="6004"/>
                </a:cubicBezTo>
                <a:cubicBezTo>
                  <a:pt x="8965" y="5945"/>
                  <a:pt x="9003" y="5890"/>
                  <a:pt x="9046" y="5830"/>
                </a:cubicBezTo>
                <a:cubicBezTo>
                  <a:pt x="9083" y="5771"/>
                  <a:pt x="9122" y="5713"/>
                  <a:pt x="9164" y="5652"/>
                </a:cubicBezTo>
                <a:cubicBezTo>
                  <a:pt x="9192" y="5591"/>
                  <a:pt x="9232" y="5533"/>
                  <a:pt x="9268" y="5474"/>
                </a:cubicBezTo>
                <a:cubicBezTo>
                  <a:pt x="9305" y="5415"/>
                  <a:pt x="9338" y="5351"/>
                  <a:pt x="9375" y="5292"/>
                </a:cubicBezTo>
                <a:cubicBezTo>
                  <a:pt x="9406" y="5230"/>
                  <a:pt x="9440" y="5168"/>
                  <a:pt x="9470" y="5106"/>
                </a:cubicBezTo>
                <a:cubicBezTo>
                  <a:pt x="9501" y="5044"/>
                  <a:pt x="9534" y="4984"/>
                  <a:pt x="9566" y="4923"/>
                </a:cubicBezTo>
                <a:cubicBezTo>
                  <a:pt x="9592" y="4860"/>
                  <a:pt x="9622" y="4796"/>
                  <a:pt x="9650" y="4734"/>
                </a:cubicBezTo>
                <a:cubicBezTo>
                  <a:pt x="9680" y="4670"/>
                  <a:pt x="9708" y="4605"/>
                  <a:pt x="9731" y="4543"/>
                </a:cubicBezTo>
                <a:cubicBezTo>
                  <a:pt x="9759" y="4481"/>
                  <a:pt x="9783" y="4416"/>
                  <a:pt x="9805" y="4351"/>
                </a:cubicBezTo>
                <a:cubicBezTo>
                  <a:pt x="9830" y="4289"/>
                  <a:pt x="9854" y="4225"/>
                  <a:pt x="9878" y="4161"/>
                </a:cubicBezTo>
                <a:cubicBezTo>
                  <a:pt x="9899" y="4097"/>
                  <a:pt x="9924" y="4033"/>
                  <a:pt x="9940" y="3968"/>
                </a:cubicBezTo>
                <a:cubicBezTo>
                  <a:pt x="9961" y="3903"/>
                  <a:pt x="9978" y="3837"/>
                  <a:pt x="9999" y="3771"/>
                </a:cubicBezTo>
                <a:cubicBezTo>
                  <a:pt x="10547" y="1812"/>
                  <a:pt x="9900" y="65"/>
                  <a:pt x="9910" y="0"/>
                </a:cubicBezTo>
                <a:lnTo>
                  <a:pt x="6659" y="1780"/>
                </a:lnTo>
                <a:lnTo>
                  <a:pt x="2680" y="1468"/>
                </a:lnTo>
                <a:close/>
              </a:path>
            </a:pathLst>
          </a:custGeom>
          <a:solidFill>
            <a:schemeClr val="accent3"/>
          </a:solidFill>
          <a:ln w="9525">
            <a:solidFill>
              <a:srgbClr val="FFFFFF"/>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sng" strike="noStrike" kern="1200" cap="none" spc="0" normalizeH="0" baseline="0" noProof="0">
              <a:ln>
                <a:noFill/>
              </a:ln>
              <a:solidFill>
                <a:srgbClr val="000000"/>
              </a:solidFill>
              <a:effectLst/>
              <a:uLnTx/>
              <a:uFillTx/>
              <a:latin typeface="Arial"/>
              <a:ea typeface="ＭＳ Ｐゴシック"/>
              <a:cs typeface="+mn-cs"/>
            </a:endParaRPr>
          </a:p>
        </p:txBody>
      </p:sp>
      <p:sp>
        <p:nvSpPr>
          <p:cNvPr id="83" name="Rectangle 286">
            <a:extLst>
              <a:ext uri="{FF2B5EF4-FFF2-40B4-BE49-F238E27FC236}">
                <a16:creationId xmlns:a16="http://schemas.microsoft.com/office/drawing/2014/main" id="{BCBEA268-3AEC-4D6C-AFBA-47B138D0080E}"/>
              </a:ext>
            </a:extLst>
          </p:cNvPr>
          <p:cNvSpPr txBox="1">
            <a:spLocks noChangeArrowheads="1"/>
          </p:cNvSpPr>
          <p:nvPr>
            <p:custDataLst>
              <p:tags r:id="rId8"/>
            </p:custDataLst>
          </p:nvPr>
        </p:nvSpPr>
        <p:spPr bwMode="auto">
          <a:xfrm>
            <a:off x="6737534" y="4081466"/>
            <a:ext cx="1071747" cy="650814"/>
          </a:xfrm>
          <a:prstGeom prst="rect">
            <a:avLst/>
          </a:prstGeom>
          <a:solidFill>
            <a:schemeClr val="accent3"/>
          </a:solidFill>
          <a:ln>
            <a:noFill/>
          </a:ln>
          <a:effectLst/>
        </p:spPr>
        <p:txBody>
          <a:bodyPr vert="horz" wrap="square" lIns="0" tIns="0" rIns="0" bIns="73462"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691624" rtl="0" eaLnBrk="1" fontAlgn="base" latinLnBrk="0" hangingPunct="1">
              <a:lnSpc>
                <a:spcPct val="100000"/>
              </a:lnSpc>
              <a:spcBef>
                <a:spcPct val="0"/>
              </a:spcBef>
              <a:spcAft>
                <a:spcPct val="0"/>
              </a:spcAft>
              <a:buClr>
                <a:srgbClr val="003C54"/>
              </a:buClr>
              <a:buSzTx/>
              <a:buFontTx/>
              <a:buNone/>
              <a:tabLst/>
              <a:defRPr/>
            </a:pP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Uitvoeren</a:t>
            </a: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 van </a:t>
            </a: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een</a:t>
            </a: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 </a:t>
            </a: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goed</a:t>
            </a: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 </a:t>
            </a: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gesprek</a:t>
            </a:r>
            <a:endParaRPr kumimoji="0" lang="en-US" sz="1200" b="1"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84" name="Rectangle 286">
            <a:extLst>
              <a:ext uri="{FF2B5EF4-FFF2-40B4-BE49-F238E27FC236}">
                <a16:creationId xmlns:a16="http://schemas.microsoft.com/office/drawing/2014/main" id="{D96A7531-5FC5-47D1-8A4D-297A8EBEE837}"/>
              </a:ext>
            </a:extLst>
          </p:cNvPr>
          <p:cNvSpPr txBox="1">
            <a:spLocks noChangeArrowheads="1"/>
          </p:cNvSpPr>
          <p:nvPr>
            <p:custDataLst>
              <p:tags r:id="rId9"/>
            </p:custDataLst>
          </p:nvPr>
        </p:nvSpPr>
        <p:spPr bwMode="auto">
          <a:xfrm>
            <a:off x="5270885" y="3390780"/>
            <a:ext cx="1271535" cy="369332"/>
          </a:xfrm>
          <a:prstGeom prst="rect">
            <a:avLst/>
          </a:prstGeom>
          <a:noFill/>
          <a:ln>
            <a:noFill/>
          </a:ln>
          <a:effec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691624" rtl="0" eaLnBrk="1" fontAlgn="base" latinLnBrk="0" hangingPunct="1">
              <a:lnSpc>
                <a:spcPct val="100000"/>
              </a:lnSpc>
              <a:spcBef>
                <a:spcPct val="0"/>
              </a:spcBef>
              <a:spcAft>
                <a:spcPct val="0"/>
              </a:spcAft>
              <a:buClr>
                <a:srgbClr val="003C54"/>
              </a:buClr>
              <a:buSzTx/>
              <a:buFontTx/>
              <a:buNone/>
              <a:tabLst/>
              <a:defRPr/>
            </a:pP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Een</a:t>
            </a: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 </a:t>
            </a: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Goed</a:t>
            </a: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 </a:t>
            </a: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Gesprek</a:t>
            </a:r>
            <a:endParaRPr kumimoji="0" lang="en-US" sz="1200" b="1" i="0" u="none" strike="noStrike" kern="1200" cap="none" spc="0" normalizeH="0" baseline="0" noProof="0">
              <a:ln>
                <a:noFill/>
              </a:ln>
              <a:solidFill>
                <a:srgbClr val="000000"/>
              </a:solidFill>
              <a:effectLst/>
              <a:uLnTx/>
              <a:uFillTx/>
              <a:latin typeface="Arial"/>
              <a:ea typeface="ＭＳ Ｐゴシック"/>
              <a:cs typeface="+mn-cs"/>
            </a:endParaRPr>
          </a:p>
        </p:txBody>
      </p:sp>
      <p:grpSp>
        <p:nvGrpSpPr>
          <p:cNvPr id="20" name="Group 19">
            <a:extLst>
              <a:ext uri="{FF2B5EF4-FFF2-40B4-BE49-F238E27FC236}">
                <a16:creationId xmlns:a16="http://schemas.microsoft.com/office/drawing/2014/main" id="{1BD7A184-2D22-455A-80D2-A0CA0E01B0C3}"/>
              </a:ext>
            </a:extLst>
          </p:cNvPr>
          <p:cNvGrpSpPr/>
          <p:nvPr>
            <p:custDataLst>
              <p:tags r:id="rId10"/>
            </p:custDataLst>
          </p:nvPr>
        </p:nvGrpSpPr>
        <p:grpSpPr>
          <a:xfrm>
            <a:off x="554817" y="1425273"/>
            <a:ext cx="1832596" cy="1268528"/>
            <a:chOff x="543683" y="1317954"/>
            <a:chExt cx="1796114" cy="1243275"/>
          </a:xfrm>
          <a:solidFill>
            <a:schemeClr val="accent2">
              <a:lumMod val="20000"/>
              <a:lumOff val="80000"/>
            </a:schemeClr>
          </a:solidFill>
        </p:grpSpPr>
        <p:sp>
          <p:nvSpPr>
            <p:cNvPr id="86" name="Freeform 103">
              <a:extLst>
                <a:ext uri="{FF2B5EF4-FFF2-40B4-BE49-F238E27FC236}">
                  <a16:creationId xmlns:a16="http://schemas.microsoft.com/office/drawing/2014/main" id="{C69C05EC-A88F-4CCD-9170-AEEF5A57A03E}"/>
                </a:ext>
              </a:extLst>
            </p:cNvPr>
            <p:cNvSpPr/>
            <p:nvPr>
              <p:custDataLst>
                <p:tags r:id="rId19"/>
              </p:custDataLst>
            </p:nvPr>
          </p:nvSpPr>
          <p:spPr bwMode="auto">
            <a:xfrm>
              <a:off x="543683" y="1317954"/>
              <a:ext cx="1796114" cy="1243275"/>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94920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94920 w 1828800"/>
                <a:gd name="connsiteY1" fmla="*/ 0 h 914402"/>
                <a:gd name="connsiteX2" fmla="*/ 1828800 w 1828800"/>
                <a:gd name="connsiteY2" fmla="*/ 457200 h 914402"/>
                <a:gd name="connsiteX3" fmla="*/ 169492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94920 w 1828800"/>
                <a:gd name="connsiteY1" fmla="*/ 0 h 914402"/>
                <a:gd name="connsiteX2" fmla="*/ 1828800 w 1828800"/>
                <a:gd name="connsiteY2" fmla="*/ 457200 h 914402"/>
                <a:gd name="connsiteX3" fmla="*/ 169492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68052 w 1828800"/>
                <a:gd name="connsiteY1" fmla="*/ 0 h 914402"/>
                <a:gd name="connsiteX2" fmla="*/ 1828800 w 1828800"/>
                <a:gd name="connsiteY2" fmla="*/ 457200 h 914402"/>
                <a:gd name="connsiteX3" fmla="*/ 1694920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68052 w 1828800"/>
                <a:gd name="connsiteY1" fmla="*/ 0 h 914402"/>
                <a:gd name="connsiteX2" fmla="*/ 1828800 w 1828800"/>
                <a:gd name="connsiteY2" fmla="*/ 457200 h 914402"/>
                <a:gd name="connsiteX3" fmla="*/ 166805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68052 w 1828800"/>
                <a:gd name="connsiteY1" fmla="*/ 0 h 914402"/>
                <a:gd name="connsiteX2" fmla="*/ 1828800 w 1828800"/>
                <a:gd name="connsiteY2" fmla="*/ 457200 h 914402"/>
                <a:gd name="connsiteX3" fmla="*/ 1668052 w 1828800"/>
                <a:gd name="connsiteY3" fmla="*/ 914402 h 914402"/>
                <a:gd name="connsiteX4" fmla="*/ 0 w 1828800"/>
                <a:gd name="connsiteY4" fmla="*/ 914400 h 914402"/>
                <a:gd name="connsiteX5" fmla="*/ 160749 w 1828800"/>
                <a:gd name="connsiteY5" fmla="*/ 457202 h 914402"/>
                <a:gd name="connsiteX0" fmla="*/ 0 w 1828800"/>
                <a:gd name="connsiteY0" fmla="*/ 0 h 914402"/>
                <a:gd name="connsiteX1" fmla="*/ 1668052 w 1828800"/>
                <a:gd name="connsiteY1" fmla="*/ 0 h 914402"/>
                <a:gd name="connsiteX2" fmla="*/ 1828800 w 1828800"/>
                <a:gd name="connsiteY2" fmla="*/ 457200 h 914402"/>
                <a:gd name="connsiteX3" fmla="*/ 1668052 w 1828800"/>
                <a:gd name="connsiteY3" fmla="*/ 914402 h 914402"/>
                <a:gd name="connsiteX4" fmla="*/ 0 w 1828800"/>
                <a:gd name="connsiteY4" fmla="*/ 914400 h 914402"/>
                <a:gd name="connsiteX5" fmla="*/ 160749 w 1828800"/>
                <a:gd name="connsiteY5" fmla="*/ 457202 h 914402"/>
                <a:gd name="connsiteX0" fmla="*/ 0 w 1828800"/>
                <a:gd name="connsiteY0" fmla="*/ 0 h 914402"/>
                <a:gd name="connsiteX1" fmla="*/ 1668052 w 1828800"/>
                <a:gd name="connsiteY1" fmla="*/ 0 h 914402"/>
                <a:gd name="connsiteX2" fmla="*/ 1828800 w 1828800"/>
                <a:gd name="connsiteY2" fmla="*/ 457200 h 914402"/>
                <a:gd name="connsiteX3" fmla="*/ 1668052 w 1828800"/>
                <a:gd name="connsiteY3" fmla="*/ 914402 h 914402"/>
                <a:gd name="connsiteX4" fmla="*/ 0 w 1828800"/>
                <a:gd name="connsiteY4" fmla="*/ 914400 h 914402"/>
                <a:gd name="connsiteX5" fmla="*/ 160749 w 1828800"/>
                <a:gd name="connsiteY5" fmla="*/ 457202 h 914402"/>
                <a:gd name="connsiteX0" fmla="*/ 0 w 1828800"/>
                <a:gd name="connsiteY0" fmla="*/ 0 h 914402"/>
                <a:gd name="connsiteX1" fmla="*/ 1668052 w 1828800"/>
                <a:gd name="connsiteY1" fmla="*/ 0 h 914402"/>
                <a:gd name="connsiteX2" fmla="*/ 1828800 w 1828800"/>
                <a:gd name="connsiteY2" fmla="*/ 457200 h 914402"/>
                <a:gd name="connsiteX3" fmla="*/ 166805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68052 w 1828800"/>
                <a:gd name="connsiteY1" fmla="*/ 0 h 914402"/>
                <a:gd name="connsiteX2" fmla="*/ 1828800 w 1828800"/>
                <a:gd name="connsiteY2" fmla="*/ 457200 h 914402"/>
                <a:gd name="connsiteX3" fmla="*/ 166805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68052 w 1828800"/>
                <a:gd name="connsiteY1" fmla="*/ 0 h 914402"/>
                <a:gd name="connsiteX2" fmla="*/ 1828800 w 1828800"/>
                <a:gd name="connsiteY2" fmla="*/ 457200 h 914402"/>
                <a:gd name="connsiteX3" fmla="*/ 166805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68052 w 1828800"/>
                <a:gd name="connsiteY1" fmla="*/ 0 h 914402"/>
                <a:gd name="connsiteX2" fmla="*/ 1828800 w 1828800"/>
                <a:gd name="connsiteY2" fmla="*/ 457200 h 914402"/>
                <a:gd name="connsiteX3" fmla="*/ 166805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577297 w 1828800"/>
                <a:gd name="connsiteY1" fmla="*/ 0 h 914402"/>
                <a:gd name="connsiteX2" fmla="*/ 1828800 w 1828800"/>
                <a:gd name="connsiteY2" fmla="*/ 457200 h 914402"/>
                <a:gd name="connsiteX3" fmla="*/ 166805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577297 w 1828800"/>
                <a:gd name="connsiteY1" fmla="*/ 0 h 914402"/>
                <a:gd name="connsiteX2" fmla="*/ 1828800 w 1828800"/>
                <a:gd name="connsiteY2" fmla="*/ 457200 h 914402"/>
                <a:gd name="connsiteX3" fmla="*/ 1577297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577297 w 1828800"/>
                <a:gd name="connsiteY1" fmla="*/ 0 h 914402"/>
                <a:gd name="connsiteX2" fmla="*/ 1828800 w 1828800"/>
                <a:gd name="connsiteY2" fmla="*/ 457200 h 914402"/>
                <a:gd name="connsiteX3" fmla="*/ 1577297 w 1828800"/>
                <a:gd name="connsiteY3" fmla="*/ 914402 h 914402"/>
                <a:gd name="connsiteX4" fmla="*/ 0 w 1828800"/>
                <a:gd name="connsiteY4" fmla="*/ 914400 h 914402"/>
                <a:gd name="connsiteX5" fmla="*/ 243557 w 1828800"/>
                <a:gd name="connsiteY5" fmla="*/ 457202 h 914402"/>
                <a:gd name="connsiteX0" fmla="*/ 0 w 1828800"/>
                <a:gd name="connsiteY0" fmla="*/ 0 h 914402"/>
                <a:gd name="connsiteX1" fmla="*/ 1585244 w 1828800"/>
                <a:gd name="connsiteY1" fmla="*/ 0 h 914402"/>
                <a:gd name="connsiteX2" fmla="*/ 1828800 w 1828800"/>
                <a:gd name="connsiteY2" fmla="*/ 457200 h 914402"/>
                <a:gd name="connsiteX3" fmla="*/ 1577297 w 1828800"/>
                <a:gd name="connsiteY3" fmla="*/ 914402 h 914402"/>
                <a:gd name="connsiteX4" fmla="*/ 0 w 1828800"/>
                <a:gd name="connsiteY4" fmla="*/ 914400 h 914402"/>
                <a:gd name="connsiteX5" fmla="*/ 243557 w 1828800"/>
                <a:gd name="connsiteY5" fmla="*/ 457202 h 914402"/>
                <a:gd name="connsiteX0" fmla="*/ 0 w 1828800"/>
                <a:gd name="connsiteY0" fmla="*/ 0 h 914402"/>
                <a:gd name="connsiteX1" fmla="*/ 1585244 w 1828800"/>
                <a:gd name="connsiteY1" fmla="*/ 0 h 914402"/>
                <a:gd name="connsiteX2" fmla="*/ 1828800 w 1828800"/>
                <a:gd name="connsiteY2" fmla="*/ 457200 h 914402"/>
                <a:gd name="connsiteX3" fmla="*/ 1585244 w 1828800"/>
                <a:gd name="connsiteY3" fmla="*/ 914402 h 914402"/>
                <a:gd name="connsiteX4" fmla="*/ 0 w 1828800"/>
                <a:gd name="connsiteY4" fmla="*/ 914400 h 914402"/>
                <a:gd name="connsiteX5" fmla="*/ 243557 w 1828800"/>
                <a:gd name="connsiteY5" fmla="*/ 457202 h 914402"/>
                <a:gd name="connsiteX0" fmla="*/ 0 w 1828800"/>
                <a:gd name="connsiteY0" fmla="*/ 0 h 914402"/>
                <a:gd name="connsiteX1" fmla="*/ 1585244 w 1828800"/>
                <a:gd name="connsiteY1" fmla="*/ 0 h 914402"/>
                <a:gd name="connsiteX2" fmla="*/ 1828800 w 1828800"/>
                <a:gd name="connsiteY2" fmla="*/ 457200 h 914402"/>
                <a:gd name="connsiteX3" fmla="*/ 1585244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585244 w 1828800"/>
                <a:gd name="connsiteY1" fmla="*/ 0 h 914402"/>
                <a:gd name="connsiteX2" fmla="*/ 1828800 w 1828800"/>
                <a:gd name="connsiteY2" fmla="*/ 457200 h 914402"/>
                <a:gd name="connsiteX3" fmla="*/ 1585244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585244 w 1828800"/>
                <a:gd name="connsiteY1" fmla="*/ 0 h 914402"/>
                <a:gd name="connsiteX2" fmla="*/ 1828800 w 1828800"/>
                <a:gd name="connsiteY2" fmla="*/ 457200 h 914402"/>
                <a:gd name="connsiteX3" fmla="*/ 1585244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585244 w 1828800"/>
                <a:gd name="connsiteY1" fmla="*/ 0 h 914402"/>
                <a:gd name="connsiteX2" fmla="*/ 1828800 w 1828800"/>
                <a:gd name="connsiteY2" fmla="*/ 457200 h 914402"/>
                <a:gd name="connsiteX3" fmla="*/ 1585244 w 1828800"/>
                <a:gd name="connsiteY3" fmla="*/ 914402 h 914402"/>
                <a:gd name="connsiteX4" fmla="*/ 0 w 1828800"/>
                <a:gd name="connsiteY4" fmla="*/ 914400 h 914402"/>
                <a:gd name="connsiteX5" fmla="*/ 251504 w 1828800"/>
                <a:gd name="connsiteY5" fmla="*/ 457202 h 914402"/>
                <a:gd name="connsiteX0" fmla="*/ 0 w 1828800"/>
                <a:gd name="connsiteY0" fmla="*/ 0 h 914402"/>
                <a:gd name="connsiteX1" fmla="*/ 1577297 w 1828800"/>
                <a:gd name="connsiteY1" fmla="*/ 0 h 914402"/>
                <a:gd name="connsiteX2" fmla="*/ 1828800 w 1828800"/>
                <a:gd name="connsiteY2" fmla="*/ 457200 h 914402"/>
                <a:gd name="connsiteX3" fmla="*/ 1585244 w 1828800"/>
                <a:gd name="connsiteY3" fmla="*/ 914402 h 914402"/>
                <a:gd name="connsiteX4" fmla="*/ 0 w 1828800"/>
                <a:gd name="connsiteY4" fmla="*/ 914400 h 914402"/>
                <a:gd name="connsiteX5" fmla="*/ 251504 w 1828800"/>
                <a:gd name="connsiteY5" fmla="*/ 457202 h 914402"/>
                <a:gd name="connsiteX0" fmla="*/ 0 w 1828800"/>
                <a:gd name="connsiteY0" fmla="*/ 0 h 914402"/>
                <a:gd name="connsiteX1" fmla="*/ 1577297 w 1828800"/>
                <a:gd name="connsiteY1" fmla="*/ 0 h 914402"/>
                <a:gd name="connsiteX2" fmla="*/ 1828800 w 1828800"/>
                <a:gd name="connsiteY2" fmla="*/ 457200 h 914402"/>
                <a:gd name="connsiteX3" fmla="*/ 1577297 w 1828800"/>
                <a:gd name="connsiteY3" fmla="*/ 914402 h 914402"/>
                <a:gd name="connsiteX4" fmla="*/ 0 w 1828800"/>
                <a:gd name="connsiteY4" fmla="*/ 914400 h 914402"/>
                <a:gd name="connsiteX5" fmla="*/ 251504 w 1828800"/>
                <a:gd name="connsiteY5" fmla="*/ 457202 h 914402"/>
                <a:gd name="connsiteX0" fmla="*/ 0 w 1828800"/>
                <a:gd name="connsiteY0" fmla="*/ 0 h 914402"/>
                <a:gd name="connsiteX1" fmla="*/ 1577297 w 1828800"/>
                <a:gd name="connsiteY1" fmla="*/ 0 h 914402"/>
                <a:gd name="connsiteX2" fmla="*/ 1828800 w 1828800"/>
                <a:gd name="connsiteY2" fmla="*/ 457200 h 914402"/>
                <a:gd name="connsiteX3" fmla="*/ 1577297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577297 w 1828800"/>
                <a:gd name="connsiteY1" fmla="*/ 0 h 914402"/>
                <a:gd name="connsiteX2" fmla="*/ 1828800 w 1828800"/>
                <a:gd name="connsiteY2" fmla="*/ 457200 h 914402"/>
                <a:gd name="connsiteX3" fmla="*/ 1577297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577297 w 1828800"/>
                <a:gd name="connsiteY1" fmla="*/ 0 h 914402"/>
                <a:gd name="connsiteX2" fmla="*/ 1828800 w 1828800"/>
                <a:gd name="connsiteY2" fmla="*/ 457200 h 914402"/>
                <a:gd name="connsiteX3" fmla="*/ 1577297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577297 w 1828800"/>
                <a:gd name="connsiteY1" fmla="*/ 0 h 914402"/>
                <a:gd name="connsiteX2" fmla="*/ 1828800 w 1828800"/>
                <a:gd name="connsiteY2" fmla="*/ 457200 h 914402"/>
                <a:gd name="connsiteX3" fmla="*/ 1577297 w 1828800"/>
                <a:gd name="connsiteY3" fmla="*/ 914402 h 914402"/>
                <a:gd name="connsiteX4" fmla="*/ 0 w 1828800"/>
                <a:gd name="connsiteY4" fmla="*/ 914400 h 914402"/>
                <a:gd name="connsiteX5" fmla="*/ 248798 w 1828800"/>
                <a:gd name="connsiteY5" fmla="*/ 457202 h 914402"/>
                <a:gd name="connsiteX0" fmla="*/ 0 w 1828800"/>
                <a:gd name="connsiteY0" fmla="*/ 0 h 914402"/>
                <a:gd name="connsiteX1" fmla="*/ 1580003 w 1828800"/>
                <a:gd name="connsiteY1" fmla="*/ 0 h 914402"/>
                <a:gd name="connsiteX2" fmla="*/ 1828800 w 1828800"/>
                <a:gd name="connsiteY2" fmla="*/ 457200 h 914402"/>
                <a:gd name="connsiteX3" fmla="*/ 1577297 w 1828800"/>
                <a:gd name="connsiteY3" fmla="*/ 914402 h 914402"/>
                <a:gd name="connsiteX4" fmla="*/ 0 w 1828800"/>
                <a:gd name="connsiteY4" fmla="*/ 914400 h 914402"/>
                <a:gd name="connsiteX5" fmla="*/ 248798 w 1828800"/>
                <a:gd name="connsiteY5" fmla="*/ 457202 h 914402"/>
                <a:gd name="connsiteX0" fmla="*/ 0 w 1828800"/>
                <a:gd name="connsiteY0" fmla="*/ 0 h 914402"/>
                <a:gd name="connsiteX1" fmla="*/ 1580003 w 1828800"/>
                <a:gd name="connsiteY1" fmla="*/ 0 h 914402"/>
                <a:gd name="connsiteX2" fmla="*/ 1828800 w 1828800"/>
                <a:gd name="connsiteY2" fmla="*/ 457200 h 914402"/>
                <a:gd name="connsiteX3" fmla="*/ 1580003 w 1828800"/>
                <a:gd name="connsiteY3" fmla="*/ 914402 h 914402"/>
                <a:gd name="connsiteX4" fmla="*/ 0 w 1828800"/>
                <a:gd name="connsiteY4" fmla="*/ 914400 h 914402"/>
                <a:gd name="connsiteX5" fmla="*/ 248798 w 1828800"/>
                <a:gd name="connsiteY5" fmla="*/ 457202 h 914402"/>
                <a:gd name="connsiteX0" fmla="*/ 0 w 1828800"/>
                <a:gd name="connsiteY0" fmla="*/ 0 h 914402"/>
                <a:gd name="connsiteX1" fmla="*/ 1580003 w 1828800"/>
                <a:gd name="connsiteY1" fmla="*/ 0 h 914402"/>
                <a:gd name="connsiteX2" fmla="*/ 1828800 w 1828800"/>
                <a:gd name="connsiteY2" fmla="*/ 457200 h 914402"/>
                <a:gd name="connsiteX3" fmla="*/ 1580003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580003 w 1828800"/>
                <a:gd name="connsiteY1" fmla="*/ 0 h 914402"/>
                <a:gd name="connsiteX2" fmla="*/ 1828800 w 1828800"/>
                <a:gd name="connsiteY2" fmla="*/ 457200 h 914402"/>
                <a:gd name="connsiteX3" fmla="*/ 1580003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580003 w 1828800"/>
                <a:gd name="connsiteY1" fmla="*/ 0 h 914402"/>
                <a:gd name="connsiteX2" fmla="*/ 1828800 w 1828800"/>
                <a:gd name="connsiteY2" fmla="*/ 457200 h 914402"/>
                <a:gd name="connsiteX3" fmla="*/ 1580003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580003 w 1828800"/>
                <a:gd name="connsiteY1" fmla="*/ 0 h 914402"/>
                <a:gd name="connsiteX2" fmla="*/ 1828800 w 1828800"/>
                <a:gd name="connsiteY2" fmla="*/ 457200 h 914402"/>
                <a:gd name="connsiteX3" fmla="*/ 1580003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00938 w 1828800"/>
                <a:gd name="connsiteY1" fmla="*/ 0 h 914402"/>
                <a:gd name="connsiteX2" fmla="*/ 1828800 w 1828800"/>
                <a:gd name="connsiteY2" fmla="*/ 457200 h 914402"/>
                <a:gd name="connsiteX3" fmla="*/ 1580003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00938 w 1828800"/>
                <a:gd name="connsiteY1" fmla="*/ 0 h 914402"/>
                <a:gd name="connsiteX2" fmla="*/ 1828800 w 1828800"/>
                <a:gd name="connsiteY2" fmla="*/ 457200 h 914402"/>
                <a:gd name="connsiteX3" fmla="*/ 1600938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00938" y="0"/>
                  </a:lnTo>
                  <a:lnTo>
                    <a:pt x="1828800" y="457200"/>
                  </a:lnTo>
                  <a:lnTo>
                    <a:pt x="1600938" y="914402"/>
                  </a:lnTo>
                  <a:lnTo>
                    <a:pt x="0" y="914400"/>
                  </a:lnTo>
                  <a:lnTo>
                    <a:pt x="0" y="457202"/>
                  </a:lnTo>
                  <a:close/>
                </a:path>
              </a:pathLst>
            </a:custGeom>
            <a:grpFill/>
            <a:ln w="9525">
              <a:solidFill>
                <a:srgbClr val="FFFFFF"/>
              </a:solidFill>
              <a:round/>
              <a:headEnd/>
              <a:tailEnd/>
            </a:ln>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87" name="TextBox 4">
              <a:extLst>
                <a:ext uri="{FF2B5EF4-FFF2-40B4-BE49-F238E27FC236}">
                  <a16:creationId xmlns:a16="http://schemas.microsoft.com/office/drawing/2014/main" id="{612D8702-A6B4-4893-A069-3C9A2272DF0F}"/>
                </a:ext>
              </a:extLst>
            </p:cNvPr>
            <p:cNvSpPr txBox="1">
              <a:spLocks noChangeArrowheads="1"/>
            </p:cNvSpPr>
            <p:nvPr>
              <p:custDataLst>
                <p:tags r:id="rId20"/>
              </p:custDataLst>
            </p:nvPr>
          </p:nvSpPr>
          <p:spPr bwMode="auto">
            <a:xfrm>
              <a:off x="607183" y="1668106"/>
              <a:ext cx="1508824" cy="542969"/>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003C54"/>
                </a:buClr>
                <a:buSzTx/>
                <a:buFontTx/>
                <a:buNone/>
                <a:tabLst/>
                <a:defRPr/>
              </a:pPr>
              <a:r>
                <a:rPr kumimoji="0" lang="en-US" sz="1200" b="1" i="0" u="none" strike="noStrike" kern="1200" cap="none" spc="0" normalizeH="0" baseline="0" noProof="0" err="1">
                  <a:ln>
                    <a:noFill/>
                  </a:ln>
                  <a:effectLst/>
                  <a:uLnTx/>
                  <a:uFillTx/>
                  <a:latin typeface="Arial"/>
                  <a:ea typeface="ＭＳ Ｐゴシック"/>
                  <a:cs typeface="+mn-cs"/>
                </a:rPr>
                <a:t>Communicatie</a:t>
              </a:r>
              <a:r>
                <a:rPr kumimoji="0" lang="en-US" sz="1200" b="1" i="0" u="none" strike="noStrike" kern="1200" cap="none" spc="0" normalizeH="0" baseline="0" noProof="0">
                  <a:ln>
                    <a:noFill/>
                  </a:ln>
                  <a:effectLst/>
                  <a:uLnTx/>
                  <a:uFillTx/>
                  <a:latin typeface="Arial"/>
                  <a:ea typeface="ＭＳ Ｐゴシック"/>
                  <a:cs typeface="+mn-cs"/>
                </a:rPr>
                <a:t> over </a:t>
              </a:r>
              <a:r>
                <a:rPr kumimoji="0" lang="en-US" sz="1200" b="1" i="0" u="none" strike="noStrike" kern="1200" cap="none" spc="0" normalizeH="0" baseline="0" noProof="0" err="1">
                  <a:ln>
                    <a:noFill/>
                  </a:ln>
                  <a:effectLst/>
                  <a:uLnTx/>
                  <a:uFillTx/>
                  <a:latin typeface="Arial"/>
                  <a:ea typeface="ＭＳ Ｐゴシック"/>
                  <a:cs typeface="+mn-cs"/>
                </a:rPr>
                <a:t>passende</a:t>
              </a:r>
              <a:r>
                <a:rPr kumimoji="0" lang="en-US" sz="1200" b="1" i="0" u="none" strike="noStrike" kern="1200" cap="none" spc="0" normalizeH="0" baseline="0" noProof="0">
                  <a:ln>
                    <a:noFill/>
                  </a:ln>
                  <a:effectLst/>
                  <a:uLnTx/>
                  <a:uFillTx/>
                  <a:latin typeface="Arial"/>
                  <a:ea typeface="ＭＳ Ｐゴシック"/>
                  <a:cs typeface="+mn-cs"/>
                </a:rPr>
                <a:t> </a:t>
              </a:r>
              <a:r>
                <a:rPr kumimoji="0" lang="en-US" sz="1200" b="1" i="0" u="none" strike="noStrike" kern="1200" cap="none" spc="0" normalizeH="0" baseline="0" noProof="0" err="1">
                  <a:ln>
                    <a:noFill/>
                  </a:ln>
                  <a:effectLst/>
                  <a:uLnTx/>
                  <a:uFillTx/>
                  <a:latin typeface="Arial"/>
                  <a:ea typeface="ＭＳ Ｐゴシック"/>
                  <a:cs typeface="+mn-cs"/>
                </a:rPr>
                <a:t>contractgrootte</a:t>
              </a:r>
              <a:endParaRPr kumimoji="0" lang="en-US" sz="1200" b="1" i="0" u="none" strike="noStrike" kern="1200" cap="none" spc="0" normalizeH="0" baseline="0" noProof="0">
                <a:ln>
                  <a:noFill/>
                </a:ln>
                <a:effectLst/>
                <a:uLnTx/>
                <a:uFillTx/>
                <a:latin typeface="Arial"/>
                <a:ea typeface="ＭＳ Ｐゴシック"/>
                <a:cs typeface="+mn-cs"/>
              </a:endParaRPr>
            </a:p>
          </p:txBody>
        </p:sp>
      </p:grpSp>
      <p:grpSp>
        <p:nvGrpSpPr>
          <p:cNvPr id="88" name="Group 87">
            <a:extLst>
              <a:ext uri="{FF2B5EF4-FFF2-40B4-BE49-F238E27FC236}">
                <a16:creationId xmlns:a16="http://schemas.microsoft.com/office/drawing/2014/main" id="{B2EBE840-E84B-4FA5-99CB-4AB53C2BED42}"/>
              </a:ext>
            </a:extLst>
          </p:cNvPr>
          <p:cNvGrpSpPr/>
          <p:nvPr>
            <p:custDataLst>
              <p:tags r:id="rId11"/>
            </p:custDataLst>
          </p:nvPr>
        </p:nvGrpSpPr>
        <p:grpSpPr>
          <a:xfrm>
            <a:off x="3827196" y="1430748"/>
            <a:ext cx="2363095" cy="1268528"/>
            <a:chOff x="4434534" y="1635557"/>
            <a:chExt cx="2477736" cy="1330068"/>
          </a:xfrm>
          <a:solidFill>
            <a:schemeClr val="accent2">
              <a:lumMod val="60000"/>
              <a:lumOff val="40000"/>
            </a:schemeClr>
          </a:solidFill>
        </p:grpSpPr>
        <p:sp>
          <p:nvSpPr>
            <p:cNvPr id="89" name="Freeform 105">
              <a:extLst>
                <a:ext uri="{FF2B5EF4-FFF2-40B4-BE49-F238E27FC236}">
                  <a16:creationId xmlns:a16="http://schemas.microsoft.com/office/drawing/2014/main" id="{8BF6E785-0BE9-41AC-85A3-EF79A37187AA}"/>
                </a:ext>
              </a:extLst>
            </p:cNvPr>
            <p:cNvSpPr/>
            <p:nvPr>
              <p:custDataLst>
                <p:tags r:id="rId17"/>
              </p:custDataLst>
            </p:nvPr>
          </p:nvSpPr>
          <p:spPr bwMode="auto">
            <a:xfrm>
              <a:off x="4434534" y="1635557"/>
              <a:ext cx="2477736" cy="1330068"/>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33880 w 1828800"/>
                <a:gd name="connsiteY5" fmla="*/ 457202 h 914402"/>
                <a:gd name="connsiteX0" fmla="*/ 0 w 1828800"/>
                <a:gd name="connsiteY0" fmla="*/ 0 h 914402"/>
                <a:gd name="connsiteX1" fmla="*/ 1694920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33880 w 1828800"/>
                <a:gd name="connsiteY5" fmla="*/ 457202 h 914402"/>
                <a:gd name="connsiteX0" fmla="*/ 0 w 1828800"/>
                <a:gd name="connsiteY0" fmla="*/ 0 h 914402"/>
                <a:gd name="connsiteX1" fmla="*/ 1694920 w 1828800"/>
                <a:gd name="connsiteY1" fmla="*/ 0 h 914402"/>
                <a:gd name="connsiteX2" fmla="*/ 1828800 w 1828800"/>
                <a:gd name="connsiteY2" fmla="*/ 457200 h 914402"/>
                <a:gd name="connsiteX3" fmla="*/ 1694920 w 1828800"/>
                <a:gd name="connsiteY3" fmla="*/ 914402 h 914402"/>
                <a:gd name="connsiteX4" fmla="*/ 0 w 1828800"/>
                <a:gd name="connsiteY4" fmla="*/ 914400 h 914402"/>
                <a:gd name="connsiteX5" fmla="*/ 133880 w 1828800"/>
                <a:gd name="connsiteY5" fmla="*/ 457202 h 914402"/>
                <a:gd name="connsiteX0" fmla="*/ 0 w 1828800"/>
                <a:gd name="connsiteY0" fmla="*/ 0 h 914402"/>
                <a:gd name="connsiteX1" fmla="*/ 1694920 w 1828800"/>
                <a:gd name="connsiteY1" fmla="*/ 0 h 914402"/>
                <a:gd name="connsiteX2" fmla="*/ 1828800 w 1828800"/>
                <a:gd name="connsiteY2" fmla="*/ 457200 h 914402"/>
                <a:gd name="connsiteX3" fmla="*/ 1694920 w 1828800"/>
                <a:gd name="connsiteY3" fmla="*/ 914402 h 914402"/>
                <a:gd name="connsiteX4" fmla="*/ 0 w 1828800"/>
                <a:gd name="connsiteY4" fmla="*/ 914400 h 914402"/>
                <a:gd name="connsiteX5" fmla="*/ 176708 w 1828800"/>
                <a:gd name="connsiteY5" fmla="*/ 457202 h 914402"/>
                <a:gd name="connsiteX0" fmla="*/ 0 w 1828800"/>
                <a:gd name="connsiteY0" fmla="*/ 0 h 914402"/>
                <a:gd name="connsiteX1" fmla="*/ 1652091 w 1828800"/>
                <a:gd name="connsiteY1" fmla="*/ 0 h 914402"/>
                <a:gd name="connsiteX2" fmla="*/ 1828800 w 1828800"/>
                <a:gd name="connsiteY2" fmla="*/ 457200 h 914402"/>
                <a:gd name="connsiteX3" fmla="*/ 1694920 w 1828800"/>
                <a:gd name="connsiteY3" fmla="*/ 914402 h 914402"/>
                <a:gd name="connsiteX4" fmla="*/ 0 w 1828800"/>
                <a:gd name="connsiteY4" fmla="*/ 914400 h 914402"/>
                <a:gd name="connsiteX5" fmla="*/ 176708 w 1828800"/>
                <a:gd name="connsiteY5" fmla="*/ 457202 h 914402"/>
                <a:gd name="connsiteX0" fmla="*/ 0 w 1828800"/>
                <a:gd name="connsiteY0" fmla="*/ 0 h 914402"/>
                <a:gd name="connsiteX1" fmla="*/ 1652091 w 1828800"/>
                <a:gd name="connsiteY1" fmla="*/ 0 h 914402"/>
                <a:gd name="connsiteX2" fmla="*/ 1828800 w 1828800"/>
                <a:gd name="connsiteY2" fmla="*/ 457200 h 914402"/>
                <a:gd name="connsiteX3" fmla="*/ 1652091 w 1828800"/>
                <a:gd name="connsiteY3" fmla="*/ 914402 h 914402"/>
                <a:gd name="connsiteX4" fmla="*/ 0 w 1828800"/>
                <a:gd name="connsiteY4" fmla="*/ 914400 h 914402"/>
                <a:gd name="connsiteX5" fmla="*/ 176708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52091" y="0"/>
                  </a:lnTo>
                  <a:lnTo>
                    <a:pt x="1828800" y="457200"/>
                  </a:lnTo>
                  <a:lnTo>
                    <a:pt x="1652091" y="914402"/>
                  </a:lnTo>
                  <a:lnTo>
                    <a:pt x="0" y="914400"/>
                  </a:lnTo>
                  <a:lnTo>
                    <a:pt x="176708" y="457202"/>
                  </a:lnTo>
                  <a:close/>
                </a:path>
              </a:pathLst>
            </a:custGeom>
            <a:grpFill/>
            <a:ln w="9525">
              <a:solidFill>
                <a:srgbClr val="FFFFFF"/>
              </a:solidFill>
              <a:round/>
              <a:headEnd/>
              <a:tailEnd/>
            </a:ln>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90" name="TextBox 4">
              <a:extLst>
                <a:ext uri="{FF2B5EF4-FFF2-40B4-BE49-F238E27FC236}">
                  <a16:creationId xmlns:a16="http://schemas.microsoft.com/office/drawing/2014/main" id="{D401D524-1747-4865-A269-4C4C3831F8E1}"/>
                </a:ext>
              </a:extLst>
            </p:cNvPr>
            <p:cNvSpPr txBox="1">
              <a:spLocks noChangeArrowheads="1"/>
            </p:cNvSpPr>
            <p:nvPr>
              <p:custDataLst>
                <p:tags r:id="rId18"/>
              </p:custDataLst>
            </p:nvPr>
          </p:nvSpPr>
          <p:spPr bwMode="auto">
            <a:xfrm>
              <a:off x="4724746" y="2079612"/>
              <a:ext cx="1948111" cy="441961"/>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731"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003C54"/>
                </a:buClr>
                <a:buSzTx/>
                <a:buFontTx/>
                <a:buNone/>
                <a:tabLst/>
                <a:defRPr/>
              </a:pPr>
              <a:r>
                <a:rPr kumimoji="0" lang="nl-NL" sz="1200" b="1" i="0" u="none" strike="noStrike" kern="1200" cap="none" spc="0" normalizeH="0" baseline="0" noProof="0">
                  <a:ln>
                    <a:noFill/>
                  </a:ln>
                  <a:solidFill>
                    <a:srgbClr val="000000"/>
                  </a:solidFill>
                  <a:effectLst/>
                  <a:uLnTx/>
                  <a:uFillTx/>
                  <a:latin typeface="Arial"/>
                  <a:ea typeface="ＭＳ Ｐゴシック"/>
                  <a:cs typeface="+mn-cs"/>
                </a:rPr>
                <a:t>Aanleiding van een Goed Gesprek</a:t>
              </a:r>
            </a:p>
          </p:txBody>
        </p:sp>
      </p:grpSp>
      <p:grpSp>
        <p:nvGrpSpPr>
          <p:cNvPr id="91" name="Group 90">
            <a:extLst>
              <a:ext uri="{FF2B5EF4-FFF2-40B4-BE49-F238E27FC236}">
                <a16:creationId xmlns:a16="http://schemas.microsoft.com/office/drawing/2014/main" id="{7E6D68F1-CA86-4F7C-802A-5BA04CFE24E5}"/>
              </a:ext>
            </a:extLst>
          </p:cNvPr>
          <p:cNvGrpSpPr>
            <a:grpSpLocks/>
          </p:cNvGrpSpPr>
          <p:nvPr>
            <p:custDataLst>
              <p:tags r:id="rId12"/>
            </p:custDataLst>
          </p:nvPr>
        </p:nvGrpSpPr>
        <p:grpSpPr>
          <a:xfrm>
            <a:off x="3791985" y="2540290"/>
            <a:ext cx="3032385" cy="3293593"/>
            <a:chOff x="-10791149" y="-81067017"/>
            <a:chExt cx="107378459" cy="116628011"/>
          </a:xfrm>
          <a:solidFill>
            <a:schemeClr val="accent2"/>
          </a:solidFill>
        </p:grpSpPr>
        <p:sp>
          <p:nvSpPr>
            <p:cNvPr id="92" name="Freeform 4">
              <a:extLst>
                <a:ext uri="{FF2B5EF4-FFF2-40B4-BE49-F238E27FC236}">
                  <a16:creationId xmlns:a16="http://schemas.microsoft.com/office/drawing/2014/main" id="{B87FBB2A-F766-4B9F-A4A9-34EB8B18F1F5}"/>
                </a:ext>
              </a:extLst>
            </p:cNvPr>
            <p:cNvSpPr>
              <a:spLocks/>
            </p:cNvSpPr>
            <p:nvPr>
              <p:custDataLst>
                <p:tags r:id="rId15"/>
              </p:custDataLst>
            </p:nvPr>
          </p:nvSpPr>
          <p:spPr bwMode="auto">
            <a:xfrm>
              <a:off x="-10791149" y="-81067017"/>
              <a:ext cx="52224998" cy="83818203"/>
            </a:xfrm>
            <a:custGeom>
              <a:avLst/>
              <a:gdLst>
                <a:gd name="T0" fmla="*/ 2147483647 w 1349"/>
                <a:gd name="T1" fmla="*/ 2147483647 h 2182"/>
                <a:gd name="T2" fmla="*/ 2147483647 w 1349"/>
                <a:gd name="T3" fmla="*/ 2147483647 h 2182"/>
                <a:gd name="T4" fmla="*/ 2147483647 w 1349"/>
                <a:gd name="T5" fmla="*/ 2147483647 h 2182"/>
                <a:gd name="T6" fmla="*/ 2147483647 w 1349"/>
                <a:gd name="T7" fmla="*/ 2147483647 h 2182"/>
                <a:gd name="T8" fmla="*/ 2147483647 w 1349"/>
                <a:gd name="T9" fmla="*/ 2147483647 h 2182"/>
                <a:gd name="T10" fmla="*/ 2147483647 w 1349"/>
                <a:gd name="T11" fmla="*/ 2147483647 h 2182"/>
                <a:gd name="T12" fmla="*/ 2147483647 w 1349"/>
                <a:gd name="T13" fmla="*/ 2147483647 h 2182"/>
                <a:gd name="T14" fmla="*/ 2147483647 w 1349"/>
                <a:gd name="T15" fmla="*/ 2147483647 h 2182"/>
                <a:gd name="T16" fmla="*/ 2147483647 w 1349"/>
                <a:gd name="T17" fmla="*/ 2147483647 h 2182"/>
                <a:gd name="T18" fmla="*/ 2147483647 w 1349"/>
                <a:gd name="T19" fmla="*/ 2147483647 h 2182"/>
                <a:gd name="T20" fmla="*/ 2147483647 w 1349"/>
                <a:gd name="T21" fmla="*/ 2147483647 h 2182"/>
                <a:gd name="T22" fmla="*/ 2147483647 w 1349"/>
                <a:gd name="T23" fmla="*/ 2147483647 h 2182"/>
                <a:gd name="T24" fmla="*/ 2147483647 w 1349"/>
                <a:gd name="T25" fmla="*/ 2147483647 h 2182"/>
                <a:gd name="T26" fmla="*/ 2147483647 w 1349"/>
                <a:gd name="T27" fmla="*/ 2147483647 h 2182"/>
                <a:gd name="T28" fmla="*/ 2147483647 w 1349"/>
                <a:gd name="T29" fmla="*/ 2147483647 h 2182"/>
                <a:gd name="T30" fmla="*/ 2147483647 w 1349"/>
                <a:gd name="T31" fmla="*/ 2147483647 h 2182"/>
                <a:gd name="T32" fmla="*/ 2147483647 w 1349"/>
                <a:gd name="T33" fmla="*/ 2147483647 h 2182"/>
                <a:gd name="T34" fmla="*/ 2147483647 w 1349"/>
                <a:gd name="T35" fmla="*/ 2147483647 h 2182"/>
                <a:gd name="T36" fmla="*/ 2147483647 w 1349"/>
                <a:gd name="T37" fmla="*/ 2147483647 h 2182"/>
                <a:gd name="T38" fmla="*/ 2147483647 w 1349"/>
                <a:gd name="T39" fmla="*/ 2147483647 h 2182"/>
                <a:gd name="T40" fmla="*/ 2147483647 w 1349"/>
                <a:gd name="T41" fmla="*/ 2147483647 h 2182"/>
                <a:gd name="T42" fmla="*/ 2147483647 w 1349"/>
                <a:gd name="T43" fmla="*/ 2147483647 h 2182"/>
                <a:gd name="T44" fmla="*/ 2147483647 w 1349"/>
                <a:gd name="T45" fmla="*/ 2147483647 h 2182"/>
                <a:gd name="T46" fmla="*/ 2147483647 w 1349"/>
                <a:gd name="T47" fmla="*/ 2147483647 h 2182"/>
                <a:gd name="T48" fmla="*/ 2147483647 w 1349"/>
                <a:gd name="T49" fmla="*/ 2147483647 h 2182"/>
                <a:gd name="T50" fmla="*/ 2147483647 w 1349"/>
                <a:gd name="T51" fmla="*/ 2147483647 h 2182"/>
                <a:gd name="T52" fmla="*/ 2147483647 w 1349"/>
                <a:gd name="T53" fmla="*/ 2147483647 h 2182"/>
                <a:gd name="T54" fmla="*/ 2147483647 w 1349"/>
                <a:gd name="T55" fmla="*/ 2147483647 h 2182"/>
                <a:gd name="T56" fmla="*/ 2147483647 w 1349"/>
                <a:gd name="T57" fmla="*/ 2147483647 h 2182"/>
                <a:gd name="T58" fmla="*/ 2147483647 w 1349"/>
                <a:gd name="T59" fmla="*/ 2147483647 h 2182"/>
                <a:gd name="T60" fmla="*/ 2147483647 w 1349"/>
                <a:gd name="T61" fmla="*/ 2147483647 h 2182"/>
                <a:gd name="T62" fmla="*/ 2147483647 w 1349"/>
                <a:gd name="T63" fmla="*/ 2147483647 h 2182"/>
                <a:gd name="T64" fmla="*/ 2147483647 w 1349"/>
                <a:gd name="T65" fmla="*/ 2147483647 h 2182"/>
                <a:gd name="T66" fmla="*/ 2147483647 w 1349"/>
                <a:gd name="T67" fmla="*/ 2147483647 h 2182"/>
                <a:gd name="T68" fmla="*/ 2147483647 w 1349"/>
                <a:gd name="T69" fmla="*/ 2147483647 h 2182"/>
                <a:gd name="T70" fmla="*/ 2147483647 w 1349"/>
                <a:gd name="T71" fmla="*/ 2147483647 h 2182"/>
                <a:gd name="T72" fmla="*/ 2147483647 w 1349"/>
                <a:gd name="T73" fmla="*/ 2147483647 h 2182"/>
                <a:gd name="T74" fmla="*/ 0 w 1349"/>
                <a:gd name="T75" fmla="*/ 2147483647 h 2182"/>
                <a:gd name="T76" fmla="*/ 2147483647 w 1349"/>
                <a:gd name="T77" fmla="*/ 2147483647 h 2182"/>
                <a:gd name="T78" fmla="*/ 2147483647 w 1349"/>
                <a:gd name="T79" fmla="*/ 2147483647 h 2182"/>
                <a:gd name="T80" fmla="*/ 2147483647 w 1349"/>
                <a:gd name="T81" fmla="*/ 2147483647 h 2182"/>
                <a:gd name="T82" fmla="*/ 2147483647 w 1349"/>
                <a:gd name="T83" fmla="*/ 2147483647 h 2182"/>
                <a:gd name="T84" fmla="*/ 2147483647 w 1349"/>
                <a:gd name="T85" fmla="*/ 2147483647 h 2182"/>
                <a:gd name="T86" fmla="*/ 2147483647 w 1349"/>
                <a:gd name="T87" fmla="*/ 2147483647 h 2182"/>
                <a:gd name="T88" fmla="*/ 2147483647 w 1349"/>
                <a:gd name="T89" fmla="*/ 2147483647 h 2182"/>
                <a:gd name="T90" fmla="*/ 2147483647 w 1349"/>
                <a:gd name="T91" fmla="*/ 2147483647 h 2182"/>
                <a:gd name="T92" fmla="*/ 2147483647 w 1349"/>
                <a:gd name="T93" fmla="*/ 2147483647 h 2182"/>
                <a:gd name="T94" fmla="*/ 2147483647 w 1349"/>
                <a:gd name="T95" fmla="*/ 2147483647 h 2182"/>
                <a:gd name="T96" fmla="*/ 2147483647 w 1349"/>
                <a:gd name="T97" fmla="*/ 2147483647 h 2182"/>
                <a:gd name="T98" fmla="*/ 2147483647 w 1349"/>
                <a:gd name="T99" fmla="*/ 2147483647 h 2182"/>
                <a:gd name="T100" fmla="*/ 2147483647 w 1349"/>
                <a:gd name="T101" fmla="*/ 2147483647 h 2182"/>
                <a:gd name="T102" fmla="*/ 2147483647 w 1349"/>
                <a:gd name="T103" fmla="*/ 2147483647 h 2182"/>
                <a:gd name="T104" fmla="*/ 2147483647 w 1349"/>
                <a:gd name="T105" fmla="*/ 2147483647 h 2182"/>
                <a:gd name="T106" fmla="*/ 2147483647 w 1349"/>
                <a:gd name="T107" fmla="*/ 2147483647 h 2182"/>
                <a:gd name="T108" fmla="*/ 2147483647 w 1349"/>
                <a:gd name="T109" fmla="*/ 2147483647 h 2182"/>
                <a:gd name="T110" fmla="*/ 2147483647 w 1349"/>
                <a:gd name="T111" fmla="*/ 2147483647 h 2182"/>
                <a:gd name="T112" fmla="*/ 2147483647 w 1349"/>
                <a:gd name="T113" fmla="*/ 2147483647 h 2182"/>
                <a:gd name="T114" fmla="*/ 2147483647 w 1349"/>
                <a:gd name="T115" fmla="*/ 2147483647 h 2182"/>
                <a:gd name="T116" fmla="*/ 2147483647 w 1349"/>
                <a:gd name="T117" fmla="*/ 2147483647 h 2182"/>
                <a:gd name="T118" fmla="*/ 2147483647 w 1349"/>
                <a:gd name="T119" fmla="*/ 2147483647 h 218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349"/>
                <a:gd name="T181" fmla="*/ 0 h 2182"/>
                <a:gd name="T182" fmla="*/ 1349 w 1349"/>
                <a:gd name="T183" fmla="*/ 2182 h 2182"/>
                <a:gd name="connsiteX0" fmla="*/ 10000 w 10000"/>
                <a:gd name="connsiteY0" fmla="*/ 6141 h 10000"/>
                <a:gd name="connsiteX1" fmla="*/ 10000 w 10000"/>
                <a:gd name="connsiteY1" fmla="*/ 6141 h 10000"/>
                <a:gd name="connsiteX2" fmla="*/ 9911 w 10000"/>
                <a:gd name="connsiteY2" fmla="*/ 6127 h 10000"/>
                <a:gd name="connsiteX3" fmla="*/ 9815 w 10000"/>
                <a:gd name="connsiteY3" fmla="*/ 6109 h 10000"/>
                <a:gd name="connsiteX4" fmla="*/ 9726 w 10000"/>
                <a:gd name="connsiteY4" fmla="*/ 6091 h 10000"/>
                <a:gd name="connsiteX5" fmla="*/ 9637 w 10000"/>
                <a:gd name="connsiteY5" fmla="*/ 6068 h 10000"/>
                <a:gd name="connsiteX6" fmla="*/ 9548 w 10000"/>
                <a:gd name="connsiteY6" fmla="*/ 6049 h 10000"/>
                <a:gd name="connsiteX7" fmla="*/ 9466 w 10000"/>
                <a:gd name="connsiteY7" fmla="*/ 6027 h 10000"/>
                <a:gd name="connsiteX8" fmla="*/ 9377 w 10000"/>
                <a:gd name="connsiteY8" fmla="*/ 6004 h 10000"/>
                <a:gd name="connsiteX9" fmla="*/ 9288 w 10000"/>
                <a:gd name="connsiteY9" fmla="*/ 5981 h 10000"/>
                <a:gd name="connsiteX10" fmla="*/ 9118 w 10000"/>
                <a:gd name="connsiteY10" fmla="*/ 5930 h 10000"/>
                <a:gd name="connsiteX11" fmla="*/ 8955 w 10000"/>
                <a:gd name="connsiteY11" fmla="*/ 5875 h 10000"/>
                <a:gd name="connsiteX12" fmla="*/ 8792 w 10000"/>
                <a:gd name="connsiteY12" fmla="*/ 5816 h 10000"/>
                <a:gd name="connsiteX13" fmla="*/ 8636 w 10000"/>
                <a:gd name="connsiteY13" fmla="*/ 5752 h 10000"/>
                <a:gd name="connsiteX14" fmla="*/ 8480 w 10000"/>
                <a:gd name="connsiteY14" fmla="*/ 5687 h 10000"/>
                <a:gd name="connsiteX15" fmla="*/ 8340 w 10000"/>
                <a:gd name="connsiteY15" fmla="*/ 5619 h 10000"/>
                <a:gd name="connsiteX16" fmla="*/ 8199 w 10000"/>
                <a:gd name="connsiteY16" fmla="*/ 5545 h 10000"/>
                <a:gd name="connsiteX17" fmla="*/ 8058 w 10000"/>
                <a:gd name="connsiteY17" fmla="*/ 5467 h 10000"/>
                <a:gd name="connsiteX18" fmla="*/ 7924 w 10000"/>
                <a:gd name="connsiteY18" fmla="*/ 5385 h 10000"/>
                <a:gd name="connsiteX19" fmla="*/ 7798 w 10000"/>
                <a:gd name="connsiteY19" fmla="*/ 5302 h 10000"/>
                <a:gd name="connsiteX20" fmla="*/ 7672 w 10000"/>
                <a:gd name="connsiteY20" fmla="*/ 5215 h 10000"/>
                <a:gd name="connsiteX21" fmla="*/ 7554 w 10000"/>
                <a:gd name="connsiteY21" fmla="*/ 5128 h 10000"/>
                <a:gd name="connsiteX22" fmla="*/ 7450 w 10000"/>
                <a:gd name="connsiteY22" fmla="*/ 5032 h 10000"/>
                <a:gd name="connsiteX23" fmla="*/ 7346 w 10000"/>
                <a:gd name="connsiteY23" fmla="*/ 4936 h 10000"/>
                <a:gd name="connsiteX24" fmla="*/ 7250 w 10000"/>
                <a:gd name="connsiteY24" fmla="*/ 4840 h 10000"/>
                <a:gd name="connsiteX25" fmla="*/ 7161 w 10000"/>
                <a:gd name="connsiteY25" fmla="*/ 4739 h 10000"/>
                <a:gd name="connsiteX26" fmla="*/ 7072 w 10000"/>
                <a:gd name="connsiteY26" fmla="*/ 4638 h 10000"/>
                <a:gd name="connsiteX27" fmla="*/ 6990 w 10000"/>
                <a:gd name="connsiteY27" fmla="*/ 4528 h 10000"/>
                <a:gd name="connsiteX28" fmla="*/ 6953 w 10000"/>
                <a:gd name="connsiteY28" fmla="*/ 4478 h 10000"/>
                <a:gd name="connsiteX29" fmla="*/ 6916 w 10000"/>
                <a:gd name="connsiteY29" fmla="*/ 4423 h 10000"/>
                <a:gd name="connsiteX30" fmla="*/ 6887 w 10000"/>
                <a:gd name="connsiteY30" fmla="*/ 4368 h 10000"/>
                <a:gd name="connsiteX31" fmla="*/ 6850 w 10000"/>
                <a:gd name="connsiteY31" fmla="*/ 4313 h 10000"/>
                <a:gd name="connsiteX32" fmla="*/ 6820 w 10000"/>
                <a:gd name="connsiteY32" fmla="*/ 4258 h 10000"/>
                <a:gd name="connsiteX33" fmla="*/ 6790 w 10000"/>
                <a:gd name="connsiteY33" fmla="*/ 4203 h 10000"/>
                <a:gd name="connsiteX34" fmla="*/ 6768 w 10000"/>
                <a:gd name="connsiteY34" fmla="*/ 4143 h 10000"/>
                <a:gd name="connsiteX35" fmla="*/ 6738 w 10000"/>
                <a:gd name="connsiteY35" fmla="*/ 4088 h 10000"/>
                <a:gd name="connsiteX36" fmla="*/ 6723 w 10000"/>
                <a:gd name="connsiteY36" fmla="*/ 4028 h 10000"/>
                <a:gd name="connsiteX37" fmla="*/ 6694 w 10000"/>
                <a:gd name="connsiteY37" fmla="*/ 3973 h 10000"/>
                <a:gd name="connsiteX38" fmla="*/ 6679 w 10000"/>
                <a:gd name="connsiteY38" fmla="*/ 3914 h 10000"/>
                <a:gd name="connsiteX39" fmla="*/ 6664 w 10000"/>
                <a:gd name="connsiteY39" fmla="*/ 3854 h 10000"/>
                <a:gd name="connsiteX40" fmla="*/ 6649 w 10000"/>
                <a:gd name="connsiteY40" fmla="*/ 3795 h 10000"/>
                <a:gd name="connsiteX41" fmla="*/ 6635 w 10000"/>
                <a:gd name="connsiteY41" fmla="*/ 3740 h 10000"/>
                <a:gd name="connsiteX42" fmla="*/ 6620 w 10000"/>
                <a:gd name="connsiteY42" fmla="*/ 3680 h 10000"/>
                <a:gd name="connsiteX43" fmla="*/ 6612 w 10000"/>
                <a:gd name="connsiteY43" fmla="*/ 3621 h 10000"/>
                <a:gd name="connsiteX44" fmla="*/ 6605 w 10000"/>
                <a:gd name="connsiteY44" fmla="*/ 3561 h 10000"/>
                <a:gd name="connsiteX45" fmla="*/ 6597 w 10000"/>
                <a:gd name="connsiteY45" fmla="*/ 3497 h 10000"/>
                <a:gd name="connsiteX46" fmla="*/ 6597 w 10000"/>
                <a:gd name="connsiteY46" fmla="*/ 3437 h 10000"/>
                <a:gd name="connsiteX47" fmla="*/ 6590 w 10000"/>
                <a:gd name="connsiteY47" fmla="*/ 3373 h 10000"/>
                <a:gd name="connsiteX48" fmla="*/ 6597 w 10000"/>
                <a:gd name="connsiteY48" fmla="*/ 3313 h 10000"/>
                <a:gd name="connsiteX49" fmla="*/ 6605 w 10000"/>
                <a:gd name="connsiteY49" fmla="*/ 3245 h 10000"/>
                <a:gd name="connsiteX50" fmla="*/ 6605 w 10000"/>
                <a:gd name="connsiteY50" fmla="*/ 3181 h 10000"/>
                <a:gd name="connsiteX51" fmla="*/ 6612 w 10000"/>
                <a:gd name="connsiteY51" fmla="*/ 3116 h 10000"/>
                <a:gd name="connsiteX52" fmla="*/ 6620 w 10000"/>
                <a:gd name="connsiteY52" fmla="*/ 3052 h 10000"/>
                <a:gd name="connsiteX53" fmla="*/ 6635 w 10000"/>
                <a:gd name="connsiteY53" fmla="*/ 2993 h 10000"/>
                <a:gd name="connsiteX54" fmla="*/ 6649 w 10000"/>
                <a:gd name="connsiteY54" fmla="*/ 2929 h 10000"/>
                <a:gd name="connsiteX55" fmla="*/ 6664 w 10000"/>
                <a:gd name="connsiteY55" fmla="*/ 2869 h 10000"/>
                <a:gd name="connsiteX56" fmla="*/ 6686 w 10000"/>
                <a:gd name="connsiteY56" fmla="*/ 2805 h 10000"/>
                <a:gd name="connsiteX57" fmla="*/ 6709 w 10000"/>
                <a:gd name="connsiteY57" fmla="*/ 2745 h 10000"/>
                <a:gd name="connsiteX58" fmla="*/ 6731 w 10000"/>
                <a:gd name="connsiteY58" fmla="*/ 2686 h 10000"/>
                <a:gd name="connsiteX59" fmla="*/ 6753 w 10000"/>
                <a:gd name="connsiteY59" fmla="*/ 2621 h 10000"/>
                <a:gd name="connsiteX60" fmla="*/ 6783 w 10000"/>
                <a:gd name="connsiteY60" fmla="*/ 2566 h 10000"/>
                <a:gd name="connsiteX61" fmla="*/ 6812 w 10000"/>
                <a:gd name="connsiteY61" fmla="*/ 2507 h 10000"/>
                <a:gd name="connsiteX62" fmla="*/ 6842 w 10000"/>
                <a:gd name="connsiteY62" fmla="*/ 2447 h 10000"/>
                <a:gd name="connsiteX63" fmla="*/ 6879 w 10000"/>
                <a:gd name="connsiteY63" fmla="*/ 2388 h 10000"/>
                <a:gd name="connsiteX64" fmla="*/ 6909 w 10000"/>
                <a:gd name="connsiteY64" fmla="*/ 2333 h 10000"/>
                <a:gd name="connsiteX65" fmla="*/ 6946 w 10000"/>
                <a:gd name="connsiteY65" fmla="*/ 2273 h 10000"/>
                <a:gd name="connsiteX66" fmla="*/ 6990 w 10000"/>
                <a:gd name="connsiteY66" fmla="*/ 2218 h 10000"/>
                <a:gd name="connsiteX67" fmla="*/ 7027 w 10000"/>
                <a:gd name="connsiteY67" fmla="*/ 2163 h 10000"/>
                <a:gd name="connsiteX68" fmla="*/ 7072 w 10000"/>
                <a:gd name="connsiteY68" fmla="*/ 2108 h 10000"/>
                <a:gd name="connsiteX69" fmla="*/ 7109 w 10000"/>
                <a:gd name="connsiteY69" fmla="*/ 2053 h 10000"/>
                <a:gd name="connsiteX70" fmla="*/ 7161 w 10000"/>
                <a:gd name="connsiteY70" fmla="*/ 2003 h 10000"/>
                <a:gd name="connsiteX71" fmla="*/ 7213 w 10000"/>
                <a:gd name="connsiteY71" fmla="*/ 1948 h 10000"/>
                <a:gd name="connsiteX72" fmla="*/ 7257 w 10000"/>
                <a:gd name="connsiteY72" fmla="*/ 1893 h 10000"/>
                <a:gd name="connsiteX73" fmla="*/ 7309 w 10000"/>
                <a:gd name="connsiteY73" fmla="*/ 1842 h 10000"/>
                <a:gd name="connsiteX74" fmla="*/ 7361 w 10000"/>
                <a:gd name="connsiteY74" fmla="*/ 1792 h 10000"/>
                <a:gd name="connsiteX75" fmla="*/ 7413 w 10000"/>
                <a:gd name="connsiteY75" fmla="*/ 1742 h 10000"/>
                <a:gd name="connsiteX76" fmla="*/ 7472 w 10000"/>
                <a:gd name="connsiteY76" fmla="*/ 1691 h 10000"/>
                <a:gd name="connsiteX77" fmla="*/ 7524 w 10000"/>
                <a:gd name="connsiteY77" fmla="*/ 1645 h 10000"/>
                <a:gd name="connsiteX78" fmla="*/ 7583 w 10000"/>
                <a:gd name="connsiteY78" fmla="*/ 1599 h 10000"/>
                <a:gd name="connsiteX79" fmla="*/ 7643 w 10000"/>
                <a:gd name="connsiteY79" fmla="*/ 1549 h 10000"/>
                <a:gd name="connsiteX80" fmla="*/ 5456 w 10000"/>
                <a:gd name="connsiteY80" fmla="*/ 0 h 10000"/>
                <a:gd name="connsiteX81" fmla="*/ 1401 w 10000"/>
                <a:gd name="connsiteY81" fmla="*/ 0 h 10000"/>
                <a:gd name="connsiteX82" fmla="*/ 1305 w 10000"/>
                <a:gd name="connsiteY82" fmla="*/ 128 h 10000"/>
                <a:gd name="connsiteX83" fmla="*/ 1223 w 10000"/>
                <a:gd name="connsiteY83" fmla="*/ 220 h 10000"/>
                <a:gd name="connsiteX84" fmla="*/ 1149 w 10000"/>
                <a:gd name="connsiteY84" fmla="*/ 316 h 10000"/>
                <a:gd name="connsiteX85" fmla="*/ 1067 w 10000"/>
                <a:gd name="connsiteY85" fmla="*/ 412 h 10000"/>
                <a:gd name="connsiteX86" fmla="*/ 1001 w 10000"/>
                <a:gd name="connsiteY86" fmla="*/ 509 h 10000"/>
                <a:gd name="connsiteX87" fmla="*/ 927 w 10000"/>
                <a:gd name="connsiteY87" fmla="*/ 605 h 10000"/>
                <a:gd name="connsiteX88" fmla="*/ 860 w 10000"/>
                <a:gd name="connsiteY88" fmla="*/ 706 h 10000"/>
                <a:gd name="connsiteX89" fmla="*/ 793 w 10000"/>
                <a:gd name="connsiteY89" fmla="*/ 807 h 10000"/>
                <a:gd name="connsiteX90" fmla="*/ 734 w 10000"/>
                <a:gd name="connsiteY90" fmla="*/ 903 h 10000"/>
                <a:gd name="connsiteX91" fmla="*/ 675 w 10000"/>
                <a:gd name="connsiteY91" fmla="*/ 1004 h 10000"/>
                <a:gd name="connsiteX92" fmla="*/ 615 w 10000"/>
                <a:gd name="connsiteY92" fmla="*/ 1104 h 10000"/>
                <a:gd name="connsiteX93" fmla="*/ 556 w 10000"/>
                <a:gd name="connsiteY93" fmla="*/ 1210 h 10000"/>
                <a:gd name="connsiteX94" fmla="*/ 504 w 10000"/>
                <a:gd name="connsiteY94" fmla="*/ 1306 h 10000"/>
                <a:gd name="connsiteX95" fmla="*/ 452 w 10000"/>
                <a:gd name="connsiteY95" fmla="*/ 1412 h 10000"/>
                <a:gd name="connsiteX96" fmla="*/ 408 w 10000"/>
                <a:gd name="connsiteY96" fmla="*/ 1512 h 10000"/>
                <a:gd name="connsiteX97" fmla="*/ 363 w 10000"/>
                <a:gd name="connsiteY97" fmla="*/ 1618 h 10000"/>
                <a:gd name="connsiteX98" fmla="*/ 319 w 10000"/>
                <a:gd name="connsiteY98" fmla="*/ 1723 h 10000"/>
                <a:gd name="connsiteX99" fmla="*/ 282 w 10000"/>
                <a:gd name="connsiteY99" fmla="*/ 1829 h 10000"/>
                <a:gd name="connsiteX100" fmla="*/ 237 w 10000"/>
                <a:gd name="connsiteY100" fmla="*/ 1939 h 10000"/>
                <a:gd name="connsiteX101" fmla="*/ 208 w 10000"/>
                <a:gd name="connsiteY101" fmla="*/ 2044 h 10000"/>
                <a:gd name="connsiteX102" fmla="*/ 170 w 10000"/>
                <a:gd name="connsiteY102" fmla="*/ 2154 h 10000"/>
                <a:gd name="connsiteX103" fmla="*/ 148 w 10000"/>
                <a:gd name="connsiteY103" fmla="*/ 2264 h 10000"/>
                <a:gd name="connsiteX104" fmla="*/ 119 w 10000"/>
                <a:gd name="connsiteY104" fmla="*/ 2369 h 10000"/>
                <a:gd name="connsiteX105" fmla="*/ 96 w 10000"/>
                <a:gd name="connsiteY105" fmla="*/ 2479 h 10000"/>
                <a:gd name="connsiteX106" fmla="*/ 74 w 10000"/>
                <a:gd name="connsiteY106" fmla="*/ 2589 h 10000"/>
                <a:gd name="connsiteX107" fmla="*/ 52 w 10000"/>
                <a:gd name="connsiteY107" fmla="*/ 2704 h 10000"/>
                <a:gd name="connsiteX108" fmla="*/ 37 w 10000"/>
                <a:gd name="connsiteY108" fmla="*/ 2814 h 10000"/>
                <a:gd name="connsiteX109" fmla="*/ 22 w 10000"/>
                <a:gd name="connsiteY109" fmla="*/ 2924 h 10000"/>
                <a:gd name="connsiteX110" fmla="*/ 15 w 10000"/>
                <a:gd name="connsiteY110" fmla="*/ 3034 h 10000"/>
                <a:gd name="connsiteX111" fmla="*/ 7 w 10000"/>
                <a:gd name="connsiteY111" fmla="*/ 3148 h 10000"/>
                <a:gd name="connsiteX112" fmla="*/ 0 w 10000"/>
                <a:gd name="connsiteY112" fmla="*/ 3258 h 10000"/>
                <a:gd name="connsiteX113" fmla="*/ 0 w 10000"/>
                <a:gd name="connsiteY113" fmla="*/ 3373 h 10000"/>
                <a:gd name="connsiteX114" fmla="*/ 7 w 10000"/>
                <a:gd name="connsiteY114" fmla="*/ 3520 h 10000"/>
                <a:gd name="connsiteX115" fmla="*/ 7 w 10000"/>
                <a:gd name="connsiteY115" fmla="*/ 3666 h 10000"/>
                <a:gd name="connsiteX116" fmla="*/ 22 w 10000"/>
                <a:gd name="connsiteY116" fmla="*/ 3804 h 10000"/>
                <a:gd name="connsiteX117" fmla="*/ 37 w 10000"/>
                <a:gd name="connsiteY117" fmla="*/ 3946 h 10000"/>
                <a:gd name="connsiteX118" fmla="*/ 59 w 10000"/>
                <a:gd name="connsiteY118" fmla="*/ 4088 h 10000"/>
                <a:gd name="connsiteX119" fmla="*/ 89 w 10000"/>
                <a:gd name="connsiteY119" fmla="*/ 4230 h 10000"/>
                <a:gd name="connsiteX120" fmla="*/ 119 w 10000"/>
                <a:gd name="connsiteY120" fmla="*/ 4372 h 10000"/>
                <a:gd name="connsiteX121" fmla="*/ 148 w 10000"/>
                <a:gd name="connsiteY121" fmla="*/ 4514 h 10000"/>
                <a:gd name="connsiteX122" fmla="*/ 193 w 10000"/>
                <a:gd name="connsiteY122" fmla="*/ 4652 h 10000"/>
                <a:gd name="connsiteX123" fmla="*/ 237 w 10000"/>
                <a:gd name="connsiteY123" fmla="*/ 4789 h 10000"/>
                <a:gd name="connsiteX124" fmla="*/ 282 w 10000"/>
                <a:gd name="connsiteY124" fmla="*/ 4927 h 10000"/>
                <a:gd name="connsiteX125" fmla="*/ 334 w 10000"/>
                <a:gd name="connsiteY125" fmla="*/ 5064 h 10000"/>
                <a:gd name="connsiteX126" fmla="*/ 393 w 10000"/>
                <a:gd name="connsiteY126" fmla="*/ 5197 h 10000"/>
                <a:gd name="connsiteX127" fmla="*/ 452 w 10000"/>
                <a:gd name="connsiteY127" fmla="*/ 5330 h 10000"/>
                <a:gd name="connsiteX128" fmla="*/ 519 w 10000"/>
                <a:gd name="connsiteY128" fmla="*/ 5463 h 10000"/>
                <a:gd name="connsiteX129" fmla="*/ 586 w 10000"/>
                <a:gd name="connsiteY129" fmla="*/ 5596 h 10000"/>
                <a:gd name="connsiteX130" fmla="*/ 660 w 10000"/>
                <a:gd name="connsiteY130" fmla="*/ 5724 h 10000"/>
                <a:gd name="connsiteX131" fmla="*/ 741 w 10000"/>
                <a:gd name="connsiteY131" fmla="*/ 5852 h 10000"/>
                <a:gd name="connsiteX132" fmla="*/ 823 w 10000"/>
                <a:gd name="connsiteY132" fmla="*/ 5985 h 10000"/>
                <a:gd name="connsiteX133" fmla="*/ 904 w 10000"/>
                <a:gd name="connsiteY133" fmla="*/ 6109 h 10000"/>
                <a:gd name="connsiteX134" fmla="*/ 993 w 10000"/>
                <a:gd name="connsiteY134" fmla="*/ 6233 h 10000"/>
                <a:gd name="connsiteX135" fmla="*/ 1090 w 10000"/>
                <a:gd name="connsiteY135" fmla="*/ 6352 h 10000"/>
                <a:gd name="connsiteX136" fmla="*/ 1186 w 10000"/>
                <a:gd name="connsiteY136" fmla="*/ 6476 h 10000"/>
                <a:gd name="connsiteX137" fmla="*/ 1290 w 10000"/>
                <a:gd name="connsiteY137" fmla="*/ 6599 h 10000"/>
                <a:gd name="connsiteX138" fmla="*/ 1386 w 10000"/>
                <a:gd name="connsiteY138" fmla="*/ 6719 h 10000"/>
                <a:gd name="connsiteX139" fmla="*/ 1497 w 10000"/>
                <a:gd name="connsiteY139" fmla="*/ 6838 h 10000"/>
                <a:gd name="connsiteX140" fmla="*/ 1609 w 10000"/>
                <a:gd name="connsiteY140" fmla="*/ 6952 h 10000"/>
                <a:gd name="connsiteX141" fmla="*/ 1727 w 10000"/>
                <a:gd name="connsiteY141" fmla="*/ 7071 h 10000"/>
                <a:gd name="connsiteX142" fmla="*/ 1846 w 10000"/>
                <a:gd name="connsiteY142" fmla="*/ 7186 h 10000"/>
                <a:gd name="connsiteX143" fmla="*/ 1964 w 10000"/>
                <a:gd name="connsiteY143" fmla="*/ 7296 h 10000"/>
                <a:gd name="connsiteX144" fmla="*/ 2090 w 10000"/>
                <a:gd name="connsiteY144" fmla="*/ 7406 h 10000"/>
                <a:gd name="connsiteX145" fmla="*/ 2224 w 10000"/>
                <a:gd name="connsiteY145" fmla="*/ 7516 h 10000"/>
                <a:gd name="connsiteX146" fmla="*/ 2350 w 10000"/>
                <a:gd name="connsiteY146" fmla="*/ 7626 h 10000"/>
                <a:gd name="connsiteX147" fmla="*/ 2491 w 10000"/>
                <a:gd name="connsiteY147" fmla="*/ 7731 h 10000"/>
                <a:gd name="connsiteX148" fmla="*/ 2617 w 10000"/>
                <a:gd name="connsiteY148" fmla="*/ 7837 h 10000"/>
                <a:gd name="connsiteX149" fmla="*/ 2765 w 10000"/>
                <a:gd name="connsiteY149" fmla="*/ 7938 h 10000"/>
                <a:gd name="connsiteX150" fmla="*/ 2906 w 10000"/>
                <a:gd name="connsiteY150" fmla="*/ 8038 h 10000"/>
                <a:gd name="connsiteX151" fmla="*/ 3054 w 10000"/>
                <a:gd name="connsiteY151" fmla="*/ 8139 h 10000"/>
                <a:gd name="connsiteX152" fmla="*/ 3210 w 10000"/>
                <a:gd name="connsiteY152" fmla="*/ 8236 h 10000"/>
                <a:gd name="connsiteX153" fmla="*/ 3358 w 10000"/>
                <a:gd name="connsiteY153" fmla="*/ 8332 h 10000"/>
                <a:gd name="connsiteX154" fmla="*/ 3514 w 10000"/>
                <a:gd name="connsiteY154" fmla="*/ 8428 h 10000"/>
                <a:gd name="connsiteX155" fmla="*/ 3677 w 10000"/>
                <a:gd name="connsiteY155" fmla="*/ 8520 h 10000"/>
                <a:gd name="connsiteX156" fmla="*/ 3840 w 10000"/>
                <a:gd name="connsiteY156" fmla="*/ 8607 h 10000"/>
                <a:gd name="connsiteX157" fmla="*/ 4010 w 10000"/>
                <a:gd name="connsiteY157" fmla="*/ 8698 h 10000"/>
                <a:gd name="connsiteX158" fmla="*/ 4181 w 10000"/>
                <a:gd name="connsiteY158" fmla="*/ 8776 h 10000"/>
                <a:gd name="connsiteX159" fmla="*/ 4351 w 10000"/>
                <a:gd name="connsiteY159" fmla="*/ 8863 h 10000"/>
                <a:gd name="connsiteX160" fmla="*/ 4522 w 10000"/>
                <a:gd name="connsiteY160" fmla="*/ 8941 h 10000"/>
                <a:gd name="connsiteX161" fmla="*/ 4700 w 10000"/>
                <a:gd name="connsiteY161" fmla="*/ 9024 h 10000"/>
                <a:gd name="connsiteX162" fmla="*/ 4878 w 10000"/>
                <a:gd name="connsiteY162" fmla="*/ 9102 h 10000"/>
                <a:gd name="connsiteX163" fmla="*/ 5063 w 10000"/>
                <a:gd name="connsiteY163" fmla="*/ 9175 h 10000"/>
                <a:gd name="connsiteX164" fmla="*/ 5248 w 10000"/>
                <a:gd name="connsiteY164" fmla="*/ 9253 h 10000"/>
                <a:gd name="connsiteX165" fmla="*/ 5426 w 10000"/>
                <a:gd name="connsiteY165" fmla="*/ 9322 h 10000"/>
                <a:gd name="connsiteX166" fmla="*/ 5619 w 10000"/>
                <a:gd name="connsiteY166" fmla="*/ 9390 h 10000"/>
                <a:gd name="connsiteX167" fmla="*/ 5812 w 10000"/>
                <a:gd name="connsiteY167" fmla="*/ 9459 h 10000"/>
                <a:gd name="connsiteX168" fmla="*/ 6004 w 10000"/>
                <a:gd name="connsiteY168" fmla="*/ 9523 h 10000"/>
                <a:gd name="connsiteX169" fmla="*/ 6205 w 10000"/>
                <a:gd name="connsiteY169" fmla="*/ 9588 h 10000"/>
                <a:gd name="connsiteX170" fmla="*/ 6397 w 10000"/>
                <a:gd name="connsiteY170" fmla="*/ 9647 h 10000"/>
                <a:gd name="connsiteX171" fmla="*/ 6605 w 10000"/>
                <a:gd name="connsiteY171" fmla="*/ 9702 h 10000"/>
                <a:gd name="connsiteX172" fmla="*/ 6805 w 10000"/>
                <a:gd name="connsiteY172" fmla="*/ 9757 h 10000"/>
                <a:gd name="connsiteX173" fmla="*/ 7005 w 10000"/>
                <a:gd name="connsiteY173" fmla="*/ 9812 h 10000"/>
                <a:gd name="connsiteX174" fmla="*/ 7213 w 10000"/>
                <a:gd name="connsiteY174" fmla="*/ 9863 h 10000"/>
                <a:gd name="connsiteX175" fmla="*/ 7420 w 10000"/>
                <a:gd name="connsiteY175" fmla="*/ 9908 h 10000"/>
                <a:gd name="connsiteX176" fmla="*/ 7628 w 10000"/>
                <a:gd name="connsiteY176" fmla="*/ 9954 h 10000"/>
                <a:gd name="connsiteX177" fmla="*/ 7835 w 10000"/>
                <a:gd name="connsiteY177" fmla="*/ 10000 h 10000"/>
                <a:gd name="connsiteX178" fmla="*/ 7539 w 10000"/>
                <a:gd name="connsiteY178" fmla="*/ 7754 h 10000"/>
                <a:gd name="connsiteX179" fmla="*/ 10000 w 10000"/>
                <a:gd name="connsiteY179" fmla="*/ 6141 h 10000"/>
                <a:gd name="connsiteX0" fmla="*/ 10000 w 10000"/>
                <a:gd name="connsiteY0" fmla="*/ 6141 h 10000"/>
                <a:gd name="connsiteX1" fmla="*/ 10000 w 10000"/>
                <a:gd name="connsiteY1" fmla="*/ 6141 h 10000"/>
                <a:gd name="connsiteX2" fmla="*/ 9911 w 10000"/>
                <a:gd name="connsiteY2" fmla="*/ 6127 h 10000"/>
                <a:gd name="connsiteX3" fmla="*/ 9815 w 10000"/>
                <a:gd name="connsiteY3" fmla="*/ 6109 h 10000"/>
                <a:gd name="connsiteX4" fmla="*/ 9726 w 10000"/>
                <a:gd name="connsiteY4" fmla="*/ 6091 h 10000"/>
                <a:gd name="connsiteX5" fmla="*/ 9637 w 10000"/>
                <a:gd name="connsiteY5" fmla="*/ 6068 h 10000"/>
                <a:gd name="connsiteX6" fmla="*/ 9548 w 10000"/>
                <a:gd name="connsiteY6" fmla="*/ 6049 h 10000"/>
                <a:gd name="connsiteX7" fmla="*/ 9466 w 10000"/>
                <a:gd name="connsiteY7" fmla="*/ 6027 h 10000"/>
                <a:gd name="connsiteX8" fmla="*/ 9377 w 10000"/>
                <a:gd name="connsiteY8" fmla="*/ 6004 h 10000"/>
                <a:gd name="connsiteX9" fmla="*/ 9288 w 10000"/>
                <a:gd name="connsiteY9" fmla="*/ 5981 h 10000"/>
                <a:gd name="connsiteX10" fmla="*/ 9118 w 10000"/>
                <a:gd name="connsiteY10" fmla="*/ 5930 h 10000"/>
                <a:gd name="connsiteX11" fmla="*/ 8955 w 10000"/>
                <a:gd name="connsiteY11" fmla="*/ 5875 h 10000"/>
                <a:gd name="connsiteX12" fmla="*/ 8792 w 10000"/>
                <a:gd name="connsiteY12" fmla="*/ 5816 h 10000"/>
                <a:gd name="connsiteX13" fmla="*/ 8636 w 10000"/>
                <a:gd name="connsiteY13" fmla="*/ 5752 h 10000"/>
                <a:gd name="connsiteX14" fmla="*/ 8480 w 10000"/>
                <a:gd name="connsiteY14" fmla="*/ 5687 h 10000"/>
                <a:gd name="connsiteX15" fmla="*/ 8340 w 10000"/>
                <a:gd name="connsiteY15" fmla="*/ 5619 h 10000"/>
                <a:gd name="connsiteX16" fmla="*/ 8199 w 10000"/>
                <a:gd name="connsiteY16" fmla="*/ 5545 h 10000"/>
                <a:gd name="connsiteX17" fmla="*/ 8058 w 10000"/>
                <a:gd name="connsiteY17" fmla="*/ 5467 h 10000"/>
                <a:gd name="connsiteX18" fmla="*/ 7924 w 10000"/>
                <a:gd name="connsiteY18" fmla="*/ 5385 h 10000"/>
                <a:gd name="connsiteX19" fmla="*/ 7798 w 10000"/>
                <a:gd name="connsiteY19" fmla="*/ 5302 h 10000"/>
                <a:gd name="connsiteX20" fmla="*/ 7672 w 10000"/>
                <a:gd name="connsiteY20" fmla="*/ 5215 h 10000"/>
                <a:gd name="connsiteX21" fmla="*/ 7554 w 10000"/>
                <a:gd name="connsiteY21" fmla="*/ 5128 h 10000"/>
                <a:gd name="connsiteX22" fmla="*/ 7450 w 10000"/>
                <a:gd name="connsiteY22" fmla="*/ 5032 h 10000"/>
                <a:gd name="connsiteX23" fmla="*/ 7346 w 10000"/>
                <a:gd name="connsiteY23" fmla="*/ 4936 h 10000"/>
                <a:gd name="connsiteX24" fmla="*/ 7250 w 10000"/>
                <a:gd name="connsiteY24" fmla="*/ 4840 h 10000"/>
                <a:gd name="connsiteX25" fmla="*/ 7161 w 10000"/>
                <a:gd name="connsiteY25" fmla="*/ 4739 h 10000"/>
                <a:gd name="connsiteX26" fmla="*/ 7072 w 10000"/>
                <a:gd name="connsiteY26" fmla="*/ 4638 h 10000"/>
                <a:gd name="connsiteX27" fmla="*/ 6990 w 10000"/>
                <a:gd name="connsiteY27" fmla="*/ 4528 h 10000"/>
                <a:gd name="connsiteX28" fmla="*/ 6953 w 10000"/>
                <a:gd name="connsiteY28" fmla="*/ 4478 h 10000"/>
                <a:gd name="connsiteX29" fmla="*/ 6916 w 10000"/>
                <a:gd name="connsiteY29" fmla="*/ 4423 h 10000"/>
                <a:gd name="connsiteX30" fmla="*/ 6887 w 10000"/>
                <a:gd name="connsiteY30" fmla="*/ 4368 h 10000"/>
                <a:gd name="connsiteX31" fmla="*/ 6850 w 10000"/>
                <a:gd name="connsiteY31" fmla="*/ 4313 h 10000"/>
                <a:gd name="connsiteX32" fmla="*/ 6820 w 10000"/>
                <a:gd name="connsiteY32" fmla="*/ 4258 h 10000"/>
                <a:gd name="connsiteX33" fmla="*/ 6790 w 10000"/>
                <a:gd name="connsiteY33" fmla="*/ 4203 h 10000"/>
                <a:gd name="connsiteX34" fmla="*/ 6768 w 10000"/>
                <a:gd name="connsiteY34" fmla="*/ 4143 h 10000"/>
                <a:gd name="connsiteX35" fmla="*/ 6738 w 10000"/>
                <a:gd name="connsiteY35" fmla="*/ 4088 h 10000"/>
                <a:gd name="connsiteX36" fmla="*/ 6723 w 10000"/>
                <a:gd name="connsiteY36" fmla="*/ 4028 h 10000"/>
                <a:gd name="connsiteX37" fmla="*/ 6694 w 10000"/>
                <a:gd name="connsiteY37" fmla="*/ 3973 h 10000"/>
                <a:gd name="connsiteX38" fmla="*/ 6679 w 10000"/>
                <a:gd name="connsiteY38" fmla="*/ 3914 h 10000"/>
                <a:gd name="connsiteX39" fmla="*/ 6664 w 10000"/>
                <a:gd name="connsiteY39" fmla="*/ 3854 h 10000"/>
                <a:gd name="connsiteX40" fmla="*/ 6649 w 10000"/>
                <a:gd name="connsiteY40" fmla="*/ 3795 h 10000"/>
                <a:gd name="connsiteX41" fmla="*/ 6635 w 10000"/>
                <a:gd name="connsiteY41" fmla="*/ 3740 h 10000"/>
                <a:gd name="connsiteX42" fmla="*/ 6620 w 10000"/>
                <a:gd name="connsiteY42" fmla="*/ 3680 h 10000"/>
                <a:gd name="connsiteX43" fmla="*/ 6612 w 10000"/>
                <a:gd name="connsiteY43" fmla="*/ 3621 h 10000"/>
                <a:gd name="connsiteX44" fmla="*/ 6605 w 10000"/>
                <a:gd name="connsiteY44" fmla="*/ 3561 h 10000"/>
                <a:gd name="connsiteX45" fmla="*/ 6597 w 10000"/>
                <a:gd name="connsiteY45" fmla="*/ 3497 h 10000"/>
                <a:gd name="connsiteX46" fmla="*/ 6597 w 10000"/>
                <a:gd name="connsiteY46" fmla="*/ 3437 h 10000"/>
                <a:gd name="connsiteX47" fmla="*/ 6590 w 10000"/>
                <a:gd name="connsiteY47" fmla="*/ 3373 h 10000"/>
                <a:gd name="connsiteX48" fmla="*/ 6597 w 10000"/>
                <a:gd name="connsiteY48" fmla="*/ 3313 h 10000"/>
                <a:gd name="connsiteX49" fmla="*/ 6605 w 10000"/>
                <a:gd name="connsiteY49" fmla="*/ 3245 h 10000"/>
                <a:gd name="connsiteX50" fmla="*/ 6605 w 10000"/>
                <a:gd name="connsiteY50" fmla="*/ 3181 h 10000"/>
                <a:gd name="connsiteX51" fmla="*/ 6612 w 10000"/>
                <a:gd name="connsiteY51" fmla="*/ 3116 h 10000"/>
                <a:gd name="connsiteX52" fmla="*/ 6620 w 10000"/>
                <a:gd name="connsiteY52" fmla="*/ 3052 h 10000"/>
                <a:gd name="connsiteX53" fmla="*/ 6635 w 10000"/>
                <a:gd name="connsiteY53" fmla="*/ 2993 h 10000"/>
                <a:gd name="connsiteX54" fmla="*/ 6649 w 10000"/>
                <a:gd name="connsiteY54" fmla="*/ 2929 h 10000"/>
                <a:gd name="connsiteX55" fmla="*/ 6664 w 10000"/>
                <a:gd name="connsiteY55" fmla="*/ 2869 h 10000"/>
                <a:gd name="connsiteX56" fmla="*/ 6686 w 10000"/>
                <a:gd name="connsiteY56" fmla="*/ 2805 h 10000"/>
                <a:gd name="connsiteX57" fmla="*/ 6709 w 10000"/>
                <a:gd name="connsiteY57" fmla="*/ 2745 h 10000"/>
                <a:gd name="connsiteX58" fmla="*/ 6731 w 10000"/>
                <a:gd name="connsiteY58" fmla="*/ 2686 h 10000"/>
                <a:gd name="connsiteX59" fmla="*/ 6753 w 10000"/>
                <a:gd name="connsiteY59" fmla="*/ 2621 h 10000"/>
                <a:gd name="connsiteX60" fmla="*/ 6783 w 10000"/>
                <a:gd name="connsiteY60" fmla="*/ 2566 h 10000"/>
                <a:gd name="connsiteX61" fmla="*/ 6812 w 10000"/>
                <a:gd name="connsiteY61" fmla="*/ 2507 h 10000"/>
                <a:gd name="connsiteX62" fmla="*/ 6842 w 10000"/>
                <a:gd name="connsiteY62" fmla="*/ 2447 h 10000"/>
                <a:gd name="connsiteX63" fmla="*/ 6879 w 10000"/>
                <a:gd name="connsiteY63" fmla="*/ 2388 h 10000"/>
                <a:gd name="connsiteX64" fmla="*/ 6909 w 10000"/>
                <a:gd name="connsiteY64" fmla="*/ 2333 h 10000"/>
                <a:gd name="connsiteX65" fmla="*/ 6946 w 10000"/>
                <a:gd name="connsiteY65" fmla="*/ 2273 h 10000"/>
                <a:gd name="connsiteX66" fmla="*/ 6990 w 10000"/>
                <a:gd name="connsiteY66" fmla="*/ 2218 h 10000"/>
                <a:gd name="connsiteX67" fmla="*/ 7027 w 10000"/>
                <a:gd name="connsiteY67" fmla="*/ 2163 h 10000"/>
                <a:gd name="connsiteX68" fmla="*/ 7072 w 10000"/>
                <a:gd name="connsiteY68" fmla="*/ 2108 h 10000"/>
                <a:gd name="connsiteX69" fmla="*/ 7109 w 10000"/>
                <a:gd name="connsiteY69" fmla="*/ 2053 h 10000"/>
                <a:gd name="connsiteX70" fmla="*/ 7161 w 10000"/>
                <a:gd name="connsiteY70" fmla="*/ 2003 h 10000"/>
                <a:gd name="connsiteX71" fmla="*/ 7213 w 10000"/>
                <a:gd name="connsiteY71" fmla="*/ 1948 h 10000"/>
                <a:gd name="connsiteX72" fmla="*/ 7257 w 10000"/>
                <a:gd name="connsiteY72" fmla="*/ 1893 h 10000"/>
                <a:gd name="connsiteX73" fmla="*/ 7309 w 10000"/>
                <a:gd name="connsiteY73" fmla="*/ 1842 h 10000"/>
                <a:gd name="connsiteX74" fmla="*/ 7361 w 10000"/>
                <a:gd name="connsiteY74" fmla="*/ 1792 h 10000"/>
                <a:gd name="connsiteX75" fmla="*/ 7413 w 10000"/>
                <a:gd name="connsiteY75" fmla="*/ 1742 h 10000"/>
                <a:gd name="connsiteX76" fmla="*/ 7472 w 10000"/>
                <a:gd name="connsiteY76" fmla="*/ 1691 h 10000"/>
                <a:gd name="connsiteX77" fmla="*/ 7524 w 10000"/>
                <a:gd name="connsiteY77" fmla="*/ 1645 h 10000"/>
                <a:gd name="connsiteX78" fmla="*/ 7583 w 10000"/>
                <a:gd name="connsiteY78" fmla="*/ 1599 h 10000"/>
                <a:gd name="connsiteX79" fmla="*/ 7643 w 10000"/>
                <a:gd name="connsiteY79" fmla="*/ 1549 h 10000"/>
                <a:gd name="connsiteX80" fmla="*/ 5434 w 10000"/>
                <a:gd name="connsiteY80" fmla="*/ 0 h 10000"/>
                <a:gd name="connsiteX81" fmla="*/ 1401 w 10000"/>
                <a:gd name="connsiteY81" fmla="*/ 0 h 10000"/>
                <a:gd name="connsiteX82" fmla="*/ 1305 w 10000"/>
                <a:gd name="connsiteY82" fmla="*/ 128 h 10000"/>
                <a:gd name="connsiteX83" fmla="*/ 1223 w 10000"/>
                <a:gd name="connsiteY83" fmla="*/ 220 h 10000"/>
                <a:gd name="connsiteX84" fmla="*/ 1149 w 10000"/>
                <a:gd name="connsiteY84" fmla="*/ 316 h 10000"/>
                <a:gd name="connsiteX85" fmla="*/ 1067 w 10000"/>
                <a:gd name="connsiteY85" fmla="*/ 412 h 10000"/>
                <a:gd name="connsiteX86" fmla="*/ 1001 w 10000"/>
                <a:gd name="connsiteY86" fmla="*/ 509 h 10000"/>
                <a:gd name="connsiteX87" fmla="*/ 927 w 10000"/>
                <a:gd name="connsiteY87" fmla="*/ 605 h 10000"/>
                <a:gd name="connsiteX88" fmla="*/ 860 w 10000"/>
                <a:gd name="connsiteY88" fmla="*/ 706 h 10000"/>
                <a:gd name="connsiteX89" fmla="*/ 793 w 10000"/>
                <a:gd name="connsiteY89" fmla="*/ 807 h 10000"/>
                <a:gd name="connsiteX90" fmla="*/ 734 w 10000"/>
                <a:gd name="connsiteY90" fmla="*/ 903 h 10000"/>
                <a:gd name="connsiteX91" fmla="*/ 675 w 10000"/>
                <a:gd name="connsiteY91" fmla="*/ 1004 h 10000"/>
                <a:gd name="connsiteX92" fmla="*/ 615 w 10000"/>
                <a:gd name="connsiteY92" fmla="*/ 1104 h 10000"/>
                <a:gd name="connsiteX93" fmla="*/ 556 w 10000"/>
                <a:gd name="connsiteY93" fmla="*/ 1210 h 10000"/>
                <a:gd name="connsiteX94" fmla="*/ 504 w 10000"/>
                <a:gd name="connsiteY94" fmla="*/ 1306 h 10000"/>
                <a:gd name="connsiteX95" fmla="*/ 452 w 10000"/>
                <a:gd name="connsiteY95" fmla="*/ 1412 h 10000"/>
                <a:gd name="connsiteX96" fmla="*/ 408 w 10000"/>
                <a:gd name="connsiteY96" fmla="*/ 1512 h 10000"/>
                <a:gd name="connsiteX97" fmla="*/ 363 w 10000"/>
                <a:gd name="connsiteY97" fmla="*/ 1618 h 10000"/>
                <a:gd name="connsiteX98" fmla="*/ 319 w 10000"/>
                <a:gd name="connsiteY98" fmla="*/ 1723 h 10000"/>
                <a:gd name="connsiteX99" fmla="*/ 282 w 10000"/>
                <a:gd name="connsiteY99" fmla="*/ 1829 h 10000"/>
                <a:gd name="connsiteX100" fmla="*/ 237 w 10000"/>
                <a:gd name="connsiteY100" fmla="*/ 1939 h 10000"/>
                <a:gd name="connsiteX101" fmla="*/ 208 w 10000"/>
                <a:gd name="connsiteY101" fmla="*/ 2044 h 10000"/>
                <a:gd name="connsiteX102" fmla="*/ 170 w 10000"/>
                <a:gd name="connsiteY102" fmla="*/ 2154 h 10000"/>
                <a:gd name="connsiteX103" fmla="*/ 148 w 10000"/>
                <a:gd name="connsiteY103" fmla="*/ 2264 h 10000"/>
                <a:gd name="connsiteX104" fmla="*/ 119 w 10000"/>
                <a:gd name="connsiteY104" fmla="*/ 2369 h 10000"/>
                <a:gd name="connsiteX105" fmla="*/ 96 w 10000"/>
                <a:gd name="connsiteY105" fmla="*/ 2479 h 10000"/>
                <a:gd name="connsiteX106" fmla="*/ 74 w 10000"/>
                <a:gd name="connsiteY106" fmla="*/ 2589 h 10000"/>
                <a:gd name="connsiteX107" fmla="*/ 52 w 10000"/>
                <a:gd name="connsiteY107" fmla="*/ 2704 h 10000"/>
                <a:gd name="connsiteX108" fmla="*/ 37 w 10000"/>
                <a:gd name="connsiteY108" fmla="*/ 2814 h 10000"/>
                <a:gd name="connsiteX109" fmla="*/ 22 w 10000"/>
                <a:gd name="connsiteY109" fmla="*/ 2924 h 10000"/>
                <a:gd name="connsiteX110" fmla="*/ 15 w 10000"/>
                <a:gd name="connsiteY110" fmla="*/ 3034 h 10000"/>
                <a:gd name="connsiteX111" fmla="*/ 7 w 10000"/>
                <a:gd name="connsiteY111" fmla="*/ 3148 h 10000"/>
                <a:gd name="connsiteX112" fmla="*/ 0 w 10000"/>
                <a:gd name="connsiteY112" fmla="*/ 3258 h 10000"/>
                <a:gd name="connsiteX113" fmla="*/ 0 w 10000"/>
                <a:gd name="connsiteY113" fmla="*/ 3373 h 10000"/>
                <a:gd name="connsiteX114" fmla="*/ 7 w 10000"/>
                <a:gd name="connsiteY114" fmla="*/ 3520 h 10000"/>
                <a:gd name="connsiteX115" fmla="*/ 7 w 10000"/>
                <a:gd name="connsiteY115" fmla="*/ 3666 h 10000"/>
                <a:gd name="connsiteX116" fmla="*/ 22 w 10000"/>
                <a:gd name="connsiteY116" fmla="*/ 3804 h 10000"/>
                <a:gd name="connsiteX117" fmla="*/ 37 w 10000"/>
                <a:gd name="connsiteY117" fmla="*/ 3946 h 10000"/>
                <a:gd name="connsiteX118" fmla="*/ 59 w 10000"/>
                <a:gd name="connsiteY118" fmla="*/ 4088 h 10000"/>
                <a:gd name="connsiteX119" fmla="*/ 89 w 10000"/>
                <a:gd name="connsiteY119" fmla="*/ 4230 h 10000"/>
                <a:gd name="connsiteX120" fmla="*/ 119 w 10000"/>
                <a:gd name="connsiteY120" fmla="*/ 4372 h 10000"/>
                <a:gd name="connsiteX121" fmla="*/ 148 w 10000"/>
                <a:gd name="connsiteY121" fmla="*/ 4514 h 10000"/>
                <a:gd name="connsiteX122" fmla="*/ 193 w 10000"/>
                <a:gd name="connsiteY122" fmla="*/ 4652 h 10000"/>
                <a:gd name="connsiteX123" fmla="*/ 237 w 10000"/>
                <a:gd name="connsiteY123" fmla="*/ 4789 h 10000"/>
                <a:gd name="connsiteX124" fmla="*/ 282 w 10000"/>
                <a:gd name="connsiteY124" fmla="*/ 4927 h 10000"/>
                <a:gd name="connsiteX125" fmla="*/ 334 w 10000"/>
                <a:gd name="connsiteY125" fmla="*/ 5064 h 10000"/>
                <a:gd name="connsiteX126" fmla="*/ 393 w 10000"/>
                <a:gd name="connsiteY126" fmla="*/ 5197 h 10000"/>
                <a:gd name="connsiteX127" fmla="*/ 452 w 10000"/>
                <a:gd name="connsiteY127" fmla="*/ 5330 h 10000"/>
                <a:gd name="connsiteX128" fmla="*/ 519 w 10000"/>
                <a:gd name="connsiteY128" fmla="*/ 5463 h 10000"/>
                <a:gd name="connsiteX129" fmla="*/ 586 w 10000"/>
                <a:gd name="connsiteY129" fmla="*/ 5596 h 10000"/>
                <a:gd name="connsiteX130" fmla="*/ 660 w 10000"/>
                <a:gd name="connsiteY130" fmla="*/ 5724 h 10000"/>
                <a:gd name="connsiteX131" fmla="*/ 741 w 10000"/>
                <a:gd name="connsiteY131" fmla="*/ 5852 h 10000"/>
                <a:gd name="connsiteX132" fmla="*/ 823 w 10000"/>
                <a:gd name="connsiteY132" fmla="*/ 5985 h 10000"/>
                <a:gd name="connsiteX133" fmla="*/ 904 w 10000"/>
                <a:gd name="connsiteY133" fmla="*/ 6109 h 10000"/>
                <a:gd name="connsiteX134" fmla="*/ 993 w 10000"/>
                <a:gd name="connsiteY134" fmla="*/ 6233 h 10000"/>
                <a:gd name="connsiteX135" fmla="*/ 1090 w 10000"/>
                <a:gd name="connsiteY135" fmla="*/ 6352 h 10000"/>
                <a:gd name="connsiteX136" fmla="*/ 1186 w 10000"/>
                <a:gd name="connsiteY136" fmla="*/ 6476 h 10000"/>
                <a:gd name="connsiteX137" fmla="*/ 1290 w 10000"/>
                <a:gd name="connsiteY137" fmla="*/ 6599 h 10000"/>
                <a:gd name="connsiteX138" fmla="*/ 1386 w 10000"/>
                <a:gd name="connsiteY138" fmla="*/ 6719 h 10000"/>
                <a:gd name="connsiteX139" fmla="*/ 1497 w 10000"/>
                <a:gd name="connsiteY139" fmla="*/ 6838 h 10000"/>
                <a:gd name="connsiteX140" fmla="*/ 1609 w 10000"/>
                <a:gd name="connsiteY140" fmla="*/ 6952 h 10000"/>
                <a:gd name="connsiteX141" fmla="*/ 1727 w 10000"/>
                <a:gd name="connsiteY141" fmla="*/ 7071 h 10000"/>
                <a:gd name="connsiteX142" fmla="*/ 1846 w 10000"/>
                <a:gd name="connsiteY142" fmla="*/ 7186 h 10000"/>
                <a:gd name="connsiteX143" fmla="*/ 1964 w 10000"/>
                <a:gd name="connsiteY143" fmla="*/ 7296 h 10000"/>
                <a:gd name="connsiteX144" fmla="*/ 2090 w 10000"/>
                <a:gd name="connsiteY144" fmla="*/ 7406 h 10000"/>
                <a:gd name="connsiteX145" fmla="*/ 2224 w 10000"/>
                <a:gd name="connsiteY145" fmla="*/ 7516 h 10000"/>
                <a:gd name="connsiteX146" fmla="*/ 2350 w 10000"/>
                <a:gd name="connsiteY146" fmla="*/ 7626 h 10000"/>
                <a:gd name="connsiteX147" fmla="*/ 2491 w 10000"/>
                <a:gd name="connsiteY147" fmla="*/ 7731 h 10000"/>
                <a:gd name="connsiteX148" fmla="*/ 2617 w 10000"/>
                <a:gd name="connsiteY148" fmla="*/ 7837 h 10000"/>
                <a:gd name="connsiteX149" fmla="*/ 2765 w 10000"/>
                <a:gd name="connsiteY149" fmla="*/ 7938 h 10000"/>
                <a:gd name="connsiteX150" fmla="*/ 2906 w 10000"/>
                <a:gd name="connsiteY150" fmla="*/ 8038 h 10000"/>
                <a:gd name="connsiteX151" fmla="*/ 3054 w 10000"/>
                <a:gd name="connsiteY151" fmla="*/ 8139 h 10000"/>
                <a:gd name="connsiteX152" fmla="*/ 3210 w 10000"/>
                <a:gd name="connsiteY152" fmla="*/ 8236 h 10000"/>
                <a:gd name="connsiteX153" fmla="*/ 3358 w 10000"/>
                <a:gd name="connsiteY153" fmla="*/ 8332 h 10000"/>
                <a:gd name="connsiteX154" fmla="*/ 3514 w 10000"/>
                <a:gd name="connsiteY154" fmla="*/ 8428 h 10000"/>
                <a:gd name="connsiteX155" fmla="*/ 3677 w 10000"/>
                <a:gd name="connsiteY155" fmla="*/ 8520 h 10000"/>
                <a:gd name="connsiteX156" fmla="*/ 3840 w 10000"/>
                <a:gd name="connsiteY156" fmla="*/ 8607 h 10000"/>
                <a:gd name="connsiteX157" fmla="*/ 4010 w 10000"/>
                <a:gd name="connsiteY157" fmla="*/ 8698 h 10000"/>
                <a:gd name="connsiteX158" fmla="*/ 4181 w 10000"/>
                <a:gd name="connsiteY158" fmla="*/ 8776 h 10000"/>
                <a:gd name="connsiteX159" fmla="*/ 4351 w 10000"/>
                <a:gd name="connsiteY159" fmla="*/ 8863 h 10000"/>
                <a:gd name="connsiteX160" fmla="*/ 4522 w 10000"/>
                <a:gd name="connsiteY160" fmla="*/ 8941 h 10000"/>
                <a:gd name="connsiteX161" fmla="*/ 4700 w 10000"/>
                <a:gd name="connsiteY161" fmla="*/ 9024 h 10000"/>
                <a:gd name="connsiteX162" fmla="*/ 4878 w 10000"/>
                <a:gd name="connsiteY162" fmla="*/ 9102 h 10000"/>
                <a:gd name="connsiteX163" fmla="*/ 5063 w 10000"/>
                <a:gd name="connsiteY163" fmla="*/ 9175 h 10000"/>
                <a:gd name="connsiteX164" fmla="*/ 5248 w 10000"/>
                <a:gd name="connsiteY164" fmla="*/ 9253 h 10000"/>
                <a:gd name="connsiteX165" fmla="*/ 5426 w 10000"/>
                <a:gd name="connsiteY165" fmla="*/ 9322 h 10000"/>
                <a:gd name="connsiteX166" fmla="*/ 5619 w 10000"/>
                <a:gd name="connsiteY166" fmla="*/ 9390 h 10000"/>
                <a:gd name="connsiteX167" fmla="*/ 5812 w 10000"/>
                <a:gd name="connsiteY167" fmla="*/ 9459 h 10000"/>
                <a:gd name="connsiteX168" fmla="*/ 6004 w 10000"/>
                <a:gd name="connsiteY168" fmla="*/ 9523 h 10000"/>
                <a:gd name="connsiteX169" fmla="*/ 6205 w 10000"/>
                <a:gd name="connsiteY169" fmla="*/ 9588 h 10000"/>
                <a:gd name="connsiteX170" fmla="*/ 6397 w 10000"/>
                <a:gd name="connsiteY170" fmla="*/ 9647 h 10000"/>
                <a:gd name="connsiteX171" fmla="*/ 6605 w 10000"/>
                <a:gd name="connsiteY171" fmla="*/ 9702 h 10000"/>
                <a:gd name="connsiteX172" fmla="*/ 6805 w 10000"/>
                <a:gd name="connsiteY172" fmla="*/ 9757 h 10000"/>
                <a:gd name="connsiteX173" fmla="*/ 7005 w 10000"/>
                <a:gd name="connsiteY173" fmla="*/ 9812 h 10000"/>
                <a:gd name="connsiteX174" fmla="*/ 7213 w 10000"/>
                <a:gd name="connsiteY174" fmla="*/ 9863 h 10000"/>
                <a:gd name="connsiteX175" fmla="*/ 7420 w 10000"/>
                <a:gd name="connsiteY175" fmla="*/ 9908 h 10000"/>
                <a:gd name="connsiteX176" fmla="*/ 7628 w 10000"/>
                <a:gd name="connsiteY176" fmla="*/ 9954 h 10000"/>
                <a:gd name="connsiteX177" fmla="*/ 7835 w 10000"/>
                <a:gd name="connsiteY177" fmla="*/ 10000 h 10000"/>
                <a:gd name="connsiteX178" fmla="*/ 7539 w 10000"/>
                <a:gd name="connsiteY178" fmla="*/ 7754 h 10000"/>
                <a:gd name="connsiteX179" fmla="*/ 10000 w 10000"/>
                <a:gd name="connsiteY179" fmla="*/ 6141 h 10000"/>
                <a:gd name="connsiteX0" fmla="*/ 10000 w 10000"/>
                <a:gd name="connsiteY0" fmla="*/ 6162 h 10021"/>
                <a:gd name="connsiteX1" fmla="*/ 10000 w 10000"/>
                <a:gd name="connsiteY1" fmla="*/ 6162 h 10021"/>
                <a:gd name="connsiteX2" fmla="*/ 9911 w 10000"/>
                <a:gd name="connsiteY2" fmla="*/ 6148 h 10021"/>
                <a:gd name="connsiteX3" fmla="*/ 9815 w 10000"/>
                <a:gd name="connsiteY3" fmla="*/ 6130 h 10021"/>
                <a:gd name="connsiteX4" fmla="*/ 9726 w 10000"/>
                <a:gd name="connsiteY4" fmla="*/ 6112 h 10021"/>
                <a:gd name="connsiteX5" fmla="*/ 9637 w 10000"/>
                <a:gd name="connsiteY5" fmla="*/ 6089 h 10021"/>
                <a:gd name="connsiteX6" fmla="*/ 9548 w 10000"/>
                <a:gd name="connsiteY6" fmla="*/ 6070 h 10021"/>
                <a:gd name="connsiteX7" fmla="*/ 9466 w 10000"/>
                <a:gd name="connsiteY7" fmla="*/ 6048 h 10021"/>
                <a:gd name="connsiteX8" fmla="*/ 9377 w 10000"/>
                <a:gd name="connsiteY8" fmla="*/ 6025 h 10021"/>
                <a:gd name="connsiteX9" fmla="*/ 9288 w 10000"/>
                <a:gd name="connsiteY9" fmla="*/ 6002 h 10021"/>
                <a:gd name="connsiteX10" fmla="*/ 9118 w 10000"/>
                <a:gd name="connsiteY10" fmla="*/ 5951 h 10021"/>
                <a:gd name="connsiteX11" fmla="*/ 8955 w 10000"/>
                <a:gd name="connsiteY11" fmla="*/ 5896 h 10021"/>
                <a:gd name="connsiteX12" fmla="*/ 8792 w 10000"/>
                <a:gd name="connsiteY12" fmla="*/ 5837 h 10021"/>
                <a:gd name="connsiteX13" fmla="*/ 8636 w 10000"/>
                <a:gd name="connsiteY13" fmla="*/ 5773 h 10021"/>
                <a:gd name="connsiteX14" fmla="*/ 8480 w 10000"/>
                <a:gd name="connsiteY14" fmla="*/ 5708 h 10021"/>
                <a:gd name="connsiteX15" fmla="*/ 8340 w 10000"/>
                <a:gd name="connsiteY15" fmla="*/ 5640 h 10021"/>
                <a:gd name="connsiteX16" fmla="*/ 8199 w 10000"/>
                <a:gd name="connsiteY16" fmla="*/ 5566 h 10021"/>
                <a:gd name="connsiteX17" fmla="*/ 8058 w 10000"/>
                <a:gd name="connsiteY17" fmla="*/ 5488 h 10021"/>
                <a:gd name="connsiteX18" fmla="*/ 7924 w 10000"/>
                <a:gd name="connsiteY18" fmla="*/ 5406 h 10021"/>
                <a:gd name="connsiteX19" fmla="*/ 7798 w 10000"/>
                <a:gd name="connsiteY19" fmla="*/ 5323 h 10021"/>
                <a:gd name="connsiteX20" fmla="*/ 7672 w 10000"/>
                <a:gd name="connsiteY20" fmla="*/ 5236 h 10021"/>
                <a:gd name="connsiteX21" fmla="*/ 7554 w 10000"/>
                <a:gd name="connsiteY21" fmla="*/ 5149 h 10021"/>
                <a:gd name="connsiteX22" fmla="*/ 7450 w 10000"/>
                <a:gd name="connsiteY22" fmla="*/ 5053 h 10021"/>
                <a:gd name="connsiteX23" fmla="*/ 7346 w 10000"/>
                <a:gd name="connsiteY23" fmla="*/ 4957 h 10021"/>
                <a:gd name="connsiteX24" fmla="*/ 7250 w 10000"/>
                <a:gd name="connsiteY24" fmla="*/ 4861 h 10021"/>
                <a:gd name="connsiteX25" fmla="*/ 7161 w 10000"/>
                <a:gd name="connsiteY25" fmla="*/ 4760 h 10021"/>
                <a:gd name="connsiteX26" fmla="*/ 7072 w 10000"/>
                <a:gd name="connsiteY26" fmla="*/ 4659 h 10021"/>
                <a:gd name="connsiteX27" fmla="*/ 6990 w 10000"/>
                <a:gd name="connsiteY27" fmla="*/ 4549 h 10021"/>
                <a:gd name="connsiteX28" fmla="*/ 6953 w 10000"/>
                <a:gd name="connsiteY28" fmla="*/ 4499 h 10021"/>
                <a:gd name="connsiteX29" fmla="*/ 6916 w 10000"/>
                <a:gd name="connsiteY29" fmla="*/ 4444 h 10021"/>
                <a:gd name="connsiteX30" fmla="*/ 6887 w 10000"/>
                <a:gd name="connsiteY30" fmla="*/ 4389 h 10021"/>
                <a:gd name="connsiteX31" fmla="*/ 6850 w 10000"/>
                <a:gd name="connsiteY31" fmla="*/ 4334 h 10021"/>
                <a:gd name="connsiteX32" fmla="*/ 6820 w 10000"/>
                <a:gd name="connsiteY32" fmla="*/ 4279 h 10021"/>
                <a:gd name="connsiteX33" fmla="*/ 6790 w 10000"/>
                <a:gd name="connsiteY33" fmla="*/ 4224 h 10021"/>
                <a:gd name="connsiteX34" fmla="*/ 6768 w 10000"/>
                <a:gd name="connsiteY34" fmla="*/ 4164 h 10021"/>
                <a:gd name="connsiteX35" fmla="*/ 6738 w 10000"/>
                <a:gd name="connsiteY35" fmla="*/ 4109 h 10021"/>
                <a:gd name="connsiteX36" fmla="*/ 6723 w 10000"/>
                <a:gd name="connsiteY36" fmla="*/ 4049 h 10021"/>
                <a:gd name="connsiteX37" fmla="*/ 6694 w 10000"/>
                <a:gd name="connsiteY37" fmla="*/ 3994 h 10021"/>
                <a:gd name="connsiteX38" fmla="*/ 6679 w 10000"/>
                <a:gd name="connsiteY38" fmla="*/ 3935 h 10021"/>
                <a:gd name="connsiteX39" fmla="*/ 6664 w 10000"/>
                <a:gd name="connsiteY39" fmla="*/ 3875 h 10021"/>
                <a:gd name="connsiteX40" fmla="*/ 6649 w 10000"/>
                <a:gd name="connsiteY40" fmla="*/ 3816 h 10021"/>
                <a:gd name="connsiteX41" fmla="*/ 6635 w 10000"/>
                <a:gd name="connsiteY41" fmla="*/ 3761 h 10021"/>
                <a:gd name="connsiteX42" fmla="*/ 6620 w 10000"/>
                <a:gd name="connsiteY42" fmla="*/ 3701 h 10021"/>
                <a:gd name="connsiteX43" fmla="*/ 6612 w 10000"/>
                <a:gd name="connsiteY43" fmla="*/ 3642 h 10021"/>
                <a:gd name="connsiteX44" fmla="*/ 6605 w 10000"/>
                <a:gd name="connsiteY44" fmla="*/ 3582 h 10021"/>
                <a:gd name="connsiteX45" fmla="*/ 6597 w 10000"/>
                <a:gd name="connsiteY45" fmla="*/ 3518 h 10021"/>
                <a:gd name="connsiteX46" fmla="*/ 6597 w 10000"/>
                <a:gd name="connsiteY46" fmla="*/ 3458 h 10021"/>
                <a:gd name="connsiteX47" fmla="*/ 6590 w 10000"/>
                <a:gd name="connsiteY47" fmla="*/ 3394 h 10021"/>
                <a:gd name="connsiteX48" fmla="*/ 6597 w 10000"/>
                <a:gd name="connsiteY48" fmla="*/ 3334 h 10021"/>
                <a:gd name="connsiteX49" fmla="*/ 6605 w 10000"/>
                <a:gd name="connsiteY49" fmla="*/ 3266 h 10021"/>
                <a:gd name="connsiteX50" fmla="*/ 6605 w 10000"/>
                <a:gd name="connsiteY50" fmla="*/ 3202 h 10021"/>
                <a:gd name="connsiteX51" fmla="*/ 6612 w 10000"/>
                <a:gd name="connsiteY51" fmla="*/ 3137 h 10021"/>
                <a:gd name="connsiteX52" fmla="*/ 6620 w 10000"/>
                <a:gd name="connsiteY52" fmla="*/ 3073 h 10021"/>
                <a:gd name="connsiteX53" fmla="*/ 6635 w 10000"/>
                <a:gd name="connsiteY53" fmla="*/ 3014 h 10021"/>
                <a:gd name="connsiteX54" fmla="*/ 6649 w 10000"/>
                <a:gd name="connsiteY54" fmla="*/ 2950 h 10021"/>
                <a:gd name="connsiteX55" fmla="*/ 6664 w 10000"/>
                <a:gd name="connsiteY55" fmla="*/ 2890 h 10021"/>
                <a:gd name="connsiteX56" fmla="*/ 6686 w 10000"/>
                <a:gd name="connsiteY56" fmla="*/ 2826 h 10021"/>
                <a:gd name="connsiteX57" fmla="*/ 6709 w 10000"/>
                <a:gd name="connsiteY57" fmla="*/ 2766 h 10021"/>
                <a:gd name="connsiteX58" fmla="*/ 6731 w 10000"/>
                <a:gd name="connsiteY58" fmla="*/ 2707 h 10021"/>
                <a:gd name="connsiteX59" fmla="*/ 6753 w 10000"/>
                <a:gd name="connsiteY59" fmla="*/ 2642 h 10021"/>
                <a:gd name="connsiteX60" fmla="*/ 6783 w 10000"/>
                <a:gd name="connsiteY60" fmla="*/ 2587 h 10021"/>
                <a:gd name="connsiteX61" fmla="*/ 6812 w 10000"/>
                <a:gd name="connsiteY61" fmla="*/ 2528 h 10021"/>
                <a:gd name="connsiteX62" fmla="*/ 6842 w 10000"/>
                <a:gd name="connsiteY62" fmla="*/ 2468 h 10021"/>
                <a:gd name="connsiteX63" fmla="*/ 6879 w 10000"/>
                <a:gd name="connsiteY63" fmla="*/ 2409 h 10021"/>
                <a:gd name="connsiteX64" fmla="*/ 6909 w 10000"/>
                <a:gd name="connsiteY64" fmla="*/ 2354 h 10021"/>
                <a:gd name="connsiteX65" fmla="*/ 6946 w 10000"/>
                <a:gd name="connsiteY65" fmla="*/ 2294 h 10021"/>
                <a:gd name="connsiteX66" fmla="*/ 6990 w 10000"/>
                <a:gd name="connsiteY66" fmla="*/ 2239 h 10021"/>
                <a:gd name="connsiteX67" fmla="*/ 7027 w 10000"/>
                <a:gd name="connsiteY67" fmla="*/ 2184 h 10021"/>
                <a:gd name="connsiteX68" fmla="*/ 7072 w 10000"/>
                <a:gd name="connsiteY68" fmla="*/ 2129 h 10021"/>
                <a:gd name="connsiteX69" fmla="*/ 7109 w 10000"/>
                <a:gd name="connsiteY69" fmla="*/ 2074 h 10021"/>
                <a:gd name="connsiteX70" fmla="*/ 7161 w 10000"/>
                <a:gd name="connsiteY70" fmla="*/ 2024 h 10021"/>
                <a:gd name="connsiteX71" fmla="*/ 7213 w 10000"/>
                <a:gd name="connsiteY71" fmla="*/ 1969 h 10021"/>
                <a:gd name="connsiteX72" fmla="*/ 7257 w 10000"/>
                <a:gd name="connsiteY72" fmla="*/ 1914 h 10021"/>
                <a:gd name="connsiteX73" fmla="*/ 7309 w 10000"/>
                <a:gd name="connsiteY73" fmla="*/ 1863 h 10021"/>
                <a:gd name="connsiteX74" fmla="*/ 7361 w 10000"/>
                <a:gd name="connsiteY74" fmla="*/ 1813 h 10021"/>
                <a:gd name="connsiteX75" fmla="*/ 7413 w 10000"/>
                <a:gd name="connsiteY75" fmla="*/ 1763 h 10021"/>
                <a:gd name="connsiteX76" fmla="*/ 7472 w 10000"/>
                <a:gd name="connsiteY76" fmla="*/ 1712 h 10021"/>
                <a:gd name="connsiteX77" fmla="*/ 7524 w 10000"/>
                <a:gd name="connsiteY77" fmla="*/ 1666 h 10021"/>
                <a:gd name="connsiteX78" fmla="*/ 7583 w 10000"/>
                <a:gd name="connsiteY78" fmla="*/ 1620 h 10021"/>
                <a:gd name="connsiteX79" fmla="*/ 7643 w 10000"/>
                <a:gd name="connsiteY79" fmla="*/ 1570 h 10021"/>
                <a:gd name="connsiteX80" fmla="*/ 5434 w 10000"/>
                <a:gd name="connsiteY80" fmla="*/ 21 h 10021"/>
                <a:gd name="connsiteX81" fmla="*/ 1401 w 10000"/>
                <a:gd name="connsiteY81" fmla="*/ 0 h 10021"/>
                <a:gd name="connsiteX82" fmla="*/ 1305 w 10000"/>
                <a:gd name="connsiteY82" fmla="*/ 149 h 10021"/>
                <a:gd name="connsiteX83" fmla="*/ 1223 w 10000"/>
                <a:gd name="connsiteY83" fmla="*/ 241 h 10021"/>
                <a:gd name="connsiteX84" fmla="*/ 1149 w 10000"/>
                <a:gd name="connsiteY84" fmla="*/ 337 h 10021"/>
                <a:gd name="connsiteX85" fmla="*/ 1067 w 10000"/>
                <a:gd name="connsiteY85" fmla="*/ 433 h 10021"/>
                <a:gd name="connsiteX86" fmla="*/ 1001 w 10000"/>
                <a:gd name="connsiteY86" fmla="*/ 530 h 10021"/>
                <a:gd name="connsiteX87" fmla="*/ 927 w 10000"/>
                <a:gd name="connsiteY87" fmla="*/ 626 h 10021"/>
                <a:gd name="connsiteX88" fmla="*/ 860 w 10000"/>
                <a:gd name="connsiteY88" fmla="*/ 727 h 10021"/>
                <a:gd name="connsiteX89" fmla="*/ 793 w 10000"/>
                <a:gd name="connsiteY89" fmla="*/ 828 h 10021"/>
                <a:gd name="connsiteX90" fmla="*/ 734 w 10000"/>
                <a:gd name="connsiteY90" fmla="*/ 924 h 10021"/>
                <a:gd name="connsiteX91" fmla="*/ 675 w 10000"/>
                <a:gd name="connsiteY91" fmla="*/ 1025 h 10021"/>
                <a:gd name="connsiteX92" fmla="*/ 615 w 10000"/>
                <a:gd name="connsiteY92" fmla="*/ 1125 h 10021"/>
                <a:gd name="connsiteX93" fmla="*/ 556 w 10000"/>
                <a:gd name="connsiteY93" fmla="*/ 1231 h 10021"/>
                <a:gd name="connsiteX94" fmla="*/ 504 w 10000"/>
                <a:gd name="connsiteY94" fmla="*/ 1327 h 10021"/>
                <a:gd name="connsiteX95" fmla="*/ 452 w 10000"/>
                <a:gd name="connsiteY95" fmla="*/ 1433 h 10021"/>
                <a:gd name="connsiteX96" fmla="*/ 408 w 10000"/>
                <a:gd name="connsiteY96" fmla="*/ 1533 h 10021"/>
                <a:gd name="connsiteX97" fmla="*/ 363 w 10000"/>
                <a:gd name="connsiteY97" fmla="*/ 1639 h 10021"/>
                <a:gd name="connsiteX98" fmla="*/ 319 w 10000"/>
                <a:gd name="connsiteY98" fmla="*/ 1744 h 10021"/>
                <a:gd name="connsiteX99" fmla="*/ 282 w 10000"/>
                <a:gd name="connsiteY99" fmla="*/ 1850 h 10021"/>
                <a:gd name="connsiteX100" fmla="*/ 237 w 10000"/>
                <a:gd name="connsiteY100" fmla="*/ 1960 h 10021"/>
                <a:gd name="connsiteX101" fmla="*/ 208 w 10000"/>
                <a:gd name="connsiteY101" fmla="*/ 2065 h 10021"/>
                <a:gd name="connsiteX102" fmla="*/ 170 w 10000"/>
                <a:gd name="connsiteY102" fmla="*/ 2175 h 10021"/>
                <a:gd name="connsiteX103" fmla="*/ 148 w 10000"/>
                <a:gd name="connsiteY103" fmla="*/ 2285 h 10021"/>
                <a:gd name="connsiteX104" fmla="*/ 119 w 10000"/>
                <a:gd name="connsiteY104" fmla="*/ 2390 h 10021"/>
                <a:gd name="connsiteX105" fmla="*/ 96 w 10000"/>
                <a:gd name="connsiteY105" fmla="*/ 2500 h 10021"/>
                <a:gd name="connsiteX106" fmla="*/ 74 w 10000"/>
                <a:gd name="connsiteY106" fmla="*/ 2610 h 10021"/>
                <a:gd name="connsiteX107" fmla="*/ 52 w 10000"/>
                <a:gd name="connsiteY107" fmla="*/ 2725 h 10021"/>
                <a:gd name="connsiteX108" fmla="*/ 37 w 10000"/>
                <a:gd name="connsiteY108" fmla="*/ 2835 h 10021"/>
                <a:gd name="connsiteX109" fmla="*/ 22 w 10000"/>
                <a:gd name="connsiteY109" fmla="*/ 2945 h 10021"/>
                <a:gd name="connsiteX110" fmla="*/ 15 w 10000"/>
                <a:gd name="connsiteY110" fmla="*/ 3055 h 10021"/>
                <a:gd name="connsiteX111" fmla="*/ 7 w 10000"/>
                <a:gd name="connsiteY111" fmla="*/ 3169 h 10021"/>
                <a:gd name="connsiteX112" fmla="*/ 0 w 10000"/>
                <a:gd name="connsiteY112" fmla="*/ 3279 h 10021"/>
                <a:gd name="connsiteX113" fmla="*/ 0 w 10000"/>
                <a:gd name="connsiteY113" fmla="*/ 3394 h 10021"/>
                <a:gd name="connsiteX114" fmla="*/ 7 w 10000"/>
                <a:gd name="connsiteY114" fmla="*/ 3541 h 10021"/>
                <a:gd name="connsiteX115" fmla="*/ 7 w 10000"/>
                <a:gd name="connsiteY115" fmla="*/ 3687 h 10021"/>
                <a:gd name="connsiteX116" fmla="*/ 22 w 10000"/>
                <a:gd name="connsiteY116" fmla="*/ 3825 h 10021"/>
                <a:gd name="connsiteX117" fmla="*/ 37 w 10000"/>
                <a:gd name="connsiteY117" fmla="*/ 3967 h 10021"/>
                <a:gd name="connsiteX118" fmla="*/ 59 w 10000"/>
                <a:gd name="connsiteY118" fmla="*/ 4109 h 10021"/>
                <a:gd name="connsiteX119" fmla="*/ 89 w 10000"/>
                <a:gd name="connsiteY119" fmla="*/ 4251 h 10021"/>
                <a:gd name="connsiteX120" fmla="*/ 119 w 10000"/>
                <a:gd name="connsiteY120" fmla="*/ 4393 h 10021"/>
                <a:gd name="connsiteX121" fmla="*/ 148 w 10000"/>
                <a:gd name="connsiteY121" fmla="*/ 4535 h 10021"/>
                <a:gd name="connsiteX122" fmla="*/ 193 w 10000"/>
                <a:gd name="connsiteY122" fmla="*/ 4673 h 10021"/>
                <a:gd name="connsiteX123" fmla="*/ 237 w 10000"/>
                <a:gd name="connsiteY123" fmla="*/ 4810 h 10021"/>
                <a:gd name="connsiteX124" fmla="*/ 282 w 10000"/>
                <a:gd name="connsiteY124" fmla="*/ 4948 h 10021"/>
                <a:gd name="connsiteX125" fmla="*/ 334 w 10000"/>
                <a:gd name="connsiteY125" fmla="*/ 5085 h 10021"/>
                <a:gd name="connsiteX126" fmla="*/ 393 w 10000"/>
                <a:gd name="connsiteY126" fmla="*/ 5218 h 10021"/>
                <a:gd name="connsiteX127" fmla="*/ 452 w 10000"/>
                <a:gd name="connsiteY127" fmla="*/ 5351 h 10021"/>
                <a:gd name="connsiteX128" fmla="*/ 519 w 10000"/>
                <a:gd name="connsiteY128" fmla="*/ 5484 h 10021"/>
                <a:gd name="connsiteX129" fmla="*/ 586 w 10000"/>
                <a:gd name="connsiteY129" fmla="*/ 5617 h 10021"/>
                <a:gd name="connsiteX130" fmla="*/ 660 w 10000"/>
                <a:gd name="connsiteY130" fmla="*/ 5745 h 10021"/>
                <a:gd name="connsiteX131" fmla="*/ 741 w 10000"/>
                <a:gd name="connsiteY131" fmla="*/ 5873 h 10021"/>
                <a:gd name="connsiteX132" fmla="*/ 823 w 10000"/>
                <a:gd name="connsiteY132" fmla="*/ 6006 h 10021"/>
                <a:gd name="connsiteX133" fmla="*/ 904 w 10000"/>
                <a:gd name="connsiteY133" fmla="*/ 6130 h 10021"/>
                <a:gd name="connsiteX134" fmla="*/ 993 w 10000"/>
                <a:gd name="connsiteY134" fmla="*/ 6254 h 10021"/>
                <a:gd name="connsiteX135" fmla="*/ 1090 w 10000"/>
                <a:gd name="connsiteY135" fmla="*/ 6373 h 10021"/>
                <a:gd name="connsiteX136" fmla="*/ 1186 w 10000"/>
                <a:gd name="connsiteY136" fmla="*/ 6497 h 10021"/>
                <a:gd name="connsiteX137" fmla="*/ 1290 w 10000"/>
                <a:gd name="connsiteY137" fmla="*/ 6620 h 10021"/>
                <a:gd name="connsiteX138" fmla="*/ 1386 w 10000"/>
                <a:gd name="connsiteY138" fmla="*/ 6740 h 10021"/>
                <a:gd name="connsiteX139" fmla="*/ 1497 w 10000"/>
                <a:gd name="connsiteY139" fmla="*/ 6859 h 10021"/>
                <a:gd name="connsiteX140" fmla="*/ 1609 w 10000"/>
                <a:gd name="connsiteY140" fmla="*/ 6973 h 10021"/>
                <a:gd name="connsiteX141" fmla="*/ 1727 w 10000"/>
                <a:gd name="connsiteY141" fmla="*/ 7092 h 10021"/>
                <a:gd name="connsiteX142" fmla="*/ 1846 w 10000"/>
                <a:gd name="connsiteY142" fmla="*/ 7207 h 10021"/>
                <a:gd name="connsiteX143" fmla="*/ 1964 w 10000"/>
                <a:gd name="connsiteY143" fmla="*/ 7317 h 10021"/>
                <a:gd name="connsiteX144" fmla="*/ 2090 w 10000"/>
                <a:gd name="connsiteY144" fmla="*/ 7427 h 10021"/>
                <a:gd name="connsiteX145" fmla="*/ 2224 w 10000"/>
                <a:gd name="connsiteY145" fmla="*/ 7537 h 10021"/>
                <a:gd name="connsiteX146" fmla="*/ 2350 w 10000"/>
                <a:gd name="connsiteY146" fmla="*/ 7647 h 10021"/>
                <a:gd name="connsiteX147" fmla="*/ 2491 w 10000"/>
                <a:gd name="connsiteY147" fmla="*/ 7752 h 10021"/>
                <a:gd name="connsiteX148" fmla="*/ 2617 w 10000"/>
                <a:gd name="connsiteY148" fmla="*/ 7858 h 10021"/>
                <a:gd name="connsiteX149" fmla="*/ 2765 w 10000"/>
                <a:gd name="connsiteY149" fmla="*/ 7959 h 10021"/>
                <a:gd name="connsiteX150" fmla="*/ 2906 w 10000"/>
                <a:gd name="connsiteY150" fmla="*/ 8059 h 10021"/>
                <a:gd name="connsiteX151" fmla="*/ 3054 w 10000"/>
                <a:gd name="connsiteY151" fmla="*/ 8160 h 10021"/>
                <a:gd name="connsiteX152" fmla="*/ 3210 w 10000"/>
                <a:gd name="connsiteY152" fmla="*/ 8257 h 10021"/>
                <a:gd name="connsiteX153" fmla="*/ 3358 w 10000"/>
                <a:gd name="connsiteY153" fmla="*/ 8353 h 10021"/>
                <a:gd name="connsiteX154" fmla="*/ 3514 w 10000"/>
                <a:gd name="connsiteY154" fmla="*/ 8449 h 10021"/>
                <a:gd name="connsiteX155" fmla="*/ 3677 w 10000"/>
                <a:gd name="connsiteY155" fmla="*/ 8541 h 10021"/>
                <a:gd name="connsiteX156" fmla="*/ 3840 w 10000"/>
                <a:gd name="connsiteY156" fmla="*/ 8628 h 10021"/>
                <a:gd name="connsiteX157" fmla="*/ 4010 w 10000"/>
                <a:gd name="connsiteY157" fmla="*/ 8719 h 10021"/>
                <a:gd name="connsiteX158" fmla="*/ 4181 w 10000"/>
                <a:gd name="connsiteY158" fmla="*/ 8797 h 10021"/>
                <a:gd name="connsiteX159" fmla="*/ 4351 w 10000"/>
                <a:gd name="connsiteY159" fmla="*/ 8884 h 10021"/>
                <a:gd name="connsiteX160" fmla="*/ 4522 w 10000"/>
                <a:gd name="connsiteY160" fmla="*/ 8962 h 10021"/>
                <a:gd name="connsiteX161" fmla="*/ 4700 w 10000"/>
                <a:gd name="connsiteY161" fmla="*/ 9045 h 10021"/>
                <a:gd name="connsiteX162" fmla="*/ 4878 w 10000"/>
                <a:gd name="connsiteY162" fmla="*/ 9123 h 10021"/>
                <a:gd name="connsiteX163" fmla="*/ 5063 w 10000"/>
                <a:gd name="connsiteY163" fmla="*/ 9196 h 10021"/>
                <a:gd name="connsiteX164" fmla="*/ 5248 w 10000"/>
                <a:gd name="connsiteY164" fmla="*/ 9274 h 10021"/>
                <a:gd name="connsiteX165" fmla="*/ 5426 w 10000"/>
                <a:gd name="connsiteY165" fmla="*/ 9343 h 10021"/>
                <a:gd name="connsiteX166" fmla="*/ 5619 w 10000"/>
                <a:gd name="connsiteY166" fmla="*/ 9411 h 10021"/>
                <a:gd name="connsiteX167" fmla="*/ 5812 w 10000"/>
                <a:gd name="connsiteY167" fmla="*/ 9480 h 10021"/>
                <a:gd name="connsiteX168" fmla="*/ 6004 w 10000"/>
                <a:gd name="connsiteY168" fmla="*/ 9544 h 10021"/>
                <a:gd name="connsiteX169" fmla="*/ 6205 w 10000"/>
                <a:gd name="connsiteY169" fmla="*/ 9609 h 10021"/>
                <a:gd name="connsiteX170" fmla="*/ 6397 w 10000"/>
                <a:gd name="connsiteY170" fmla="*/ 9668 h 10021"/>
                <a:gd name="connsiteX171" fmla="*/ 6605 w 10000"/>
                <a:gd name="connsiteY171" fmla="*/ 9723 h 10021"/>
                <a:gd name="connsiteX172" fmla="*/ 6805 w 10000"/>
                <a:gd name="connsiteY172" fmla="*/ 9778 h 10021"/>
                <a:gd name="connsiteX173" fmla="*/ 7005 w 10000"/>
                <a:gd name="connsiteY173" fmla="*/ 9833 h 10021"/>
                <a:gd name="connsiteX174" fmla="*/ 7213 w 10000"/>
                <a:gd name="connsiteY174" fmla="*/ 9884 h 10021"/>
                <a:gd name="connsiteX175" fmla="*/ 7420 w 10000"/>
                <a:gd name="connsiteY175" fmla="*/ 9929 h 10021"/>
                <a:gd name="connsiteX176" fmla="*/ 7628 w 10000"/>
                <a:gd name="connsiteY176" fmla="*/ 9975 h 10021"/>
                <a:gd name="connsiteX177" fmla="*/ 7835 w 10000"/>
                <a:gd name="connsiteY177" fmla="*/ 10021 h 10021"/>
                <a:gd name="connsiteX178" fmla="*/ 7539 w 10000"/>
                <a:gd name="connsiteY178" fmla="*/ 7775 h 10021"/>
                <a:gd name="connsiteX179" fmla="*/ 10000 w 10000"/>
                <a:gd name="connsiteY179" fmla="*/ 6162 h 10021"/>
                <a:gd name="connsiteX0" fmla="*/ 10000 w 10000"/>
                <a:gd name="connsiteY0" fmla="*/ 6162 h 10021"/>
                <a:gd name="connsiteX1" fmla="*/ 10000 w 10000"/>
                <a:gd name="connsiteY1" fmla="*/ 6162 h 10021"/>
                <a:gd name="connsiteX2" fmla="*/ 9911 w 10000"/>
                <a:gd name="connsiteY2" fmla="*/ 6148 h 10021"/>
                <a:gd name="connsiteX3" fmla="*/ 9815 w 10000"/>
                <a:gd name="connsiteY3" fmla="*/ 6130 h 10021"/>
                <a:gd name="connsiteX4" fmla="*/ 9726 w 10000"/>
                <a:gd name="connsiteY4" fmla="*/ 6112 h 10021"/>
                <a:gd name="connsiteX5" fmla="*/ 9637 w 10000"/>
                <a:gd name="connsiteY5" fmla="*/ 6089 h 10021"/>
                <a:gd name="connsiteX6" fmla="*/ 9548 w 10000"/>
                <a:gd name="connsiteY6" fmla="*/ 6070 h 10021"/>
                <a:gd name="connsiteX7" fmla="*/ 9466 w 10000"/>
                <a:gd name="connsiteY7" fmla="*/ 6048 h 10021"/>
                <a:gd name="connsiteX8" fmla="*/ 9377 w 10000"/>
                <a:gd name="connsiteY8" fmla="*/ 6025 h 10021"/>
                <a:gd name="connsiteX9" fmla="*/ 9288 w 10000"/>
                <a:gd name="connsiteY9" fmla="*/ 6002 h 10021"/>
                <a:gd name="connsiteX10" fmla="*/ 9118 w 10000"/>
                <a:gd name="connsiteY10" fmla="*/ 5951 h 10021"/>
                <a:gd name="connsiteX11" fmla="*/ 8955 w 10000"/>
                <a:gd name="connsiteY11" fmla="*/ 5896 h 10021"/>
                <a:gd name="connsiteX12" fmla="*/ 8792 w 10000"/>
                <a:gd name="connsiteY12" fmla="*/ 5837 h 10021"/>
                <a:gd name="connsiteX13" fmla="*/ 8636 w 10000"/>
                <a:gd name="connsiteY13" fmla="*/ 5773 h 10021"/>
                <a:gd name="connsiteX14" fmla="*/ 8480 w 10000"/>
                <a:gd name="connsiteY14" fmla="*/ 5708 h 10021"/>
                <a:gd name="connsiteX15" fmla="*/ 8340 w 10000"/>
                <a:gd name="connsiteY15" fmla="*/ 5640 h 10021"/>
                <a:gd name="connsiteX16" fmla="*/ 8199 w 10000"/>
                <a:gd name="connsiteY16" fmla="*/ 5566 h 10021"/>
                <a:gd name="connsiteX17" fmla="*/ 8058 w 10000"/>
                <a:gd name="connsiteY17" fmla="*/ 5488 h 10021"/>
                <a:gd name="connsiteX18" fmla="*/ 7924 w 10000"/>
                <a:gd name="connsiteY18" fmla="*/ 5406 h 10021"/>
                <a:gd name="connsiteX19" fmla="*/ 7798 w 10000"/>
                <a:gd name="connsiteY19" fmla="*/ 5323 h 10021"/>
                <a:gd name="connsiteX20" fmla="*/ 7672 w 10000"/>
                <a:gd name="connsiteY20" fmla="*/ 5236 h 10021"/>
                <a:gd name="connsiteX21" fmla="*/ 7554 w 10000"/>
                <a:gd name="connsiteY21" fmla="*/ 5149 h 10021"/>
                <a:gd name="connsiteX22" fmla="*/ 7450 w 10000"/>
                <a:gd name="connsiteY22" fmla="*/ 5053 h 10021"/>
                <a:gd name="connsiteX23" fmla="*/ 7346 w 10000"/>
                <a:gd name="connsiteY23" fmla="*/ 4957 h 10021"/>
                <a:gd name="connsiteX24" fmla="*/ 7250 w 10000"/>
                <a:gd name="connsiteY24" fmla="*/ 4861 h 10021"/>
                <a:gd name="connsiteX25" fmla="*/ 7161 w 10000"/>
                <a:gd name="connsiteY25" fmla="*/ 4760 h 10021"/>
                <a:gd name="connsiteX26" fmla="*/ 7072 w 10000"/>
                <a:gd name="connsiteY26" fmla="*/ 4659 h 10021"/>
                <a:gd name="connsiteX27" fmla="*/ 6990 w 10000"/>
                <a:gd name="connsiteY27" fmla="*/ 4549 h 10021"/>
                <a:gd name="connsiteX28" fmla="*/ 6953 w 10000"/>
                <a:gd name="connsiteY28" fmla="*/ 4499 h 10021"/>
                <a:gd name="connsiteX29" fmla="*/ 6916 w 10000"/>
                <a:gd name="connsiteY29" fmla="*/ 4444 h 10021"/>
                <a:gd name="connsiteX30" fmla="*/ 6887 w 10000"/>
                <a:gd name="connsiteY30" fmla="*/ 4389 h 10021"/>
                <a:gd name="connsiteX31" fmla="*/ 6850 w 10000"/>
                <a:gd name="connsiteY31" fmla="*/ 4334 h 10021"/>
                <a:gd name="connsiteX32" fmla="*/ 6820 w 10000"/>
                <a:gd name="connsiteY32" fmla="*/ 4279 h 10021"/>
                <a:gd name="connsiteX33" fmla="*/ 6790 w 10000"/>
                <a:gd name="connsiteY33" fmla="*/ 4224 h 10021"/>
                <a:gd name="connsiteX34" fmla="*/ 6768 w 10000"/>
                <a:gd name="connsiteY34" fmla="*/ 4164 h 10021"/>
                <a:gd name="connsiteX35" fmla="*/ 6738 w 10000"/>
                <a:gd name="connsiteY35" fmla="*/ 4109 h 10021"/>
                <a:gd name="connsiteX36" fmla="*/ 6723 w 10000"/>
                <a:gd name="connsiteY36" fmla="*/ 4049 h 10021"/>
                <a:gd name="connsiteX37" fmla="*/ 6694 w 10000"/>
                <a:gd name="connsiteY37" fmla="*/ 3994 h 10021"/>
                <a:gd name="connsiteX38" fmla="*/ 6679 w 10000"/>
                <a:gd name="connsiteY38" fmla="*/ 3935 h 10021"/>
                <a:gd name="connsiteX39" fmla="*/ 6664 w 10000"/>
                <a:gd name="connsiteY39" fmla="*/ 3875 h 10021"/>
                <a:gd name="connsiteX40" fmla="*/ 6649 w 10000"/>
                <a:gd name="connsiteY40" fmla="*/ 3816 h 10021"/>
                <a:gd name="connsiteX41" fmla="*/ 6635 w 10000"/>
                <a:gd name="connsiteY41" fmla="*/ 3761 h 10021"/>
                <a:gd name="connsiteX42" fmla="*/ 6620 w 10000"/>
                <a:gd name="connsiteY42" fmla="*/ 3701 h 10021"/>
                <a:gd name="connsiteX43" fmla="*/ 6612 w 10000"/>
                <a:gd name="connsiteY43" fmla="*/ 3642 h 10021"/>
                <a:gd name="connsiteX44" fmla="*/ 6605 w 10000"/>
                <a:gd name="connsiteY44" fmla="*/ 3582 h 10021"/>
                <a:gd name="connsiteX45" fmla="*/ 6597 w 10000"/>
                <a:gd name="connsiteY45" fmla="*/ 3518 h 10021"/>
                <a:gd name="connsiteX46" fmla="*/ 6597 w 10000"/>
                <a:gd name="connsiteY46" fmla="*/ 3458 h 10021"/>
                <a:gd name="connsiteX47" fmla="*/ 6590 w 10000"/>
                <a:gd name="connsiteY47" fmla="*/ 3394 h 10021"/>
                <a:gd name="connsiteX48" fmla="*/ 6597 w 10000"/>
                <a:gd name="connsiteY48" fmla="*/ 3334 h 10021"/>
                <a:gd name="connsiteX49" fmla="*/ 6605 w 10000"/>
                <a:gd name="connsiteY49" fmla="*/ 3266 h 10021"/>
                <a:gd name="connsiteX50" fmla="*/ 6605 w 10000"/>
                <a:gd name="connsiteY50" fmla="*/ 3202 h 10021"/>
                <a:gd name="connsiteX51" fmla="*/ 6612 w 10000"/>
                <a:gd name="connsiteY51" fmla="*/ 3137 h 10021"/>
                <a:gd name="connsiteX52" fmla="*/ 6620 w 10000"/>
                <a:gd name="connsiteY52" fmla="*/ 3073 h 10021"/>
                <a:gd name="connsiteX53" fmla="*/ 6635 w 10000"/>
                <a:gd name="connsiteY53" fmla="*/ 3014 h 10021"/>
                <a:gd name="connsiteX54" fmla="*/ 6649 w 10000"/>
                <a:gd name="connsiteY54" fmla="*/ 2950 h 10021"/>
                <a:gd name="connsiteX55" fmla="*/ 6664 w 10000"/>
                <a:gd name="connsiteY55" fmla="*/ 2890 h 10021"/>
                <a:gd name="connsiteX56" fmla="*/ 6686 w 10000"/>
                <a:gd name="connsiteY56" fmla="*/ 2826 h 10021"/>
                <a:gd name="connsiteX57" fmla="*/ 6709 w 10000"/>
                <a:gd name="connsiteY57" fmla="*/ 2766 h 10021"/>
                <a:gd name="connsiteX58" fmla="*/ 6731 w 10000"/>
                <a:gd name="connsiteY58" fmla="*/ 2707 h 10021"/>
                <a:gd name="connsiteX59" fmla="*/ 6753 w 10000"/>
                <a:gd name="connsiteY59" fmla="*/ 2642 h 10021"/>
                <a:gd name="connsiteX60" fmla="*/ 6783 w 10000"/>
                <a:gd name="connsiteY60" fmla="*/ 2587 h 10021"/>
                <a:gd name="connsiteX61" fmla="*/ 6812 w 10000"/>
                <a:gd name="connsiteY61" fmla="*/ 2528 h 10021"/>
                <a:gd name="connsiteX62" fmla="*/ 6842 w 10000"/>
                <a:gd name="connsiteY62" fmla="*/ 2468 h 10021"/>
                <a:gd name="connsiteX63" fmla="*/ 6879 w 10000"/>
                <a:gd name="connsiteY63" fmla="*/ 2409 h 10021"/>
                <a:gd name="connsiteX64" fmla="*/ 6909 w 10000"/>
                <a:gd name="connsiteY64" fmla="*/ 2354 h 10021"/>
                <a:gd name="connsiteX65" fmla="*/ 6946 w 10000"/>
                <a:gd name="connsiteY65" fmla="*/ 2294 h 10021"/>
                <a:gd name="connsiteX66" fmla="*/ 6990 w 10000"/>
                <a:gd name="connsiteY66" fmla="*/ 2239 h 10021"/>
                <a:gd name="connsiteX67" fmla="*/ 7027 w 10000"/>
                <a:gd name="connsiteY67" fmla="*/ 2184 h 10021"/>
                <a:gd name="connsiteX68" fmla="*/ 7072 w 10000"/>
                <a:gd name="connsiteY68" fmla="*/ 2129 h 10021"/>
                <a:gd name="connsiteX69" fmla="*/ 7109 w 10000"/>
                <a:gd name="connsiteY69" fmla="*/ 2074 h 10021"/>
                <a:gd name="connsiteX70" fmla="*/ 7161 w 10000"/>
                <a:gd name="connsiteY70" fmla="*/ 2024 h 10021"/>
                <a:gd name="connsiteX71" fmla="*/ 7213 w 10000"/>
                <a:gd name="connsiteY71" fmla="*/ 1969 h 10021"/>
                <a:gd name="connsiteX72" fmla="*/ 7257 w 10000"/>
                <a:gd name="connsiteY72" fmla="*/ 1914 h 10021"/>
                <a:gd name="connsiteX73" fmla="*/ 7309 w 10000"/>
                <a:gd name="connsiteY73" fmla="*/ 1863 h 10021"/>
                <a:gd name="connsiteX74" fmla="*/ 7361 w 10000"/>
                <a:gd name="connsiteY74" fmla="*/ 1813 h 10021"/>
                <a:gd name="connsiteX75" fmla="*/ 7413 w 10000"/>
                <a:gd name="connsiteY75" fmla="*/ 1763 h 10021"/>
                <a:gd name="connsiteX76" fmla="*/ 7472 w 10000"/>
                <a:gd name="connsiteY76" fmla="*/ 1712 h 10021"/>
                <a:gd name="connsiteX77" fmla="*/ 7524 w 10000"/>
                <a:gd name="connsiteY77" fmla="*/ 1666 h 10021"/>
                <a:gd name="connsiteX78" fmla="*/ 7583 w 10000"/>
                <a:gd name="connsiteY78" fmla="*/ 1620 h 10021"/>
                <a:gd name="connsiteX79" fmla="*/ 7643 w 10000"/>
                <a:gd name="connsiteY79" fmla="*/ 1570 h 10021"/>
                <a:gd name="connsiteX80" fmla="*/ 5423 w 10000"/>
                <a:gd name="connsiteY80" fmla="*/ 28 h 10021"/>
                <a:gd name="connsiteX81" fmla="*/ 1401 w 10000"/>
                <a:gd name="connsiteY81" fmla="*/ 0 h 10021"/>
                <a:gd name="connsiteX82" fmla="*/ 1305 w 10000"/>
                <a:gd name="connsiteY82" fmla="*/ 149 h 10021"/>
                <a:gd name="connsiteX83" fmla="*/ 1223 w 10000"/>
                <a:gd name="connsiteY83" fmla="*/ 241 h 10021"/>
                <a:gd name="connsiteX84" fmla="*/ 1149 w 10000"/>
                <a:gd name="connsiteY84" fmla="*/ 337 h 10021"/>
                <a:gd name="connsiteX85" fmla="*/ 1067 w 10000"/>
                <a:gd name="connsiteY85" fmla="*/ 433 h 10021"/>
                <a:gd name="connsiteX86" fmla="*/ 1001 w 10000"/>
                <a:gd name="connsiteY86" fmla="*/ 530 h 10021"/>
                <a:gd name="connsiteX87" fmla="*/ 927 w 10000"/>
                <a:gd name="connsiteY87" fmla="*/ 626 h 10021"/>
                <a:gd name="connsiteX88" fmla="*/ 860 w 10000"/>
                <a:gd name="connsiteY88" fmla="*/ 727 h 10021"/>
                <a:gd name="connsiteX89" fmla="*/ 793 w 10000"/>
                <a:gd name="connsiteY89" fmla="*/ 828 h 10021"/>
                <a:gd name="connsiteX90" fmla="*/ 734 w 10000"/>
                <a:gd name="connsiteY90" fmla="*/ 924 h 10021"/>
                <a:gd name="connsiteX91" fmla="*/ 675 w 10000"/>
                <a:gd name="connsiteY91" fmla="*/ 1025 h 10021"/>
                <a:gd name="connsiteX92" fmla="*/ 615 w 10000"/>
                <a:gd name="connsiteY92" fmla="*/ 1125 h 10021"/>
                <a:gd name="connsiteX93" fmla="*/ 556 w 10000"/>
                <a:gd name="connsiteY93" fmla="*/ 1231 h 10021"/>
                <a:gd name="connsiteX94" fmla="*/ 504 w 10000"/>
                <a:gd name="connsiteY94" fmla="*/ 1327 h 10021"/>
                <a:gd name="connsiteX95" fmla="*/ 452 w 10000"/>
                <a:gd name="connsiteY95" fmla="*/ 1433 h 10021"/>
                <a:gd name="connsiteX96" fmla="*/ 408 w 10000"/>
                <a:gd name="connsiteY96" fmla="*/ 1533 h 10021"/>
                <a:gd name="connsiteX97" fmla="*/ 363 w 10000"/>
                <a:gd name="connsiteY97" fmla="*/ 1639 h 10021"/>
                <a:gd name="connsiteX98" fmla="*/ 319 w 10000"/>
                <a:gd name="connsiteY98" fmla="*/ 1744 h 10021"/>
                <a:gd name="connsiteX99" fmla="*/ 282 w 10000"/>
                <a:gd name="connsiteY99" fmla="*/ 1850 h 10021"/>
                <a:gd name="connsiteX100" fmla="*/ 237 w 10000"/>
                <a:gd name="connsiteY100" fmla="*/ 1960 h 10021"/>
                <a:gd name="connsiteX101" fmla="*/ 208 w 10000"/>
                <a:gd name="connsiteY101" fmla="*/ 2065 h 10021"/>
                <a:gd name="connsiteX102" fmla="*/ 170 w 10000"/>
                <a:gd name="connsiteY102" fmla="*/ 2175 h 10021"/>
                <a:gd name="connsiteX103" fmla="*/ 148 w 10000"/>
                <a:gd name="connsiteY103" fmla="*/ 2285 h 10021"/>
                <a:gd name="connsiteX104" fmla="*/ 119 w 10000"/>
                <a:gd name="connsiteY104" fmla="*/ 2390 h 10021"/>
                <a:gd name="connsiteX105" fmla="*/ 96 w 10000"/>
                <a:gd name="connsiteY105" fmla="*/ 2500 h 10021"/>
                <a:gd name="connsiteX106" fmla="*/ 74 w 10000"/>
                <a:gd name="connsiteY106" fmla="*/ 2610 h 10021"/>
                <a:gd name="connsiteX107" fmla="*/ 52 w 10000"/>
                <a:gd name="connsiteY107" fmla="*/ 2725 h 10021"/>
                <a:gd name="connsiteX108" fmla="*/ 37 w 10000"/>
                <a:gd name="connsiteY108" fmla="*/ 2835 h 10021"/>
                <a:gd name="connsiteX109" fmla="*/ 22 w 10000"/>
                <a:gd name="connsiteY109" fmla="*/ 2945 h 10021"/>
                <a:gd name="connsiteX110" fmla="*/ 15 w 10000"/>
                <a:gd name="connsiteY110" fmla="*/ 3055 h 10021"/>
                <a:gd name="connsiteX111" fmla="*/ 7 w 10000"/>
                <a:gd name="connsiteY111" fmla="*/ 3169 h 10021"/>
                <a:gd name="connsiteX112" fmla="*/ 0 w 10000"/>
                <a:gd name="connsiteY112" fmla="*/ 3279 h 10021"/>
                <a:gd name="connsiteX113" fmla="*/ 0 w 10000"/>
                <a:gd name="connsiteY113" fmla="*/ 3394 h 10021"/>
                <a:gd name="connsiteX114" fmla="*/ 7 w 10000"/>
                <a:gd name="connsiteY114" fmla="*/ 3541 h 10021"/>
                <a:gd name="connsiteX115" fmla="*/ 7 w 10000"/>
                <a:gd name="connsiteY115" fmla="*/ 3687 h 10021"/>
                <a:gd name="connsiteX116" fmla="*/ 22 w 10000"/>
                <a:gd name="connsiteY116" fmla="*/ 3825 h 10021"/>
                <a:gd name="connsiteX117" fmla="*/ 37 w 10000"/>
                <a:gd name="connsiteY117" fmla="*/ 3967 h 10021"/>
                <a:gd name="connsiteX118" fmla="*/ 59 w 10000"/>
                <a:gd name="connsiteY118" fmla="*/ 4109 h 10021"/>
                <a:gd name="connsiteX119" fmla="*/ 89 w 10000"/>
                <a:gd name="connsiteY119" fmla="*/ 4251 h 10021"/>
                <a:gd name="connsiteX120" fmla="*/ 119 w 10000"/>
                <a:gd name="connsiteY120" fmla="*/ 4393 h 10021"/>
                <a:gd name="connsiteX121" fmla="*/ 148 w 10000"/>
                <a:gd name="connsiteY121" fmla="*/ 4535 h 10021"/>
                <a:gd name="connsiteX122" fmla="*/ 193 w 10000"/>
                <a:gd name="connsiteY122" fmla="*/ 4673 h 10021"/>
                <a:gd name="connsiteX123" fmla="*/ 237 w 10000"/>
                <a:gd name="connsiteY123" fmla="*/ 4810 h 10021"/>
                <a:gd name="connsiteX124" fmla="*/ 282 w 10000"/>
                <a:gd name="connsiteY124" fmla="*/ 4948 h 10021"/>
                <a:gd name="connsiteX125" fmla="*/ 334 w 10000"/>
                <a:gd name="connsiteY125" fmla="*/ 5085 h 10021"/>
                <a:gd name="connsiteX126" fmla="*/ 393 w 10000"/>
                <a:gd name="connsiteY126" fmla="*/ 5218 h 10021"/>
                <a:gd name="connsiteX127" fmla="*/ 452 w 10000"/>
                <a:gd name="connsiteY127" fmla="*/ 5351 h 10021"/>
                <a:gd name="connsiteX128" fmla="*/ 519 w 10000"/>
                <a:gd name="connsiteY128" fmla="*/ 5484 h 10021"/>
                <a:gd name="connsiteX129" fmla="*/ 586 w 10000"/>
                <a:gd name="connsiteY129" fmla="*/ 5617 h 10021"/>
                <a:gd name="connsiteX130" fmla="*/ 660 w 10000"/>
                <a:gd name="connsiteY130" fmla="*/ 5745 h 10021"/>
                <a:gd name="connsiteX131" fmla="*/ 741 w 10000"/>
                <a:gd name="connsiteY131" fmla="*/ 5873 h 10021"/>
                <a:gd name="connsiteX132" fmla="*/ 823 w 10000"/>
                <a:gd name="connsiteY132" fmla="*/ 6006 h 10021"/>
                <a:gd name="connsiteX133" fmla="*/ 904 w 10000"/>
                <a:gd name="connsiteY133" fmla="*/ 6130 h 10021"/>
                <a:gd name="connsiteX134" fmla="*/ 993 w 10000"/>
                <a:gd name="connsiteY134" fmla="*/ 6254 h 10021"/>
                <a:gd name="connsiteX135" fmla="*/ 1090 w 10000"/>
                <a:gd name="connsiteY135" fmla="*/ 6373 h 10021"/>
                <a:gd name="connsiteX136" fmla="*/ 1186 w 10000"/>
                <a:gd name="connsiteY136" fmla="*/ 6497 h 10021"/>
                <a:gd name="connsiteX137" fmla="*/ 1290 w 10000"/>
                <a:gd name="connsiteY137" fmla="*/ 6620 h 10021"/>
                <a:gd name="connsiteX138" fmla="*/ 1386 w 10000"/>
                <a:gd name="connsiteY138" fmla="*/ 6740 h 10021"/>
                <a:gd name="connsiteX139" fmla="*/ 1497 w 10000"/>
                <a:gd name="connsiteY139" fmla="*/ 6859 h 10021"/>
                <a:gd name="connsiteX140" fmla="*/ 1609 w 10000"/>
                <a:gd name="connsiteY140" fmla="*/ 6973 h 10021"/>
                <a:gd name="connsiteX141" fmla="*/ 1727 w 10000"/>
                <a:gd name="connsiteY141" fmla="*/ 7092 h 10021"/>
                <a:gd name="connsiteX142" fmla="*/ 1846 w 10000"/>
                <a:gd name="connsiteY142" fmla="*/ 7207 h 10021"/>
                <a:gd name="connsiteX143" fmla="*/ 1964 w 10000"/>
                <a:gd name="connsiteY143" fmla="*/ 7317 h 10021"/>
                <a:gd name="connsiteX144" fmla="*/ 2090 w 10000"/>
                <a:gd name="connsiteY144" fmla="*/ 7427 h 10021"/>
                <a:gd name="connsiteX145" fmla="*/ 2224 w 10000"/>
                <a:gd name="connsiteY145" fmla="*/ 7537 h 10021"/>
                <a:gd name="connsiteX146" fmla="*/ 2350 w 10000"/>
                <a:gd name="connsiteY146" fmla="*/ 7647 h 10021"/>
                <a:gd name="connsiteX147" fmla="*/ 2491 w 10000"/>
                <a:gd name="connsiteY147" fmla="*/ 7752 h 10021"/>
                <a:gd name="connsiteX148" fmla="*/ 2617 w 10000"/>
                <a:gd name="connsiteY148" fmla="*/ 7858 h 10021"/>
                <a:gd name="connsiteX149" fmla="*/ 2765 w 10000"/>
                <a:gd name="connsiteY149" fmla="*/ 7959 h 10021"/>
                <a:gd name="connsiteX150" fmla="*/ 2906 w 10000"/>
                <a:gd name="connsiteY150" fmla="*/ 8059 h 10021"/>
                <a:gd name="connsiteX151" fmla="*/ 3054 w 10000"/>
                <a:gd name="connsiteY151" fmla="*/ 8160 h 10021"/>
                <a:gd name="connsiteX152" fmla="*/ 3210 w 10000"/>
                <a:gd name="connsiteY152" fmla="*/ 8257 h 10021"/>
                <a:gd name="connsiteX153" fmla="*/ 3358 w 10000"/>
                <a:gd name="connsiteY153" fmla="*/ 8353 h 10021"/>
                <a:gd name="connsiteX154" fmla="*/ 3514 w 10000"/>
                <a:gd name="connsiteY154" fmla="*/ 8449 h 10021"/>
                <a:gd name="connsiteX155" fmla="*/ 3677 w 10000"/>
                <a:gd name="connsiteY155" fmla="*/ 8541 h 10021"/>
                <a:gd name="connsiteX156" fmla="*/ 3840 w 10000"/>
                <a:gd name="connsiteY156" fmla="*/ 8628 h 10021"/>
                <a:gd name="connsiteX157" fmla="*/ 4010 w 10000"/>
                <a:gd name="connsiteY157" fmla="*/ 8719 h 10021"/>
                <a:gd name="connsiteX158" fmla="*/ 4181 w 10000"/>
                <a:gd name="connsiteY158" fmla="*/ 8797 h 10021"/>
                <a:gd name="connsiteX159" fmla="*/ 4351 w 10000"/>
                <a:gd name="connsiteY159" fmla="*/ 8884 h 10021"/>
                <a:gd name="connsiteX160" fmla="*/ 4522 w 10000"/>
                <a:gd name="connsiteY160" fmla="*/ 8962 h 10021"/>
                <a:gd name="connsiteX161" fmla="*/ 4700 w 10000"/>
                <a:gd name="connsiteY161" fmla="*/ 9045 h 10021"/>
                <a:gd name="connsiteX162" fmla="*/ 4878 w 10000"/>
                <a:gd name="connsiteY162" fmla="*/ 9123 h 10021"/>
                <a:gd name="connsiteX163" fmla="*/ 5063 w 10000"/>
                <a:gd name="connsiteY163" fmla="*/ 9196 h 10021"/>
                <a:gd name="connsiteX164" fmla="*/ 5248 w 10000"/>
                <a:gd name="connsiteY164" fmla="*/ 9274 h 10021"/>
                <a:gd name="connsiteX165" fmla="*/ 5426 w 10000"/>
                <a:gd name="connsiteY165" fmla="*/ 9343 h 10021"/>
                <a:gd name="connsiteX166" fmla="*/ 5619 w 10000"/>
                <a:gd name="connsiteY166" fmla="*/ 9411 h 10021"/>
                <a:gd name="connsiteX167" fmla="*/ 5812 w 10000"/>
                <a:gd name="connsiteY167" fmla="*/ 9480 h 10021"/>
                <a:gd name="connsiteX168" fmla="*/ 6004 w 10000"/>
                <a:gd name="connsiteY168" fmla="*/ 9544 h 10021"/>
                <a:gd name="connsiteX169" fmla="*/ 6205 w 10000"/>
                <a:gd name="connsiteY169" fmla="*/ 9609 h 10021"/>
                <a:gd name="connsiteX170" fmla="*/ 6397 w 10000"/>
                <a:gd name="connsiteY170" fmla="*/ 9668 h 10021"/>
                <a:gd name="connsiteX171" fmla="*/ 6605 w 10000"/>
                <a:gd name="connsiteY171" fmla="*/ 9723 h 10021"/>
                <a:gd name="connsiteX172" fmla="*/ 6805 w 10000"/>
                <a:gd name="connsiteY172" fmla="*/ 9778 h 10021"/>
                <a:gd name="connsiteX173" fmla="*/ 7005 w 10000"/>
                <a:gd name="connsiteY173" fmla="*/ 9833 h 10021"/>
                <a:gd name="connsiteX174" fmla="*/ 7213 w 10000"/>
                <a:gd name="connsiteY174" fmla="*/ 9884 h 10021"/>
                <a:gd name="connsiteX175" fmla="*/ 7420 w 10000"/>
                <a:gd name="connsiteY175" fmla="*/ 9929 h 10021"/>
                <a:gd name="connsiteX176" fmla="*/ 7628 w 10000"/>
                <a:gd name="connsiteY176" fmla="*/ 9975 h 10021"/>
                <a:gd name="connsiteX177" fmla="*/ 7835 w 10000"/>
                <a:gd name="connsiteY177" fmla="*/ 10021 h 10021"/>
                <a:gd name="connsiteX178" fmla="*/ 7539 w 10000"/>
                <a:gd name="connsiteY178" fmla="*/ 7775 h 10021"/>
                <a:gd name="connsiteX179" fmla="*/ 10000 w 10000"/>
                <a:gd name="connsiteY179" fmla="*/ 6162 h 10021"/>
                <a:gd name="connsiteX0" fmla="*/ 10000 w 10000"/>
                <a:gd name="connsiteY0" fmla="*/ 6162 h 10021"/>
                <a:gd name="connsiteX1" fmla="*/ 10000 w 10000"/>
                <a:gd name="connsiteY1" fmla="*/ 6162 h 10021"/>
                <a:gd name="connsiteX2" fmla="*/ 9911 w 10000"/>
                <a:gd name="connsiteY2" fmla="*/ 6148 h 10021"/>
                <a:gd name="connsiteX3" fmla="*/ 9815 w 10000"/>
                <a:gd name="connsiteY3" fmla="*/ 6130 h 10021"/>
                <a:gd name="connsiteX4" fmla="*/ 9726 w 10000"/>
                <a:gd name="connsiteY4" fmla="*/ 6112 h 10021"/>
                <a:gd name="connsiteX5" fmla="*/ 9637 w 10000"/>
                <a:gd name="connsiteY5" fmla="*/ 6089 h 10021"/>
                <a:gd name="connsiteX6" fmla="*/ 9548 w 10000"/>
                <a:gd name="connsiteY6" fmla="*/ 6070 h 10021"/>
                <a:gd name="connsiteX7" fmla="*/ 9466 w 10000"/>
                <a:gd name="connsiteY7" fmla="*/ 6048 h 10021"/>
                <a:gd name="connsiteX8" fmla="*/ 9377 w 10000"/>
                <a:gd name="connsiteY8" fmla="*/ 6025 h 10021"/>
                <a:gd name="connsiteX9" fmla="*/ 9288 w 10000"/>
                <a:gd name="connsiteY9" fmla="*/ 6002 h 10021"/>
                <a:gd name="connsiteX10" fmla="*/ 9118 w 10000"/>
                <a:gd name="connsiteY10" fmla="*/ 5951 h 10021"/>
                <a:gd name="connsiteX11" fmla="*/ 8955 w 10000"/>
                <a:gd name="connsiteY11" fmla="*/ 5896 h 10021"/>
                <a:gd name="connsiteX12" fmla="*/ 8792 w 10000"/>
                <a:gd name="connsiteY12" fmla="*/ 5837 h 10021"/>
                <a:gd name="connsiteX13" fmla="*/ 8636 w 10000"/>
                <a:gd name="connsiteY13" fmla="*/ 5773 h 10021"/>
                <a:gd name="connsiteX14" fmla="*/ 8480 w 10000"/>
                <a:gd name="connsiteY14" fmla="*/ 5708 h 10021"/>
                <a:gd name="connsiteX15" fmla="*/ 8340 w 10000"/>
                <a:gd name="connsiteY15" fmla="*/ 5640 h 10021"/>
                <a:gd name="connsiteX16" fmla="*/ 8199 w 10000"/>
                <a:gd name="connsiteY16" fmla="*/ 5566 h 10021"/>
                <a:gd name="connsiteX17" fmla="*/ 8058 w 10000"/>
                <a:gd name="connsiteY17" fmla="*/ 5488 h 10021"/>
                <a:gd name="connsiteX18" fmla="*/ 7924 w 10000"/>
                <a:gd name="connsiteY18" fmla="*/ 5406 h 10021"/>
                <a:gd name="connsiteX19" fmla="*/ 7798 w 10000"/>
                <a:gd name="connsiteY19" fmla="*/ 5323 h 10021"/>
                <a:gd name="connsiteX20" fmla="*/ 7672 w 10000"/>
                <a:gd name="connsiteY20" fmla="*/ 5236 h 10021"/>
                <a:gd name="connsiteX21" fmla="*/ 7554 w 10000"/>
                <a:gd name="connsiteY21" fmla="*/ 5149 h 10021"/>
                <a:gd name="connsiteX22" fmla="*/ 7450 w 10000"/>
                <a:gd name="connsiteY22" fmla="*/ 5053 h 10021"/>
                <a:gd name="connsiteX23" fmla="*/ 7346 w 10000"/>
                <a:gd name="connsiteY23" fmla="*/ 4957 h 10021"/>
                <a:gd name="connsiteX24" fmla="*/ 7250 w 10000"/>
                <a:gd name="connsiteY24" fmla="*/ 4861 h 10021"/>
                <a:gd name="connsiteX25" fmla="*/ 7161 w 10000"/>
                <a:gd name="connsiteY25" fmla="*/ 4760 h 10021"/>
                <a:gd name="connsiteX26" fmla="*/ 7072 w 10000"/>
                <a:gd name="connsiteY26" fmla="*/ 4659 h 10021"/>
                <a:gd name="connsiteX27" fmla="*/ 6990 w 10000"/>
                <a:gd name="connsiteY27" fmla="*/ 4549 h 10021"/>
                <a:gd name="connsiteX28" fmla="*/ 6953 w 10000"/>
                <a:gd name="connsiteY28" fmla="*/ 4499 h 10021"/>
                <a:gd name="connsiteX29" fmla="*/ 6916 w 10000"/>
                <a:gd name="connsiteY29" fmla="*/ 4444 h 10021"/>
                <a:gd name="connsiteX30" fmla="*/ 6887 w 10000"/>
                <a:gd name="connsiteY30" fmla="*/ 4389 h 10021"/>
                <a:gd name="connsiteX31" fmla="*/ 6850 w 10000"/>
                <a:gd name="connsiteY31" fmla="*/ 4334 h 10021"/>
                <a:gd name="connsiteX32" fmla="*/ 6820 w 10000"/>
                <a:gd name="connsiteY32" fmla="*/ 4279 h 10021"/>
                <a:gd name="connsiteX33" fmla="*/ 6790 w 10000"/>
                <a:gd name="connsiteY33" fmla="*/ 4224 h 10021"/>
                <a:gd name="connsiteX34" fmla="*/ 6768 w 10000"/>
                <a:gd name="connsiteY34" fmla="*/ 4164 h 10021"/>
                <a:gd name="connsiteX35" fmla="*/ 6738 w 10000"/>
                <a:gd name="connsiteY35" fmla="*/ 4109 h 10021"/>
                <a:gd name="connsiteX36" fmla="*/ 6723 w 10000"/>
                <a:gd name="connsiteY36" fmla="*/ 4049 h 10021"/>
                <a:gd name="connsiteX37" fmla="*/ 6694 w 10000"/>
                <a:gd name="connsiteY37" fmla="*/ 3994 h 10021"/>
                <a:gd name="connsiteX38" fmla="*/ 6679 w 10000"/>
                <a:gd name="connsiteY38" fmla="*/ 3935 h 10021"/>
                <a:gd name="connsiteX39" fmla="*/ 6664 w 10000"/>
                <a:gd name="connsiteY39" fmla="*/ 3875 h 10021"/>
                <a:gd name="connsiteX40" fmla="*/ 6649 w 10000"/>
                <a:gd name="connsiteY40" fmla="*/ 3816 h 10021"/>
                <a:gd name="connsiteX41" fmla="*/ 6635 w 10000"/>
                <a:gd name="connsiteY41" fmla="*/ 3761 h 10021"/>
                <a:gd name="connsiteX42" fmla="*/ 6620 w 10000"/>
                <a:gd name="connsiteY42" fmla="*/ 3701 h 10021"/>
                <a:gd name="connsiteX43" fmla="*/ 6612 w 10000"/>
                <a:gd name="connsiteY43" fmla="*/ 3642 h 10021"/>
                <a:gd name="connsiteX44" fmla="*/ 6605 w 10000"/>
                <a:gd name="connsiteY44" fmla="*/ 3582 h 10021"/>
                <a:gd name="connsiteX45" fmla="*/ 6597 w 10000"/>
                <a:gd name="connsiteY45" fmla="*/ 3518 h 10021"/>
                <a:gd name="connsiteX46" fmla="*/ 6597 w 10000"/>
                <a:gd name="connsiteY46" fmla="*/ 3458 h 10021"/>
                <a:gd name="connsiteX47" fmla="*/ 6590 w 10000"/>
                <a:gd name="connsiteY47" fmla="*/ 3394 h 10021"/>
                <a:gd name="connsiteX48" fmla="*/ 6597 w 10000"/>
                <a:gd name="connsiteY48" fmla="*/ 3334 h 10021"/>
                <a:gd name="connsiteX49" fmla="*/ 6605 w 10000"/>
                <a:gd name="connsiteY49" fmla="*/ 3266 h 10021"/>
                <a:gd name="connsiteX50" fmla="*/ 6605 w 10000"/>
                <a:gd name="connsiteY50" fmla="*/ 3202 h 10021"/>
                <a:gd name="connsiteX51" fmla="*/ 6612 w 10000"/>
                <a:gd name="connsiteY51" fmla="*/ 3137 h 10021"/>
                <a:gd name="connsiteX52" fmla="*/ 6620 w 10000"/>
                <a:gd name="connsiteY52" fmla="*/ 3073 h 10021"/>
                <a:gd name="connsiteX53" fmla="*/ 6635 w 10000"/>
                <a:gd name="connsiteY53" fmla="*/ 3014 h 10021"/>
                <a:gd name="connsiteX54" fmla="*/ 6649 w 10000"/>
                <a:gd name="connsiteY54" fmla="*/ 2950 h 10021"/>
                <a:gd name="connsiteX55" fmla="*/ 6664 w 10000"/>
                <a:gd name="connsiteY55" fmla="*/ 2890 h 10021"/>
                <a:gd name="connsiteX56" fmla="*/ 6686 w 10000"/>
                <a:gd name="connsiteY56" fmla="*/ 2826 h 10021"/>
                <a:gd name="connsiteX57" fmla="*/ 6709 w 10000"/>
                <a:gd name="connsiteY57" fmla="*/ 2766 h 10021"/>
                <a:gd name="connsiteX58" fmla="*/ 6731 w 10000"/>
                <a:gd name="connsiteY58" fmla="*/ 2707 h 10021"/>
                <a:gd name="connsiteX59" fmla="*/ 6753 w 10000"/>
                <a:gd name="connsiteY59" fmla="*/ 2642 h 10021"/>
                <a:gd name="connsiteX60" fmla="*/ 6783 w 10000"/>
                <a:gd name="connsiteY60" fmla="*/ 2587 h 10021"/>
                <a:gd name="connsiteX61" fmla="*/ 6812 w 10000"/>
                <a:gd name="connsiteY61" fmla="*/ 2528 h 10021"/>
                <a:gd name="connsiteX62" fmla="*/ 6842 w 10000"/>
                <a:gd name="connsiteY62" fmla="*/ 2468 h 10021"/>
                <a:gd name="connsiteX63" fmla="*/ 6879 w 10000"/>
                <a:gd name="connsiteY63" fmla="*/ 2409 h 10021"/>
                <a:gd name="connsiteX64" fmla="*/ 6909 w 10000"/>
                <a:gd name="connsiteY64" fmla="*/ 2354 h 10021"/>
                <a:gd name="connsiteX65" fmla="*/ 6946 w 10000"/>
                <a:gd name="connsiteY65" fmla="*/ 2294 h 10021"/>
                <a:gd name="connsiteX66" fmla="*/ 6990 w 10000"/>
                <a:gd name="connsiteY66" fmla="*/ 2239 h 10021"/>
                <a:gd name="connsiteX67" fmla="*/ 7027 w 10000"/>
                <a:gd name="connsiteY67" fmla="*/ 2184 h 10021"/>
                <a:gd name="connsiteX68" fmla="*/ 7072 w 10000"/>
                <a:gd name="connsiteY68" fmla="*/ 2129 h 10021"/>
                <a:gd name="connsiteX69" fmla="*/ 7109 w 10000"/>
                <a:gd name="connsiteY69" fmla="*/ 2074 h 10021"/>
                <a:gd name="connsiteX70" fmla="*/ 7161 w 10000"/>
                <a:gd name="connsiteY70" fmla="*/ 2024 h 10021"/>
                <a:gd name="connsiteX71" fmla="*/ 7213 w 10000"/>
                <a:gd name="connsiteY71" fmla="*/ 1969 h 10021"/>
                <a:gd name="connsiteX72" fmla="*/ 7257 w 10000"/>
                <a:gd name="connsiteY72" fmla="*/ 1914 h 10021"/>
                <a:gd name="connsiteX73" fmla="*/ 7309 w 10000"/>
                <a:gd name="connsiteY73" fmla="*/ 1863 h 10021"/>
                <a:gd name="connsiteX74" fmla="*/ 7361 w 10000"/>
                <a:gd name="connsiteY74" fmla="*/ 1813 h 10021"/>
                <a:gd name="connsiteX75" fmla="*/ 7413 w 10000"/>
                <a:gd name="connsiteY75" fmla="*/ 1763 h 10021"/>
                <a:gd name="connsiteX76" fmla="*/ 7472 w 10000"/>
                <a:gd name="connsiteY76" fmla="*/ 1712 h 10021"/>
                <a:gd name="connsiteX77" fmla="*/ 7524 w 10000"/>
                <a:gd name="connsiteY77" fmla="*/ 1666 h 10021"/>
                <a:gd name="connsiteX78" fmla="*/ 7583 w 10000"/>
                <a:gd name="connsiteY78" fmla="*/ 1620 h 10021"/>
                <a:gd name="connsiteX79" fmla="*/ 7643 w 10000"/>
                <a:gd name="connsiteY79" fmla="*/ 1570 h 10021"/>
                <a:gd name="connsiteX80" fmla="*/ 5390 w 10000"/>
                <a:gd name="connsiteY80" fmla="*/ 14 h 10021"/>
                <a:gd name="connsiteX81" fmla="*/ 1401 w 10000"/>
                <a:gd name="connsiteY81" fmla="*/ 0 h 10021"/>
                <a:gd name="connsiteX82" fmla="*/ 1305 w 10000"/>
                <a:gd name="connsiteY82" fmla="*/ 149 h 10021"/>
                <a:gd name="connsiteX83" fmla="*/ 1223 w 10000"/>
                <a:gd name="connsiteY83" fmla="*/ 241 h 10021"/>
                <a:gd name="connsiteX84" fmla="*/ 1149 w 10000"/>
                <a:gd name="connsiteY84" fmla="*/ 337 h 10021"/>
                <a:gd name="connsiteX85" fmla="*/ 1067 w 10000"/>
                <a:gd name="connsiteY85" fmla="*/ 433 h 10021"/>
                <a:gd name="connsiteX86" fmla="*/ 1001 w 10000"/>
                <a:gd name="connsiteY86" fmla="*/ 530 h 10021"/>
                <a:gd name="connsiteX87" fmla="*/ 927 w 10000"/>
                <a:gd name="connsiteY87" fmla="*/ 626 h 10021"/>
                <a:gd name="connsiteX88" fmla="*/ 860 w 10000"/>
                <a:gd name="connsiteY88" fmla="*/ 727 h 10021"/>
                <a:gd name="connsiteX89" fmla="*/ 793 w 10000"/>
                <a:gd name="connsiteY89" fmla="*/ 828 h 10021"/>
                <a:gd name="connsiteX90" fmla="*/ 734 w 10000"/>
                <a:gd name="connsiteY90" fmla="*/ 924 h 10021"/>
                <a:gd name="connsiteX91" fmla="*/ 675 w 10000"/>
                <a:gd name="connsiteY91" fmla="*/ 1025 h 10021"/>
                <a:gd name="connsiteX92" fmla="*/ 615 w 10000"/>
                <a:gd name="connsiteY92" fmla="*/ 1125 h 10021"/>
                <a:gd name="connsiteX93" fmla="*/ 556 w 10000"/>
                <a:gd name="connsiteY93" fmla="*/ 1231 h 10021"/>
                <a:gd name="connsiteX94" fmla="*/ 504 w 10000"/>
                <a:gd name="connsiteY94" fmla="*/ 1327 h 10021"/>
                <a:gd name="connsiteX95" fmla="*/ 452 w 10000"/>
                <a:gd name="connsiteY95" fmla="*/ 1433 h 10021"/>
                <a:gd name="connsiteX96" fmla="*/ 408 w 10000"/>
                <a:gd name="connsiteY96" fmla="*/ 1533 h 10021"/>
                <a:gd name="connsiteX97" fmla="*/ 363 w 10000"/>
                <a:gd name="connsiteY97" fmla="*/ 1639 h 10021"/>
                <a:gd name="connsiteX98" fmla="*/ 319 w 10000"/>
                <a:gd name="connsiteY98" fmla="*/ 1744 h 10021"/>
                <a:gd name="connsiteX99" fmla="*/ 282 w 10000"/>
                <a:gd name="connsiteY99" fmla="*/ 1850 h 10021"/>
                <a:gd name="connsiteX100" fmla="*/ 237 w 10000"/>
                <a:gd name="connsiteY100" fmla="*/ 1960 h 10021"/>
                <a:gd name="connsiteX101" fmla="*/ 208 w 10000"/>
                <a:gd name="connsiteY101" fmla="*/ 2065 h 10021"/>
                <a:gd name="connsiteX102" fmla="*/ 170 w 10000"/>
                <a:gd name="connsiteY102" fmla="*/ 2175 h 10021"/>
                <a:gd name="connsiteX103" fmla="*/ 148 w 10000"/>
                <a:gd name="connsiteY103" fmla="*/ 2285 h 10021"/>
                <a:gd name="connsiteX104" fmla="*/ 119 w 10000"/>
                <a:gd name="connsiteY104" fmla="*/ 2390 h 10021"/>
                <a:gd name="connsiteX105" fmla="*/ 96 w 10000"/>
                <a:gd name="connsiteY105" fmla="*/ 2500 h 10021"/>
                <a:gd name="connsiteX106" fmla="*/ 74 w 10000"/>
                <a:gd name="connsiteY106" fmla="*/ 2610 h 10021"/>
                <a:gd name="connsiteX107" fmla="*/ 52 w 10000"/>
                <a:gd name="connsiteY107" fmla="*/ 2725 h 10021"/>
                <a:gd name="connsiteX108" fmla="*/ 37 w 10000"/>
                <a:gd name="connsiteY108" fmla="*/ 2835 h 10021"/>
                <a:gd name="connsiteX109" fmla="*/ 22 w 10000"/>
                <a:gd name="connsiteY109" fmla="*/ 2945 h 10021"/>
                <a:gd name="connsiteX110" fmla="*/ 15 w 10000"/>
                <a:gd name="connsiteY110" fmla="*/ 3055 h 10021"/>
                <a:gd name="connsiteX111" fmla="*/ 7 w 10000"/>
                <a:gd name="connsiteY111" fmla="*/ 3169 h 10021"/>
                <a:gd name="connsiteX112" fmla="*/ 0 w 10000"/>
                <a:gd name="connsiteY112" fmla="*/ 3279 h 10021"/>
                <a:gd name="connsiteX113" fmla="*/ 0 w 10000"/>
                <a:gd name="connsiteY113" fmla="*/ 3394 h 10021"/>
                <a:gd name="connsiteX114" fmla="*/ 7 w 10000"/>
                <a:gd name="connsiteY114" fmla="*/ 3541 h 10021"/>
                <a:gd name="connsiteX115" fmla="*/ 7 w 10000"/>
                <a:gd name="connsiteY115" fmla="*/ 3687 h 10021"/>
                <a:gd name="connsiteX116" fmla="*/ 22 w 10000"/>
                <a:gd name="connsiteY116" fmla="*/ 3825 h 10021"/>
                <a:gd name="connsiteX117" fmla="*/ 37 w 10000"/>
                <a:gd name="connsiteY117" fmla="*/ 3967 h 10021"/>
                <a:gd name="connsiteX118" fmla="*/ 59 w 10000"/>
                <a:gd name="connsiteY118" fmla="*/ 4109 h 10021"/>
                <a:gd name="connsiteX119" fmla="*/ 89 w 10000"/>
                <a:gd name="connsiteY119" fmla="*/ 4251 h 10021"/>
                <a:gd name="connsiteX120" fmla="*/ 119 w 10000"/>
                <a:gd name="connsiteY120" fmla="*/ 4393 h 10021"/>
                <a:gd name="connsiteX121" fmla="*/ 148 w 10000"/>
                <a:gd name="connsiteY121" fmla="*/ 4535 h 10021"/>
                <a:gd name="connsiteX122" fmla="*/ 193 w 10000"/>
                <a:gd name="connsiteY122" fmla="*/ 4673 h 10021"/>
                <a:gd name="connsiteX123" fmla="*/ 237 w 10000"/>
                <a:gd name="connsiteY123" fmla="*/ 4810 h 10021"/>
                <a:gd name="connsiteX124" fmla="*/ 282 w 10000"/>
                <a:gd name="connsiteY124" fmla="*/ 4948 h 10021"/>
                <a:gd name="connsiteX125" fmla="*/ 334 w 10000"/>
                <a:gd name="connsiteY125" fmla="*/ 5085 h 10021"/>
                <a:gd name="connsiteX126" fmla="*/ 393 w 10000"/>
                <a:gd name="connsiteY126" fmla="*/ 5218 h 10021"/>
                <a:gd name="connsiteX127" fmla="*/ 452 w 10000"/>
                <a:gd name="connsiteY127" fmla="*/ 5351 h 10021"/>
                <a:gd name="connsiteX128" fmla="*/ 519 w 10000"/>
                <a:gd name="connsiteY128" fmla="*/ 5484 h 10021"/>
                <a:gd name="connsiteX129" fmla="*/ 586 w 10000"/>
                <a:gd name="connsiteY129" fmla="*/ 5617 h 10021"/>
                <a:gd name="connsiteX130" fmla="*/ 660 w 10000"/>
                <a:gd name="connsiteY130" fmla="*/ 5745 h 10021"/>
                <a:gd name="connsiteX131" fmla="*/ 741 w 10000"/>
                <a:gd name="connsiteY131" fmla="*/ 5873 h 10021"/>
                <a:gd name="connsiteX132" fmla="*/ 823 w 10000"/>
                <a:gd name="connsiteY132" fmla="*/ 6006 h 10021"/>
                <a:gd name="connsiteX133" fmla="*/ 904 w 10000"/>
                <a:gd name="connsiteY133" fmla="*/ 6130 h 10021"/>
                <a:gd name="connsiteX134" fmla="*/ 993 w 10000"/>
                <a:gd name="connsiteY134" fmla="*/ 6254 h 10021"/>
                <a:gd name="connsiteX135" fmla="*/ 1090 w 10000"/>
                <a:gd name="connsiteY135" fmla="*/ 6373 h 10021"/>
                <a:gd name="connsiteX136" fmla="*/ 1186 w 10000"/>
                <a:gd name="connsiteY136" fmla="*/ 6497 h 10021"/>
                <a:gd name="connsiteX137" fmla="*/ 1290 w 10000"/>
                <a:gd name="connsiteY137" fmla="*/ 6620 h 10021"/>
                <a:gd name="connsiteX138" fmla="*/ 1386 w 10000"/>
                <a:gd name="connsiteY138" fmla="*/ 6740 h 10021"/>
                <a:gd name="connsiteX139" fmla="*/ 1497 w 10000"/>
                <a:gd name="connsiteY139" fmla="*/ 6859 h 10021"/>
                <a:gd name="connsiteX140" fmla="*/ 1609 w 10000"/>
                <a:gd name="connsiteY140" fmla="*/ 6973 h 10021"/>
                <a:gd name="connsiteX141" fmla="*/ 1727 w 10000"/>
                <a:gd name="connsiteY141" fmla="*/ 7092 h 10021"/>
                <a:gd name="connsiteX142" fmla="*/ 1846 w 10000"/>
                <a:gd name="connsiteY142" fmla="*/ 7207 h 10021"/>
                <a:gd name="connsiteX143" fmla="*/ 1964 w 10000"/>
                <a:gd name="connsiteY143" fmla="*/ 7317 h 10021"/>
                <a:gd name="connsiteX144" fmla="*/ 2090 w 10000"/>
                <a:gd name="connsiteY144" fmla="*/ 7427 h 10021"/>
                <a:gd name="connsiteX145" fmla="*/ 2224 w 10000"/>
                <a:gd name="connsiteY145" fmla="*/ 7537 h 10021"/>
                <a:gd name="connsiteX146" fmla="*/ 2350 w 10000"/>
                <a:gd name="connsiteY146" fmla="*/ 7647 h 10021"/>
                <a:gd name="connsiteX147" fmla="*/ 2491 w 10000"/>
                <a:gd name="connsiteY147" fmla="*/ 7752 h 10021"/>
                <a:gd name="connsiteX148" fmla="*/ 2617 w 10000"/>
                <a:gd name="connsiteY148" fmla="*/ 7858 h 10021"/>
                <a:gd name="connsiteX149" fmla="*/ 2765 w 10000"/>
                <a:gd name="connsiteY149" fmla="*/ 7959 h 10021"/>
                <a:gd name="connsiteX150" fmla="*/ 2906 w 10000"/>
                <a:gd name="connsiteY150" fmla="*/ 8059 h 10021"/>
                <a:gd name="connsiteX151" fmla="*/ 3054 w 10000"/>
                <a:gd name="connsiteY151" fmla="*/ 8160 h 10021"/>
                <a:gd name="connsiteX152" fmla="*/ 3210 w 10000"/>
                <a:gd name="connsiteY152" fmla="*/ 8257 h 10021"/>
                <a:gd name="connsiteX153" fmla="*/ 3358 w 10000"/>
                <a:gd name="connsiteY153" fmla="*/ 8353 h 10021"/>
                <a:gd name="connsiteX154" fmla="*/ 3514 w 10000"/>
                <a:gd name="connsiteY154" fmla="*/ 8449 h 10021"/>
                <a:gd name="connsiteX155" fmla="*/ 3677 w 10000"/>
                <a:gd name="connsiteY155" fmla="*/ 8541 h 10021"/>
                <a:gd name="connsiteX156" fmla="*/ 3840 w 10000"/>
                <a:gd name="connsiteY156" fmla="*/ 8628 h 10021"/>
                <a:gd name="connsiteX157" fmla="*/ 4010 w 10000"/>
                <a:gd name="connsiteY157" fmla="*/ 8719 h 10021"/>
                <a:gd name="connsiteX158" fmla="*/ 4181 w 10000"/>
                <a:gd name="connsiteY158" fmla="*/ 8797 h 10021"/>
                <a:gd name="connsiteX159" fmla="*/ 4351 w 10000"/>
                <a:gd name="connsiteY159" fmla="*/ 8884 h 10021"/>
                <a:gd name="connsiteX160" fmla="*/ 4522 w 10000"/>
                <a:gd name="connsiteY160" fmla="*/ 8962 h 10021"/>
                <a:gd name="connsiteX161" fmla="*/ 4700 w 10000"/>
                <a:gd name="connsiteY161" fmla="*/ 9045 h 10021"/>
                <a:gd name="connsiteX162" fmla="*/ 4878 w 10000"/>
                <a:gd name="connsiteY162" fmla="*/ 9123 h 10021"/>
                <a:gd name="connsiteX163" fmla="*/ 5063 w 10000"/>
                <a:gd name="connsiteY163" fmla="*/ 9196 h 10021"/>
                <a:gd name="connsiteX164" fmla="*/ 5248 w 10000"/>
                <a:gd name="connsiteY164" fmla="*/ 9274 h 10021"/>
                <a:gd name="connsiteX165" fmla="*/ 5426 w 10000"/>
                <a:gd name="connsiteY165" fmla="*/ 9343 h 10021"/>
                <a:gd name="connsiteX166" fmla="*/ 5619 w 10000"/>
                <a:gd name="connsiteY166" fmla="*/ 9411 h 10021"/>
                <a:gd name="connsiteX167" fmla="*/ 5812 w 10000"/>
                <a:gd name="connsiteY167" fmla="*/ 9480 h 10021"/>
                <a:gd name="connsiteX168" fmla="*/ 6004 w 10000"/>
                <a:gd name="connsiteY168" fmla="*/ 9544 h 10021"/>
                <a:gd name="connsiteX169" fmla="*/ 6205 w 10000"/>
                <a:gd name="connsiteY169" fmla="*/ 9609 h 10021"/>
                <a:gd name="connsiteX170" fmla="*/ 6397 w 10000"/>
                <a:gd name="connsiteY170" fmla="*/ 9668 h 10021"/>
                <a:gd name="connsiteX171" fmla="*/ 6605 w 10000"/>
                <a:gd name="connsiteY171" fmla="*/ 9723 h 10021"/>
                <a:gd name="connsiteX172" fmla="*/ 6805 w 10000"/>
                <a:gd name="connsiteY172" fmla="*/ 9778 h 10021"/>
                <a:gd name="connsiteX173" fmla="*/ 7005 w 10000"/>
                <a:gd name="connsiteY173" fmla="*/ 9833 h 10021"/>
                <a:gd name="connsiteX174" fmla="*/ 7213 w 10000"/>
                <a:gd name="connsiteY174" fmla="*/ 9884 h 10021"/>
                <a:gd name="connsiteX175" fmla="*/ 7420 w 10000"/>
                <a:gd name="connsiteY175" fmla="*/ 9929 h 10021"/>
                <a:gd name="connsiteX176" fmla="*/ 7628 w 10000"/>
                <a:gd name="connsiteY176" fmla="*/ 9975 h 10021"/>
                <a:gd name="connsiteX177" fmla="*/ 7835 w 10000"/>
                <a:gd name="connsiteY177" fmla="*/ 10021 h 10021"/>
                <a:gd name="connsiteX178" fmla="*/ 7539 w 10000"/>
                <a:gd name="connsiteY178" fmla="*/ 7775 h 10021"/>
                <a:gd name="connsiteX179" fmla="*/ 10000 w 10000"/>
                <a:gd name="connsiteY179" fmla="*/ 6162 h 10021"/>
                <a:gd name="connsiteX0" fmla="*/ 10000 w 10000"/>
                <a:gd name="connsiteY0" fmla="*/ 6148 h 10007"/>
                <a:gd name="connsiteX1" fmla="*/ 10000 w 10000"/>
                <a:gd name="connsiteY1" fmla="*/ 6148 h 10007"/>
                <a:gd name="connsiteX2" fmla="*/ 9911 w 10000"/>
                <a:gd name="connsiteY2" fmla="*/ 6134 h 10007"/>
                <a:gd name="connsiteX3" fmla="*/ 9815 w 10000"/>
                <a:gd name="connsiteY3" fmla="*/ 6116 h 10007"/>
                <a:gd name="connsiteX4" fmla="*/ 9726 w 10000"/>
                <a:gd name="connsiteY4" fmla="*/ 6098 h 10007"/>
                <a:gd name="connsiteX5" fmla="*/ 9637 w 10000"/>
                <a:gd name="connsiteY5" fmla="*/ 6075 h 10007"/>
                <a:gd name="connsiteX6" fmla="*/ 9548 w 10000"/>
                <a:gd name="connsiteY6" fmla="*/ 6056 h 10007"/>
                <a:gd name="connsiteX7" fmla="*/ 9466 w 10000"/>
                <a:gd name="connsiteY7" fmla="*/ 6034 h 10007"/>
                <a:gd name="connsiteX8" fmla="*/ 9377 w 10000"/>
                <a:gd name="connsiteY8" fmla="*/ 6011 h 10007"/>
                <a:gd name="connsiteX9" fmla="*/ 9288 w 10000"/>
                <a:gd name="connsiteY9" fmla="*/ 5988 h 10007"/>
                <a:gd name="connsiteX10" fmla="*/ 9118 w 10000"/>
                <a:gd name="connsiteY10" fmla="*/ 5937 h 10007"/>
                <a:gd name="connsiteX11" fmla="*/ 8955 w 10000"/>
                <a:gd name="connsiteY11" fmla="*/ 5882 h 10007"/>
                <a:gd name="connsiteX12" fmla="*/ 8792 w 10000"/>
                <a:gd name="connsiteY12" fmla="*/ 5823 h 10007"/>
                <a:gd name="connsiteX13" fmla="*/ 8636 w 10000"/>
                <a:gd name="connsiteY13" fmla="*/ 5759 h 10007"/>
                <a:gd name="connsiteX14" fmla="*/ 8480 w 10000"/>
                <a:gd name="connsiteY14" fmla="*/ 5694 h 10007"/>
                <a:gd name="connsiteX15" fmla="*/ 8340 w 10000"/>
                <a:gd name="connsiteY15" fmla="*/ 5626 h 10007"/>
                <a:gd name="connsiteX16" fmla="*/ 8199 w 10000"/>
                <a:gd name="connsiteY16" fmla="*/ 5552 h 10007"/>
                <a:gd name="connsiteX17" fmla="*/ 8058 w 10000"/>
                <a:gd name="connsiteY17" fmla="*/ 5474 h 10007"/>
                <a:gd name="connsiteX18" fmla="*/ 7924 w 10000"/>
                <a:gd name="connsiteY18" fmla="*/ 5392 h 10007"/>
                <a:gd name="connsiteX19" fmla="*/ 7798 w 10000"/>
                <a:gd name="connsiteY19" fmla="*/ 5309 h 10007"/>
                <a:gd name="connsiteX20" fmla="*/ 7672 w 10000"/>
                <a:gd name="connsiteY20" fmla="*/ 5222 h 10007"/>
                <a:gd name="connsiteX21" fmla="*/ 7554 w 10000"/>
                <a:gd name="connsiteY21" fmla="*/ 5135 h 10007"/>
                <a:gd name="connsiteX22" fmla="*/ 7450 w 10000"/>
                <a:gd name="connsiteY22" fmla="*/ 5039 h 10007"/>
                <a:gd name="connsiteX23" fmla="*/ 7346 w 10000"/>
                <a:gd name="connsiteY23" fmla="*/ 4943 h 10007"/>
                <a:gd name="connsiteX24" fmla="*/ 7250 w 10000"/>
                <a:gd name="connsiteY24" fmla="*/ 4847 h 10007"/>
                <a:gd name="connsiteX25" fmla="*/ 7161 w 10000"/>
                <a:gd name="connsiteY25" fmla="*/ 4746 h 10007"/>
                <a:gd name="connsiteX26" fmla="*/ 7072 w 10000"/>
                <a:gd name="connsiteY26" fmla="*/ 4645 h 10007"/>
                <a:gd name="connsiteX27" fmla="*/ 6990 w 10000"/>
                <a:gd name="connsiteY27" fmla="*/ 4535 h 10007"/>
                <a:gd name="connsiteX28" fmla="*/ 6953 w 10000"/>
                <a:gd name="connsiteY28" fmla="*/ 4485 h 10007"/>
                <a:gd name="connsiteX29" fmla="*/ 6916 w 10000"/>
                <a:gd name="connsiteY29" fmla="*/ 4430 h 10007"/>
                <a:gd name="connsiteX30" fmla="*/ 6887 w 10000"/>
                <a:gd name="connsiteY30" fmla="*/ 4375 h 10007"/>
                <a:gd name="connsiteX31" fmla="*/ 6850 w 10000"/>
                <a:gd name="connsiteY31" fmla="*/ 4320 h 10007"/>
                <a:gd name="connsiteX32" fmla="*/ 6820 w 10000"/>
                <a:gd name="connsiteY32" fmla="*/ 4265 h 10007"/>
                <a:gd name="connsiteX33" fmla="*/ 6790 w 10000"/>
                <a:gd name="connsiteY33" fmla="*/ 4210 h 10007"/>
                <a:gd name="connsiteX34" fmla="*/ 6768 w 10000"/>
                <a:gd name="connsiteY34" fmla="*/ 4150 h 10007"/>
                <a:gd name="connsiteX35" fmla="*/ 6738 w 10000"/>
                <a:gd name="connsiteY35" fmla="*/ 4095 h 10007"/>
                <a:gd name="connsiteX36" fmla="*/ 6723 w 10000"/>
                <a:gd name="connsiteY36" fmla="*/ 4035 h 10007"/>
                <a:gd name="connsiteX37" fmla="*/ 6694 w 10000"/>
                <a:gd name="connsiteY37" fmla="*/ 3980 h 10007"/>
                <a:gd name="connsiteX38" fmla="*/ 6679 w 10000"/>
                <a:gd name="connsiteY38" fmla="*/ 3921 h 10007"/>
                <a:gd name="connsiteX39" fmla="*/ 6664 w 10000"/>
                <a:gd name="connsiteY39" fmla="*/ 3861 h 10007"/>
                <a:gd name="connsiteX40" fmla="*/ 6649 w 10000"/>
                <a:gd name="connsiteY40" fmla="*/ 3802 h 10007"/>
                <a:gd name="connsiteX41" fmla="*/ 6635 w 10000"/>
                <a:gd name="connsiteY41" fmla="*/ 3747 h 10007"/>
                <a:gd name="connsiteX42" fmla="*/ 6620 w 10000"/>
                <a:gd name="connsiteY42" fmla="*/ 3687 h 10007"/>
                <a:gd name="connsiteX43" fmla="*/ 6612 w 10000"/>
                <a:gd name="connsiteY43" fmla="*/ 3628 h 10007"/>
                <a:gd name="connsiteX44" fmla="*/ 6605 w 10000"/>
                <a:gd name="connsiteY44" fmla="*/ 3568 h 10007"/>
                <a:gd name="connsiteX45" fmla="*/ 6597 w 10000"/>
                <a:gd name="connsiteY45" fmla="*/ 3504 h 10007"/>
                <a:gd name="connsiteX46" fmla="*/ 6597 w 10000"/>
                <a:gd name="connsiteY46" fmla="*/ 3444 h 10007"/>
                <a:gd name="connsiteX47" fmla="*/ 6590 w 10000"/>
                <a:gd name="connsiteY47" fmla="*/ 3380 h 10007"/>
                <a:gd name="connsiteX48" fmla="*/ 6597 w 10000"/>
                <a:gd name="connsiteY48" fmla="*/ 3320 h 10007"/>
                <a:gd name="connsiteX49" fmla="*/ 6605 w 10000"/>
                <a:gd name="connsiteY49" fmla="*/ 3252 h 10007"/>
                <a:gd name="connsiteX50" fmla="*/ 6605 w 10000"/>
                <a:gd name="connsiteY50" fmla="*/ 3188 h 10007"/>
                <a:gd name="connsiteX51" fmla="*/ 6612 w 10000"/>
                <a:gd name="connsiteY51" fmla="*/ 3123 h 10007"/>
                <a:gd name="connsiteX52" fmla="*/ 6620 w 10000"/>
                <a:gd name="connsiteY52" fmla="*/ 3059 h 10007"/>
                <a:gd name="connsiteX53" fmla="*/ 6635 w 10000"/>
                <a:gd name="connsiteY53" fmla="*/ 3000 h 10007"/>
                <a:gd name="connsiteX54" fmla="*/ 6649 w 10000"/>
                <a:gd name="connsiteY54" fmla="*/ 2936 h 10007"/>
                <a:gd name="connsiteX55" fmla="*/ 6664 w 10000"/>
                <a:gd name="connsiteY55" fmla="*/ 2876 h 10007"/>
                <a:gd name="connsiteX56" fmla="*/ 6686 w 10000"/>
                <a:gd name="connsiteY56" fmla="*/ 2812 h 10007"/>
                <a:gd name="connsiteX57" fmla="*/ 6709 w 10000"/>
                <a:gd name="connsiteY57" fmla="*/ 2752 h 10007"/>
                <a:gd name="connsiteX58" fmla="*/ 6731 w 10000"/>
                <a:gd name="connsiteY58" fmla="*/ 2693 h 10007"/>
                <a:gd name="connsiteX59" fmla="*/ 6753 w 10000"/>
                <a:gd name="connsiteY59" fmla="*/ 2628 h 10007"/>
                <a:gd name="connsiteX60" fmla="*/ 6783 w 10000"/>
                <a:gd name="connsiteY60" fmla="*/ 2573 h 10007"/>
                <a:gd name="connsiteX61" fmla="*/ 6812 w 10000"/>
                <a:gd name="connsiteY61" fmla="*/ 2514 h 10007"/>
                <a:gd name="connsiteX62" fmla="*/ 6842 w 10000"/>
                <a:gd name="connsiteY62" fmla="*/ 2454 h 10007"/>
                <a:gd name="connsiteX63" fmla="*/ 6879 w 10000"/>
                <a:gd name="connsiteY63" fmla="*/ 2395 h 10007"/>
                <a:gd name="connsiteX64" fmla="*/ 6909 w 10000"/>
                <a:gd name="connsiteY64" fmla="*/ 2340 h 10007"/>
                <a:gd name="connsiteX65" fmla="*/ 6946 w 10000"/>
                <a:gd name="connsiteY65" fmla="*/ 2280 h 10007"/>
                <a:gd name="connsiteX66" fmla="*/ 6990 w 10000"/>
                <a:gd name="connsiteY66" fmla="*/ 2225 h 10007"/>
                <a:gd name="connsiteX67" fmla="*/ 7027 w 10000"/>
                <a:gd name="connsiteY67" fmla="*/ 2170 h 10007"/>
                <a:gd name="connsiteX68" fmla="*/ 7072 w 10000"/>
                <a:gd name="connsiteY68" fmla="*/ 2115 h 10007"/>
                <a:gd name="connsiteX69" fmla="*/ 7109 w 10000"/>
                <a:gd name="connsiteY69" fmla="*/ 2060 h 10007"/>
                <a:gd name="connsiteX70" fmla="*/ 7161 w 10000"/>
                <a:gd name="connsiteY70" fmla="*/ 2010 h 10007"/>
                <a:gd name="connsiteX71" fmla="*/ 7213 w 10000"/>
                <a:gd name="connsiteY71" fmla="*/ 1955 h 10007"/>
                <a:gd name="connsiteX72" fmla="*/ 7257 w 10000"/>
                <a:gd name="connsiteY72" fmla="*/ 1900 h 10007"/>
                <a:gd name="connsiteX73" fmla="*/ 7309 w 10000"/>
                <a:gd name="connsiteY73" fmla="*/ 1849 h 10007"/>
                <a:gd name="connsiteX74" fmla="*/ 7361 w 10000"/>
                <a:gd name="connsiteY74" fmla="*/ 1799 h 10007"/>
                <a:gd name="connsiteX75" fmla="*/ 7413 w 10000"/>
                <a:gd name="connsiteY75" fmla="*/ 1749 h 10007"/>
                <a:gd name="connsiteX76" fmla="*/ 7472 w 10000"/>
                <a:gd name="connsiteY76" fmla="*/ 1698 h 10007"/>
                <a:gd name="connsiteX77" fmla="*/ 7524 w 10000"/>
                <a:gd name="connsiteY77" fmla="*/ 1652 h 10007"/>
                <a:gd name="connsiteX78" fmla="*/ 7583 w 10000"/>
                <a:gd name="connsiteY78" fmla="*/ 1606 h 10007"/>
                <a:gd name="connsiteX79" fmla="*/ 7643 w 10000"/>
                <a:gd name="connsiteY79" fmla="*/ 1556 h 10007"/>
                <a:gd name="connsiteX80" fmla="*/ 5390 w 10000"/>
                <a:gd name="connsiteY80" fmla="*/ 0 h 10007"/>
                <a:gd name="connsiteX81" fmla="*/ 1401 w 10000"/>
                <a:gd name="connsiteY81" fmla="*/ 0 h 10007"/>
                <a:gd name="connsiteX82" fmla="*/ 1305 w 10000"/>
                <a:gd name="connsiteY82" fmla="*/ 135 h 10007"/>
                <a:gd name="connsiteX83" fmla="*/ 1223 w 10000"/>
                <a:gd name="connsiteY83" fmla="*/ 227 h 10007"/>
                <a:gd name="connsiteX84" fmla="*/ 1149 w 10000"/>
                <a:gd name="connsiteY84" fmla="*/ 323 h 10007"/>
                <a:gd name="connsiteX85" fmla="*/ 1067 w 10000"/>
                <a:gd name="connsiteY85" fmla="*/ 419 h 10007"/>
                <a:gd name="connsiteX86" fmla="*/ 1001 w 10000"/>
                <a:gd name="connsiteY86" fmla="*/ 516 h 10007"/>
                <a:gd name="connsiteX87" fmla="*/ 927 w 10000"/>
                <a:gd name="connsiteY87" fmla="*/ 612 h 10007"/>
                <a:gd name="connsiteX88" fmla="*/ 860 w 10000"/>
                <a:gd name="connsiteY88" fmla="*/ 713 h 10007"/>
                <a:gd name="connsiteX89" fmla="*/ 793 w 10000"/>
                <a:gd name="connsiteY89" fmla="*/ 814 h 10007"/>
                <a:gd name="connsiteX90" fmla="*/ 734 w 10000"/>
                <a:gd name="connsiteY90" fmla="*/ 910 h 10007"/>
                <a:gd name="connsiteX91" fmla="*/ 675 w 10000"/>
                <a:gd name="connsiteY91" fmla="*/ 1011 h 10007"/>
                <a:gd name="connsiteX92" fmla="*/ 615 w 10000"/>
                <a:gd name="connsiteY92" fmla="*/ 1111 h 10007"/>
                <a:gd name="connsiteX93" fmla="*/ 556 w 10000"/>
                <a:gd name="connsiteY93" fmla="*/ 1217 h 10007"/>
                <a:gd name="connsiteX94" fmla="*/ 504 w 10000"/>
                <a:gd name="connsiteY94" fmla="*/ 1313 h 10007"/>
                <a:gd name="connsiteX95" fmla="*/ 452 w 10000"/>
                <a:gd name="connsiteY95" fmla="*/ 1419 h 10007"/>
                <a:gd name="connsiteX96" fmla="*/ 408 w 10000"/>
                <a:gd name="connsiteY96" fmla="*/ 1519 h 10007"/>
                <a:gd name="connsiteX97" fmla="*/ 363 w 10000"/>
                <a:gd name="connsiteY97" fmla="*/ 1625 h 10007"/>
                <a:gd name="connsiteX98" fmla="*/ 319 w 10000"/>
                <a:gd name="connsiteY98" fmla="*/ 1730 h 10007"/>
                <a:gd name="connsiteX99" fmla="*/ 282 w 10000"/>
                <a:gd name="connsiteY99" fmla="*/ 1836 h 10007"/>
                <a:gd name="connsiteX100" fmla="*/ 237 w 10000"/>
                <a:gd name="connsiteY100" fmla="*/ 1946 h 10007"/>
                <a:gd name="connsiteX101" fmla="*/ 208 w 10000"/>
                <a:gd name="connsiteY101" fmla="*/ 2051 h 10007"/>
                <a:gd name="connsiteX102" fmla="*/ 170 w 10000"/>
                <a:gd name="connsiteY102" fmla="*/ 2161 h 10007"/>
                <a:gd name="connsiteX103" fmla="*/ 148 w 10000"/>
                <a:gd name="connsiteY103" fmla="*/ 2271 h 10007"/>
                <a:gd name="connsiteX104" fmla="*/ 119 w 10000"/>
                <a:gd name="connsiteY104" fmla="*/ 2376 h 10007"/>
                <a:gd name="connsiteX105" fmla="*/ 96 w 10000"/>
                <a:gd name="connsiteY105" fmla="*/ 2486 h 10007"/>
                <a:gd name="connsiteX106" fmla="*/ 74 w 10000"/>
                <a:gd name="connsiteY106" fmla="*/ 2596 h 10007"/>
                <a:gd name="connsiteX107" fmla="*/ 52 w 10000"/>
                <a:gd name="connsiteY107" fmla="*/ 2711 h 10007"/>
                <a:gd name="connsiteX108" fmla="*/ 37 w 10000"/>
                <a:gd name="connsiteY108" fmla="*/ 2821 h 10007"/>
                <a:gd name="connsiteX109" fmla="*/ 22 w 10000"/>
                <a:gd name="connsiteY109" fmla="*/ 2931 h 10007"/>
                <a:gd name="connsiteX110" fmla="*/ 15 w 10000"/>
                <a:gd name="connsiteY110" fmla="*/ 3041 h 10007"/>
                <a:gd name="connsiteX111" fmla="*/ 7 w 10000"/>
                <a:gd name="connsiteY111" fmla="*/ 3155 h 10007"/>
                <a:gd name="connsiteX112" fmla="*/ 0 w 10000"/>
                <a:gd name="connsiteY112" fmla="*/ 3265 h 10007"/>
                <a:gd name="connsiteX113" fmla="*/ 0 w 10000"/>
                <a:gd name="connsiteY113" fmla="*/ 3380 h 10007"/>
                <a:gd name="connsiteX114" fmla="*/ 7 w 10000"/>
                <a:gd name="connsiteY114" fmla="*/ 3527 h 10007"/>
                <a:gd name="connsiteX115" fmla="*/ 7 w 10000"/>
                <a:gd name="connsiteY115" fmla="*/ 3673 h 10007"/>
                <a:gd name="connsiteX116" fmla="*/ 22 w 10000"/>
                <a:gd name="connsiteY116" fmla="*/ 3811 h 10007"/>
                <a:gd name="connsiteX117" fmla="*/ 37 w 10000"/>
                <a:gd name="connsiteY117" fmla="*/ 3953 h 10007"/>
                <a:gd name="connsiteX118" fmla="*/ 59 w 10000"/>
                <a:gd name="connsiteY118" fmla="*/ 4095 h 10007"/>
                <a:gd name="connsiteX119" fmla="*/ 89 w 10000"/>
                <a:gd name="connsiteY119" fmla="*/ 4237 h 10007"/>
                <a:gd name="connsiteX120" fmla="*/ 119 w 10000"/>
                <a:gd name="connsiteY120" fmla="*/ 4379 h 10007"/>
                <a:gd name="connsiteX121" fmla="*/ 148 w 10000"/>
                <a:gd name="connsiteY121" fmla="*/ 4521 h 10007"/>
                <a:gd name="connsiteX122" fmla="*/ 193 w 10000"/>
                <a:gd name="connsiteY122" fmla="*/ 4659 h 10007"/>
                <a:gd name="connsiteX123" fmla="*/ 237 w 10000"/>
                <a:gd name="connsiteY123" fmla="*/ 4796 h 10007"/>
                <a:gd name="connsiteX124" fmla="*/ 282 w 10000"/>
                <a:gd name="connsiteY124" fmla="*/ 4934 h 10007"/>
                <a:gd name="connsiteX125" fmla="*/ 334 w 10000"/>
                <a:gd name="connsiteY125" fmla="*/ 5071 h 10007"/>
                <a:gd name="connsiteX126" fmla="*/ 393 w 10000"/>
                <a:gd name="connsiteY126" fmla="*/ 5204 h 10007"/>
                <a:gd name="connsiteX127" fmla="*/ 452 w 10000"/>
                <a:gd name="connsiteY127" fmla="*/ 5337 h 10007"/>
                <a:gd name="connsiteX128" fmla="*/ 519 w 10000"/>
                <a:gd name="connsiteY128" fmla="*/ 5470 h 10007"/>
                <a:gd name="connsiteX129" fmla="*/ 586 w 10000"/>
                <a:gd name="connsiteY129" fmla="*/ 5603 h 10007"/>
                <a:gd name="connsiteX130" fmla="*/ 660 w 10000"/>
                <a:gd name="connsiteY130" fmla="*/ 5731 h 10007"/>
                <a:gd name="connsiteX131" fmla="*/ 741 w 10000"/>
                <a:gd name="connsiteY131" fmla="*/ 5859 h 10007"/>
                <a:gd name="connsiteX132" fmla="*/ 823 w 10000"/>
                <a:gd name="connsiteY132" fmla="*/ 5992 h 10007"/>
                <a:gd name="connsiteX133" fmla="*/ 904 w 10000"/>
                <a:gd name="connsiteY133" fmla="*/ 6116 h 10007"/>
                <a:gd name="connsiteX134" fmla="*/ 993 w 10000"/>
                <a:gd name="connsiteY134" fmla="*/ 6240 h 10007"/>
                <a:gd name="connsiteX135" fmla="*/ 1090 w 10000"/>
                <a:gd name="connsiteY135" fmla="*/ 6359 h 10007"/>
                <a:gd name="connsiteX136" fmla="*/ 1186 w 10000"/>
                <a:gd name="connsiteY136" fmla="*/ 6483 h 10007"/>
                <a:gd name="connsiteX137" fmla="*/ 1290 w 10000"/>
                <a:gd name="connsiteY137" fmla="*/ 6606 h 10007"/>
                <a:gd name="connsiteX138" fmla="*/ 1386 w 10000"/>
                <a:gd name="connsiteY138" fmla="*/ 6726 h 10007"/>
                <a:gd name="connsiteX139" fmla="*/ 1497 w 10000"/>
                <a:gd name="connsiteY139" fmla="*/ 6845 h 10007"/>
                <a:gd name="connsiteX140" fmla="*/ 1609 w 10000"/>
                <a:gd name="connsiteY140" fmla="*/ 6959 h 10007"/>
                <a:gd name="connsiteX141" fmla="*/ 1727 w 10000"/>
                <a:gd name="connsiteY141" fmla="*/ 7078 h 10007"/>
                <a:gd name="connsiteX142" fmla="*/ 1846 w 10000"/>
                <a:gd name="connsiteY142" fmla="*/ 7193 h 10007"/>
                <a:gd name="connsiteX143" fmla="*/ 1964 w 10000"/>
                <a:gd name="connsiteY143" fmla="*/ 7303 h 10007"/>
                <a:gd name="connsiteX144" fmla="*/ 2090 w 10000"/>
                <a:gd name="connsiteY144" fmla="*/ 7413 h 10007"/>
                <a:gd name="connsiteX145" fmla="*/ 2224 w 10000"/>
                <a:gd name="connsiteY145" fmla="*/ 7523 h 10007"/>
                <a:gd name="connsiteX146" fmla="*/ 2350 w 10000"/>
                <a:gd name="connsiteY146" fmla="*/ 7633 h 10007"/>
                <a:gd name="connsiteX147" fmla="*/ 2491 w 10000"/>
                <a:gd name="connsiteY147" fmla="*/ 7738 h 10007"/>
                <a:gd name="connsiteX148" fmla="*/ 2617 w 10000"/>
                <a:gd name="connsiteY148" fmla="*/ 7844 h 10007"/>
                <a:gd name="connsiteX149" fmla="*/ 2765 w 10000"/>
                <a:gd name="connsiteY149" fmla="*/ 7945 h 10007"/>
                <a:gd name="connsiteX150" fmla="*/ 2906 w 10000"/>
                <a:gd name="connsiteY150" fmla="*/ 8045 h 10007"/>
                <a:gd name="connsiteX151" fmla="*/ 3054 w 10000"/>
                <a:gd name="connsiteY151" fmla="*/ 8146 h 10007"/>
                <a:gd name="connsiteX152" fmla="*/ 3210 w 10000"/>
                <a:gd name="connsiteY152" fmla="*/ 8243 h 10007"/>
                <a:gd name="connsiteX153" fmla="*/ 3358 w 10000"/>
                <a:gd name="connsiteY153" fmla="*/ 8339 h 10007"/>
                <a:gd name="connsiteX154" fmla="*/ 3514 w 10000"/>
                <a:gd name="connsiteY154" fmla="*/ 8435 h 10007"/>
                <a:gd name="connsiteX155" fmla="*/ 3677 w 10000"/>
                <a:gd name="connsiteY155" fmla="*/ 8527 h 10007"/>
                <a:gd name="connsiteX156" fmla="*/ 3840 w 10000"/>
                <a:gd name="connsiteY156" fmla="*/ 8614 h 10007"/>
                <a:gd name="connsiteX157" fmla="*/ 4010 w 10000"/>
                <a:gd name="connsiteY157" fmla="*/ 8705 h 10007"/>
                <a:gd name="connsiteX158" fmla="*/ 4181 w 10000"/>
                <a:gd name="connsiteY158" fmla="*/ 8783 h 10007"/>
                <a:gd name="connsiteX159" fmla="*/ 4351 w 10000"/>
                <a:gd name="connsiteY159" fmla="*/ 8870 h 10007"/>
                <a:gd name="connsiteX160" fmla="*/ 4522 w 10000"/>
                <a:gd name="connsiteY160" fmla="*/ 8948 h 10007"/>
                <a:gd name="connsiteX161" fmla="*/ 4700 w 10000"/>
                <a:gd name="connsiteY161" fmla="*/ 9031 h 10007"/>
                <a:gd name="connsiteX162" fmla="*/ 4878 w 10000"/>
                <a:gd name="connsiteY162" fmla="*/ 9109 h 10007"/>
                <a:gd name="connsiteX163" fmla="*/ 5063 w 10000"/>
                <a:gd name="connsiteY163" fmla="*/ 9182 h 10007"/>
                <a:gd name="connsiteX164" fmla="*/ 5248 w 10000"/>
                <a:gd name="connsiteY164" fmla="*/ 9260 h 10007"/>
                <a:gd name="connsiteX165" fmla="*/ 5426 w 10000"/>
                <a:gd name="connsiteY165" fmla="*/ 9329 h 10007"/>
                <a:gd name="connsiteX166" fmla="*/ 5619 w 10000"/>
                <a:gd name="connsiteY166" fmla="*/ 9397 h 10007"/>
                <a:gd name="connsiteX167" fmla="*/ 5812 w 10000"/>
                <a:gd name="connsiteY167" fmla="*/ 9466 h 10007"/>
                <a:gd name="connsiteX168" fmla="*/ 6004 w 10000"/>
                <a:gd name="connsiteY168" fmla="*/ 9530 h 10007"/>
                <a:gd name="connsiteX169" fmla="*/ 6205 w 10000"/>
                <a:gd name="connsiteY169" fmla="*/ 9595 h 10007"/>
                <a:gd name="connsiteX170" fmla="*/ 6397 w 10000"/>
                <a:gd name="connsiteY170" fmla="*/ 9654 h 10007"/>
                <a:gd name="connsiteX171" fmla="*/ 6605 w 10000"/>
                <a:gd name="connsiteY171" fmla="*/ 9709 h 10007"/>
                <a:gd name="connsiteX172" fmla="*/ 6805 w 10000"/>
                <a:gd name="connsiteY172" fmla="*/ 9764 h 10007"/>
                <a:gd name="connsiteX173" fmla="*/ 7005 w 10000"/>
                <a:gd name="connsiteY173" fmla="*/ 9819 h 10007"/>
                <a:gd name="connsiteX174" fmla="*/ 7213 w 10000"/>
                <a:gd name="connsiteY174" fmla="*/ 9870 h 10007"/>
                <a:gd name="connsiteX175" fmla="*/ 7420 w 10000"/>
                <a:gd name="connsiteY175" fmla="*/ 9915 h 10007"/>
                <a:gd name="connsiteX176" fmla="*/ 7628 w 10000"/>
                <a:gd name="connsiteY176" fmla="*/ 9961 h 10007"/>
                <a:gd name="connsiteX177" fmla="*/ 7835 w 10000"/>
                <a:gd name="connsiteY177" fmla="*/ 10007 h 10007"/>
                <a:gd name="connsiteX178" fmla="*/ 7539 w 10000"/>
                <a:gd name="connsiteY178" fmla="*/ 7761 h 10007"/>
                <a:gd name="connsiteX179" fmla="*/ 10000 w 10000"/>
                <a:gd name="connsiteY179" fmla="*/ 6148 h 10007"/>
                <a:gd name="connsiteX0" fmla="*/ 10000 w 10000"/>
                <a:gd name="connsiteY0" fmla="*/ 6148 h 10007"/>
                <a:gd name="connsiteX1" fmla="*/ 10000 w 10000"/>
                <a:gd name="connsiteY1" fmla="*/ 6148 h 10007"/>
                <a:gd name="connsiteX2" fmla="*/ 9911 w 10000"/>
                <a:gd name="connsiteY2" fmla="*/ 6134 h 10007"/>
                <a:gd name="connsiteX3" fmla="*/ 9815 w 10000"/>
                <a:gd name="connsiteY3" fmla="*/ 6116 h 10007"/>
                <a:gd name="connsiteX4" fmla="*/ 9726 w 10000"/>
                <a:gd name="connsiteY4" fmla="*/ 6098 h 10007"/>
                <a:gd name="connsiteX5" fmla="*/ 9637 w 10000"/>
                <a:gd name="connsiteY5" fmla="*/ 6075 h 10007"/>
                <a:gd name="connsiteX6" fmla="*/ 9548 w 10000"/>
                <a:gd name="connsiteY6" fmla="*/ 6056 h 10007"/>
                <a:gd name="connsiteX7" fmla="*/ 9466 w 10000"/>
                <a:gd name="connsiteY7" fmla="*/ 6034 h 10007"/>
                <a:gd name="connsiteX8" fmla="*/ 9377 w 10000"/>
                <a:gd name="connsiteY8" fmla="*/ 6011 h 10007"/>
                <a:gd name="connsiteX9" fmla="*/ 9288 w 10000"/>
                <a:gd name="connsiteY9" fmla="*/ 5988 h 10007"/>
                <a:gd name="connsiteX10" fmla="*/ 9118 w 10000"/>
                <a:gd name="connsiteY10" fmla="*/ 5937 h 10007"/>
                <a:gd name="connsiteX11" fmla="*/ 8955 w 10000"/>
                <a:gd name="connsiteY11" fmla="*/ 5882 h 10007"/>
                <a:gd name="connsiteX12" fmla="*/ 8792 w 10000"/>
                <a:gd name="connsiteY12" fmla="*/ 5823 h 10007"/>
                <a:gd name="connsiteX13" fmla="*/ 8636 w 10000"/>
                <a:gd name="connsiteY13" fmla="*/ 5759 h 10007"/>
                <a:gd name="connsiteX14" fmla="*/ 8480 w 10000"/>
                <a:gd name="connsiteY14" fmla="*/ 5694 h 10007"/>
                <a:gd name="connsiteX15" fmla="*/ 8340 w 10000"/>
                <a:gd name="connsiteY15" fmla="*/ 5626 h 10007"/>
                <a:gd name="connsiteX16" fmla="*/ 8199 w 10000"/>
                <a:gd name="connsiteY16" fmla="*/ 5552 h 10007"/>
                <a:gd name="connsiteX17" fmla="*/ 8058 w 10000"/>
                <a:gd name="connsiteY17" fmla="*/ 5474 h 10007"/>
                <a:gd name="connsiteX18" fmla="*/ 7924 w 10000"/>
                <a:gd name="connsiteY18" fmla="*/ 5392 h 10007"/>
                <a:gd name="connsiteX19" fmla="*/ 7798 w 10000"/>
                <a:gd name="connsiteY19" fmla="*/ 5309 h 10007"/>
                <a:gd name="connsiteX20" fmla="*/ 7672 w 10000"/>
                <a:gd name="connsiteY20" fmla="*/ 5222 h 10007"/>
                <a:gd name="connsiteX21" fmla="*/ 7554 w 10000"/>
                <a:gd name="connsiteY21" fmla="*/ 5135 h 10007"/>
                <a:gd name="connsiteX22" fmla="*/ 7450 w 10000"/>
                <a:gd name="connsiteY22" fmla="*/ 5039 h 10007"/>
                <a:gd name="connsiteX23" fmla="*/ 7346 w 10000"/>
                <a:gd name="connsiteY23" fmla="*/ 4943 h 10007"/>
                <a:gd name="connsiteX24" fmla="*/ 7250 w 10000"/>
                <a:gd name="connsiteY24" fmla="*/ 4847 h 10007"/>
                <a:gd name="connsiteX25" fmla="*/ 7161 w 10000"/>
                <a:gd name="connsiteY25" fmla="*/ 4746 h 10007"/>
                <a:gd name="connsiteX26" fmla="*/ 7072 w 10000"/>
                <a:gd name="connsiteY26" fmla="*/ 4645 h 10007"/>
                <a:gd name="connsiteX27" fmla="*/ 6990 w 10000"/>
                <a:gd name="connsiteY27" fmla="*/ 4535 h 10007"/>
                <a:gd name="connsiteX28" fmla="*/ 6953 w 10000"/>
                <a:gd name="connsiteY28" fmla="*/ 4485 h 10007"/>
                <a:gd name="connsiteX29" fmla="*/ 6916 w 10000"/>
                <a:gd name="connsiteY29" fmla="*/ 4430 h 10007"/>
                <a:gd name="connsiteX30" fmla="*/ 6887 w 10000"/>
                <a:gd name="connsiteY30" fmla="*/ 4375 h 10007"/>
                <a:gd name="connsiteX31" fmla="*/ 6850 w 10000"/>
                <a:gd name="connsiteY31" fmla="*/ 4320 h 10007"/>
                <a:gd name="connsiteX32" fmla="*/ 6820 w 10000"/>
                <a:gd name="connsiteY32" fmla="*/ 4265 h 10007"/>
                <a:gd name="connsiteX33" fmla="*/ 6790 w 10000"/>
                <a:gd name="connsiteY33" fmla="*/ 4210 h 10007"/>
                <a:gd name="connsiteX34" fmla="*/ 6768 w 10000"/>
                <a:gd name="connsiteY34" fmla="*/ 4150 h 10007"/>
                <a:gd name="connsiteX35" fmla="*/ 6738 w 10000"/>
                <a:gd name="connsiteY35" fmla="*/ 4095 h 10007"/>
                <a:gd name="connsiteX36" fmla="*/ 6723 w 10000"/>
                <a:gd name="connsiteY36" fmla="*/ 4035 h 10007"/>
                <a:gd name="connsiteX37" fmla="*/ 6694 w 10000"/>
                <a:gd name="connsiteY37" fmla="*/ 3980 h 10007"/>
                <a:gd name="connsiteX38" fmla="*/ 6679 w 10000"/>
                <a:gd name="connsiteY38" fmla="*/ 3921 h 10007"/>
                <a:gd name="connsiteX39" fmla="*/ 6664 w 10000"/>
                <a:gd name="connsiteY39" fmla="*/ 3861 h 10007"/>
                <a:gd name="connsiteX40" fmla="*/ 6649 w 10000"/>
                <a:gd name="connsiteY40" fmla="*/ 3802 h 10007"/>
                <a:gd name="connsiteX41" fmla="*/ 6635 w 10000"/>
                <a:gd name="connsiteY41" fmla="*/ 3747 h 10007"/>
                <a:gd name="connsiteX42" fmla="*/ 6620 w 10000"/>
                <a:gd name="connsiteY42" fmla="*/ 3687 h 10007"/>
                <a:gd name="connsiteX43" fmla="*/ 6612 w 10000"/>
                <a:gd name="connsiteY43" fmla="*/ 3628 h 10007"/>
                <a:gd name="connsiteX44" fmla="*/ 6605 w 10000"/>
                <a:gd name="connsiteY44" fmla="*/ 3568 h 10007"/>
                <a:gd name="connsiteX45" fmla="*/ 6597 w 10000"/>
                <a:gd name="connsiteY45" fmla="*/ 3504 h 10007"/>
                <a:gd name="connsiteX46" fmla="*/ 6597 w 10000"/>
                <a:gd name="connsiteY46" fmla="*/ 3444 h 10007"/>
                <a:gd name="connsiteX47" fmla="*/ 6590 w 10000"/>
                <a:gd name="connsiteY47" fmla="*/ 3380 h 10007"/>
                <a:gd name="connsiteX48" fmla="*/ 6597 w 10000"/>
                <a:gd name="connsiteY48" fmla="*/ 3320 h 10007"/>
                <a:gd name="connsiteX49" fmla="*/ 6605 w 10000"/>
                <a:gd name="connsiteY49" fmla="*/ 3252 h 10007"/>
                <a:gd name="connsiteX50" fmla="*/ 6605 w 10000"/>
                <a:gd name="connsiteY50" fmla="*/ 3188 h 10007"/>
                <a:gd name="connsiteX51" fmla="*/ 6612 w 10000"/>
                <a:gd name="connsiteY51" fmla="*/ 3123 h 10007"/>
                <a:gd name="connsiteX52" fmla="*/ 6620 w 10000"/>
                <a:gd name="connsiteY52" fmla="*/ 3059 h 10007"/>
                <a:gd name="connsiteX53" fmla="*/ 6635 w 10000"/>
                <a:gd name="connsiteY53" fmla="*/ 3000 h 10007"/>
                <a:gd name="connsiteX54" fmla="*/ 6649 w 10000"/>
                <a:gd name="connsiteY54" fmla="*/ 2936 h 10007"/>
                <a:gd name="connsiteX55" fmla="*/ 6664 w 10000"/>
                <a:gd name="connsiteY55" fmla="*/ 2876 h 10007"/>
                <a:gd name="connsiteX56" fmla="*/ 6686 w 10000"/>
                <a:gd name="connsiteY56" fmla="*/ 2812 h 10007"/>
                <a:gd name="connsiteX57" fmla="*/ 6709 w 10000"/>
                <a:gd name="connsiteY57" fmla="*/ 2752 h 10007"/>
                <a:gd name="connsiteX58" fmla="*/ 6731 w 10000"/>
                <a:gd name="connsiteY58" fmla="*/ 2693 h 10007"/>
                <a:gd name="connsiteX59" fmla="*/ 6753 w 10000"/>
                <a:gd name="connsiteY59" fmla="*/ 2628 h 10007"/>
                <a:gd name="connsiteX60" fmla="*/ 6783 w 10000"/>
                <a:gd name="connsiteY60" fmla="*/ 2573 h 10007"/>
                <a:gd name="connsiteX61" fmla="*/ 6812 w 10000"/>
                <a:gd name="connsiteY61" fmla="*/ 2514 h 10007"/>
                <a:gd name="connsiteX62" fmla="*/ 6842 w 10000"/>
                <a:gd name="connsiteY62" fmla="*/ 2454 h 10007"/>
                <a:gd name="connsiteX63" fmla="*/ 6879 w 10000"/>
                <a:gd name="connsiteY63" fmla="*/ 2395 h 10007"/>
                <a:gd name="connsiteX64" fmla="*/ 6909 w 10000"/>
                <a:gd name="connsiteY64" fmla="*/ 2340 h 10007"/>
                <a:gd name="connsiteX65" fmla="*/ 6946 w 10000"/>
                <a:gd name="connsiteY65" fmla="*/ 2280 h 10007"/>
                <a:gd name="connsiteX66" fmla="*/ 6990 w 10000"/>
                <a:gd name="connsiteY66" fmla="*/ 2225 h 10007"/>
                <a:gd name="connsiteX67" fmla="*/ 7027 w 10000"/>
                <a:gd name="connsiteY67" fmla="*/ 2170 h 10007"/>
                <a:gd name="connsiteX68" fmla="*/ 7072 w 10000"/>
                <a:gd name="connsiteY68" fmla="*/ 2115 h 10007"/>
                <a:gd name="connsiteX69" fmla="*/ 7109 w 10000"/>
                <a:gd name="connsiteY69" fmla="*/ 2060 h 10007"/>
                <a:gd name="connsiteX70" fmla="*/ 7161 w 10000"/>
                <a:gd name="connsiteY70" fmla="*/ 2010 h 10007"/>
                <a:gd name="connsiteX71" fmla="*/ 7213 w 10000"/>
                <a:gd name="connsiteY71" fmla="*/ 1955 h 10007"/>
                <a:gd name="connsiteX72" fmla="*/ 7257 w 10000"/>
                <a:gd name="connsiteY72" fmla="*/ 1900 h 10007"/>
                <a:gd name="connsiteX73" fmla="*/ 7309 w 10000"/>
                <a:gd name="connsiteY73" fmla="*/ 1849 h 10007"/>
                <a:gd name="connsiteX74" fmla="*/ 7361 w 10000"/>
                <a:gd name="connsiteY74" fmla="*/ 1799 h 10007"/>
                <a:gd name="connsiteX75" fmla="*/ 7413 w 10000"/>
                <a:gd name="connsiteY75" fmla="*/ 1749 h 10007"/>
                <a:gd name="connsiteX76" fmla="*/ 7472 w 10000"/>
                <a:gd name="connsiteY76" fmla="*/ 1698 h 10007"/>
                <a:gd name="connsiteX77" fmla="*/ 7524 w 10000"/>
                <a:gd name="connsiteY77" fmla="*/ 1652 h 10007"/>
                <a:gd name="connsiteX78" fmla="*/ 7583 w 10000"/>
                <a:gd name="connsiteY78" fmla="*/ 1606 h 10007"/>
                <a:gd name="connsiteX79" fmla="*/ 7643 w 10000"/>
                <a:gd name="connsiteY79" fmla="*/ 1556 h 10007"/>
                <a:gd name="connsiteX80" fmla="*/ 5390 w 10000"/>
                <a:gd name="connsiteY80" fmla="*/ 0 h 10007"/>
                <a:gd name="connsiteX81" fmla="*/ 1401 w 10000"/>
                <a:gd name="connsiteY81" fmla="*/ 21 h 10007"/>
                <a:gd name="connsiteX82" fmla="*/ 1305 w 10000"/>
                <a:gd name="connsiteY82" fmla="*/ 135 h 10007"/>
                <a:gd name="connsiteX83" fmla="*/ 1223 w 10000"/>
                <a:gd name="connsiteY83" fmla="*/ 227 h 10007"/>
                <a:gd name="connsiteX84" fmla="*/ 1149 w 10000"/>
                <a:gd name="connsiteY84" fmla="*/ 323 h 10007"/>
                <a:gd name="connsiteX85" fmla="*/ 1067 w 10000"/>
                <a:gd name="connsiteY85" fmla="*/ 419 h 10007"/>
                <a:gd name="connsiteX86" fmla="*/ 1001 w 10000"/>
                <a:gd name="connsiteY86" fmla="*/ 516 h 10007"/>
                <a:gd name="connsiteX87" fmla="*/ 927 w 10000"/>
                <a:gd name="connsiteY87" fmla="*/ 612 h 10007"/>
                <a:gd name="connsiteX88" fmla="*/ 860 w 10000"/>
                <a:gd name="connsiteY88" fmla="*/ 713 h 10007"/>
                <a:gd name="connsiteX89" fmla="*/ 793 w 10000"/>
                <a:gd name="connsiteY89" fmla="*/ 814 h 10007"/>
                <a:gd name="connsiteX90" fmla="*/ 734 w 10000"/>
                <a:gd name="connsiteY90" fmla="*/ 910 h 10007"/>
                <a:gd name="connsiteX91" fmla="*/ 675 w 10000"/>
                <a:gd name="connsiteY91" fmla="*/ 1011 h 10007"/>
                <a:gd name="connsiteX92" fmla="*/ 615 w 10000"/>
                <a:gd name="connsiteY92" fmla="*/ 1111 h 10007"/>
                <a:gd name="connsiteX93" fmla="*/ 556 w 10000"/>
                <a:gd name="connsiteY93" fmla="*/ 1217 h 10007"/>
                <a:gd name="connsiteX94" fmla="*/ 504 w 10000"/>
                <a:gd name="connsiteY94" fmla="*/ 1313 h 10007"/>
                <a:gd name="connsiteX95" fmla="*/ 452 w 10000"/>
                <a:gd name="connsiteY95" fmla="*/ 1419 h 10007"/>
                <a:gd name="connsiteX96" fmla="*/ 408 w 10000"/>
                <a:gd name="connsiteY96" fmla="*/ 1519 h 10007"/>
                <a:gd name="connsiteX97" fmla="*/ 363 w 10000"/>
                <a:gd name="connsiteY97" fmla="*/ 1625 h 10007"/>
                <a:gd name="connsiteX98" fmla="*/ 319 w 10000"/>
                <a:gd name="connsiteY98" fmla="*/ 1730 h 10007"/>
                <a:gd name="connsiteX99" fmla="*/ 282 w 10000"/>
                <a:gd name="connsiteY99" fmla="*/ 1836 h 10007"/>
                <a:gd name="connsiteX100" fmla="*/ 237 w 10000"/>
                <a:gd name="connsiteY100" fmla="*/ 1946 h 10007"/>
                <a:gd name="connsiteX101" fmla="*/ 208 w 10000"/>
                <a:gd name="connsiteY101" fmla="*/ 2051 h 10007"/>
                <a:gd name="connsiteX102" fmla="*/ 170 w 10000"/>
                <a:gd name="connsiteY102" fmla="*/ 2161 h 10007"/>
                <a:gd name="connsiteX103" fmla="*/ 148 w 10000"/>
                <a:gd name="connsiteY103" fmla="*/ 2271 h 10007"/>
                <a:gd name="connsiteX104" fmla="*/ 119 w 10000"/>
                <a:gd name="connsiteY104" fmla="*/ 2376 h 10007"/>
                <a:gd name="connsiteX105" fmla="*/ 96 w 10000"/>
                <a:gd name="connsiteY105" fmla="*/ 2486 h 10007"/>
                <a:gd name="connsiteX106" fmla="*/ 74 w 10000"/>
                <a:gd name="connsiteY106" fmla="*/ 2596 h 10007"/>
                <a:gd name="connsiteX107" fmla="*/ 52 w 10000"/>
                <a:gd name="connsiteY107" fmla="*/ 2711 h 10007"/>
                <a:gd name="connsiteX108" fmla="*/ 37 w 10000"/>
                <a:gd name="connsiteY108" fmla="*/ 2821 h 10007"/>
                <a:gd name="connsiteX109" fmla="*/ 22 w 10000"/>
                <a:gd name="connsiteY109" fmla="*/ 2931 h 10007"/>
                <a:gd name="connsiteX110" fmla="*/ 15 w 10000"/>
                <a:gd name="connsiteY110" fmla="*/ 3041 h 10007"/>
                <a:gd name="connsiteX111" fmla="*/ 7 w 10000"/>
                <a:gd name="connsiteY111" fmla="*/ 3155 h 10007"/>
                <a:gd name="connsiteX112" fmla="*/ 0 w 10000"/>
                <a:gd name="connsiteY112" fmla="*/ 3265 h 10007"/>
                <a:gd name="connsiteX113" fmla="*/ 0 w 10000"/>
                <a:gd name="connsiteY113" fmla="*/ 3380 h 10007"/>
                <a:gd name="connsiteX114" fmla="*/ 7 w 10000"/>
                <a:gd name="connsiteY114" fmla="*/ 3527 h 10007"/>
                <a:gd name="connsiteX115" fmla="*/ 7 w 10000"/>
                <a:gd name="connsiteY115" fmla="*/ 3673 h 10007"/>
                <a:gd name="connsiteX116" fmla="*/ 22 w 10000"/>
                <a:gd name="connsiteY116" fmla="*/ 3811 h 10007"/>
                <a:gd name="connsiteX117" fmla="*/ 37 w 10000"/>
                <a:gd name="connsiteY117" fmla="*/ 3953 h 10007"/>
                <a:gd name="connsiteX118" fmla="*/ 59 w 10000"/>
                <a:gd name="connsiteY118" fmla="*/ 4095 h 10007"/>
                <a:gd name="connsiteX119" fmla="*/ 89 w 10000"/>
                <a:gd name="connsiteY119" fmla="*/ 4237 h 10007"/>
                <a:gd name="connsiteX120" fmla="*/ 119 w 10000"/>
                <a:gd name="connsiteY120" fmla="*/ 4379 h 10007"/>
                <a:gd name="connsiteX121" fmla="*/ 148 w 10000"/>
                <a:gd name="connsiteY121" fmla="*/ 4521 h 10007"/>
                <a:gd name="connsiteX122" fmla="*/ 193 w 10000"/>
                <a:gd name="connsiteY122" fmla="*/ 4659 h 10007"/>
                <a:gd name="connsiteX123" fmla="*/ 237 w 10000"/>
                <a:gd name="connsiteY123" fmla="*/ 4796 h 10007"/>
                <a:gd name="connsiteX124" fmla="*/ 282 w 10000"/>
                <a:gd name="connsiteY124" fmla="*/ 4934 h 10007"/>
                <a:gd name="connsiteX125" fmla="*/ 334 w 10000"/>
                <a:gd name="connsiteY125" fmla="*/ 5071 h 10007"/>
                <a:gd name="connsiteX126" fmla="*/ 393 w 10000"/>
                <a:gd name="connsiteY126" fmla="*/ 5204 h 10007"/>
                <a:gd name="connsiteX127" fmla="*/ 452 w 10000"/>
                <a:gd name="connsiteY127" fmla="*/ 5337 h 10007"/>
                <a:gd name="connsiteX128" fmla="*/ 519 w 10000"/>
                <a:gd name="connsiteY128" fmla="*/ 5470 h 10007"/>
                <a:gd name="connsiteX129" fmla="*/ 586 w 10000"/>
                <a:gd name="connsiteY129" fmla="*/ 5603 h 10007"/>
                <a:gd name="connsiteX130" fmla="*/ 660 w 10000"/>
                <a:gd name="connsiteY130" fmla="*/ 5731 h 10007"/>
                <a:gd name="connsiteX131" fmla="*/ 741 w 10000"/>
                <a:gd name="connsiteY131" fmla="*/ 5859 h 10007"/>
                <a:gd name="connsiteX132" fmla="*/ 823 w 10000"/>
                <a:gd name="connsiteY132" fmla="*/ 5992 h 10007"/>
                <a:gd name="connsiteX133" fmla="*/ 904 w 10000"/>
                <a:gd name="connsiteY133" fmla="*/ 6116 h 10007"/>
                <a:gd name="connsiteX134" fmla="*/ 993 w 10000"/>
                <a:gd name="connsiteY134" fmla="*/ 6240 h 10007"/>
                <a:gd name="connsiteX135" fmla="*/ 1090 w 10000"/>
                <a:gd name="connsiteY135" fmla="*/ 6359 h 10007"/>
                <a:gd name="connsiteX136" fmla="*/ 1186 w 10000"/>
                <a:gd name="connsiteY136" fmla="*/ 6483 h 10007"/>
                <a:gd name="connsiteX137" fmla="*/ 1290 w 10000"/>
                <a:gd name="connsiteY137" fmla="*/ 6606 h 10007"/>
                <a:gd name="connsiteX138" fmla="*/ 1386 w 10000"/>
                <a:gd name="connsiteY138" fmla="*/ 6726 h 10007"/>
                <a:gd name="connsiteX139" fmla="*/ 1497 w 10000"/>
                <a:gd name="connsiteY139" fmla="*/ 6845 h 10007"/>
                <a:gd name="connsiteX140" fmla="*/ 1609 w 10000"/>
                <a:gd name="connsiteY140" fmla="*/ 6959 h 10007"/>
                <a:gd name="connsiteX141" fmla="*/ 1727 w 10000"/>
                <a:gd name="connsiteY141" fmla="*/ 7078 h 10007"/>
                <a:gd name="connsiteX142" fmla="*/ 1846 w 10000"/>
                <a:gd name="connsiteY142" fmla="*/ 7193 h 10007"/>
                <a:gd name="connsiteX143" fmla="*/ 1964 w 10000"/>
                <a:gd name="connsiteY143" fmla="*/ 7303 h 10007"/>
                <a:gd name="connsiteX144" fmla="*/ 2090 w 10000"/>
                <a:gd name="connsiteY144" fmla="*/ 7413 h 10007"/>
                <a:gd name="connsiteX145" fmla="*/ 2224 w 10000"/>
                <a:gd name="connsiteY145" fmla="*/ 7523 h 10007"/>
                <a:gd name="connsiteX146" fmla="*/ 2350 w 10000"/>
                <a:gd name="connsiteY146" fmla="*/ 7633 h 10007"/>
                <a:gd name="connsiteX147" fmla="*/ 2491 w 10000"/>
                <a:gd name="connsiteY147" fmla="*/ 7738 h 10007"/>
                <a:gd name="connsiteX148" fmla="*/ 2617 w 10000"/>
                <a:gd name="connsiteY148" fmla="*/ 7844 h 10007"/>
                <a:gd name="connsiteX149" fmla="*/ 2765 w 10000"/>
                <a:gd name="connsiteY149" fmla="*/ 7945 h 10007"/>
                <a:gd name="connsiteX150" fmla="*/ 2906 w 10000"/>
                <a:gd name="connsiteY150" fmla="*/ 8045 h 10007"/>
                <a:gd name="connsiteX151" fmla="*/ 3054 w 10000"/>
                <a:gd name="connsiteY151" fmla="*/ 8146 h 10007"/>
                <a:gd name="connsiteX152" fmla="*/ 3210 w 10000"/>
                <a:gd name="connsiteY152" fmla="*/ 8243 h 10007"/>
                <a:gd name="connsiteX153" fmla="*/ 3358 w 10000"/>
                <a:gd name="connsiteY153" fmla="*/ 8339 h 10007"/>
                <a:gd name="connsiteX154" fmla="*/ 3514 w 10000"/>
                <a:gd name="connsiteY154" fmla="*/ 8435 h 10007"/>
                <a:gd name="connsiteX155" fmla="*/ 3677 w 10000"/>
                <a:gd name="connsiteY155" fmla="*/ 8527 h 10007"/>
                <a:gd name="connsiteX156" fmla="*/ 3840 w 10000"/>
                <a:gd name="connsiteY156" fmla="*/ 8614 h 10007"/>
                <a:gd name="connsiteX157" fmla="*/ 4010 w 10000"/>
                <a:gd name="connsiteY157" fmla="*/ 8705 h 10007"/>
                <a:gd name="connsiteX158" fmla="*/ 4181 w 10000"/>
                <a:gd name="connsiteY158" fmla="*/ 8783 h 10007"/>
                <a:gd name="connsiteX159" fmla="*/ 4351 w 10000"/>
                <a:gd name="connsiteY159" fmla="*/ 8870 h 10007"/>
                <a:gd name="connsiteX160" fmla="*/ 4522 w 10000"/>
                <a:gd name="connsiteY160" fmla="*/ 8948 h 10007"/>
                <a:gd name="connsiteX161" fmla="*/ 4700 w 10000"/>
                <a:gd name="connsiteY161" fmla="*/ 9031 h 10007"/>
                <a:gd name="connsiteX162" fmla="*/ 4878 w 10000"/>
                <a:gd name="connsiteY162" fmla="*/ 9109 h 10007"/>
                <a:gd name="connsiteX163" fmla="*/ 5063 w 10000"/>
                <a:gd name="connsiteY163" fmla="*/ 9182 h 10007"/>
                <a:gd name="connsiteX164" fmla="*/ 5248 w 10000"/>
                <a:gd name="connsiteY164" fmla="*/ 9260 h 10007"/>
                <a:gd name="connsiteX165" fmla="*/ 5426 w 10000"/>
                <a:gd name="connsiteY165" fmla="*/ 9329 h 10007"/>
                <a:gd name="connsiteX166" fmla="*/ 5619 w 10000"/>
                <a:gd name="connsiteY166" fmla="*/ 9397 h 10007"/>
                <a:gd name="connsiteX167" fmla="*/ 5812 w 10000"/>
                <a:gd name="connsiteY167" fmla="*/ 9466 h 10007"/>
                <a:gd name="connsiteX168" fmla="*/ 6004 w 10000"/>
                <a:gd name="connsiteY168" fmla="*/ 9530 h 10007"/>
                <a:gd name="connsiteX169" fmla="*/ 6205 w 10000"/>
                <a:gd name="connsiteY169" fmla="*/ 9595 h 10007"/>
                <a:gd name="connsiteX170" fmla="*/ 6397 w 10000"/>
                <a:gd name="connsiteY170" fmla="*/ 9654 h 10007"/>
                <a:gd name="connsiteX171" fmla="*/ 6605 w 10000"/>
                <a:gd name="connsiteY171" fmla="*/ 9709 h 10007"/>
                <a:gd name="connsiteX172" fmla="*/ 6805 w 10000"/>
                <a:gd name="connsiteY172" fmla="*/ 9764 h 10007"/>
                <a:gd name="connsiteX173" fmla="*/ 7005 w 10000"/>
                <a:gd name="connsiteY173" fmla="*/ 9819 h 10007"/>
                <a:gd name="connsiteX174" fmla="*/ 7213 w 10000"/>
                <a:gd name="connsiteY174" fmla="*/ 9870 h 10007"/>
                <a:gd name="connsiteX175" fmla="*/ 7420 w 10000"/>
                <a:gd name="connsiteY175" fmla="*/ 9915 h 10007"/>
                <a:gd name="connsiteX176" fmla="*/ 7628 w 10000"/>
                <a:gd name="connsiteY176" fmla="*/ 9961 h 10007"/>
                <a:gd name="connsiteX177" fmla="*/ 7835 w 10000"/>
                <a:gd name="connsiteY177" fmla="*/ 10007 h 10007"/>
                <a:gd name="connsiteX178" fmla="*/ 7539 w 10000"/>
                <a:gd name="connsiteY178" fmla="*/ 7761 h 10007"/>
                <a:gd name="connsiteX179" fmla="*/ 10000 w 10000"/>
                <a:gd name="connsiteY179" fmla="*/ 6148 h 10007"/>
                <a:gd name="connsiteX0" fmla="*/ 10000 w 10000"/>
                <a:gd name="connsiteY0" fmla="*/ 6127 h 9986"/>
                <a:gd name="connsiteX1" fmla="*/ 10000 w 10000"/>
                <a:gd name="connsiteY1" fmla="*/ 6127 h 9986"/>
                <a:gd name="connsiteX2" fmla="*/ 9911 w 10000"/>
                <a:gd name="connsiteY2" fmla="*/ 6113 h 9986"/>
                <a:gd name="connsiteX3" fmla="*/ 9815 w 10000"/>
                <a:gd name="connsiteY3" fmla="*/ 6095 h 9986"/>
                <a:gd name="connsiteX4" fmla="*/ 9726 w 10000"/>
                <a:gd name="connsiteY4" fmla="*/ 6077 h 9986"/>
                <a:gd name="connsiteX5" fmla="*/ 9637 w 10000"/>
                <a:gd name="connsiteY5" fmla="*/ 6054 h 9986"/>
                <a:gd name="connsiteX6" fmla="*/ 9548 w 10000"/>
                <a:gd name="connsiteY6" fmla="*/ 6035 h 9986"/>
                <a:gd name="connsiteX7" fmla="*/ 9466 w 10000"/>
                <a:gd name="connsiteY7" fmla="*/ 6013 h 9986"/>
                <a:gd name="connsiteX8" fmla="*/ 9377 w 10000"/>
                <a:gd name="connsiteY8" fmla="*/ 5990 h 9986"/>
                <a:gd name="connsiteX9" fmla="*/ 9288 w 10000"/>
                <a:gd name="connsiteY9" fmla="*/ 5967 h 9986"/>
                <a:gd name="connsiteX10" fmla="*/ 9118 w 10000"/>
                <a:gd name="connsiteY10" fmla="*/ 5916 h 9986"/>
                <a:gd name="connsiteX11" fmla="*/ 8955 w 10000"/>
                <a:gd name="connsiteY11" fmla="*/ 5861 h 9986"/>
                <a:gd name="connsiteX12" fmla="*/ 8792 w 10000"/>
                <a:gd name="connsiteY12" fmla="*/ 5802 h 9986"/>
                <a:gd name="connsiteX13" fmla="*/ 8636 w 10000"/>
                <a:gd name="connsiteY13" fmla="*/ 5738 h 9986"/>
                <a:gd name="connsiteX14" fmla="*/ 8480 w 10000"/>
                <a:gd name="connsiteY14" fmla="*/ 5673 h 9986"/>
                <a:gd name="connsiteX15" fmla="*/ 8340 w 10000"/>
                <a:gd name="connsiteY15" fmla="*/ 5605 h 9986"/>
                <a:gd name="connsiteX16" fmla="*/ 8199 w 10000"/>
                <a:gd name="connsiteY16" fmla="*/ 5531 h 9986"/>
                <a:gd name="connsiteX17" fmla="*/ 8058 w 10000"/>
                <a:gd name="connsiteY17" fmla="*/ 5453 h 9986"/>
                <a:gd name="connsiteX18" fmla="*/ 7924 w 10000"/>
                <a:gd name="connsiteY18" fmla="*/ 5371 h 9986"/>
                <a:gd name="connsiteX19" fmla="*/ 7798 w 10000"/>
                <a:gd name="connsiteY19" fmla="*/ 5288 h 9986"/>
                <a:gd name="connsiteX20" fmla="*/ 7672 w 10000"/>
                <a:gd name="connsiteY20" fmla="*/ 5201 h 9986"/>
                <a:gd name="connsiteX21" fmla="*/ 7554 w 10000"/>
                <a:gd name="connsiteY21" fmla="*/ 5114 h 9986"/>
                <a:gd name="connsiteX22" fmla="*/ 7450 w 10000"/>
                <a:gd name="connsiteY22" fmla="*/ 5018 h 9986"/>
                <a:gd name="connsiteX23" fmla="*/ 7346 w 10000"/>
                <a:gd name="connsiteY23" fmla="*/ 4922 h 9986"/>
                <a:gd name="connsiteX24" fmla="*/ 7250 w 10000"/>
                <a:gd name="connsiteY24" fmla="*/ 4826 h 9986"/>
                <a:gd name="connsiteX25" fmla="*/ 7161 w 10000"/>
                <a:gd name="connsiteY25" fmla="*/ 4725 h 9986"/>
                <a:gd name="connsiteX26" fmla="*/ 7072 w 10000"/>
                <a:gd name="connsiteY26" fmla="*/ 4624 h 9986"/>
                <a:gd name="connsiteX27" fmla="*/ 6990 w 10000"/>
                <a:gd name="connsiteY27" fmla="*/ 4514 h 9986"/>
                <a:gd name="connsiteX28" fmla="*/ 6953 w 10000"/>
                <a:gd name="connsiteY28" fmla="*/ 4464 h 9986"/>
                <a:gd name="connsiteX29" fmla="*/ 6916 w 10000"/>
                <a:gd name="connsiteY29" fmla="*/ 4409 h 9986"/>
                <a:gd name="connsiteX30" fmla="*/ 6887 w 10000"/>
                <a:gd name="connsiteY30" fmla="*/ 4354 h 9986"/>
                <a:gd name="connsiteX31" fmla="*/ 6850 w 10000"/>
                <a:gd name="connsiteY31" fmla="*/ 4299 h 9986"/>
                <a:gd name="connsiteX32" fmla="*/ 6820 w 10000"/>
                <a:gd name="connsiteY32" fmla="*/ 4244 h 9986"/>
                <a:gd name="connsiteX33" fmla="*/ 6790 w 10000"/>
                <a:gd name="connsiteY33" fmla="*/ 4189 h 9986"/>
                <a:gd name="connsiteX34" fmla="*/ 6768 w 10000"/>
                <a:gd name="connsiteY34" fmla="*/ 4129 h 9986"/>
                <a:gd name="connsiteX35" fmla="*/ 6738 w 10000"/>
                <a:gd name="connsiteY35" fmla="*/ 4074 h 9986"/>
                <a:gd name="connsiteX36" fmla="*/ 6723 w 10000"/>
                <a:gd name="connsiteY36" fmla="*/ 4014 h 9986"/>
                <a:gd name="connsiteX37" fmla="*/ 6694 w 10000"/>
                <a:gd name="connsiteY37" fmla="*/ 3959 h 9986"/>
                <a:gd name="connsiteX38" fmla="*/ 6679 w 10000"/>
                <a:gd name="connsiteY38" fmla="*/ 3900 h 9986"/>
                <a:gd name="connsiteX39" fmla="*/ 6664 w 10000"/>
                <a:gd name="connsiteY39" fmla="*/ 3840 h 9986"/>
                <a:gd name="connsiteX40" fmla="*/ 6649 w 10000"/>
                <a:gd name="connsiteY40" fmla="*/ 3781 h 9986"/>
                <a:gd name="connsiteX41" fmla="*/ 6635 w 10000"/>
                <a:gd name="connsiteY41" fmla="*/ 3726 h 9986"/>
                <a:gd name="connsiteX42" fmla="*/ 6620 w 10000"/>
                <a:gd name="connsiteY42" fmla="*/ 3666 h 9986"/>
                <a:gd name="connsiteX43" fmla="*/ 6612 w 10000"/>
                <a:gd name="connsiteY43" fmla="*/ 3607 h 9986"/>
                <a:gd name="connsiteX44" fmla="*/ 6605 w 10000"/>
                <a:gd name="connsiteY44" fmla="*/ 3547 h 9986"/>
                <a:gd name="connsiteX45" fmla="*/ 6597 w 10000"/>
                <a:gd name="connsiteY45" fmla="*/ 3483 h 9986"/>
                <a:gd name="connsiteX46" fmla="*/ 6597 w 10000"/>
                <a:gd name="connsiteY46" fmla="*/ 3423 h 9986"/>
                <a:gd name="connsiteX47" fmla="*/ 6590 w 10000"/>
                <a:gd name="connsiteY47" fmla="*/ 3359 h 9986"/>
                <a:gd name="connsiteX48" fmla="*/ 6597 w 10000"/>
                <a:gd name="connsiteY48" fmla="*/ 3299 h 9986"/>
                <a:gd name="connsiteX49" fmla="*/ 6605 w 10000"/>
                <a:gd name="connsiteY49" fmla="*/ 3231 h 9986"/>
                <a:gd name="connsiteX50" fmla="*/ 6605 w 10000"/>
                <a:gd name="connsiteY50" fmla="*/ 3167 h 9986"/>
                <a:gd name="connsiteX51" fmla="*/ 6612 w 10000"/>
                <a:gd name="connsiteY51" fmla="*/ 3102 h 9986"/>
                <a:gd name="connsiteX52" fmla="*/ 6620 w 10000"/>
                <a:gd name="connsiteY52" fmla="*/ 3038 h 9986"/>
                <a:gd name="connsiteX53" fmla="*/ 6635 w 10000"/>
                <a:gd name="connsiteY53" fmla="*/ 2979 h 9986"/>
                <a:gd name="connsiteX54" fmla="*/ 6649 w 10000"/>
                <a:gd name="connsiteY54" fmla="*/ 2915 h 9986"/>
                <a:gd name="connsiteX55" fmla="*/ 6664 w 10000"/>
                <a:gd name="connsiteY55" fmla="*/ 2855 h 9986"/>
                <a:gd name="connsiteX56" fmla="*/ 6686 w 10000"/>
                <a:gd name="connsiteY56" fmla="*/ 2791 h 9986"/>
                <a:gd name="connsiteX57" fmla="*/ 6709 w 10000"/>
                <a:gd name="connsiteY57" fmla="*/ 2731 h 9986"/>
                <a:gd name="connsiteX58" fmla="*/ 6731 w 10000"/>
                <a:gd name="connsiteY58" fmla="*/ 2672 h 9986"/>
                <a:gd name="connsiteX59" fmla="*/ 6753 w 10000"/>
                <a:gd name="connsiteY59" fmla="*/ 2607 h 9986"/>
                <a:gd name="connsiteX60" fmla="*/ 6783 w 10000"/>
                <a:gd name="connsiteY60" fmla="*/ 2552 h 9986"/>
                <a:gd name="connsiteX61" fmla="*/ 6812 w 10000"/>
                <a:gd name="connsiteY61" fmla="*/ 2493 h 9986"/>
                <a:gd name="connsiteX62" fmla="*/ 6842 w 10000"/>
                <a:gd name="connsiteY62" fmla="*/ 2433 h 9986"/>
                <a:gd name="connsiteX63" fmla="*/ 6879 w 10000"/>
                <a:gd name="connsiteY63" fmla="*/ 2374 h 9986"/>
                <a:gd name="connsiteX64" fmla="*/ 6909 w 10000"/>
                <a:gd name="connsiteY64" fmla="*/ 2319 h 9986"/>
                <a:gd name="connsiteX65" fmla="*/ 6946 w 10000"/>
                <a:gd name="connsiteY65" fmla="*/ 2259 h 9986"/>
                <a:gd name="connsiteX66" fmla="*/ 6990 w 10000"/>
                <a:gd name="connsiteY66" fmla="*/ 2204 h 9986"/>
                <a:gd name="connsiteX67" fmla="*/ 7027 w 10000"/>
                <a:gd name="connsiteY67" fmla="*/ 2149 h 9986"/>
                <a:gd name="connsiteX68" fmla="*/ 7072 w 10000"/>
                <a:gd name="connsiteY68" fmla="*/ 2094 h 9986"/>
                <a:gd name="connsiteX69" fmla="*/ 7109 w 10000"/>
                <a:gd name="connsiteY69" fmla="*/ 2039 h 9986"/>
                <a:gd name="connsiteX70" fmla="*/ 7161 w 10000"/>
                <a:gd name="connsiteY70" fmla="*/ 1989 h 9986"/>
                <a:gd name="connsiteX71" fmla="*/ 7213 w 10000"/>
                <a:gd name="connsiteY71" fmla="*/ 1934 h 9986"/>
                <a:gd name="connsiteX72" fmla="*/ 7257 w 10000"/>
                <a:gd name="connsiteY72" fmla="*/ 1879 h 9986"/>
                <a:gd name="connsiteX73" fmla="*/ 7309 w 10000"/>
                <a:gd name="connsiteY73" fmla="*/ 1828 h 9986"/>
                <a:gd name="connsiteX74" fmla="*/ 7361 w 10000"/>
                <a:gd name="connsiteY74" fmla="*/ 1778 h 9986"/>
                <a:gd name="connsiteX75" fmla="*/ 7413 w 10000"/>
                <a:gd name="connsiteY75" fmla="*/ 1728 h 9986"/>
                <a:gd name="connsiteX76" fmla="*/ 7472 w 10000"/>
                <a:gd name="connsiteY76" fmla="*/ 1677 h 9986"/>
                <a:gd name="connsiteX77" fmla="*/ 7524 w 10000"/>
                <a:gd name="connsiteY77" fmla="*/ 1631 h 9986"/>
                <a:gd name="connsiteX78" fmla="*/ 7583 w 10000"/>
                <a:gd name="connsiteY78" fmla="*/ 1585 h 9986"/>
                <a:gd name="connsiteX79" fmla="*/ 7643 w 10000"/>
                <a:gd name="connsiteY79" fmla="*/ 1535 h 9986"/>
                <a:gd name="connsiteX80" fmla="*/ 5390 w 10000"/>
                <a:gd name="connsiteY80" fmla="*/ 6 h 9986"/>
                <a:gd name="connsiteX81" fmla="*/ 1401 w 10000"/>
                <a:gd name="connsiteY81" fmla="*/ 0 h 9986"/>
                <a:gd name="connsiteX82" fmla="*/ 1305 w 10000"/>
                <a:gd name="connsiteY82" fmla="*/ 114 h 9986"/>
                <a:gd name="connsiteX83" fmla="*/ 1223 w 10000"/>
                <a:gd name="connsiteY83" fmla="*/ 206 h 9986"/>
                <a:gd name="connsiteX84" fmla="*/ 1149 w 10000"/>
                <a:gd name="connsiteY84" fmla="*/ 302 h 9986"/>
                <a:gd name="connsiteX85" fmla="*/ 1067 w 10000"/>
                <a:gd name="connsiteY85" fmla="*/ 398 h 9986"/>
                <a:gd name="connsiteX86" fmla="*/ 1001 w 10000"/>
                <a:gd name="connsiteY86" fmla="*/ 495 h 9986"/>
                <a:gd name="connsiteX87" fmla="*/ 927 w 10000"/>
                <a:gd name="connsiteY87" fmla="*/ 591 h 9986"/>
                <a:gd name="connsiteX88" fmla="*/ 860 w 10000"/>
                <a:gd name="connsiteY88" fmla="*/ 692 h 9986"/>
                <a:gd name="connsiteX89" fmla="*/ 793 w 10000"/>
                <a:gd name="connsiteY89" fmla="*/ 793 h 9986"/>
                <a:gd name="connsiteX90" fmla="*/ 734 w 10000"/>
                <a:gd name="connsiteY90" fmla="*/ 889 h 9986"/>
                <a:gd name="connsiteX91" fmla="*/ 675 w 10000"/>
                <a:gd name="connsiteY91" fmla="*/ 990 h 9986"/>
                <a:gd name="connsiteX92" fmla="*/ 615 w 10000"/>
                <a:gd name="connsiteY92" fmla="*/ 1090 h 9986"/>
                <a:gd name="connsiteX93" fmla="*/ 556 w 10000"/>
                <a:gd name="connsiteY93" fmla="*/ 1196 h 9986"/>
                <a:gd name="connsiteX94" fmla="*/ 504 w 10000"/>
                <a:gd name="connsiteY94" fmla="*/ 1292 h 9986"/>
                <a:gd name="connsiteX95" fmla="*/ 452 w 10000"/>
                <a:gd name="connsiteY95" fmla="*/ 1398 h 9986"/>
                <a:gd name="connsiteX96" fmla="*/ 408 w 10000"/>
                <a:gd name="connsiteY96" fmla="*/ 1498 h 9986"/>
                <a:gd name="connsiteX97" fmla="*/ 363 w 10000"/>
                <a:gd name="connsiteY97" fmla="*/ 1604 h 9986"/>
                <a:gd name="connsiteX98" fmla="*/ 319 w 10000"/>
                <a:gd name="connsiteY98" fmla="*/ 1709 h 9986"/>
                <a:gd name="connsiteX99" fmla="*/ 282 w 10000"/>
                <a:gd name="connsiteY99" fmla="*/ 1815 h 9986"/>
                <a:gd name="connsiteX100" fmla="*/ 237 w 10000"/>
                <a:gd name="connsiteY100" fmla="*/ 1925 h 9986"/>
                <a:gd name="connsiteX101" fmla="*/ 208 w 10000"/>
                <a:gd name="connsiteY101" fmla="*/ 2030 h 9986"/>
                <a:gd name="connsiteX102" fmla="*/ 170 w 10000"/>
                <a:gd name="connsiteY102" fmla="*/ 2140 h 9986"/>
                <a:gd name="connsiteX103" fmla="*/ 148 w 10000"/>
                <a:gd name="connsiteY103" fmla="*/ 2250 h 9986"/>
                <a:gd name="connsiteX104" fmla="*/ 119 w 10000"/>
                <a:gd name="connsiteY104" fmla="*/ 2355 h 9986"/>
                <a:gd name="connsiteX105" fmla="*/ 96 w 10000"/>
                <a:gd name="connsiteY105" fmla="*/ 2465 h 9986"/>
                <a:gd name="connsiteX106" fmla="*/ 74 w 10000"/>
                <a:gd name="connsiteY106" fmla="*/ 2575 h 9986"/>
                <a:gd name="connsiteX107" fmla="*/ 52 w 10000"/>
                <a:gd name="connsiteY107" fmla="*/ 2690 h 9986"/>
                <a:gd name="connsiteX108" fmla="*/ 37 w 10000"/>
                <a:gd name="connsiteY108" fmla="*/ 2800 h 9986"/>
                <a:gd name="connsiteX109" fmla="*/ 22 w 10000"/>
                <a:gd name="connsiteY109" fmla="*/ 2910 h 9986"/>
                <a:gd name="connsiteX110" fmla="*/ 15 w 10000"/>
                <a:gd name="connsiteY110" fmla="*/ 3020 h 9986"/>
                <a:gd name="connsiteX111" fmla="*/ 7 w 10000"/>
                <a:gd name="connsiteY111" fmla="*/ 3134 h 9986"/>
                <a:gd name="connsiteX112" fmla="*/ 0 w 10000"/>
                <a:gd name="connsiteY112" fmla="*/ 3244 h 9986"/>
                <a:gd name="connsiteX113" fmla="*/ 0 w 10000"/>
                <a:gd name="connsiteY113" fmla="*/ 3359 h 9986"/>
                <a:gd name="connsiteX114" fmla="*/ 7 w 10000"/>
                <a:gd name="connsiteY114" fmla="*/ 3506 h 9986"/>
                <a:gd name="connsiteX115" fmla="*/ 7 w 10000"/>
                <a:gd name="connsiteY115" fmla="*/ 3652 h 9986"/>
                <a:gd name="connsiteX116" fmla="*/ 22 w 10000"/>
                <a:gd name="connsiteY116" fmla="*/ 3790 h 9986"/>
                <a:gd name="connsiteX117" fmla="*/ 37 w 10000"/>
                <a:gd name="connsiteY117" fmla="*/ 3932 h 9986"/>
                <a:gd name="connsiteX118" fmla="*/ 59 w 10000"/>
                <a:gd name="connsiteY118" fmla="*/ 4074 h 9986"/>
                <a:gd name="connsiteX119" fmla="*/ 89 w 10000"/>
                <a:gd name="connsiteY119" fmla="*/ 4216 h 9986"/>
                <a:gd name="connsiteX120" fmla="*/ 119 w 10000"/>
                <a:gd name="connsiteY120" fmla="*/ 4358 h 9986"/>
                <a:gd name="connsiteX121" fmla="*/ 148 w 10000"/>
                <a:gd name="connsiteY121" fmla="*/ 4500 h 9986"/>
                <a:gd name="connsiteX122" fmla="*/ 193 w 10000"/>
                <a:gd name="connsiteY122" fmla="*/ 4638 h 9986"/>
                <a:gd name="connsiteX123" fmla="*/ 237 w 10000"/>
                <a:gd name="connsiteY123" fmla="*/ 4775 h 9986"/>
                <a:gd name="connsiteX124" fmla="*/ 282 w 10000"/>
                <a:gd name="connsiteY124" fmla="*/ 4913 h 9986"/>
                <a:gd name="connsiteX125" fmla="*/ 334 w 10000"/>
                <a:gd name="connsiteY125" fmla="*/ 5050 h 9986"/>
                <a:gd name="connsiteX126" fmla="*/ 393 w 10000"/>
                <a:gd name="connsiteY126" fmla="*/ 5183 h 9986"/>
                <a:gd name="connsiteX127" fmla="*/ 452 w 10000"/>
                <a:gd name="connsiteY127" fmla="*/ 5316 h 9986"/>
                <a:gd name="connsiteX128" fmla="*/ 519 w 10000"/>
                <a:gd name="connsiteY128" fmla="*/ 5449 h 9986"/>
                <a:gd name="connsiteX129" fmla="*/ 586 w 10000"/>
                <a:gd name="connsiteY129" fmla="*/ 5582 h 9986"/>
                <a:gd name="connsiteX130" fmla="*/ 660 w 10000"/>
                <a:gd name="connsiteY130" fmla="*/ 5710 h 9986"/>
                <a:gd name="connsiteX131" fmla="*/ 741 w 10000"/>
                <a:gd name="connsiteY131" fmla="*/ 5838 h 9986"/>
                <a:gd name="connsiteX132" fmla="*/ 823 w 10000"/>
                <a:gd name="connsiteY132" fmla="*/ 5971 h 9986"/>
                <a:gd name="connsiteX133" fmla="*/ 904 w 10000"/>
                <a:gd name="connsiteY133" fmla="*/ 6095 h 9986"/>
                <a:gd name="connsiteX134" fmla="*/ 993 w 10000"/>
                <a:gd name="connsiteY134" fmla="*/ 6219 h 9986"/>
                <a:gd name="connsiteX135" fmla="*/ 1090 w 10000"/>
                <a:gd name="connsiteY135" fmla="*/ 6338 h 9986"/>
                <a:gd name="connsiteX136" fmla="*/ 1186 w 10000"/>
                <a:gd name="connsiteY136" fmla="*/ 6462 h 9986"/>
                <a:gd name="connsiteX137" fmla="*/ 1290 w 10000"/>
                <a:gd name="connsiteY137" fmla="*/ 6585 h 9986"/>
                <a:gd name="connsiteX138" fmla="*/ 1386 w 10000"/>
                <a:gd name="connsiteY138" fmla="*/ 6705 h 9986"/>
                <a:gd name="connsiteX139" fmla="*/ 1497 w 10000"/>
                <a:gd name="connsiteY139" fmla="*/ 6824 h 9986"/>
                <a:gd name="connsiteX140" fmla="*/ 1609 w 10000"/>
                <a:gd name="connsiteY140" fmla="*/ 6938 h 9986"/>
                <a:gd name="connsiteX141" fmla="*/ 1727 w 10000"/>
                <a:gd name="connsiteY141" fmla="*/ 7057 h 9986"/>
                <a:gd name="connsiteX142" fmla="*/ 1846 w 10000"/>
                <a:gd name="connsiteY142" fmla="*/ 7172 h 9986"/>
                <a:gd name="connsiteX143" fmla="*/ 1964 w 10000"/>
                <a:gd name="connsiteY143" fmla="*/ 7282 h 9986"/>
                <a:gd name="connsiteX144" fmla="*/ 2090 w 10000"/>
                <a:gd name="connsiteY144" fmla="*/ 7392 h 9986"/>
                <a:gd name="connsiteX145" fmla="*/ 2224 w 10000"/>
                <a:gd name="connsiteY145" fmla="*/ 7502 h 9986"/>
                <a:gd name="connsiteX146" fmla="*/ 2350 w 10000"/>
                <a:gd name="connsiteY146" fmla="*/ 7612 h 9986"/>
                <a:gd name="connsiteX147" fmla="*/ 2491 w 10000"/>
                <a:gd name="connsiteY147" fmla="*/ 7717 h 9986"/>
                <a:gd name="connsiteX148" fmla="*/ 2617 w 10000"/>
                <a:gd name="connsiteY148" fmla="*/ 7823 h 9986"/>
                <a:gd name="connsiteX149" fmla="*/ 2765 w 10000"/>
                <a:gd name="connsiteY149" fmla="*/ 7924 h 9986"/>
                <a:gd name="connsiteX150" fmla="*/ 2906 w 10000"/>
                <a:gd name="connsiteY150" fmla="*/ 8024 h 9986"/>
                <a:gd name="connsiteX151" fmla="*/ 3054 w 10000"/>
                <a:gd name="connsiteY151" fmla="*/ 8125 h 9986"/>
                <a:gd name="connsiteX152" fmla="*/ 3210 w 10000"/>
                <a:gd name="connsiteY152" fmla="*/ 8222 h 9986"/>
                <a:gd name="connsiteX153" fmla="*/ 3358 w 10000"/>
                <a:gd name="connsiteY153" fmla="*/ 8318 h 9986"/>
                <a:gd name="connsiteX154" fmla="*/ 3514 w 10000"/>
                <a:gd name="connsiteY154" fmla="*/ 8414 h 9986"/>
                <a:gd name="connsiteX155" fmla="*/ 3677 w 10000"/>
                <a:gd name="connsiteY155" fmla="*/ 8506 h 9986"/>
                <a:gd name="connsiteX156" fmla="*/ 3840 w 10000"/>
                <a:gd name="connsiteY156" fmla="*/ 8593 h 9986"/>
                <a:gd name="connsiteX157" fmla="*/ 4010 w 10000"/>
                <a:gd name="connsiteY157" fmla="*/ 8684 h 9986"/>
                <a:gd name="connsiteX158" fmla="*/ 4181 w 10000"/>
                <a:gd name="connsiteY158" fmla="*/ 8762 h 9986"/>
                <a:gd name="connsiteX159" fmla="*/ 4351 w 10000"/>
                <a:gd name="connsiteY159" fmla="*/ 8849 h 9986"/>
                <a:gd name="connsiteX160" fmla="*/ 4522 w 10000"/>
                <a:gd name="connsiteY160" fmla="*/ 8927 h 9986"/>
                <a:gd name="connsiteX161" fmla="*/ 4700 w 10000"/>
                <a:gd name="connsiteY161" fmla="*/ 9010 h 9986"/>
                <a:gd name="connsiteX162" fmla="*/ 4878 w 10000"/>
                <a:gd name="connsiteY162" fmla="*/ 9088 h 9986"/>
                <a:gd name="connsiteX163" fmla="*/ 5063 w 10000"/>
                <a:gd name="connsiteY163" fmla="*/ 9161 h 9986"/>
                <a:gd name="connsiteX164" fmla="*/ 5248 w 10000"/>
                <a:gd name="connsiteY164" fmla="*/ 9239 h 9986"/>
                <a:gd name="connsiteX165" fmla="*/ 5426 w 10000"/>
                <a:gd name="connsiteY165" fmla="*/ 9308 h 9986"/>
                <a:gd name="connsiteX166" fmla="*/ 5619 w 10000"/>
                <a:gd name="connsiteY166" fmla="*/ 9376 h 9986"/>
                <a:gd name="connsiteX167" fmla="*/ 5812 w 10000"/>
                <a:gd name="connsiteY167" fmla="*/ 9445 h 9986"/>
                <a:gd name="connsiteX168" fmla="*/ 6004 w 10000"/>
                <a:gd name="connsiteY168" fmla="*/ 9509 h 9986"/>
                <a:gd name="connsiteX169" fmla="*/ 6205 w 10000"/>
                <a:gd name="connsiteY169" fmla="*/ 9574 h 9986"/>
                <a:gd name="connsiteX170" fmla="*/ 6397 w 10000"/>
                <a:gd name="connsiteY170" fmla="*/ 9633 h 9986"/>
                <a:gd name="connsiteX171" fmla="*/ 6605 w 10000"/>
                <a:gd name="connsiteY171" fmla="*/ 9688 h 9986"/>
                <a:gd name="connsiteX172" fmla="*/ 6805 w 10000"/>
                <a:gd name="connsiteY172" fmla="*/ 9743 h 9986"/>
                <a:gd name="connsiteX173" fmla="*/ 7005 w 10000"/>
                <a:gd name="connsiteY173" fmla="*/ 9798 h 9986"/>
                <a:gd name="connsiteX174" fmla="*/ 7213 w 10000"/>
                <a:gd name="connsiteY174" fmla="*/ 9849 h 9986"/>
                <a:gd name="connsiteX175" fmla="*/ 7420 w 10000"/>
                <a:gd name="connsiteY175" fmla="*/ 9894 h 9986"/>
                <a:gd name="connsiteX176" fmla="*/ 7628 w 10000"/>
                <a:gd name="connsiteY176" fmla="*/ 9940 h 9986"/>
                <a:gd name="connsiteX177" fmla="*/ 7835 w 10000"/>
                <a:gd name="connsiteY177" fmla="*/ 9986 h 9986"/>
                <a:gd name="connsiteX178" fmla="*/ 7539 w 10000"/>
                <a:gd name="connsiteY178" fmla="*/ 7740 h 9986"/>
                <a:gd name="connsiteX179" fmla="*/ 10000 w 10000"/>
                <a:gd name="connsiteY179" fmla="*/ 6127 h 9986"/>
                <a:gd name="connsiteX0" fmla="*/ 10000 w 10000"/>
                <a:gd name="connsiteY0" fmla="*/ 6136 h 10000"/>
                <a:gd name="connsiteX1" fmla="*/ 10000 w 10000"/>
                <a:gd name="connsiteY1" fmla="*/ 6136 h 10000"/>
                <a:gd name="connsiteX2" fmla="*/ 9911 w 10000"/>
                <a:gd name="connsiteY2" fmla="*/ 6122 h 10000"/>
                <a:gd name="connsiteX3" fmla="*/ 9815 w 10000"/>
                <a:gd name="connsiteY3" fmla="*/ 6104 h 10000"/>
                <a:gd name="connsiteX4" fmla="*/ 9726 w 10000"/>
                <a:gd name="connsiteY4" fmla="*/ 6086 h 10000"/>
                <a:gd name="connsiteX5" fmla="*/ 9637 w 10000"/>
                <a:gd name="connsiteY5" fmla="*/ 6062 h 10000"/>
                <a:gd name="connsiteX6" fmla="*/ 9548 w 10000"/>
                <a:gd name="connsiteY6" fmla="*/ 6043 h 10000"/>
                <a:gd name="connsiteX7" fmla="*/ 9466 w 10000"/>
                <a:gd name="connsiteY7" fmla="*/ 6021 h 10000"/>
                <a:gd name="connsiteX8" fmla="*/ 9377 w 10000"/>
                <a:gd name="connsiteY8" fmla="*/ 5998 h 10000"/>
                <a:gd name="connsiteX9" fmla="*/ 9288 w 10000"/>
                <a:gd name="connsiteY9" fmla="*/ 5975 h 10000"/>
                <a:gd name="connsiteX10" fmla="*/ 9118 w 10000"/>
                <a:gd name="connsiteY10" fmla="*/ 5924 h 10000"/>
                <a:gd name="connsiteX11" fmla="*/ 8955 w 10000"/>
                <a:gd name="connsiteY11" fmla="*/ 5869 h 10000"/>
                <a:gd name="connsiteX12" fmla="*/ 8792 w 10000"/>
                <a:gd name="connsiteY12" fmla="*/ 5810 h 10000"/>
                <a:gd name="connsiteX13" fmla="*/ 8636 w 10000"/>
                <a:gd name="connsiteY13" fmla="*/ 5746 h 10000"/>
                <a:gd name="connsiteX14" fmla="*/ 8480 w 10000"/>
                <a:gd name="connsiteY14" fmla="*/ 5681 h 10000"/>
                <a:gd name="connsiteX15" fmla="*/ 8340 w 10000"/>
                <a:gd name="connsiteY15" fmla="*/ 5613 h 10000"/>
                <a:gd name="connsiteX16" fmla="*/ 8199 w 10000"/>
                <a:gd name="connsiteY16" fmla="*/ 5539 h 10000"/>
                <a:gd name="connsiteX17" fmla="*/ 8058 w 10000"/>
                <a:gd name="connsiteY17" fmla="*/ 5461 h 10000"/>
                <a:gd name="connsiteX18" fmla="*/ 7924 w 10000"/>
                <a:gd name="connsiteY18" fmla="*/ 5379 h 10000"/>
                <a:gd name="connsiteX19" fmla="*/ 7798 w 10000"/>
                <a:gd name="connsiteY19" fmla="*/ 5295 h 10000"/>
                <a:gd name="connsiteX20" fmla="*/ 7672 w 10000"/>
                <a:gd name="connsiteY20" fmla="*/ 5208 h 10000"/>
                <a:gd name="connsiteX21" fmla="*/ 7554 w 10000"/>
                <a:gd name="connsiteY21" fmla="*/ 5121 h 10000"/>
                <a:gd name="connsiteX22" fmla="*/ 7450 w 10000"/>
                <a:gd name="connsiteY22" fmla="*/ 5025 h 10000"/>
                <a:gd name="connsiteX23" fmla="*/ 7346 w 10000"/>
                <a:gd name="connsiteY23" fmla="*/ 4929 h 10000"/>
                <a:gd name="connsiteX24" fmla="*/ 7250 w 10000"/>
                <a:gd name="connsiteY24" fmla="*/ 4833 h 10000"/>
                <a:gd name="connsiteX25" fmla="*/ 7161 w 10000"/>
                <a:gd name="connsiteY25" fmla="*/ 4732 h 10000"/>
                <a:gd name="connsiteX26" fmla="*/ 7072 w 10000"/>
                <a:gd name="connsiteY26" fmla="*/ 4630 h 10000"/>
                <a:gd name="connsiteX27" fmla="*/ 6990 w 10000"/>
                <a:gd name="connsiteY27" fmla="*/ 4520 h 10000"/>
                <a:gd name="connsiteX28" fmla="*/ 6953 w 10000"/>
                <a:gd name="connsiteY28" fmla="*/ 4470 h 10000"/>
                <a:gd name="connsiteX29" fmla="*/ 6916 w 10000"/>
                <a:gd name="connsiteY29" fmla="*/ 4415 h 10000"/>
                <a:gd name="connsiteX30" fmla="*/ 6887 w 10000"/>
                <a:gd name="connsiteY30" fmla="*/ 4360 h 10000"/>
                <a:gd name="connsiteX31" fmla="*/ 6850 w 10000"/>
                <a:gd name="connsiteY31" fmla="*/ 4305 h 10000"/>
                <a:gd name="connsiteX32" fmla="*/ 6820 w 10000"/>
                <a:gd name="connsiteY32" fmla="*/ 4250 h 10000"/>
                <a:gd name="connsiteX33" fmla="*/ 6790 w 10000"/>
                <a:gd name="connsiteY33" fmla="*/ 4195 h 10000"/>
                <a:gd name="connsiteX34" fmla="*/ 6768 w 10000"/>
                <a:gd name="connsiteY34" fmla="*/ 4135 h 10000"/>
                <a:gd name="connsiteX35" fmla="*/ 6738 w 10000"/>
                <a:gd name="connsiteY35" fmla="*/ 4080 h 10000"/>
                <a:gd name="connsiteX36" fmla="*/ 6723 w 10000"/>
                <a:gd name="connsiteY36" fmla="*/ 4020 h 10000"/>
                <a:gd name="connsiteX37" fmla="*/ 6694 w 10000"/>
                <a:gd name="connsiteY37" fmla="*/ 3965 h 10000"/>
                <a:gd name="connsiteX38" fmla="*/ 6679 w 10000"/>
                <a:gd name="connsiteY38" fmla="*/ 3905 h 10000"/>
                <a:gd name="connsiteX39" fmla="*/ 6664 w 10000"/>
                <a:gd name="connsiteY39" fmla="*/ 3845 h 10000"/>
                <a:gd name="connsiteX40" fmla="*/ 6649 w 10000"/>
                <a:gd name="connsiteY40" fmla="*/ 3786 h 10000"/>
                <a:gd name="connsiteX41" fmla="*/ 6635 w 10000"/>
                <a:gd name="connsiteY41" fmla="*/ 3731 h 10000"/>
                <a:gd name="connsiteX42" fmla="*/ 6620 w 10000"/>
                <a:gd name="connsiteY42" fmla="*/ 3671 h 10000"/>
                <a:gd name="connsiteX43" fmla="*/ 6612 w 10000"/>
                <a:gd name="connsiteY43" fmla="*/ 3612 h 10000"/>
                <a:gd name="connsiteX44" fmla="*/ 6605 w 10000"/>
                <a:gd name="connsiteY44" fmla="*/ 3552 h 10000"/>
                <a:gd name="connsiteX45" fmla="*/ 6597 w 10000"/>
                <a:gd name="connsiteY45" fmla="*/ 3488 h 10000"/>
                <a:gd name="connsiteX46" fmla="*/ 6597 w 10000"/>
                <a:gd name="connsiteY46" fmla="*/ 3428 h 10000"/>
                <a:gd name="connsiteX47" fmla="*/ 6590 w 10000"/>
                <a:gd name="connsiteY47" fmla="*/ 3364 h 10000"/>
                <a:gd name="connsiteX48" fmla="*/ 6597 w 10000"/>
                <a:gd name="connsiteY48" fmla="*/ 3304 h 10000"/>
                <a:gd name="connsiteX49" fmla="*/ 6605 w 10000"/>
                <a:gd name="connsiteY49" fmla="*/ 3236 h 10000"/>
                <a:gd name="connsiteX50" fmla="*/ 6605 w 10000"/>
                <a:gd name="connsiteY50" fmla="*/ 3171 h 10000"/>
                <a:gd name="connsiteX51" fmla="*/ 6612 w 10000"/>
                <a:gd name="connsiteY51" fmla="*/ 3106 h 10000"/>
                <a:gd name="connsiteX52" fmla="*/ 6620 w 10000"/>
                <a:gd name="connsiteY52" fmla="*/ 3042 h 10000"/>
                <a:gd name="connsiteX53" fmla="*/ 6635 w 10000"/>
                <a:gd name="connsiteY53" fmla="*/ 2983 h 10000"/>
                <a:gd name="connsiteX54" fmla="*/ 6649 w 10000"/>
                <a:gd name="connsiteY54" fmla="*/ 2919 h 10000"/>
                <a:gd name="connsiteX55" fmla="*/ 6664 w 10000"/>
                <a:gd name="connsiteY55" fmla="*/ 2859 h 10000"/>
                <a:gd name="connsiteX56" fmla="*/ 6686 w 10000"/>
                <a:gd name="connsiteY56" fmla="*/ 2795 h 10000"/>
                <a:gd name="connsiteX57" fmla="*/ 6709 w 10000"/>
                <a:gd name="connsiteY57" fmla="*/ 2735 h 10000"/>
                <a:gd name="connsiteX58" fmla="*/ 6731 w 10000"/>
                <a:gd name="connsiteY58" fmla="*/ 2676 h 10000"/>
                <a:gd name="connsiteX59" fmla="*/ 6753 w 10000"/>
                <a:gd name="connsiteY59" fmla="*/ 2611 h 10000"/>
                <a:gd name="connsiteX60" fmla="*/ 6783 w 10000"/>
                <a:gd name="connsiteY60" fmla="*/ 2556 h 10000"/>
                <a:gd name="connsiteX61" fmla="*/ 6812 w 10000"/>
                <a:gd name="connsiteY61" fmla="*/ 2496 h 10000"/>
                <a:gd name="connsiteX62" fmla="*/ 6842 w 10000"/>
                <a:gd name="connsiteY62" fmla="*/ 2436 h 10000"/>
                <a:gd name="connsiteX63" fmla="*/ 6879 w 10000"/>
                <a:gd name="connsiteY63" fmla="*/ 2377 h 10000"/>
                <a:gd name="connsiteX64" fmla="*/ 6909 w 10000"/>
                <a:gd name="connsiteY64" fmla="*/ 2322 h 10000"/>
                <a:gd name="connsiteX65" fmla="*/ 6946 w 10000"/>
                <a:gd name="connsiteY65" fmla="*/ 2262 h 10000"/>
                <a:gd name="connsiteX66" fmla="*/ 6990 w 10000"/>
                <a:gd name="connsiteY66" fmla="*/ 2207 h 10000"/>
                <a:gd name="connsiteX67" fmla="*/ 7027 w 10000"/>
                <a:gd name="connsiteY67" fmla="*/ 2152 h 10000"/>
                <a:gd name="connsiteX68" fmla="*/ 7072 w 10000"/>
                <a:gd name="connsiteY68" fmla="*/ 2097 h 10000"/>
                <a:gd name="connsiteX69" fmla="*/ 7109 w 10000"/>
                <a:gd name="connsiteY69" fmla="*/ 2042 h 10000"/>
                <a:gd name="connsiteX70" fmla="*/ 7161 w 10000"/>
                <a:gd name="connsiteY70" fmla="*/ 1992 h 10000"/>
                <a:gd name="connsiteX71" fmla="*/ 7213 w 10000"/>
                <a:gd name="connsiteY71" fmla="*/ 1937 h 10000"/>
                <a:gd name="connsiteX72" fmla="*/ 7257 w 10000"/>
                <a:gd name="connsiteY72" fmla="*/ 1882 h 10000"/>
                <a:gd name="connsiteX73" fmla="*/ 7309 w 10000"/>
                <a:gd name="connsiteY73" fmla="*/ 1831 h 10000"/>
                <a:gd name="connsiteX74" fmla="*/ 7361 w 10000"/>
                <a:gd name="connsiteY74" fmla="*/ 1780 h 10000"/>
                <a:gd name="connsiteX75" fmla="*/ 7413 w 10000"/>
                <a:gd name="connsiteY75" fmla="*/ 1730 h 10000"/>
                <a:gd name="connsiteX76" fmla="*/ 7472 w 10000"/>
                <a:gd name="connsiteY76" fmla="*/ 1679 h 10000"/>
                <a:gd name="connsiteX77" fmla="*/ 7524 w 10000"/>
                <a:gd name="connsiteY77" fmla="*/ 1633 h 10000"/>
                <a:gd name="connsiteX78" fmla="*/ 7583 w 10000"/>
                <a:gd name="connsiteY78" fmla="*/ 1587 h 10000"/>
                <a:gd name="connsiteX79" fmla="*/ 7610 w 10000"/>
                <a:gd name="connsiteY79" fmla="*/ 1558 h 10000"/>
                <a:gd name="connsiteX80" fmla="*/ 5390 w 10000"/>
                <a:gd name="connsiteY80" fmla="*/ 6 h 10000"/>
                <a:gd name="connsiteX81" fmla="*/ 1401 w 10000"/>
                <a:gd name="connsiteY81" fmla="*/ 0 h 10000"/>
                <a:gd name="connsiteX82" fmla="*/ 1305 w 10000"/>
                <a:gd name="connsiteY82" fmla="*/ 114 h 10000"/>
                <a:gd name="connsiteX83" fmla="*/ 1223 w 10000"/>
                <a:gd name="connsiteY83" fmla="*/ 206 h 10000"/>
                <a:gd name="connsiteX84" fmla="*/ 1149 w 10000"/>
                <a:gd name="connsiteY84" fmla="*/ 302 h 10000"/>
                <a:gd name="connsiteX85" fmla="*/ 1067 w 10000"/>
                <a:gd name="connsiteY85" fmla="*/ 399 h 10000"/>
                <a:gd name="connsiteX86" fmla="*/ 1001 w 10000"/>
                <a:gd name="connsiteY86" fmla="*/ 496 h 10000"/>
                <a:gd name="connsiteX87" fmla="*/ 927 w 10000"/>
                <a:gd name="connsiteY87" fmla="*/ 592 h 10000"/>
                <a:gd name="connsiteX88" fmla="*/ 860 w 10000"/>
                <a:gd name="connsiteY88" fmla="*/ 693 h 10000"/>
                <a:gd name="connsiteX89" fmla="*/ 793 w 10000"/>
                <a:gd name="connsiteY89" fmla="*/ 794 h 10000"/>
                <a:gd name="connsiteX90" fmla="*/ 734 w 10000"/>
                <a:gd name="connsiteY90" fmla="*/ 890 h 10000"/>
                <a:gd name="connsiteX91" fmla="*/ 675 w 10000"/>
                <a:gd name="connsiteY91" fmla="*/ 991 h 10000"/>
                <a:gd name="connsiteX92" fmla="*/ 615 w 10000"/>
                <a:gd name="connsiteY92" fmla="*/ 1092 h 10000"/>
                <a:gd name="connsiteX93" fmla="*/ 556 w 10000"/>
                <a:gd name="connsiteY93" fmla="*/ 1198 h 10000"/>
                <a:gd name="connsiteX94" fmla="*/ 504 w 10000"/>
                <a:gd name="connsiteY94" fmla="*/ 1294 h 10000"/>
                <a:gd name="connsiteX95" fmla="*/ 452 w 10000"/>
                <a:gd name="connsiteY95" fmla="*/ 1400 h 10000"/>
                <a:gd name="connsiteX96" fmla="*/ 408 w 10000"/>
                <a:gd name="connsiteY96" fmla="*/ 1500 h 10000"/>
                <a:gd name="connsiteX97" fmla="*/ 363 w 10000"/>
                <a:gd name="connsiteY97" fmla="*/ 1606 h 10000"/>
                <a:gd name="connsiteX98" fmla="*/ 319 w 10000"/>
                <a:gd name="connsiteY98" fmla="*/ 1711 h 10000"/>
                <a:gd name="connsiteX99" fmla="*/ 282 w 10000"/>
                <a:gd name="connsiteY99" fmla="*/ 1818 h 10000"/>
                <a:gd name="connsiteX100" fmla="*/ 237 w 10000"/>
                <a:gd name="connsiteY100" fmla="*/ 1928 h 10000"/>
                <a:gd name="connsiteX101" fmla="*/ 208 w 10000"/>
                <a:gd name="connsiteY101" fmla="*/ 2033 h 10000"/>
                <a:gd name="connsiteX102" fmla="*/ 170 w 10000"/>
                <a:gd name="connsiteY102" fmla="*/ 2143 h 10000"/>
                <a:gd name="connsiteX103" fmla="*/ 148 w 10000"/>
                <a:gd name="connsiteY103" fmla="*/ 2253 h 10000"/>
                <a:gd name="connsiteX104" fmla="*/ 119 w 10000"/>
                <a:gd name="connsiteY104" fmla="*/ 2358 h 10000"/>
                <a:gd name="connsiteX105" fmla="*/ 96 w 10000"/>
                <a:gd name="connsiteY105" fmla="*/ 2468 h 10000"/>
                <a:gd name="connsiteX106" fmla="*/ 74 w 10000"/>
                <a:gd name="connsiteY106" fmla="*/ 2579 h 10000"/>
                <a:gd name="connsiteX107" fmla="*/ 52 w 10000"/>
                <a:gd name="connsiteY107" fmla="*/ 2694 h 10000"/>
                <a:gd name="connsiteX108" fmla="*/ 37 w 10000"/>
                <a:gd name="connsiteY108" fmla="*/ 2804 h 10000"/>
                <a:gd name="connsiteX109" fmla="*/ 22 w 10000"/>
                <a:gd name="connsiteY109" fmla="*/ 2914 h 10000"/>
                <a:gd name="connsiteX110" fmla="*/ 15 w 10000"/>
                <a:gd name="connsiteY110" fmla="*/ 3024 h 10000"/>
                <a:gd name="connsiteX111" fmla="*/ 7 w 10000"/>
                <a:gd name="connsiteY111" fmla="*/ 3138 h 10000"/>
                <a:gd name="connsiteX112" fmla="*/ 0 w 10000"/>
                <a:gd name="connsiteY112" fmla="*/ 3249 h 10000"/>
                <a:gd name="connsiteX113" fmla="*/ 0 w 10000"/>
                <a:gd name="connsiteY113" fmla="*/ 3364 h 10000"/>
                <a:gd name="connsiteX114" fmla="*/ 7 w 10000"/>
                <a:gd name="connsiteY114" fmla="*/ 3511 h 10000"/>
                <a:gd name="connsiteX115" fmla="*/ 7 w 10000"/>
                <a:gd name="connsiteY115" fmla="*/ 3657 h 10000"/>
                <a:gd name="connsiteX116" fmla="*/ 22 w 10000"/>
                <a:gd name="connsiteY116" fmla="*/ 3795 h 10000"/>
                <a:gd name="connsiteX117" fmla="*/ 37 w 10000"/>
                <a:gd name="connsiteY117" fmla="*/ 3938 h 10000"/>
                <a:gd name="connsiteX118" fmla="*/ 59 w 10000"/>
                <a:gd name="connsiteY118" fmla="*/ 4080 h 10000"/>
                <a:gd name="connsiteX119" fmla="*/ 89 w 10000"/>
                <a:gd name="connsiteY119" fmla="*/ 4222 h 10000"/>
                <a:gd name="connsiteX120" fmla="*/ 119 w 10000"/>
                <a:gd name="connsiteY120" fmla="*/ 4364 h 10000"/>
                <a:gd name="connsiteX121" fmla="*/ 148 w 10000"/>
                <a:gd name="connsiteY121" fmla="*/ 4506 h 10000"/>
                <a:gd name="connsiteX122" fmla="*/ 193 w 10000"/>
                <a:gd name="connsiteY122" fmla="*/ 4645 h 10000"/>
                <a:gd name="connsiteX123" fmla="*/ 237 w 10000"/>
                <a:gd name="connsiteY123" fmla="*/ 4782 h 10000"/>
                <a:gd name="connsiteX124" fmla="*/ 282 w 10000"/>
                <a:gd name="connsiteY124" fmla="*/ 4920 h 10000"/>
                <a:gd name="connsiteX125" fmla="*/ 334 w 10000"/>
                <a:gd name="connsiteY125" fmla="*/ 5057 h 10000"/>
                <a:gd name="connsiteX126" fmla="*/ 393 w 10000"/>
                <a:gd name="connsiteY126" fmla="*/ 5190 h 10000"/>
                <a:gd name="connsiteX127" fmla="*/ 452 w 10000"/>
                <a:gd name="connsiteY127" fmla="*/ 5323 h 10000"/>
                <a:gd name="connsiteX128" fmla="*/ 519 w 10000"/>
                <a:gd name="connsiteY128" fmla="*/ 5457 h 10000"/>
                <a:gd name="connsiteX129" fmla="*/ 586 w 10000"/>
                <a:gd name="connsiteY129" fmla="*/ 5590 h 10000"/>
                <a:gd name="connsiteX130" fmla="*/ 660 w 10000"/>
                <a:gd name="connsiteY130" fmla="*/ 5718 h 10000"/>
                <a:gd name="connsiteX131" fmla="*/ 741 w 10000"/>
                <a:gd name="connsiteY131" fmla="*/ 5846 h 10000"/>
                <a:gd name="connsiteX132" fmla="*/ 823 w 10000"/>
                <a:gd name="connsiteY132" fmla="*/ 5979 h 10000"/>
                <a:gd name="connsiteX133" fmla="*/ 904 w 10000"/>
                <a:gd name="connsiteY133" fmla="*/ 6104 h 10000"/>
                <a:gd name="connsiteX134" fmla="*/ 993 w 10000"/>
                <a:gd name="connsiteY134" fmla="*/ 6228 h 10000"/>
                <a:gd name="connsiteX135" fmla="*/ 1090 w 10000"/>
                <a:gd name="connsiteY135" fmla="*/ 6347 h 10000"/>
                <a:gd name="connsiteX136" fmla="*/ 1186 w 10000"/>
                <a:gd name="connsiteY136" fmla="*/ 6471 h 10000"/>
                <a:gd name="connsiteX137" fmla="*/ 1290 w 10000"/>
                <a:gd name="connsiteY137" fmla="*/ 6594 h 10000"/>
                <a:gd name="connsiteX138" fmla="*/ 1386 w 10000"/>
                <a:gd name="connsiteY138" fmla="*/ 6714 h 10000"/>
                <a:gd name="connsiteX139" fmla="*/ 1497 w 10000"/>
                <a:gd name="connsiteY139" fmla="*/ 6834 h 10000"/>
                <a:gd name="connsiteX140" fmla="*/ 1609 w 10000"/>
                <a:gd name="connsiteY140" fmla="*/ 6948 h 10000"/>
                <a:gd name="connsiteX141" fmla="*/ 1727 w 10000"/>
                <a:gd name="connsiteY141" fmla="*/ 7067 h 10000"/>
                <a:gd name="connsiteX142" fmla="*/ 1846 w 10000"/>
                <a:gd name="connsiteY142" fmla="*/ 7182 h 10000"/>
                <a:gd name="connsiteX143" fmla="*/ 1964 w 10000"/>
                <a:gd name="connsiteY143" fmla="*/ 7292 h 10000"/>
                <a:gd name="connsiteX144" fmla="*/ 2090 w 10000"/>
                <a:gd name="connsiteY144" fmla="*/ 7402 h 10000"/>
                <a:gd name="connsiteX145" fmla="*/ 2224 w 10000"/>
                <a:gd name="connsiteY145" fmla="*/ 7513 h 10000"/>
                <a:gd name="connsiteX146" fmla="*/ 2350 w 10000"/>
                <a:gd name="connsiteY146" fmla="*/ 7623 h 10000"/>
                <a:gd name="connsiteX147" fmla="*/ 2491 w 10000"/>
                <a:gd name="connsiteY147" fmla="*/ 7728 h 10000"/>
                <a:gd name="connsiteX148" fmla="*/ 2617 w 10000"/>
                <a:gd name="connsiteY148" fmla="*/ 7834 h 10000"/>
                <a:gd name="connsiteX149" fmla="*/ 2765 w 10000"/>
                <a:gd name="connsiteY149" fmla="*/ 7935 h 10000"/>
                <a:gd name="connsiteX150" fmla="*/ 2906 w 10000"/>
                <a:gd name="connsiteY150" fmla="*/ 8035 h 10000"/>
                <a:gd name="connsiteX151" fmla="*/ 3054 w 10000"/>
                <a:gd name="connsiteY151" fmla="*/ 8136 h 10000"/>
                <a:gd name="connsiteX152" fmla="*/ 3210 w 10000"/>
                <a:gd name="connsiteY152" fmla="*/ 8234 h 10000"/>
                <a:gd name="connsiteX153" fmla="*/ 3358 w 10000"/>
                <a:gd name="connsiteY153" fmla="*/ 8330 h 10000"/>
                <a:gd name="connsiteX154" fmla="*/ 3514 w 10000"/>
                <a:gd name="connsiteY154" fmla="*/ 8426 h 10000"/>
                <a:gd name="connsiteX155" fmla="*/ 3677 w 10000"/>
                <a:gd name="connsiteY155" fmla="*/ 8518 h 10000"/>
                <a:gd name="connsiteX156" fmla="*/ 3840 w 10000"/>
                <a:gd name="connsiteY156" fmla="*/ 8605 h 10000"/>
                <a:gd name="connsiteX157" fmla="*/ 4010 w 10000"/>
                <a:gd name="connsiteY157" fmla="*/ 8696 h 10000"/>
                <a:gd name="connsiteX158" fmla="*/ 4181 w 10000"/>
                <a:gd name="connsiteY158" fmla="*/ 8774 h 10000"/>
                <a:gd name="connsiteX159" fmla="*/ 4351 w 10000"/>
                <a:gd name="connsiteY159" fmla="*/ 8861 h 10000"/>
                <a:gd name="connsiteX160" fmla="*/ 4522 w 10000"/>
                <a:gd name="connsiteY160" fmla="*/ 8940 h 10000"/>
                <a:gd name="connsiteX161" fmla="*/ 4700 w 10000"/>
                <a:gd name="connsiteY161" fmla="*/ 9023 h 10000"/>
                <a:gd name="connsiteX162" fmla="*/ 4878 w 10000"/>
                <a:gd name="connsiteY162" fmla="*/ 9101 h 10000"/>
                <a:gd name="connsiteX163" fmla="*/ 5063 w 10000"/>
                <a:gd name="connsiteY163" fmla="*/ 9174 h 10000"/>
                <a:gd name="connsiteX164" fmla="*/ 5248 w 10000"/>
                <a:gd name="connsiteY164" fmla="*/ 9252 h 10000"/>
                <a:gd name="connsiteX165" fmla="*/ 5426 w 10000"/>
                <a:gd name="connsiteY165" fmla="*/ 9321 h 10000"/>
                <a:gd name="connsiteX166" fmla="*/ 5619 w 10000"/>
                <a:gd name="connsiteY166" fmla="*/ 9389 h 10000"/>
                <a:gd name="connsiteX167" fmla="*/ 5812 w 10000"/>
                <a:gd name="connsiteY167" fmla="*/ 9458 h 10000"/>
                <a:gd name="connsiteX168" fmla="*/ 6004 w 10000"/>
                <a:gd name="connsiteY168" fmla="*/ 9522 h 10000"/>
                <a:gd name="connsiteX169" fmla="*/ 6205 w 10000"/>
                <a:gd name="connsiteY169" fmla="*/ 9587 h 10000"/>
                <a:gd name="connsiteX170" fmla="*/ 6397 w 10000"/>
                <a:gd name="connsiteY170" fmla="*/ 9647 h 10000"/>
                <a:gd name="connsiteX171" fmla="*/ 6605 w 10000"/>
                <a:gd name="connsiteY171" fmla="*/ 9702 h 10000"/>
                <a:gd name="connsiteX172" fmla="*/ 6805 w 10000"/>
                <a:gd name="connsiteY172" fmla="*/ 9757 h 10000"/>
                <a:gd name="connsiteX173" fmla="*/ 7005 w 10000"/>
                <a:gd name="connsiteY173" fmla="*/ 9812 h 10000"/>
                <a:gd name="connsiteX174" fmla="*/ 7213 w 10000"/>
                <a:gd name="connsiteY174" fmla="*/ 9863 h 10000"/>
                <a:gd name="connsiteX175" fmla="*/ 7420 w 10000"/>
                <a:gd name="connsiteY175" fmla="*/ 9908 h 10000"/>
                <a:gd name="connsiteX176" fmla="*/ 7628 w 10000"/>
                <a:gd name="connsiteY176" fmla="*/ 9954 h 10000"/>
                <a:gd name="connsiteX177" fmla="*/ 7835 w 10000"/>
                <a:gd name="connsiteY177" fmla="*/ 10000 h 10000"/>
                <a:gd name="connsiteX178" fmla="*/ 7539 w 10000"/>
                <a:gd name="connsiteY178" fmla="*/ 7751 h 10000"/>
                <a:gd name="connsiteX179" fmla="*/ 10000 w 10000"/>
                <a:gd name="connsiteY179" fmla="*/ 6136 h 10000"/>
                <a:gd name="connsiteX0" fmla="*/ 10000 w 10000"/>
                <a:gd name="connsiteY0" fmla="*/ 6136 h 9954"/>
                <a:gd name="connsiteX1" fmla="*/ 10000 w 10000"/>
                <a:gd name="connsiteY1" fmla="*/ 6136 h 9954"/>
                <a:gd name="connsiteX2" fmla="*/ 9911 w 10000"/>
                <a:gd name="connsiteY2" fmla="*/ 6122 h 9954"/>
                <a:gd name="connsiteX3" fmla="*/ 9815 w 10000"/>
                <a:gd name="connsiteY3" fmla="*/ 6104 h 9954"/>
                <a:gd name="connsiteX4" fmla="*/ 9726 w 10000"/>
                <a:gd name="connsiteY4" fmla="*/ 6086 h 9954"/>
                <a:gd name="connsiteX5" fmla="*/ 9637 w 10000"/>
                <a:gd name="connsiteY5" fmla="*/ 6062 h 9954"/>
                <a:gd name="connsiteX6" fmla="*/ 9548 w 10000"/>
                <a:gd name="connsiteY6" fmla="*/ 6043 h 9954"/>
                <a:gd name="connsiteX7" fmla="*/ 9466 w 10000"/>
                <a:gd name="connsiteY7" fmla="*/ 6021 h 9954"/>
                <a:gd name="connsiteX8" fmla="*/ 9377 w 10000"/>
                <a:gd name="connsiteY8" fmla="*/ 5998 h 9954"/>
                <a:gd name="connsiteX9" fmla="*/ 9288 w 10000"/>
                <a:gd name="connsiteY9" fmla="*/ 5975 h 9954"/>
                <a:gd name="connsiteX10" fmla="*/ 9118 w 10000"/>
                <a:gd name="connsiteY10" fmla="*/ 5924 h 9954"/>
                <a:gd name="connsiteX11" fmla="*/ 8955 w 10000"/>
                <a:gd name="connsiteY11" fmla="*/ 5869 h 9954"/>
                <a:gd name="connsiteX12" fmla="*/ 8792 w 10000"/>
                <a:gd name="connsiteY12" fmla="*/ 5810 h 9954"/>
                <a:gd name="connsiteX13" fmla="*/ 8636 w 10000"/>
                <a:gd name="connsiteY13" fmla="*/ 5746 h 9954"/>
                <a:gd name="connsiteX14" fmla="*/ 8480 w 10000"/>
                <a:gd name="connsiteY14" fmla="*/ 5681 h 9954"/>
                <a:gd name="connsiteX15" fmla="*/ 8340 w 10000"/>
                <a:gd name="connsiteY15" fmla="*/ 5613 h 9954"/>
                <a:gd name="connsiteX16" fmla="*/ 8199 w 10000"/>
                <a:gd name="connsiteY16" fmla="*/ 5539 h 9954"/>
                <a:gd name="connsiteX17" fmla="*/ 8058 w 10000"/>
                <a:gd name="connsiteY17" fmla="*/ 5461 h 9954"/>
                <a:gd name="connsiteX18" fmla="*/ 7924 w 10000"/>
                <a:gd name="connsiteY18" fmla="*/ 5379 h 9954"/>
                <a:gd name="connsiteX19" fmla="*/ 7798 w 10000"/>
                <a:gd name="connsiteY19" fmla="*/ 5295 h 9954"/>
                <a:gd name="connsiteX20" fmla="*/ 7672 w 10000"/>
                <a:gd name="connsiteY20" fmla="*/ 5208 h 9954"/>
                <a:gd name="connsiteX21" fmla="*/ 7554 w 10000"/>
                <a:gd name="connsiteY21" fmla="*/ 5121 h 9954"/>
                <a:gd name="connsiteX22" fmla="*/ 7450 w 10000"/>
                <a:gd name="connsiteY22" fmla="*/ 5025 h 9954"/>
                <a:gd name="connsiteX23" fmla="*/ 7346 w 10000"/>
                <a:gd name="connsiteY23" fmla="*/ 4929 h 9954"/>
                <a:gd name="connsiteX24" fmla="*/ 7250 w 10000"/>
                <a:gd name="connsiteY24" fmla="*/ 4833 h 9954"/>
                <a:gd name="connsiteX25" fmla="*/ 7161 w 10000"/>
                <a:gd name="connsiteY25" fmla="*/ 4732 h 9954"/>
                <a:gd name="connsiteX26" fmla="*/ 7072 w 10000"/>
                <a:gd name="connsiteY26" fmla="*/ 4630 h 9954"/>
                <a:gd name="connsiteX27" fmla="*/ 6990 w 10000"/>
                <a:gd name="connsiteY27" fmla="*/ 4520 h 9954"/>
                <a:gd name="connsiteX28" fmla="*/ 6953 w 10000"/>
                <a:gd name="connsiteY28" fmla="*/ 4470 h 9954"/>
                <a:gd name="connsiteX29" fmla="*/ 6916 w 10000"/>
                <a:gd name="connsiteY29" fmla="*/ 4415 h 9954"/>
                <a:gd name="connsiteX30" fmla="*/ 6887 w 10000"/>
                <a:gd name="connsiteY30" fmla="*/ 4360 h 9954"/>
                <a:gd name="connsiteX31" fmla="*/ 6850 w 10000"/>
                <a:gd name="connsiteY31" fmla="*/ 4305 h 9954"/>
                <a:gd name="connsiteX32" fmla="*/ 6820 w 10000"/>
                <a:gd name="connsiteY32" fmla="*/ 4250 h 9954"/>
                <a:gd name="connsiteX33" fmla="*/ 6790 w 10000"/>
                <a:gd name="connsiteY33" fmla="*/ 4195 h 9954"/>
                <a:gd name="connsiteX34" fmla="*/ 6768 w 10000"/>
                <a:gd name="connsiteY34" fmla="*/ 4135 h 9954"/>
                <a:gd name="connsiteX35" fmla="*/ 6738 w 10000"/>
                <a:gd name="connsiteY35" fmla="*/ 4080 h 9954"/>
                <a:gd name="connsiteX36" fmla="*/ 6723 w 10000"/>
                <a:gd name="connsiteY36" fmla="*/ 4020 h 9954"/>
                <a:gd name="connsiteX37" fmla="*/ 6694 w 10000"/>
                <a:gd name="connsiteY37" fmla="*/ 3965 h 9954"/>
                <a:gd name="connsiteX38" fmla="*/ 6679 w 10000"/>
                <a:gd name="connsiteY38" fmla="*/ 3905 h 9954"/>
                <a:gd name="connsiteX39" fmla="*/ 6664 w 10000"/>
                <a:gd name="connsiteY39" fmla="*/ 3845 h 9954"/>
                <a:gd name="connsiteX40" fmla="*/ 6649 w 10000"/>
                <a:gd name="connsiteY40" fmla="*/ 3786 h 9954"/>
                <a:gd name="connsiteX41" fmla="*/ 6635 w 10000"/>
                <a:gd name="connsiteY41" fmla="*/ 3731 h 9954"/>
                <a:gd name="connsiteX42" fmla="*/ 6620 w 10000"/>
                <a:gd name="connsiteY42" fmla="*/ 3671 h 9954"/>
                <a:gd name="connsiteX43" fmla="*/ 6612 w 10000"/>
                <a:gd name="connsiteY43" fmla="*/ 3612 h 9954"/>
                <a:gd name="connsiteX44" fmla="*/ 6605 w 10000"/>
                <a:gd name="connsiteY44" fmla="*/ 3552 h 9954"/>
                <a:gd name="connsiteX45" fmla="*/ 6597 w 10000"/>
                <a:gd name="connsiteY45" fmla="*/ 3488 h 9954"/>
                <a:gd name="connsiteX46" fmla="*/ 6597 w 10000"/>
                <a:gd name="connsiteY46" fmla="*/ 3428 h 9954"/>
                <a:gd name="connsiteX47" fmla="*/ 6590 w 10000"/>
                <a:gd name="connsiteY47" fmla="*/ 3364 h 9954"/>
                <a:gd name="connsiteX48" fmla="*/ 6597 w 10000"/>
                <a:gd name="connsiteY48" fmla="*/ 3304 h 9954"/>
                <a:gd name="connsiteX49" fmla="*/ 6605 w 10000"/>
                <a:gd name="connsiteY49" fmla="*/ 3236 h 9954"/>
                <a:gd name="connsiteX50" fmla="*/ 6605 w 10000"/>
                <a:gd name="connsiteY50" fmla="*/ 3171 h 9954"/>
                <a:gd name="connsiteX51" fmla="*/ 6612 w 10000"/>
                <a:gd name="connsiteY51" fmla="*/ 3106 h 9954"/>
                <a:gd name="connsiteX52" fmla="*/ 6620 w 10000"/>
                <a:gd name="connsiteY52" fmla="*/ 3042 h 9954"/>
                <a:gd name="connsiteX53" fmla="*/ 6635 w 10000"/>
                <a:gd name="connsiteY53" fmla="*/ 2983 h 9954"/>
                <a:gd name="connsiteX54" fmla="*/ 6649 w 10000"/>
                <a:gd name="connsiteY54" fmla="*/ 2919 h 9954"/>
                <a:gd name="connsiteX55" fmla="*/ 6664 w 10000"/>
                <a:gd name="connsiteY55" fmla="*/ 2859 h 9954"/>
                <a:gd name="connsiteX56" fmla="*/ 6686 w 10000"/>
                <a:gd name="connsiteY56" fmla="*/ 2795 h 9954"/>
                <a:gd name="connsiteX57" fmla="*/ 6709 w 10000"/>
                <a:gd name="connsiteY57" fmla="*/ 2735 h 9954"/>
                <a:gd name="connsiteX58" fmla="*/ 6731 w 10000"/>
                <a:gd name="connsiteY58" fmla="*/ 2676 h 9954"/>
                <a:gd name="connsiteX59" fmla="*/ 6753 w 10000"/>
                <a:gd name="connsiteY59" fmla="*/ 2611 h 9954"/>
                <a:gd name="connsiteX60" fmla="*/ 6783 w 10000"/>
                <a:gd name="connsiteY60" fmla="*/ 2556 h 9954"/>
                <a:gd name="connsiteX61" fmla="*/ 6812 w 10000"/>
                <a:gd name="connsiteY61" fmla="*/ 2496 h 9954"/>
                <a:gd name="connsiteX62" fmla="*/ 6842 w 10000"/>
                <a:gd name="connsiteY62" fmla="*/ 2436 h 9954"/>
                <a:gd name="connsiteX63" fmla="*/ 6879 w 10000"/>
                <a:gd name="connsiteY63" fmla="*/ 2377 h 9954"/>
                <a:gd name="connsiteX64" fmla="*/ 6909 w 10000"/>
                <a:gd name="connsiteY64" fmla="*/ 2322 h 9954"/>
                <a:gd name="connsiteX65" fmla="*/ 6946 w 10000"/>
                <a:gd name="connsiteY65" fmla="*/ 2262 h 9954"/>
                <a:gd name="connsiteX66" fmla="*/ 6990 w 10000"/>
                <a:gd name="connsiteY66" fmla="*/ 2207 h 9954"/>
                <a:gd name="connsiteX67" fmla="*/ 7027 w 10000"/>
                <a:gd name="connsiteY67" fmla="*/ 2152 h 9954"/>
                <a:gd name="connsiteX68" fmla="*/ 7072 w 10000"/>
                <a:gd name="connsiteY68" fmla="*/ 2097 h 9954"/>
                <a:gd name="connsiteX69" fmla="*/ 7109 w 10000"/>
                <a:gd name="connsiteY69" fmla="*/ 2042 h 9954"/>
                <a:gd name="connsiteX70" fmla="*/ 7161 w 10000"/>
                <a:gd name="connsiteY70" fmla="*/ 1992 h 9954"/>
                <a:gd name="connsiteX71" fmla="*/ 7213 w 10000"/>
                <a:gd name="connsiteY71" fmla="*/ 1937 h 9954"/>
                <a:gd name="connsiteX72" fmla="*/ 7257 w 10000"/>
                <a:gd name="connsiteY72" fmla="*/ 1882 h 9954"/>
                <a:gd name="connsiteX73" fmla="*/ 7309 w 10000"/>
                <a:gd name="connsiteY73" fmla="*/ 1831 h 9954"/>
                <a:gd name="connsiteX74" fmla="*/ 7361 w 10000"/>
                <a:gd name="connsiteY74" fmla="*/ 1780 h 9954"/>
                <a:gd name="connsiteX75" fmla="*/ 7413 w 10000"/>
                <a:gd name="connsiteY75" fmla="*/ 1730 h 9954"/>
                <a:gd name="connsiteX76" fmla="*/ 7472 w 10000"/>
                <a:gd name="connsiteY76" fmla="*/ 1679 h 9954"/>
                <a:gd name="connsiteX77" fmla="*/ 7524 w 10000"/>
                <a:gd name="connsiteY77" fmla="*/ 1633 h 9954"/>
                <a:gd name="connsiteX78" fmla="*/ 7583 w 10000"/>
                <a:gd name="connsiteY78" fmla="*/ 1587 h 9954"/>
                <a:gd name="connsiteX79" fmla="*/ 7610 w 10000"/>
                <a:gd name="connsiteY79" fmla="*/ 1558 h 9954"/>
                <a:gd name="connsiteX80" fmla="*/ 5390 w 10000"/>
                <a:gd name="connsiteY80" fmla="*/ 6 h 9954"/>
                <a:gd name="connsiteX81" fmla="*/ 1401 w 10000"/>
                <a:gd name="connsiteY81" fmla="*/ 0 h 9954"/>
                <a:gd name="connsiteX82" fmla="*/ 1305 w 10000"/>
                <a:gd name="connsiteY82" fmla="*/ 114 h 9954"/>
                <a:gd name="connsiteX83" fmla="*/ 1223 w 10000"/>
                <a:gd name="connsiteY83" fmla="*/ 206 h 9954"/>
                <a:gd name="connsiteX84" fmla="*/ 1149 w 10000"/>
                <a:gd name="connsiteY84" fmla="*/ 302 h 9954"/>
                <a:gd name="connsiteX85" fmla="*/ 1067 w 10000"/>
                <a:gd name="connsiteY85" fmla="*/ 399 h 9954"/>
                <a:gd name="connsiteX86" fmla="*/ 1001 w 10000"/>
                <a:gd name="connsiteY86" fmla="*/ 496 h 9954"/>
                <a:gd name="connsiteX87" fmla="*/ 927 w 10000"/>
                <a:gd name="connsiteY87" fmla="*/ 592 h 9954"/>
                <a:gd name="connsiteX88" fmla="*/ 860 w 10000"/>
                <a:gd name="connsiteY88" fmla="*/ 693 h 9954"/>
                <a:gd name="connsiteX89" fmla="*/ 793 w 10000"/>
                <a:gd name="connsiteY89" fmla="*/ 794 h 9954"/>
                <a:gd name="connsiteX90" fmla="*/ 734 w 10000"/>
                <a:gd name="connsiteY90" fmla="*/ 890 h 9954"/>
                <a:gd name="connsiteX91" fmla="*/ 675 w 10000"/>
                <a:gd name="connsiteY91" fmla="*/ 991 h 9954"/>
                <a:gd name="connsiteX92" fmla="*/ 615 w 10000"/>
                <a:gd name="connsiteY92" fmla="*/ 1092 h 9954"/>
                <a:gd name="connsiteX93" fmla="*/ 556 w 10000"/>
                <a:gd name="connsiteY93" fmla="*/ 1198 h 9954"/>
                <a:gd name="connsiteX94" fmla="*/ 504 w 10000"/>
                <a:gd name="connsiteY94" fmla="*/ 1294 h 9954"/>
                <a:gd name="connsiteX95" fmla="*/ 452 w 10000"/>
                <a:gd name="connsiteY95" fmla="*/ 1400 h 9954"/>
                <a:gd name="connsiteX96" fmla="*/ 408 w 10000"/>
                <a:gd name="connsiteY96" fmla="*/ 1500 h 9954"/>
                <a:gd name="connsiteX97" fmla="*/ 363 w 10000"/>
                <a:gd name="connsiteY97" fmla="*/ 1606 h 9954"/>
                <a:gd name="connsiteX98" fmla="*/ 319 w 10000"/>
                <a:gd name="connsiteY98" fmla="*/ 1711 h 9954"/>
                <a:gd name="connsiteX99" fmla="*/ 282 w 10000"/>
                <a:gd name="connsiteY99" fmla="*/ 1818 h 9954"/>
                <a:gd name="connsiteX100" fmla="*/ 237 w 10000"/>
                <a:gd name="connsiteY100" fmla="*/ 1928 h 9954"/>
                <a:gd name="connsiteX101" fmla="*/ 208 w 10000"/>
                <a:gd name="connsiteY101" fmla="*/ 2033 h 9954"/>
                <a:gd name="connsiteX102" fmla="*/ 170 w 10000"/>
                <a:gd name="connsiteY102" fmla="*/ 2143 h 9954"/>
                <a:gd name="connsiteX103" fmla="*/ 148 w 10000"/>
                <a:gd name="connsiteY103" fmla="*/ 2253 h 9954"/>
                <a:gd name="connsiteX104" fmla="*/ 119 w 10000"/>
                <a:gd name="connsiteY104" fmla="*/ 2358 h 9954"/>
                <a:gd name="connsiteX105" fmla="*/ 96 w 10000"/>
                <a:gd name="connsiteY105" fmla="*/ 2468 h 9954"/>
                <a:gd name="connsiteX106" fmla="*/ 74 w 10000"/>
                <a:gd name="connsiteY106" fmla="*/ 2579 h 9954"/>
                <a:gd name="connsiteX107" fmla="*/ 52 w 10000"/>
                <a:gd name="connsiteY107" fmla="*/ 2694 h 9954"/>
                <a:gd name="connsiteX108" fmla="*/ 37 w 10000"/>
                <a:gd name="connsiteY108" fmla="*/ 2804 h 9954"/>
                <a:gd name="connsiteX109" fmla="*/ 22 w 10000"/>
                <a:gd name="connsiteY109" fmla="*/ 2914 h 9954"/>
                <a:gd name="connsiteX110" fmla="*/ 15 w 10000"/>
                <a:gd name="connsiteY110" fmla="*/ 3024 h 9954"/>
                <a:gd name="connsiteX111" fmla="*/ 7 w 10000"/>
                <a:gd name="connsiteY111" fmla="*/ 3138 h 9954"/>
                <a:gd name="connsiteX112" fmla="*/ 0 w 10000"/>
                <a:gd name="connsiteY112" fmla="*/ 3249 h 9954"/>
                <a:gd name="connsiteX113" fmla="*/ 0 w 10000"/>
                <a:gd name="connsiteY113" fmla="*/ 3364 h 9954"/>
                <a:gd name="connsiteX114" fmla="*/ 7 w 10000"/>
                <a:gd name="connsiteY114" fmla="*/ 3511 h 9954"/>
                <a:gd name="connsiteX115" fmla="*/ 7 w 10000"/>
                <a:gd name="connsiteY115" fmla="*/ 3657 h 9954"/>
                <a:gd name="connsiteX116" fmla="*/ 22 w 10000"/>
                <a:gd name="connsiteY116" fmla="*/ 3795 h 9954"/>
                <a:gd name="connsiteX117" fmla="*/ 37 w 10000"/>
                <a:gd name="connsiteY117" fmla="*/ 3938 h 9954"/>
                <a:gd name="connsiteX118" fmla="*/ 59 w 10000"/>
                <a:gd name="connsiteY118" fmla="*/ 4080 h 9954"/>
                <a:gd name="connsiteX119" fmla="*/ 89 w 10000"/>
                <a:gd name="connsiteY119" fmla="*/ 4222 h 9954"/>
                <a:gd name="connsiteX120" fmla="*/ 119 w 10000"/>
                <a:gd name="connsiteY120" fmla="*/ 4364 h 9954"/>
                <a:gd name="connsiteX121" fmla="*/ 148 w 10000"/>
                <a:gd name="connsiteY121" fmla="*/ 4506 h 9954"/>
                <a:gd name="connsiteX122" fmla="*/ 193 w 10000"/>
                <a:gd name="connsiteY122" fmla="*/ 4645 h 9954"/>
                <a:gd name="connsiteX123" fmla="*/ 237 w 10000"/>
                <a:gd name="connsiteY123" fmla="*/ 4782 h 9954"/>
                <a:gd name="connsiteX124" fmla="*/ 282 w 10000"/>
                <a:gd name="connsiteY124" fmla="*/ 4920 h 9954"/>
                <a:gd name="connsiteX125" fmla="*/ 334 w 10000"/>
                <a:gd name="connsiteY125" fmla="*/ 5057 h 9954"/>
                <a:gd name="connsiteX126" fmla="*/ 393 w 10000"/>
                <a:gd name="connsiteY126" fmla="*/ 5190 h 9954"/>
                <a:gd name="connsiteX127" fmla="*/ 452 w 10000"/>
                <a:gd name="connsiteY127" fmla="*/ 5323 h 9954"/>
                <a:gd name="connsiteX128" fmla="*/ 519 w 10000"/>
                <a:gd name="connsiteY128" fmla="*/ 5457 h 9954"/>
                <a:gd name="connsiteX129" fmla="*/ 586 w 10000"/>
                <a:gd name="connsiteY129" fmla="*/ 5590 h 9954"/>
                <a:gd name="connsiteX130" fmla="*/ 660 w 10000"/>
                <a:gd name="connsiteY130" fmla="*/ 5718 h 9954"/>
                <a:gd name="connsiteX131" fmla="*/ 741 w 10000"/>
                <a:gd name="connsiteY131" fmla="*/ 5846 h 9954"/>
                <a:gd name="connsiteX132" fmla="*/ 823 w 10000"/>
                <a:gd name="connsiteY132" fmla="*/ 5979 h 9954"/>
                <a:gd name="connsiteX133" fmla="*/ 904 w 10000"/>
                <a:gd name="connsiteY133" fmla="*/ 6104 h 9954"/>
                <a:gd name="connsiteX134" fmla="*/ 993 w 10000"/>
                <a:gd name="connsiteY134" fmla="*/ 6228 h 9954"/>
                <a:gd name="connsiteX135" fmla="*/ 1090 w 10000"/>
                <a:gd name="connsiteY135" fmla="*/ 6347 h 9954"/>
                <a:gd name="connsiteX136" fmla="*/ 1186 w 10000"/>
                <a:gd name="connsiteY136" fmla="*/ 6471 h 9954"/>
                <a:gd name="connsiteX137" fmla="*/ 1290 w 10000"/>
                <a:gd name="connsiteY137" fmla="*/ 6594 h 9954"/>
                <a:gd name="connsiteX138" fmla="*/ 1386 w 10000"/>
                <a:gd name="connsiteY138" fmla="*/ 6714 h 9954"/>
                <a:gd name="connsiteX139" fmla="*/ 1497 w 10000"/>
                <a:gd name="connsiteY139" fmla="*/ 6834 h 9954"/>
                <a:gd name="connsiteX140" fmla="*/ 1609 w 10000"/>
                <a:gd name="connsiteY140" fmla="*/ 6948 h 9954"/>
                <a:gd name="connsiteX141" fmla="*/ 1727 w 10000"/>
                <a:gd name="connsiteY141" fmla="*/ 7067 h 9954"/>
                <a:gd name="connsiteX142" fmla="*/ 1846 w 10000"/>
                <a:gd name="connsiteY142" fmla="*/ 7182 h 9954"/>
                <a:gd name="connsiteX143" fmla="*/ 1964 w 10000"/>
                <a:gd name="connsiteY143" fmla="*/ 7292 h 9954"/>
                <a:gd name="connsiteX144" fmla="*/ 2090 w 10000"/>
                <a:gd name="connsiteY144" fmla="*/ 7402 h 9954"/>
                <a:gd name="connsiteX145" fmla="*/ 2224 w 10000"/>
                <a:gd name="connsiteY145" fmla="*/ 7513 h 9954"/>
                <a:gd name="connsiteX146" fmla="*/ 2350 w 10000"/>
                <a:gd name="connsiteY146" fmla="*/ 7623 h 9954"/>
                <a:gd name="connsiteX147" fmla="*/ 2491 w 10000"/>
                <a:gd name="connsiteY147" fmla="*/ 7728 h 9954"/>
                <a:gd name="connsiteX148" fmla="*/ 2617 w 10000"/>
                <a:gd name="connsiteY148" fmla="*/ 7834 h 9954"/>
                <a:gd name="connsiteX149" fmla="*/ 2765 w 10000"/>
                <a:gd name="connsiteY149" fmla="*/ 7935 h 9954"/>
                <a:gd name="connsiteX150" fmla="*/ 2906 w 10000"/>
                <a:gd name="connsiteY150" fmla="*/ 8035 h 9954"/>
                <a:gd name="connsiteX151" fmla="*/ 3054 w 10000"/>
                <a:gd name="connsiteY151" fmla="*/ 8136 h 9954"/>
                <a:gd name="connsiteX152" fmla="*/ 3210 w 10000"/>
                <a:gd name="connsiteY152" fmla="*/ 8234 h 9954"/>
                <a:gd name="connsiteX153" fmla="*/ 3358 w 10000"/>
                <a:gd name="connsiteY153" fmla="*/ 8330 h 9954"/>
                <a:gd name="connsiteX154" fmla="*/ 3514 w 10000"/>
                <a:gd name="connsiteY154" fmla="*/ 8426 h 9954"/>
                <a:gd name="connsiteX155" fmla="*/ 3677 w 10000"/>
                <a:gd name="connsiteY155" fmla="*/ 8518 h 9954"/>
                <a:gd name="connsiteX156" fmla="*/ 3840 w 10000"/>
                <a:gd name="connsiteY156" fmla="*/ 8605 h 9954"/>
                <a:gd name="connsiteX157" fmla="*/ 4010 w 10000"/>
                <a:gd name="connsiteY157" fmla="*/ 8696 h 9954"/>
                <a:gd name="connsiteX158" fmla="*/ 4181 w 10000"/>
                <a:gd name="connsiteY158" fmla="*/ 8774 h 9954"/>
                <a:gd name="connsiteX159" fmla="*/ 4351 w 10000"/>
                <a:gd name="connsiteY159" fmla="*/ 8861 h 9954"/>
                <a:gd name="connsiteX160" fmla="*/ 4522 w 10000"/>
                <a:gd name="connsiteY160" fmla="*/ 8940 h 9954"/>
                <a:gd name="connsiteX161" fmla="*/ 4700 w 10000"/>
                <a:gd name="connsiteY161" fmla="*/ 9023 h 9954"/>
                <a:gd name="connsiteX162" fmla="*/ 4878 w 10000"/>
                <a:gd name="connsiteY162" fmla="*/ 9101 h 9954"/>
                <a:gd name="connsiteX163" fmla="*/ 5063 w 10000"/>
                <a:gd name="connsiteY163" fmla="*/ 9174 h 9954"/>
                <a:gd name="connsiteX164" fmla="*/ 5248 w 10000"/>
                <a:gd name="connsiteY164" fmla="*/ 9252 h 9954"/>
                <a:gd name="connsiteX165" fmla="*/ 5426 w 10000"/>
                <a:gd name="connsiteY165" fmla="*/ 9321 h 9954"/>
                <a:gd name="connsiteX166" fmla="*/ 5619 w 10000"/>
                <a:gd name="connsiteY166" fmla="*/ 9389 h 9954"/>
                <a:gd name="connsiteX167" fmla="*/ 5812 w 10000"/>
                <a:gd name="connsiteY167" fmla="*/ 9458 h 9954"/>
                <a:gd name="connsiteX168" fmla="*/ 6004 w 10000"/>
                <a:gd name="connsiteY168" fmla="*/ 9522 h 9954"/>
                <a:gd name="connsiteX169" fmla="*/ 6205 w 10000"/>
                <a:gd name="connsiteY169" fmla="*/ 9587 h 9954"/>
                <a:gd name="connsiteX170" fmla="*/ 6397 w 10000"/>
                <a:gd name="connsiteY170" fmla="*/ 9647 h 9954"/>
                <a:gd name="connsiteX171" fmla="*/ 6605 w 10000"/>
                <a:gd name="connsiteY171" fmla="*/ 9702 h 9954"/>
                <a:gd name="connsiteX172" fmla="*/ 6805 w 10000"/>
                <a:gd name="connsiteY172" fmla="*/ 9757 h 9954"/>
                <a:gd name="connsiteX173" fmla="*/ 7005 w 10000"/>
                <a:gd name="connsiteY173" fmla="*/ 9812 h 9954"/>
                <a:gd name="connsiteX174" fmla="*/ 7213 w 10000"/>
                <a:gd name="connsiteY174" fmla="*/ 9863 h 9954"/>
                <a:gd name="connsiteX175" fmla="*/ 7420 w 10000"/>
                <a:gd name="connsiteY175" fmla="*/ 9908 h 9954"/>
                <a:gd name="connsiteX176" fmla="*/ 7628 w 10000"/>
                <a:gd name="connsiteY176" fmla="*/ 9954 h 9954"/>
                <a:gd name="connsiteX177" fmla="*/ 7539 w 10000"/>
                <a:gd name="connsiteY177" fmla="*/ 7751 h 9954"/>
                <a:gd name="connsiteX178" fmla="*/ 10000 w 10000"/>
                <a:gd name="connsiteY178" fmla="*/ 6136 h 9954"/>
                <a:gd name="connsiteX0" fmla="*/ 10000 w 10000"/>
                <a:gd name="connsiteY0" fmla="*/ 6164 h 9954"/>
                <a:gd name="connsiteX1" fmla="*/ 10000 w 10000"/>
                <a:gd name="connsiteY1" fmla="*/ 6164 h 9954"/>
                <a:gd name="connsiteX2" fmla="*/ 9911 w 10000"/>
                <a:gd name="connsiteY2" fmla="*/ 6150 h 9954"/>
                <a:gd name="connsiteX3" fmla="*/ 9815 w 10000"/>
                <a:gd name="connsiteY3" fmla="*/ 6132 h 9954"/>
                <a:gd name="connsiteX4" fmla="*/ 9726 w 10000"/>
                <a:gd name="connsiteY4" fmla="*/ 6114 h 9954"/>
                <a:gd name="connsiteX5" fmla="*/ 9637 w 10000"/>
                <a:gd name="connsiteY5" fmla="*/ 6090 h 9954"/>
                <a:gd name="connsiteX6" fmla="*/ 9548 w 10000"/>
                <a:gd name="connsiteY6" fmla="*/ 6071 h 9954"/>
                <a:gd name="connsiteX7" fmla="*/ 9466 w 10000"/>
                <a:gd name="connsiteY7" fmla="*/ 6049 h 9954"/>
                <a:gd name="connsiteX8" fmla="*/ 9377 w 10000"/>
                <a:gd name="connsiteY8" fmla="*/ 6026 h 9954"/>
                <a:gd name="connsiteX9" fmla="*/ 9288 w 10000"/>
                <a:gd name="connsiteY9" fmla="*/ 6003 h 9954"/>
                <a:gd name="connsiteX10" fmla="*/ 9118 w 10000"/>
                <a:gd name="connsiteY10" fmla="*/ 5951 h 9954"/>
                <a:gd name="connsiteX11" fmla="*/ 8955 w 10000"/>
                <a:gd name="connsiteY11" fmla="*/ 5896 h 9954"/>
                <a:gd name="connsiteX12" fmla="*/ 8792 w 10000"/>
                <a:gd name="connsiteY12" fmla="*/ 5837 h 9954"/>
                <a:gd name="connsiteX13" fmla="*/ 8636 w 10000"/>
                <a:gd name="connsiteY13" fmla="*/ 5773 h 9954"/>
                <a:gd name="connsiteX14" fmla="*/ 8480 w 10000"/>
                <a:gd name="connsiteY14" fmla="*/ 5707 h 9954"/>
                <a:gd name="connsiteX15" fmla="*/ 8340 w 10000"/>
                <a:gd name="connsiteY15" fmla="*/ 5639 h 9954"/>
                <a:gd name="connsiteX16" fmla="*/ 8199 w 10000"/>
                <a:gd name="connsiteY16" fmla="*/ 5565 h 9954"/>
                <a:gd name="connsiteX17" fmla="*/ 8058 w 10000"/>
                <a:gd name="connsiteY17" fmla="*/ 5486 h 9954"/>
                <a:gd name="connsiteX18" fmla="*/ 7924 w 10000"/>
                <a:gd name="connsiteY18" fmla="*/ 5404 h 9954"/>
                <a:gd name="connsiteX19" fmla="*/ 7798 w 10000"/>
                <a:gd name="connsiteY19" fmla="*/ 5319 h 9954"/>
                <a:gd name="connsiteX20" fmla="*/ 7672 w 10000"/>
                <a:gd name="connsiteY20" fmla="*/ 5232 h 9954"/>
                <a:gd name="connsiteX21" fmla="*/ 7554 w 10000"/>
                <a:gd name="connsiteY21" fmla="*/ 5145 h 9954"/>
                <a:gd name="connsiteX22" fmla="*/ 7450 w 10000"/>
                <a:gd name="connsiteY22" fmla="*/ 5048 h 9954"/>
                <a:gd name="connsiteX23" fmla="*/ 7346 w 10000"/>
                <a:gd name="connsiteY23" fmla="*/ 4952 h 9954"/>
                <a:gd name="connsiteX24" fmla="*/ 7250 w 10000"/>
                <a:gd name="connsiteY24" fmla="*/ 4855 h 9954"/>
                <a:gd name="connsiteX25" fmla="*/ 7161 w 10000"/>
                <a:gd name="connsiteY25" fmla="*/ 4754 h 9954"/>
                <a:gd name="connsiteX26" fmla="*/ 7072 w 10000"/>
                <a:gd name="connsiteY26" fmla="*/ 4651 h 9954"/>
                <a:gd name="connsiteX27" fmla="*/ 6990 w 10000"/>
                <a:gd name="connsiteY27" fmla="*/ 4541 h 9954"/>
                <a:gd name="connsiteX28" fmla="*/ 6953 w 10000"/>
                <a:gd name="connsiteY28" fmla="*/ 4491 h 9954"/>
                <a:gd name="connsiteX29" fmla="*/ 6916 w 10000"/>
                <a:gd name="connsiteY29" fmla="*/ 4435 h 9954"/>
                <a:gd name="connsiteX30" fmla="*/ 6887 w 10000"/>
                <a:gd name="connsiteY30" fmla="*/ 4380 h 9954"/>
                <a:gd name="connsiteX31" fmla="*/ 6850 w 10000"/>
                <a:gd name="connsiteY31" fmla="*/ 4325 h 9954"/>
                <a:gd name="connsiteX32" fmla="*/ 6820 w 10000"/>
                <a:gd name="connsiteY32" fmla="*/ 4270 h 9954"/>
                <a:gd name="connsiteX33" fmla="*/ 6790 w 10000"/>
                <a:gd name="connsiteY33" fmla="*/ 4214 h 9954"/>
                <a:gd name="connsiteX34" fmla="*/ 6768 w 10000"/>
                <a:gd name="connsiteY34" fmla="*/ 4154 h 9954"/>
                <a:gd name="connsiteX35" fmla="*/ 6738 w 10000"/>
                <a:gd name="connsiteY35" fmla="*/ 4099 h 9954"/>
                <a:gd name="connsiteX36" fmla="*/ 6723 w 10000"/>
                <a:gd name="connsiteY36" fmla="*/ 4039 h 9954"/>
                <a:gd name="connsiteX37" fmla="*/ 6694 w 10000"/>
                <a:gd name="connsiteY37" fmla="*/ 3983 h 9954"/>
                <a:gd name="connsiteX38" fmla="*/ 6679 w 10000"/>
                <a:gd name="connsiteY38" fmla="*/ 3923 h 9954"/>
                <a:gd name="connsiteX39" fmla="*/ 6664 w 10000"/>
                <a:gd name="connsiteY39" fmla="*/ 3863 h 9954"/>
                <a:gd name="connsiteX40" fmla="*/ 6649 w 10000"/>
                <a:gd name="connsiteY40" fmla="*/ 3803 h 9954"/>
                <a:gd name="connsiteX41" fmla="*/ 6635 w 10000"/>
                <a:gd name="connsiteY41" fmla="*/ 3748 h 9954"/>
                <a:gd name="connsiteX42" fmla="*/ 6620 w 10000"/>
                <a:gd name="connsiteY42" fmla="*/ 3688 h 9954"/>
                <a:gd name="connsiteX43" fmla="*/ 6612 w 10000"/>
                <a:gd name="connsiteY43" fmla="*/ 3629 h 9954"/>
                <a:gd name="connsiteX44" fmla="*/ 6605 w 10000"/>
                <a:gd name="connsiteY44" fmla="*/ 3568 h 9954"/>
                <a:gd name="connsiteX45" fmla="*/ 6597 w 10000"/>
                <a:gd name="connsiteY45" fmla="*/ 3504 h 9954"/>
                <a:gd name="connsiteX46" fmla="*/ 6597 w 10000"/>
                <a:gd name="connsiteY46" fmla="*/ 3444 h 9954"/>
                <a:gd name="connsiteX47" fmla="*/ 6590 w 10000"/>
                <a:gd name="connsiteY47" fmla="*/ 3380 h 9954"/>
                <a:gd name="connsiteX48" fmla="*/ 6597 w 10000"/>
                <a:gd name="connsiteY48" fmla="*/ 3319 h 9954"/>
                <a:gd name="connsiteX49" fmla="*/ 6605 w 10000"/>
                <a:gd name="connsiteY49" fmla="*/ 3251 h 9954"/>
                <a:gd name="connsiteX50" fmla="*/ 6605 w 10000"/>
                <a:gd name="connsiteY50" fmla="*/ 3186 h 9954"/>
                <a:gd name="connsiteX51" fmla="*/ 6612 w 10000"/>
                <a:gd name="connsiteY51" fmla="*/ 3120 h 9954"/>
                <a:gd name="connsiteX52" fmla="*/ 6620 w 10000"/>
                <a:gd name="connsiteY52" fmla="*/ 3056 h 9954"/>
                <a:gd name="connsiteX53" fmla="*/ 6635 w 10000"/>
                <a:gd name="connsiteY53" fmla="*/ 2997 h 9954"/>
                <a:gd name="connsiteX54" fmla="*/ 6649 w 10000"/>
                <a:gd name="connsiteY54" fmla="*/ 2932 h 9954"/>
                <a:gd name="connsiteX55" fmla="*/ 6664 w 10000"/>
                <a:gd name="connsiteY55" fmla="*/ 2872 h 9954"/>
                <a:gd name="connsiteX56" fmla="*/ 6686 w 10000"/>
                <a:gd name="connsiteY56" fmla="*/ 2808 h 9954"/>
                <a:gd name="connsiteX57" fmla="*/ 6709 w 10000"/>
                <a:gd name="connsiteY57" fmla="*/ 2748 h 9954"/>
                <a:gd name="connsiteX58" fmla="*/ 6731 w 10000"/>
                <a:gd name="connsiteY58" fmla="*/ 2688 h 9954"/>
                <a:gd name="connsiteX59" fmla="*/ 6753 w 10000"/>
                <a:gd name="connsiteY59" fmla="*/ 2623 h 9954"/>
                <a:gd name="connsiteX60" fmla="*/ 6783 w 10000"/>
                <a:gd name="connsiteY60" fmla="*/ 2568 h 9954"/>
                <a:gd name="connsiteX61" fmla="*/ 6812 w 10000"/>
                <a:gd name="connsiteY61" fmla="*/ 2508 h 9954"/>
                <a:gd name="connsiteX62" fmla="*/ 6842 w 10000"/>
                <a:gd name="connsiteY62" fmla="*/ 2447 h 9954"/>
                <a:gd name="connsiteX63" fmla="*/ 6879 w 10000"/>
                <a:gd name="connsiteY63" fmla="*/ 2388 h 9954"/>
                <a:gd name="connsiteX64" fmla="*/ 6909 w 10000"/>
                <a:gd name="connsiteY64" fmla="*/ 2333 h 9954"/>
                <a:gd name="connsiteX65" fmla="*/ 6946 w 10000"/>
                <a:gd name="connsiteY65" fmla="*/ 2272 h 9954"/>
                <a:gd name="connsiteX66" fmla="*/ 6990 w 10000"/>
                <a:gd name="connsiteY66" fmla="*/ 2217 h 9954"/>
                <a:gd name="connsiteX67" fmla="*/ 7027 w 10000"/>
                <a:gd name="connsiteY67" fmla="*/ 2162 h 9954"/>
                <a:gd name="connsiteX68" fmla="*/ 7072 w 10000"/>
                <a:gd name="connsiteY68" fmla="*/ 2107 h 9954"/>
                <a:gd name="connsiteX69" fmla="*/ 7109 w 10000"/>
                <a:gd name="connsiteY69" fmla="*/ 2051 h 9954"/>
                <a:gd name="connsiteX70" fmla="*/ 7161 w 10000"/>
                <a:gd name="connsiteY70" fmla="*/ 2001 h 9954"/>
                <a:gd name="connsiteX71" fmla="*/ 7213 w 10000"/>
                <a:gd name="connsiteY71" fmla="*/ 1946 h 9954"/>
                <a:gd name="connsiteX72" fmla="*/ 7257 w 10000"/>
                <a:gd name="connsiteY72" fmla="*/ 1891 h 9954"/>
                <a:gd name="connsiteX73" fmla="*/ 7309 w 10000"/>
                <a:gd name="connsiteY73" fmla="*/ 1839 h 9954"/>
                <a:gd name="connsiteX74" fmla="*/ 7361 w 10000"/>
                <a:gd name="connsiteY74" fmla="*/ 1788 h 9954"/>
                <a:gd name="connsiteX75" fmla="*/ 7413 w 10000"/>
                <a:gd name="connsiteY75" fmla="*/ 1738 h 9954"/>
                <a:gd name="connsiteX76" fmla="*/ 7472 w 10000"/>
                <a:gd name="connsiteY76" fmla="*/ 1687 h 9954"/>
                <a:gd name="connsiteX77" fmla="*/ 7524 w 10000"/>
                <a:gd name="connsiteY77" fmla="*/ 1641 h 9954"/>
                <a:gd name="connsiteX78" fmla="*/ 7583 w 10000"/>
                <a:gd name="connsiteY78" fmla="*/ 1594 h 9954"/>
                <a:gd name="connsiteX79" fmla="*/ 7610 w 10000"/>
                <a:gd name="connsiteY79" fmla="*/ 1565 h 9954"/>
                <a:gd name="connsiteX80" fmla="*/ 5390 w 10000"/>
                <a:gd name="connsiteY80" fmla="*/ 6 h 9954"/>
                <a:gd name="connsiteX81" fmla="*/ 1401 w 10000"/>
                <a:gd name="connsiteY81" fmla="*/ 0 h 9954"/>
                <a:gd name="connsiteX82" fmla="*/ 1305 w 10000"/>
                <a:gd name="connsiteY82" fmla="*/ 115 h 9954"/>
                <a:gd name="connsiteX83" fmla="*/ 1223 w 10000"/>
                <a:gd name="connsiteY83" fmla="*/ 207 h 9954"/>
                <a:gd name="connsiteX84" fmla="*/ 1149 w 10000"/>
                <a:gd name="connsiteY84" fmla="*/ 303 h 9954"/>
                <a:gd name="connsiteX85" fmla="*/ 1067 w 10000"/>
                <a:gd name="connsiteY85" fmla="*/ 401 h 9954"/>
                <a:gd name="connsiteX86" fmla="*/ 1001 w 10000"/>
                <a:gd name="connsiteY86" fmla="*/ 498 h 9954"/>
                <a:gd name="connsiteX87" fmla="*/ 927 w 10000"/>
                <a:gd name="connsiteY87" fmla="*/ 595 h 9954"/>
                <a:gd name="connsiteX88" fmla="*/ 860 w 10000"/>
                <a:gd name="connsiteY88" fmla="*/ 696 h 9954"/>
                <a:gd name="connsiteX89" fmla="*/ 793 w 10000"/>
                <a:gd name="connsiteY89" fmla="*/ 798 h 9954"/>
                <a:gd name="connsiteX90" fmla="*/ 734 w 10000"/>
                <a:gd name="connsiteY90" fmla="*/ 894 h 9954"/>
                <a:gd name="connsiteX91" fmla="*/ 675 w 10000"/>
                <a:gd name="connsiteY91" fmla="*/ 996 h 9954"/>
                <a:gd name="connsiteX92" fmla="*/ 615 w 10000"/>
                <a:gd name="connsiteY92" fmla="*/ 1097 h 9954"/>
                <a:gd name="connsiteX93" fmla="*/ 556 w 10000"/>
                <a:gd name="connsiteY93" fmla="*/ 1204 h 9954"/>
                <a:gd name="connsiteX94" fmla="*/ 504 w 10000"/>
                <a:gd name="connsiteY94" fmla="*/ 1300 h 9954"/>
                <a:gd name="connsiteX95" fmla="*/ 452 w 10000"/>
                <a:gd name="connsiteY95" fmla="*/ 1406 h 9954"/>
                <a:gd name="connsiteX96" fmla="*/ 408 w 10000"/>
                <a:gd name="connsiteY96" fmla="*/ 1507 h 9954"/>
                <a:gd name="connsiteX97" fmla="*/ 363 w 10000"/>
                <a:gd name="connsiteY97" fmla="*/ 1613 h 9954"/>
                <a:gd name="connsiteX98" fmla="*/ 319 w 10000"/>
                <a:gd name="connsiteY98" fmla="*/ 1719 h 9954"/>
                <a:gd name="connsiteX99" fmla="*/ 282 w 10000"/>
                <a:gd name="connsiteY99" fmla="*/ 1826 h 9954"/>
                <a:gd name="connsiteX100" fmla="*/ 237 w 10000"/>
                <a:gd name="connsiteY100" fmla="*/ 1937 h 9954"/>
                <a:gd name="connsiteX101" fmla="*/ 208 w 10000"/>
                <a:gd name="connsiteY101" fmla="*/ 2042 h 9954"/>
                <a:gd name="connsiteX102" fmla="*/ 170 w 10000"/>
                <a:gd name="connsiteY102" fmla="*/ 2153 h 9954"/>
                <a:gd name="connsiteX103" fmla="*/ 148 w 10000"/>
                <a:gd name="connsiteY103" fmla="*/ 2263 h 9954"/>
                <a:gd name="connsiteX104" fmla="*/ 119 w 10000"/>
                <a:gd name="connsiteY104" fmla="*/ 2369 h 9954"/>
                <a:gd name="connsiteX105" fmla="*/ 96 w 10000"/>
                <a:gd name="connsiteY105" fmla="*/ 2479 h 9954"/>
                <a:gd name="connsiteX106" fmla="*/ 74 w 10000"/>
                <a:gd name="connsiteY106" fmla="*/ 2591 h 9954"/>
                <a:gd name="connsiteX107" fmla="*/ 52 w 10000"/>
                <a:gd name="connsiteY107" fmla="*/ 2706 h 9954"/>
                <a:gd name="connsiteX108" fmla="*/ 37 w 10000"/>
                <a:gd name="connsiteY108" fmla="*/ 2817 h 9954"/>
                <a:gd name="connsiteX109" fmla="*/ 22 w 10000"/>
                <a:gd name="connsiteY109" fmla="*/ 2927 h 9954"/>
                <a:gd name="connsiteX110" fmla="*/ 15 w 10000"/>
                <a:gd name="connsiteY110" fmla="*/ 3038 h 9954"/>
                <a:gd name="connsiteX111" fmla="*/ 7 w 10000"/>
                <a:gd name="connsiteY111" fmla="*/ 3153 h 9954"/>
                <a:gd name="connsiteX112" fmla="*/ 0 w 10000"/>
                <a:gd name="connsiteY112" fmla="*/ 3264 h 9954"/>
                <a:gd name="connsiteX113" fmla="*/ 0 w 10000"/>
                <a:gd name="connsiteY113" fmla="*/ 3380 h 9954"/>
                <a:gd name="connsiteX114" fmla="*/ 7 w 10000"/>
                <a:gd name="connsiteY114" fmla="*/ 3527 h 9954"/>
                <a:gd name="connsiteX115" fmla="*/ 7 w 10000"/>
                <a:gd name="connsiteY115" fmla="*/ 3674 h 9954"/>
                <a:gd name="connsiteX116" fmla="*/ 22 w 10000"/>
                <a:gd name="connsiteY116" fmla="*/ 3813 h 9954"/>
                <a:gd name="connsiteX117" fmla="*/ 37 w 10000"/>
                <a:gd name="connsiteY117" fmla="*/ 3956 h 9954"/>
                <a:gd name="connsiteX118" fmla="*/ 59 w 10000"/>
                <a:gd name="connsiteY118" fmla="*/ 4099 h 9954"/>
                <a:gd name="connsiteX119" fmla="*/ 89 w 10000"/>
                <a:gd name="connsiteY119" fmla="*/ 4242 h 9954"/>
                <a:gd name="connsiteX120" fmla="*/ 119 w 10000"/>
                <a:gd name="connsiteY120" fmla="*/ 4384 h 9954"/>
                <a:gd name="connsiteX121" fmla="*/ 148 w 10000"/>
                <a:gd name="connsiteY121" fmla="*/ 4527 h 9954"/>
                <a:gd name="connsiteX122" fmla="*/ 193 w 10000"/>
                <a:gd name="connsiteY122" fmla="*/ 4666 h 9954"/>
                <a:gd name="connsiteX123" fmla="*/ 237 w 10000"/>
                <a:gd name="connsiteY123" fmla="*/ 4804 h 9954"/>
                <a:gd name="connsiteX124" fmla="*/ 282 w 10000"/>
                <a:gd name="connsiteY124" fmla="*/ 4943 h 9954"/>
                <a:gd name="connsiteX125" fmla="*/ 334 w 10000"/>
                <a:gd name="connsiteY125" fmla="*/ 5080 h 9954"/>
                <a:gd name="connsiteX126" fmla="*/ 393 w 10000"/>
                <a:gd name="connsiteY126" fmla="*/ 5214 h 9954"/>
                <a:gd name="connsiteX127" fmla="*/ 452 w 10000"/>
                <a:gd name="connsiteY127" fmla="*/ 5348 h 9954"/>
                <a:gd name="connsiteX128" fmla="*/ 519 w 10000"/>
                <a:gd name="connsiteY128" fmla="*/ 5482 h 9954"/>
                <a:gd name="connsiteX129" fmla="*/ 586 w 10000"/>
                <a:gd name="connsiteY129" fmla="*/ 5616 h 9954"/>
                <a:gd name="connsiteX130" fmla="*/ 660 w 10000"/>
                <a:gd name="connsiteY130" fmla="*/ 5744 h 9954"/>
                <a:gd name="connsiteX131" fmla="*/ 741 w 10000"/>
                <a:gd name="connsiteY131" fmla="*/ 5873 h 9954"/>
                <a:gd name="connsiteX132" fmla="*/ 823 w 10000"/>
                <a:gd name="connsiteY132" fmla="*/ 6007 h 9954"/>
                <a:gd name="connsiteX133" fmla="*/ 904 w 10000"/>
                <a:gd name="connsiteY133" fmla="*/ 6132 h 9954"/>
                <a:gd name="connsiteX134" fmla="*/ 993 w 10000"/>
                <a:gd name="connsiteY134" fmla="*/ 6257 h 9954"/>
                <a:gd name="connsiteX135" fmla="*/ 1090 w 10000"/>
                <a:gd name="connsiteY135" fmla="*/ 6376 h 9954"/>
                <a:gd name="connsiteX136" fmla="*/ 1186 w 10000"/>
                <a:gd name="connsiteY136" fmla="*/ 6501 h 9954"/>
                <a:gd name="connsiteX137" fmla="*/ 1290 w 10000"/>
                <a:gd name="connsiteY137" fmla="*/ 6624 h 9954"/>
                <a:gd name="connsiteX138" fmla="*/ 1386 w 10000"/>
                <a:gd name="connsiteY138" fmla="*/ 6745 h 9954"/>
                <a:gd name="connsiteX139" fmla="*/ 1497 w 10000"/>
                <a:gd name="connsiteY139" fmla="*/ 6866 h 9954"/>
                <a:gd name="connsiteX140" fmla="*/ 1609 w 10000"/>
                <a:gd name="connsiteY140" fmla="*/ 6980 h 9954"/>
                <a:gd name="connsiteX141" fmla="*/ 1727 w 10000"/>
                <a:gd name="connsiteY141" fmla="*/ 7100 h 9954"/>
                <a:gd name="connsiteX142" fmla="*/ 1846 w 10000"/>
                <a:gd name="connsiteY142" fmla="*/ 7215 h 9954"/>
                <a:gd name="connsiteX143" fmla="*/ 1964 w 10000"/>
                <a:gd name="connsiteY143" fmla="*/ 7326 h 9954"/>
                <a:gd name="connsiteX144" fmla="*/ 2090 w 10000"/>
                <a:gd name="connsiteY144" fmla="*/ 7436 h 9954"/>
                <a:gd name="connsiteX145" fmla="*/ 2224 w 10000"/>
                <a:gd name="connsiteY145" fmla="*/ 7548 h 9954"/>
                <a:gd name="connsiteX146" fmla="*/ 2350 w 10000"/>
                <a:gd name="connsiteY146" fmla="*/ 7658 h 9954"/>
                <a:gd name="connsiteX147" fmla="*/ 2491 w 10000"/>
                <a:gd name="connsiteY147" fmla="*/ 7764 h 9954"/>
                <a:gd name="connsiteX148" fmla="*/ 2617 w 10000"/>
                <a:gd name="connsiteY148" fmla="*/ 7870 h 9954"/>
                <a:gd name="connsiteX149" fmla="*/ 2765 w 10000"/>
                <a:gd name="connsiteY149" fmla="*/ 7972 h 9954"/>
                <a:gd name="connsiteX150" fmla="*/ 2906 w 10000"/>
                <a:gd name="connsiteY150" fmla="*/ 8072 h 9954"/>
                <a:gd name="connsiteX151" fmla="*/ 3054 w 10000"/>
                <a:gd name="connsiteY151" fmla="*/ 8174 h 9954"/>
                <a:gd name="connsiteX152" fmla="*/ 3210 w 10000"/>
                <a:gd name="connsiteY152" fmla="*/ 8272 h 9954"/>
                <a:gd name="connsiteX153" fmla="*/ 3358 w 10000"/>
                <a:gd name="connsiteY153" fmla="*/ 8368 h 9954"/>
                <a:gd name="connsiteX154" fmla="*/ 3514 w 10000"/>
                <a:gd name="connsiteY154" fmla="*/ 8465 h 9954"/>
                <a:gd name="connsiteX155" fmla="*/ 3677 w 10000"/>
                <a:gd name="connsiteY155" fmla="*/ 8557 h 9954"/>
                <a:gd name="connsiteX156" fmla="*/ 3840 w 10000"/>
                <a:gd name="connsiteY156" fmla="*/ 8645 h 9954"/>
                <a:gd name="connsiteX157" fmla="*/ 4010 w 10000"/>
                <a:gd name="connsiteY157" fmla="*/ 8736 h 9954"/>
                <a:gd name="connsiteX158" fmla="*/ 4181 w 10000"/>
                <a:gd name="connsiteY158" fmla="*/ 8815 h 9954"/>
                <a:gd name="connsiteX159" fmla="*/ 4351 w 10000"/>
                <a:gd name="connsiteY159" fmla="*/ 8902 h 9954"/>
                <a:gd name="connsiteX160" fmla="*/ 4522 w 10000"/>
                <a:gd name="connsiteY160" fmla="*/ 8981 h 9954"/>
                <a:gd name="connsiteX161" fmla="*/ 4700 w 10000"/>
                <a:gd name="connsiteY161" fmla="*/ 9065 h 9954"/>
                <a:gd name="connsiteX162" fmla="*/ 4878 w 10000"/>
                <a:gd name="connsiteY162" fmla="*/ 9143 h 9954"/>
                <a:gd name="connsiteX163" fmla="*/ 5063 w 10000"/>
                <a:gd name="connsiteY163" fmla="*/ 9216 h 9954"/>
                <a:gd name="connsiteX164" fmla="*/ 5248 w 10000"/>
                <a:gd name="connsiteY164" fmla="*/ 9295 h 9954"/>
                <a:gd name="connsiteX165" fmla="*/ 5426 w 10000"/>
                <a:gd name="connsiteY165" fmla="*/ 9364 h 9954"/>
                <a:gd name="connsiteX166" fmla="*/ 5619 w 10000"/>
                <a:gd name="connsiteY166" fmla="*/ 9432 h 9954"/>
                <a:gd name="connsiteX167" fmla="*/ 5812 w 10000"/>
                <a:gd name="connsiteY167" fmla="*/ 9502 h 9954"/>
                <a:gd name="connsiteX168" fmla="*/ 6004 w 10000"/>
                <a:gd name="connsiteY168" fmla="*/ 9566 h 9954"/>
                <a:gd name="connsiteX169" fmla="*/ 6205 w 10000"/>
                <a:gd name="connsiteY169" fmla="*/ 9631 h 9954"/>
                <a:gd name="connsiteX170" fmla="*/ 6397 w 10000"/>
                <a:gd name="connsiteY170" fmla="*/ 9692 h 9954"/>
                <a:gd name="connsiteX171" fmla="*/ 6605 w 10000"/>
                <a:gd name="connsiteY171" fmla="*/ 9747 h 9954"/>
                <a:gd name="connsiteX172" fmla="*/ 6805 w 10000"/>
                <a:gd name="connsiteY172" fmla="*/ 9802 h 9954"/>
                <a:gd name="connsiteX173" fmla="*/ 7005 w 10000"/>
                <a:gd name="connsiteY173" fmla="*/ 9857 h 9954"/>
                <a:gd name="connsiteX174" fmla="*/ 7213 w 10000"/>
                <a:gd name="connsiteY174" fmla="*/ 9909 h 9954"/>
                <a:gd name="connsiteX175" fmla="*/ 7420 w 10000"/>
                <a:gd name="connsiteY175" fmla="*/ 9954 h 9954"/>
                <a:gd name="connsiteX176" fmla="*/ 7539 w 10000"/>
                <a:gd name="connsiteY176" fmla="*/ 7787 h 9954"/>
                <a:gd name="connsiteX177" fmla="*/ 10000 w 10000"/>
                <a:gd name="connsiteY177" fmla="*/ 6164 h 9954"/>
                <a:gd name="connsiteX0" fmla="*/ 10000 w 10000"/>
                <a:gd name="connsiteY0" fmla="*/ 6192 h 9955"/>
                <a:gd name="connsiteX1" fmla="*/ 10000 w 10000"/>
                <a:gd name="connsiteY1" fmla="*/ 6192 h 9955"/>
                <a:gd name="connsiteX2" fmla="*/ 9911 w 10000"/>
                <a:gd name="connsiteY2" fmla="*/ 6178 h 9955"/>
                <a:gd name="connsiteX3" fmla="*/ 9815 w 10000"/>
                <a:gd name="connsiteY3" fmla="*/ 6160 h 9955"/>
                <a:gd name="connsiteX4" fmla="*/ 9726 w 10000"/>
                <a:gd name="connsiteY4" fmla="*/ 6142 h 9955"/>
                <a:gd name="connsiteX5" fmla="*/ 9637 w 10000"/>
                <a:gd name="connsiteY5" fmla="*/ 6118 h 9955"/>
                <a:gd name="connsiteX6" fmla="*/ 9548 w 10000"/>
                <a:gd name="connsiteY6" fmla="*/ 6099 h 9955"/>
                <a:gd name="connsiteX7" fmla="*/ 9466 w 10000"/>
                <a:gd name="connsiteY7" fmla="*/ 6077 h 9955"/>
                <a:gd name="connsiteX8" fmla="*/ 9377 w 10000"/>
                <a:gd name="connsiteY8" fmla="*/ 6054 h 9955"/>
                <a:gd name="connsiteX9" fmla="*/ 9288 w 10000"/>
                <a:gd name="connsiteY9" fmla="*/ 6031 h 9955"/>
                <a:gd name="connsiteX10" fmla="*/ 9118 w 10000"/>
                <a:gd name="connsiteY10" fmla="*/ 5979 h 9955"/>
                <a:gd name="connsiteX11" fmla="*/ 8955 w 10000"/>
                <a:gd name="connsiteY11" fmla="*/ 5923 h 9955"/>
                <a:gd name="connsiteX12" fmla="*/ 8792 w 10000"/>
                <a:gd name="connsiteY12" fmla="*/ 5864 h 9955"/>
                <a:gd name="connsiteX13" fmla="*/ 8636 w 10000"/>
                <a:gd name="connsiteY13" fmla="*/ 5800 h 9955"/>
                <a:gd name="connsiteX14" fmla="*/ 8480 w 10000"/>
                <a:gd name="connsiteY14" fmla="*/ 5733 h 9955"/>
                <a:gd name="connsiteX15" fmla="*/ 8340 w 10000"/>
                <a:gd name="connsiteY15" fmla="*/ 5665 h 9955"/>
                <a:gd name="connsiteX16" fmla="*/ 8199 w 10000"/>
                <a:gd name="connsiteY16" fmla="*/ 5591 h 9955"/>
                <a:gd name="connsiteX17" fmla="*/ 8058 w 10000"/>
                <a:gd name="connsiteY17" fmla="*/ 5511 h 9955"/>
                <a:gd name="connsiteX18" fmla="*/ 7924 w 10000"/>
                <a:gd name="connsiteY18" fmla="*/ 5429 h 9955"/>
                <a:gd name="connsiteX19" fmla="*/ 7798 w 10000"/>
                <a:gd name="connsiteY19" fmla="*/ 5344 h 9955"/>
                <a:gd name="connsiteX20" fmla="*/ 7672 w 10000"/>
                <a:gd name="connsiteY20" fmla="*/ 5256 h 9955"/>
                <a:gd name="connsiteX21" fmla="*/ 7554 w 10000"/>
                <a:gd name="connsiteY21" fmla="*/ 5169 h 9955"/>
                <a:gd name="connsiteX22" fmla="*/ 7450 w 10000"/>
                <a:gd name="connsiteY22" fmla="*/ 5071 h 9955"/>
                <a:gd name="connsiteX23" fmla="*/ 7346 w 10000"/>
                <a:gd name="connsiteY23" fmla="*/ 4975 h 9955"/>
                <a:gd name="connsiteX24" fmla="*/ 7250 w 10000"/>
                <a:gd name="connsiteY24" fmla="*/ 4877 h 9955"/>
                <a:gd name="connsiteX25" fmla="*/ 7161 w 10000"/>
                <a:gd name="connsiteY25" fmla="*/ 4776 h 9955"/>
                <a:gd name="connsiteX26" fmla="*/ 7072 w 10000"/>
                <a:gd name="connsiteY26" fmla="*/ 4672 h 9955"/>
                <a:gd name="connsiteX27" fmla="*/ 6990 w 10000"/>
                <a:gd name="connsiteY27" fmla="*/ 4562 h 9955"/>
                <a:gd name="connsiteX28" fmla="*/ 6953 w 10000"/>
                <a:gd name="connsiteY28" fmla="*/ 4512 h 9955"/>
                <a:gd name="connsiteX29" fmla="*/ 6916 w 10000"/>
                <a:gd name="connsiteY29" fmla="*/ 4455 h 9955"/>
                <a:gd name="connsiteX30" fmla="*/ 6887 w 10000"/>
                <a:gd name="connsiteY30" fmla="*/ 4400 h 9955"/>
                <a:gd name="connsiteX31" fmla="*/ 6850 w 10000"/>
                <a:gd name="connsiteY31" fmla="*/ 4345 h 9955"/>
                <a:gd name="connsiteX32" fmla="*/ 6820 w 10000"/>
                <a:gd name="connsiteY32" fmla="*/ 4290 h 9955"/>
                <a:gd name="connsiteX33" fmla="*/ 6790 w 10000"/>
                <a:gd name="connsiteY33" fmla="*/ 4233 h 9955"/>
                <a:gd name="connsiteX34" fmla="*/ 6768 w 10000"/>
                <a:gd name="connsiteY34" fmla="*/ 4173 h 9955"/>
                <a:gd name="connsiteX35" fmla="*/ 6738 w 10000"/>
                <a:gd name="connsiteY35" fmla="*/ 4118 h 9955"/>
                <a:gd name="connsiteX36" fmla="*/ 6723 w 10000"/>
                <a:gd name="connsiteY36" fmla="*/ 4058 h 9955"/>
                <a:gd name="connsiteX37" fmla="*/ 6694 w 10000"/>
                <a:gd name="connsiteY37" fmla="*/ 4001 h 9955"/>
                <a:gd name="connsiteX38" fmla="*/ 6679 w 10000"/>
                <a:gd name="connsiteY38" fmla="*/ 3941 h 9955"/>
                <a:gd name="connsiteX39" fmla="*/ 6664 w 10000"/>
                <a:gd name="connsiteY39" fmla="*/ 3881 h 9955"/>
                <a:gd name="connsiteX40" fmla="*/ 6649 w 10000"/>
                <a:gd name="connsiteY40" fmla="*/ 3821 h 9955"/>
                <a:gd name="connsiteX41" fmla="*/ 6635 w 10000"/>
                <a:gd name="connsiteY41" fmla="*/ 3765 h 9955"/>
                <a:gd name="connsiteX42" fmla="*/ 6620 w 10000"/>
                <a:gd name="connsiteY42" fmla="*/ 3705 h 9955"/>
                <a:gd name="connsiteX43" fmla="*/ 6612 w 10000"/>
                <a:gd name="connsiteY43" fmla="*/ 3646 h 9955"/>
                <a:gd name="connsiteX44" fmla="*/ 6605 w 10000"/>
                <a:gd name="connsiteY44" fmla="*/ 3584 h 9955"/>
                <a:gd name="connsiteX45" fmla="*/ 6597 w 10000"/>
                <a:gd name="connsiteY45" fmla="*/ 3520 h 9955"/>
                <a:gd name="connsiteX46" fmla="*/ 6597 w 10000"/>
                <a:gd name="connsiteY46" fmla="*/ 3460 h 9955"/>
                <a:gd name="connsiteX47" fmla="*/ 6590 w 10000"/>
                <a:gd name="connsiteY47" fmla="*/ 3396 h 9955"/>
                <a:gd name="connsiteX48" fmla="*/ 6597 w 10000"/>
                <a:gd name="connsiteY48" fmla="*/ 3334 h 9955"/>
                <a:gd name="connsiteX49" fmla="*/ 6605 w 10000"/>
                <a:gd name="connsiteY49" fmla="*/ 3266 h 9955"/>
                <a:gd name="connsiteX50" fmla="*/ 6605 w 10000"/>
                <a:gd name="connsiteY50" fmla="*/ 3201 h 9955"/>
                <a:gd name="connsiteX51" fmla="*/ 6612 w 10000"/>
                <a:gd name="connsiteY51" fmla="*/ 3134 h 9955"/>
                <a:gd name="connsiteX52" fmla="*/ 6620 w 10000"/>
                <a:gd name="connsiteY52" fmla="*/ 3070 h 9955"/>
                <a:gd name="connsiteX53" fmla="*/ 6635 w 10000"/>
                <a:gd name="connsiteY53" fmla="*/ 3011 h 9955"/>
                <a:gd name="connsiteX54" fmla="*/ 6649 w 10000"/>
                <a:gd name="connsiteY54" fmla="*/ 2946 h 9955"/>
                <a:gd name="connsiteX55" fmla="*/ 6664 w 10000"/>
                <a:gd name="connsiteY55" fmla="*/ 2885 h 9955"/>
                <a:gd name="connsiteX56" fmla="*/ 6686 w 10000"/>
                <a:gd name="connsiteY56" fmla="*/ 2821 h 9955"/>
                <a:gd name="connsiteX57" fmla="*/ 6709 w 10000"/>
                <a:gd name="connsiteY57" fmla="*/ 2761 h 9955"/>
                <a:gd name="connsiteX58" fmla="*/ 6731 w 10000"/>
                <a:gd name="connsiteY58" fmla="*/ 2700 h 9955"/>
                <a:gd name="connsiteX59" fmla="*/ 6753 w 10000"/>
                <a:gd name="connsiteY59" fmla="*/ 2635 h 9955"/>
                <a:gd name="connsiteX60" fmla="*/ 6783 w 10000"/>
                <a:gd name="connsiteY60" fmla="*/ 2580 h 9955"/>
                <a:gd name="connsiteX61" fmla="*/ 6812 w 10000"/>
                <a:gd name="connsiteY61" fmla="*/ 2520 h 9955"/>
                <a:gd name="connsiteX62" fmla="*/ 6842 w 10000"/>
                <a:gd name="connsiteY62" fmla="*/ 2458 h 9955"/>
                <a:gd name="connsiteX63" fmla="*/ 6879 w 10000"/>
                <a:gd name="connsiteY63" fmla="*/ 2399 h 9955"/>
                <a:gd name="connsiteX64" fmla="*/ 6909 w 10000"/>
                <a:gd name="connsiteY64" fmla="*/ 2344 h 9955"/>
                <a:gd name="connsiteX65" fmla="*/ 6946 w 10000"/>
                <a:gd name="connsiteY65" fmla="*/ 2282 h 9955"/>
                <a:gd name="connsiteX66" fmla="*/ 6990 w 10000"/>
                <a:gd name="connsiteY66" fmla="*/ 2227 h 9955"/>
                <a:gd name="connsiteX67" fmla="*/ 7027 w 10000"/>
                <a:gd name="connsiteY67" fmla="*/ 2172 h 9955"/>
                <a:gd name="connsiteX68" fmla="*/ 7072 w 10000"/>
                <a:gd name="connsiteY68" fmla="*/ 2117 h 9955"/>
                <a:gd name="connsiteX69" fmla="*/ 7109 w 10000"/>
                <a:gd name="connsiteY69" fmla="*/ 2060 h 9955"/>
                <a:gd name="connsiteX70" fmla="*/ 7161 w 10000"/>
                <a:gd name="connsiteY70" fmla="*/ 2010 h 9955"/>
                <a:gd name="connsiteX71" fmla="*/ 7213 w 10000"/>
                <a:gd name="connsiteY71" fmla="*/ 1955 h 9955"/>
                <a:gd name="connsiteX72" fmla="*/ 7257 w 10000"/>
                <a:gd name="connsiteY72" fmla="*/ 1900 h 9955"/>
                <a:gd name="connsiteX73" fmla="*/ 7309 w 10000"/>
                <a:gd name="connsiteY73" fmla="*/ 1847 h 9955"/>
                <a:gd name="connsiteX74" fmla="*/ 7361 w 10000"/>
                <a:gd name="connsiteY74" fmla="*/ 1796 h 9955"/>
                <a:gd name="connsiteX75" fmla="*/ 7413 w 10000"/>
                <a:gd name="connsiteY75" fmla="*/ 1746 h 9955"/>
                <a:gd name="connsiteX76" fmla="*/ 7472 w 10000"/>
                <a:gd name="connsiteY76" fmla="*/ 1695 h 9955"/>
                <a:gd name="connsiteX77" fmla="*/ 7524 w 10000"/>
                <a:gd name="connsiteY77" fmla="*/ 1649 h 9955"/>
                <a:gd name="connsiteX78" fmla="*/ 7583 w 10000"/>
                <a:gd name="connsiteY78" fmla="*/ 1601 h 9955"/>
                <a:gd name="connsiteX79" fmla="*/ 7610 w 10000"/>
                <a:gd name="connsiteY79" fmla="*/ 1572 h 9955"/>
                <a:gd name="connsiteX80" fmla="*/ 5390 w 10000"/>
                <a:gd name="connsiteY80" fmla="*/ 6 h 9955"/>
                <a:gd name="connsiteX81" fmla="*/ 1401 w 10000"/>
                <a:gd name="connsiteY81" fmla="*/ 0 h 9955"/>
                <a:gd name="connsiteX82" fmla="*/ 1305 w 10000"/>
                <a:gd name="connsiteY82" fmla="*/ 116 h 9955"/>
                <a:gd name="connsiteX83" fmla="*/ 1223 w 10000"/>
                <a:gd name="connsiteY83" fmla="*/ 208 h 9955"/>
                <a:gd name="connsiteX84" fmla="*/ 1149 w 10000"/>
                <a:gd name="connsiteY84" fmla="*/ 304 h 9955"/>
                <a:gd name="connsiteX85" fmla="*/ 1067 w 10000"/>
                <a:gd name="connsiteY85" fmla="*/ 403 h 9955"/>
                <a:gd name="connsiteX86" fmla="*/ 1001 w 10000"/>
                <a:gd name="connsiteY86" fmla="*/ 500 h 9955"/>
                <a:gd name="connsiteX87" fmla="*/ 927 w 10000"/>
                <a:gd name="connsiteY87" fmla="*/ 598 h 9955"/>
                <a:gd name="connsiteX88" fmla="*/ 860 w 10000"/>
                <a:gd name="connsiteY88" fmla="*/ 699 h 9955"/>
                <a:gd name="connsiteX89" fmla="*/ 793 w 10000"/>
                <a:gd name="connsiteY89" fmla="*/ 802 h 9955"/>
                <a:gd name="connsiteX90" fmla="*/ 734 w 10000"/>
                <a:gd name="connsiteY90" fmla="*/ 898 h 9955"/>
                <a:gd name="connsiteX91" fmla="*/ 675 w 10000"/>
                <a:gd name="connsiteY91" fmla="*/ 1001 h 9955"/>
                <a:gd name="connsiteX92" fmla="*/ 615 w 10000"/>
                <a:gd name="connsiteY92" fmla="*/ 1102 h 9955"/>
                <a:gd name="connsiteX93" fmla="*/ 556 w 10000"/>
                <a:gd name="connsiteY93" fmla="*/ 1210 h 9955"/>
                <a:gd name="connsiteX94" fmla="*/ 504 w 10000"/>
                <a:gd name="connsiteY94" fmla="*/ 1306 h 9955"/>
                <a:gd name="connsiteX95" fmla="*/ 452 w 10000"/>
                <a:gd name="connsiteY95" fmla="*/ 1412 h 9955"/>
                <a:gd name="connsiteX96" fmla="*/ 408 w 10000"/>
                <a:gd name="connsiteY96" fmla="*/ 1514 h 9955"/>
                <a:gd name="connsiteX97" fmla="*/ 363 w 10000"/>
                <a:gd name="connsiteY97" fmla="*/ 1620 h 9955"/>
                <a:gd name="connsiteX98" fmla="*/ 319 w 10000"/>
                <a:gd name="connsiteY98" fmla="*/ 1727 h 9955"/>
                <a:gd name="connsiteX99" fmla="*/ 282 w 10000"/>
                <a:gd name="connsiteY99" fmla="*/ 1834 h 9955"/>
                <a:gd name="connsiteX100" fmla="*/ 237 w 10000"/>
                <a:gd name="connsiteY100" fmla="*/ 1946 h 9955"/>
                <a:gd name="connsiteX101" fmla="*/ 208 w 10000"/>
                <a:gd name="connsiteY101" fmla="*/ 2051 h 9955"/>
                <a:gd name="connsiteX102" fmla="*/ 170 w 10000"/>
                <a:gd name="connsiteY102" fmla="*/ 2163 h 9955"/>
                <a:gd name="connsiteX103" fmla="*/ 148 w 10000"/>
                <a:gd name="connsiteY103" fmla="*/ 2273 h 9955"/>
                <a:gd name="connsiteX104" fmla="*/ 119 w 10000"/>
                <a:gd name="connsiteY104" fmla="*/ 2380 h 9955"/>
                <a:gd name="connsiteX105" fmla="*/ 96 w 10000"/>
                <a:gd name="connsiteY105" fmla="*/ 2490 h 9955"/>
                <a:gd name="connsiteX106" fmla="*/ 74 w 10000"/>
                <a:gd name="connsiteY106" fmla="*/ 2603 h 9955"/>
                <a:gd name="connsiteX107" fmla="*/ 52 w 10000"/>
                <a:gd name="connsiteY107" fmla="*/ 2719 h 9955"/>
                <a:gd name="connsiteX108" fmla="*/ 37 w 10000"/>
                <a:gd name="connsiteY108" fmla="*/ 2830 h 9955"/>
                <a:gd name="connsiteX109" fmla="*/ 22 w 10000"/>
                <a:gd name="connsiteY109" fmla="*/ 2941 h 9955"/>
                <a:gd name="connsiteX110" fmla="*/ 15 w 10000"/>
                <a:gd name="connsiteY110" fmla="*/ 3052 h 9955"/>
                <a:gd name="connsiteX111" fmla="*/ 7 w 10000"/>
                <a:gd name="connsiteY111" fmla="*/ 3168 h 9955"/>
                <a:gd name="connsiteX112" fmla="*/ 0 w 10000"/>
                <a:gd name="connsiteY112" fmla="*/ 3279 h 9955"/>
                <a:gd name="connsiteX113" fmla="*/ 0 w 10000"/>
                <a:gd name="connsiteY113" fmla="*/ 3396 h 9955"/>
                <a:gd name="connsiteX114" fmla="*/ 7 w 10000"/>
                <a:gd name="connsiteY114" fmla="*/ 3543 h 9955"/>
                <a:gd name="connsiteX115" fmla="*/ 7 w 10000"/>
                <a:gd name="connsiteY115" fmla="*/ 3691 h 9955"/>
                <a:gd name="connsiteX116" fmla="*/ 22 w 10000"/>
                <a:gd name="connsiteY116" fmla="*/ 3831 h 9955"/>
                <a:gd name="connsiteX117" fmla="*/ 37 w 10000"/>
                <a:gd name="connsiteY117" fmla="*/ 3974 h 9955"/>
                <a:gd name="connsiteX118" fmla="*/ 59 w 10000"/>
                <a:gd name="connsiteY118" fmla="*/ 4118 h 9955"/>
                <a:gd name="connsiteX119" fmla="*/ 89 w 10000"/>
                <a:gd name="connsiteY119" fmla="*/ 4262 h 9955"/>
                <a:gd name="connsiteX120" fmla="*/ 119 w 10000"/>
                <a:gd name="connsiteY120" fmla="*/ 4404 h 9955"/>
                <a:gd name="connsiteX121" fmla="*/ 148 w 10000"/>
                <a:gd name="connsiteY121" fmla="*/ 4548 h 9955"/>
                <a:gd name="connsiteX122" fmla="*/ 193 w 10000"/>
                <a:gd name="connsiteY122" fmla="*/ 4688 h 9955"/>
                <a:gd name="connsiteX123" fmla="*/ 237 w 10000"/>
                <a:gd name="connsiteY123" fmla="*/ 4826 h 9955"/>
                <a:gd name="connsiteX124" fmla="*/ 282 w 10000"/>
                <a:gd name="connsiteY124" fmla="*/ 4966 h 9955"/>
                <a:gd name="connsiteX125" fmla="*/ 334 w 10000"/>
                <a:gd name="connsiteY125" fmla="*/ 5103 h 9955"/>
                <a:gd name="connsiteX126" fmla="*/ 393 w 10000"/>
                <a:gd name="connsiteY126" fmla="*/ 5238 h 9955"/>
                <a:gd name="connsiteX127" fmla="*/ 452 w 10000"/>
                <a:gd name="connsiteY127" fmla="*/ 5373 h 9955"/>
                <a:gd name="connsiteX128" fmla="*/ 519 w 10000"/>
                <a:gd name="connsiteY128" fmla="*/ 5507 h 9955"/>
                <a:gd name="connsiteX129" fmla="*/ 586 w 10000"/>
                <a:gd name="connsiteY129" fmla="*/ 5642 h 9955"/>
                <a:gd name="connsiteX130" fmla="*/ 660 w 10000"/>
                <a:gd name="connsiteY130" fmla="*/ 5771 h 9955"/>
                <a:gd name="connsiteX131" fmla="*/ 741 w 10000"/>
                <a:gd name="connsiteY131" fmla="*/ 5900 h 9955"/>
                <a:gd name="connsiteX132" fmla="*/ 823 w 10000"/>
                <a:gd name="connsiteY132" fmla="*/ 6035 h 9955"/>
                <a:gd name="connsiteX133" fmla="*/ 904 w 10000"/>
                <a:gd name="connsiteY133" fmla="*/ 6160 h 9955"/>
                <a:gd name="connsiteX134" fmla="*/ 993 w 10000"/>
                <a:gd name="connsiteY134" fmla="*/ 6286 h 9955"/>
                <a:gd name="connsiteX135" fmla="*/ 1090 w 10000"/>
                <a:gd name="connsiteY135" fmla="*/ 6405 h 9955"/>
                <a:gd name="connsiteX136" fmla="*/ 1186 w 10000"/>
                <a:gd name="connsiteY136" fmla="*/ 6531 h 9955"/>
                <a:gd name="connsiteX137" fmla="*/ 1290 w 10000"/>
                <a:gd name="connsiteY137" fmla="*/ 6655 h 9955"/>
                <a:gd name="connsiteX138" fmla="*/ 1386 w 10000"/>
                <a:gd name="connsiteY138" fmla="*/ 6776 h 9955"/>
                <a:gd name="connsiteX139" fmla="*/ 1497 w 10000"/>
                <a:gd name="connsiteY139" fmla="*/ 6898 h 9955"/>
                <a:gd name="connsiteX140" fmla="*/ 1609 w 10000"/>
                <a:gd name="connsiteY140" fmla="*/ 7012 h 9955"/>
                <a:gd name="connsiteX141" fmla="*/ 1727 w 10000"/>
                <a:gd name="connsiteY141" fmla="*/ 7133 h 9955"/>
                <a:gd name="connsiteX142" fmla="*/ 1846 w 10000"/>
                <a:gd name="connsiteY142" fmla="*/ 7248 h 9955"/>
                <a:gd name="connsiteX143" fmla="*/ 1964 w 10000"/>
                <a:gd name="connsiteY143" fmla="*/ 7360 h 9955"/>
                <a:gd name="connsiteX144" fmla="*/ 2090 w 10000"/>
                <a:gd name="connsiteY144" fmla="*/ 7470 h 9955"/>
                <a:gd name="connsiteX145" fmla="*/ 2224 w 10000"/>
                <a:gd name="connsiteY145" fmla="*/ 7583 h 9955"/>
                <a:gd name="connsiteX146" fmla="*/ 2350 w 10000"/>
                <a:gd name="connsiteY146" fmla="*/ 7693 h 9955"/>
                <a:gd name="connsiteX147" fmla="*/ 2491 w 10000"/>
                <a:gd name="connsiteY147" fmla="*/ 7800 h 9955"/>
                <a:gd name="connsiteX148" fmla="*/ 2617 w 10000"/>
                <a:gd name="connsiteY148" fmla="*/ 7906 h 9955"/>
                <a:gd name="connsiteX149" fmla="*/ 2765 w 10000"/>
                <a:gd name="connsiteY149" fmla="*/ 8009 h 9955"/>
                <a:gd name="connsiteX150" fmla="*/ 2906 w 10000"/>
                <a:gd name="connsiteY150" fmla="*/ 8109 h 9955"/>
                <a:gd name="connsiteX151" fmla="*/ 3054 w 10000"/>
                <a:gd name="connsiteY151" fmla="*/ 8212 h 9955"/>
                <a:gd name="connsiteX152" fmla="*/ 3210 w 10000"/>
                <a:gd name="connsiteY152" fmla="*/ 8310 h 9955"/>
                <a:gd name="connsiteX153" fmla="*/ 3358 w 10000"/>
                <a:gd name="connsiteY153" fmla="*/ 8407 h 9955"/>
                <a:gd name="connsiteX154" fmla="*/ 3514 w 10000"/>
                <a:gd name="connsiteY154" fmla="*/ 8504 h 9955"/>
                <a:gd name="connsiteX155" fmla="*/ 3677 w 10000"/>
                <a:gd name="connsiteY155" fmla="*/ 8597 h 9955"/>
                <a:gd name="connsiteX156" fmla="*/ 3840 w 10000"/>
                <a:gd name="connsiteY156" fmla="*/ 8685 h 9955"/>
                <a:gd name="connsiteX157" fmla="*/ 4010 w 10000"/>
                <a:gd name="connsiteY157" fmla="*/ 8776 h 9955"/>
                <a:gd name="connsiteX158" fmla="*/ 4181 w 10000"/>
                <a:gd name="connsiteY158" fmla="*/ 8856 h 9955"/>
                <a:gd name="connsiteX159" fmla="*/ 4351 w 10000"/>
                <a:gd name="connsiteY159" fmla="*/ 8943 h 9955"/>
                <a:gd name="connsiteX160" fmla="*/ 4522 w 10000"/>
                <a:gd name="connsiteY160" fmla="*/ 9023 h 9955"/>
                <a:gd name="connsiteX161" fmla="*/ 4700 w 10000"/>
                <a:gd name="connsiteY161" fmla="*/ 9107 h 9955"/>
                <a:gd name="connsiteX162" fmla="*/ 4878 w 10000"/>
                <a:gd name="connsiteY162" fmla="*/ 9185 h 9955"/>
                <a:gd name="connsiteX163" fmla="*/ 5063 w 10000"/>
                <a:gd name="connsiteY163" fmla="*/ 9259 h 9955"/>
                <a:gd name="connsiteX164" fmla="*/ 5248 w 10000"/>
                <a:gd name="connsiteY164" fmla="*/ 9338 h 9955"/>
                <a:gd name="connsiteX165" fmla="*/ 5426 w 10000"/>
                <a:gd name="connsiteY165" fmla="*/ 9407 h 9955"/>
                <a:gd name="connsiteX166" fmla="*/ 5619 w 10000"/>
                <a:gd name="connsiteY166" fmla="*/ 9476 h 9955"/>
                <a:gd name="connsiteX167" fmla="*/ 5812 w 10000"/>
                <a:gd name="connsiteY167" fmla="*/ 9546 h 9955"/>
                <a:gd name="connsiteX168" fmla="*/ 6004 w 10000"/>
                <a:gd name="connsiteY168" fmla="*/ 9610 h 9955"/>
                <a:gd name="connsiteX169" fmla="*/ 6205 w 10000"/>
                <a:gd name="connsiteY169" fmla="*/ 9676 h 9955"/>
                <a:gd name="connsiteX170" fmla="*/ 6397 w 10000"/>
                <a:gd name="connsiteY170" fmla="*/ 9737 h 9955"/>
                <a:gd name="connsiteX171" fmla="*/ 6605 w 10000"/>
                <a:gd name="connsiteY171" fmla="*/ 9792 h 9955"/>
                <a:gd name="connsiteX172" fmla="*/ 6805 w 10000"/>
                <a:gd name="connsiteY172" fmla="*/ 9847 h 9955"/>
                <a:gd name="connsiteX173" fmla="*/ 7005 w 10000"/>
                <a:gd name="connsiteY173" fmla="*/ 9903 h 9955"/>
                <a:gd name="connsiteX174" fmla="*/ 7213 w 10000"/>
                <a:gd name="connsiteY174" fmla="*/ 9955 h 9955"/>
                <a:gd name="connsiteX175" fmla="*/ 7539 w 10000"/>
                <a:gd name="connsiteY175" fmla="*/ 7823 h 9955"/>
                <a:gd name="connsiteX176" fmla="*/ 10000 w 10000"/>
                <a:gd name="connsiteY176" fmla="*/ 6192 h 9955"/>
                <a:gd name="connsiteX0" fmla="*/ 10000 w 10000"/>
                <a:gd name="connsiteY0" fmla="*/ 6220 h 9948"/>
                <a:gd name="connsiteX1" fmla="*/ 10000 w 10000"/>
                <a:gd name="connsiteY1" fmla="*/ 6220 h 9948"/>
                <a:gd name="connsiteX2" fmla="*/ 9911 w 10000"/>
                <a:gd name="connsiteY2" fmla="*/ 6206 h 9948"/>
                <a:gd name="connsiteX3" fmla="*/ 9815 w 10000"/>
                <a:gd name="connsiteY3" fmla="*/ 6188 h 9948"/>
                <a:gd name="connsiteX4" fmla="*/ 9726 w 10000"/>
                <a:gd name="connsiteY4" fmla="*/ 6170 h 9948"/>
                <a:gd name="connsiteX5" fmla="*/ 9637 w 10000"/>
                <a:gd name="connsiteY5" fmla="*/ 6146 h 9948"/>
                <a:gd name="connsiteX6" fmla="*/ 9548 w 10000"/>
                <a:gd name="connsiteY6" fmla="*/ 6127 h 9948"/>
                <a:gd name="connsiteX7" fmla="*/ 9466 w 10000"/>
                <a:gd name="connsiteY7" fmla="*/ 6104 h 9948"/>
                <a:gd name="connsiteX8" fmla="*/ 9377 w 10000"/>
                <a:gd name="connsiteY8" fmla="*/ 6081 h 9948"/>
                <a:gd name="connsiteX9" fmla="*/ 9288 w 10000"/>
                <a:gd name="connsiteY9" fmla="*/ 6058 h 9948"/>
                <a:gd name="connsiteX10" fmla="*/ 9118 w 10000"/>
                <a:gd name="connsiteY10" fmla="*/ 6006 h 9948"/>
                <a:gd name="connsiteX11" fmla="*/ 8955 w 10000"/>
                <a:gd name="connsiteY11" fmla="*/ 5950 h 9948"/>
                <a:gd name="connsiteX12" fmla="*/ 8792 w 10000"/>
                <a:gd name="connsiteY12" fmla="*/ 5891 h 9948"/>
                <a:gd name="connsiteX13" fmla="*/ 8636 w 10000"/>
                <a:gd name="connsiteY13" fmla="*/ 5826 h 9948"/>
                <a:gd name="connsiteX14" fmla="*/ 8480 w 10000"/>
                <a:gd name="connsiteY14" fmla="*/ 5759 h 9948"/>
                <a:gd name="connsiteX15" fmla="*/ 8340 w 10000"/>
                <a:gd name="connsiteY15" fmla="*/ 5691 h 9948"/>
                <a:gd name="connsiteX16" fmla="*/ 8199 w 10000"/>
                <a:gd name="connsiteY16" fmla="*/ 5616 h 9948"/>
                <a:gd name="connsiteX17" fmla="*/ 8058 w 10000"/>
                <a:gd name="connsiteY17" fmla="*/ 5536 h 9948"/>
                <a:gd name="connsiteX18" fmla="*/ 7924 w 10000"/>
                <a:gd name="connsiteY18" fmla="*/ 5454 h 9948"/>
                <a:gd name="connsiteX19" fmla="*/ 7798 w 10000"/>
                <a:gd name="connsiteY19" fmla="*/ 5368 h 9948"/>
                <a:gd name="connsiteX20" fmla="*/ 7672 w 10000"/>
                <a:gd name="connsiteY20" fmla="*/ 5280 h 9948"/>
                <a:gd name="connsiteX21" fmla="*/ 7554 w 10000"/>
                <a:gd name="connsiteY21" fmla="*/ 5192 h 9948"/>
                <a:gd name="connsiteX22" fmla="*/ 7450 w 10000"/>
                <a:gd name="connsiteY22" fmla="*/ 5094 h 9948"/>
                <a:gd name="connsiteX23" fmla="*/ 7346 w 10000"/>
                <a:gd name="connsiteY23" fmla="*/ 4997 h 9948"/>
                <a:gd name="connsiteX24" fmla="*/ 7250 w 10000"/>
                <a:gd name="connsiteY24" fmla="*/ 4899 h 9948"/>
                <a:gd name="connsiteX25" fmla="*/ 7161 w 10000"/>
                <a:gd name="connsiteY25" fmla="*/ 4798 h 9948"/>
                <a:gd name="connsiteX26" fmla="*/ 7072 w 10000"/>
                <a:gd name="connsiteY26" fmla="*/ 4693 h 9948"/>
                <a:gd name="connsiteX27" fmla="*/ 6990 w 10000"/>
                <a:gd name="connsiteY27" fmla="*/ 4583 h 9948"/>
                <a:gd name="connsiteX28" fmla="*/ 6953 w 10000"/>
                <a:gd name="connsiteY28" fmla="*/ 4532 h 9948"/>
                <a:gd name="connsiteX29" fmla="*/ 6916 w 10000"/>
                <a:gd name="connsiteY29" fmla="*/ 4475 h 9948"/>
                <a:gd name="connsiteX30" fmla="*/ 6887 w 10000"/>
                <a:gd name="connsiteY30" fmla="*/ 4420 h 9948"/>
                <a:gd name="connsiteX31" fmla="*/ 6850 w 10000"/>
                <a:gd name="connsiteY31" fmla="*/ 4365 h 9948"/>
                <a:gd name="connsiteX32" fmla="*/ 6820 w 10000"/>
                <a:gd name="connsiteY32" fmla="*/ 4309 h 9948"/>
                <a:gd name="connsiteX33" fmla="*/ 6790 w 10000"/>
                <a:gd name="connsiteY33" fmla="*/ 4252 h 9948"/>
                <a:gd name="connsiteX34" fmla="*/ 6768 w 10000"/>
                <a:gd name="connsiteY34" fmla="*/ 4192 h 9948"/>
                <a:gd name="connsiteX35" fmla="*/ 6738 w 10000"/>
                <a:gd name="connsiteY35" fmla="*/ 4137 h 9948"/>
                <a:gd name="connsiteX36" fmla="*/ 6723 w 10000"/>
                <a:gd name="connsiteY36" fmla="*/ 4076 h 9948"/>
                <a:gd name="connsiteX37" fmla="*/ 6694 w 10000"/>
                <a:gd name="connsiteY37" fmla="*/ 4019 h 9948"/>
                <a:gd name="connsiteX38" fmla="*/ 6679 w 10000"/>
                <a:gd name="connsiteY38" fmla="*/ 3959 h 9948"/>
                <a:gd name="connsiteX39" fmla="*/ 6664 w 10000"/>
                <a:gd name="connsiteY39" fmla="*/ 3899 h 9948"/>
                <a:gd name="connsiteX40" fmla="*/ 6649 w 10000"/>
                <a:gd name="connsiteY40" fmla="*/ 3838 h 9948"/>
                <a:gd name="connsiteX41" fmla="*/ 6635 w 10000"/>
                <a:gd name="connsiteY41" fmla="*/ 3782 h 9948"/>
                <a:gd name="connsiteX42" fmla="*/ 6620 w 10000"/>
                <a:gd name="connsiteY42" fmla="*/ 3722 h 9948"/>
                <a:gd name="connsiteX43" fmla="*/ 6612 w 10000"/>
                <a:gd name="connsiteY43" fmla="*/ 3662 h 9948"/>
                <a:gd name="connsiteX44" fmla="*/ 6605 w 10000"/>
                <a:gd name="connsiteY44" fmla="*/ 3600 h 9948"/>
                <a:gd name="connsiteX45" fmla="*/ 6597 w 10000"/>
                <a:gd name="connsiteY45" fmla="*/ 3536 h 9948"/>
                <a:gd name="connsiteX46" fmla="*/ 6597 w 10000"/>
                <a:gd name="connsiteY46" fmla="*/ 3476 h 9948"/>
                <a:gd name="connsiteX47" fmla="*/ 6590 w 10000"/>
                <a:gd name="connsiteY47" fmla="*/ 3411 h 9948"/>
                <a:gd name="connsiteX48" fmla="*/ 6597 w 10000"/>
                <a:gd name="connsiteY48" fmla="*/ 3349 h 9948"/>
                <a:gd name="connsiteX49" fmla="*/ 6605 w 10000"/>
                <a:gd name="connsiteY49" fmla="*/ 3281 h 9948"/>
                <a:gd name="connsiteX50" fmla="*/ 6605 w 10000"/>
                <a:gd name="connsiteY50" fmla="*/ 3215 h 9948"/>
                <a:gd name="connsiteX51" fmla="*/ 6612 w 10000"/>
                <a:gd name="connsiteY51" fmla="*/ 3148 h 9948"/>
                <a:gd name="connsiteX52" fmla="*/ 6620 w 10000"/>
                <a:gd name="connsiteY52" fmla="*/ 3084 h 9948"/>
                <a:gd name="connsiteX53" fmla="*/ 6635 w 10000"/>
                <a:gd name="connsiteY53" fmla="*/ 3025 h 9948"/>
                <a:gd name="connsiteX54" fmla="*/ 6649 w 10000"/>
                <a:gd name="connsiteY54" fmla="*/ 2959 h 9948"/>
                <a:gd name="connsiteX55" fmla="*/ 6664 w 10000"/>
                <a:gd name="connsiteY55" fmla="*/ 2898 h 9948"/>
                <a:gd name="connsiteX56" fmla="*/ 6686 w 10000"/>
                <a:gd name="connsiteY56" fmla="*/ 2834 h 9948"/>
                <a:gd name="connsiteX57" fmla="*/ 6709 w 10000"/>
                <a:gd name="connsiteY57" fmla="*/ 2773 h 9948"/>
                <a:gd name="connsiteX58" fmla="*/ 6731 w 10000"/>
                <a:gd name="connsiteY58" fmla="*/ 2712 h 9948"/>
                <a:gd name="connsiteX59" fmla="*/ 6753 w 10000"/>
                <a:gd name="connsiteY59" fmla="*/ 2647 h 9948"/>
                <a:gd name="connsiteX60" fmla="*/ 6783 w 10000"/>
                <a:gd name="connsiteY60" fmla="*/ 2592 h 9948"/>
                <a:gd name="connsiteX61" fmla="*/ 6812 w 10000"/>
                <a:gd name="connsiteY61" fmla="*/ 2531 h 9948"/>
                <a:gd name="connsiteX62" fmla="*/ 6842 w 10000"/>
                <a:gd name="connsiteY62" fmla="*/ 2469 h 9948"/>
                <a:gd name="connsiteX63" fmla="*/ 6879 w 10000"/>
                <a:gd name="connsiteY63" fmla="*/ 2410 h 9948"/>
                <a:gd name="connsiteX64" fmla="*/ 6909 w 10000"/>
                <a:gd name="connsiteY64" fmla="*/ 2355 h 9948"/>
                <a:gd name="connsiteX65" fmla="*/ 6946 w 10000"/>
                <a:gd name="connsiteY65" fmla="*/ 2292 h 9948"/>
                <a:gd name="connsiteX66" fmla="*/ 6990 w 10000"/>
                <a:gd name="connsiteY66" fmla="*/ 2237 h 9948"/>
                <a:gd name="connsiteX67" fmla="*/ 7027 w 10000"/>
                <a:gd name="connsiteY67" fmla="*/ 2182 h 9948"/>
                <a:gd name="connsiteX68" fmla="*/ 7072 w 10000"/>
                <a:gd name="connsiteY68" fmla="*/ 2127 h 9948"/>
                <a:gd name="connsiteX69" fmla="*/ 7109 w 10000"/>
                <a:gd name="connsiteY69" fmla="*/ 2069 h 9948"/>
                <a:gd name="connsiteX70" fmla="*/ 7161 w 10000"/>
                <a:gd name="connsiteY70" fmla="*/ 2019 h 9948"/>
                <a:gd name="connsiteX71" fmla="*/ 7213 w 10000"/>
                <a:gd name="connsiteY71" fmla="*/ 1964 h 9948"/>
                <a:gd name="connsiteX72" fmla="*/ 7257 w 10000"/>
                <a:gd name="connsiteY72" fmla="*/ 1909 h 9948"/>
                <a:gd name="connsiteX73" fmla="*/ 7309 w 10000"/>
                <a:gd name="connsiteY73" fmla="*/ 1855 h 9948"/>
                <a:gd name="connsiteX74" fmla="*/ 7361 w 10000"/>
                <a:gd name="connsiteY74" fmla="*/ 1804 h 9948"/>
                <a:gd name="connsiteX75" fmla="*/ 7413 w 10000"/>
                <a:gd name="connsiteY75" fmla="*/ 1754 h 9948"/>
                <a:gd name="connsiteX76" fmla="*/ 7472 w 10000"/>
                <a:gd name="connsiteY76" fmla="*/ 1703 h 9948"/>
                <a:gd name="connsiteX77" fmla="*/ 7524 w 10000"/>
                <a:gd name="connsiteY77" fmla="*/ 1656 h 9948"/>
                <a:gd name="connsiteX78" fmla="*/ 7583 w 10000"/>
                <a:gd name="connsiteY78" fmla="*/ 1608 h 9948"/>
                <a:gd name="connsiteX79" fmla="*/ 7610 w 10000"/>
                <a:gd name="connsiteY79" fmla="*/ 1579 h 9948"/>
                <a:gd name="connsiteX80" fmla="*/ 5390 w 10000"/>
                <a:gd name="connsiteY80" fmla="*/ 6 h 9948"/>
                <a:gd name="connsiteX81" fmla="*/ 1401 w 10000"/>
                <a:gd name="connsiteY81" fmla="*/ 0 h 9948"/>
                <a:gd name="connsiteX82" fmla="*/ 1305 w 10000"/>
                <a:gd name="connsiteY82" fmla="*/ 117 h 9948"/>
                <a:gd name="connsiteX83" fmla="*/ 1223 w 10000"/>
                <a:gd name="connsiteY83" fmla="*/ 209 h 9948"/>
                <a:gd name="connsiteX84" fmla="*/ 1149 w 10000"/>
                <a:gd name="connsiteY84" fmla="*/ 305 h 9948"/>
                <a:gd name="connsiteX85" fmla="*/ 1067 w 10000"/>
                <a:gd name="connsiteY85" fmla="*/ 405 h 9948"/>
                <a:gd name="connsiteX86" fmla="*/ 1001 w 10000"/>
                <a:gd name="connsiteY86" fmla="*/ 502 h 9948"/>
                <a:gd name="connsiteX87" fmla="*/ 927 w 10000"/>
                <a:gd name="connsiteY87" fmla="*/ 601 h 9948"/>
                <a:gd name="connsiteX88" fmla="*/ 860 w 10000"/>
                <a:gd name="connsiteY88" fmla="*/ 702 h 9948"/>
                <a:gd name="connsiteX89" fmla="*/ 793 w 10000"/>
                <a:gd name="connsiteY89" fmla="*/ 806 h 9948"/>
                <a:gd name="connsiteX90" fmla="*/ 734 w 10000"/>
                <a:gd name="connsiteY90" fmla="*/ 902 h 9948"/>
                <a:gd name="connsiteX91" fmla="*/ 675 w 10000"/>
                <a:gd name="connsiteY91" fmla="*/ 1006 h 9948"/>
                <a:gd name="connsiteX92" fmla="*/ 615 w 10000"/>
                <a:gd name="connsiteY92" fmla="*/ 1107 h 9948"/>
                <a:gd name="connsiteX93" fmla="*/ 556 w 10000"/>
                <a:gd name="connsiteY93" fmla="*/ 1215 h 9948"/>
                <a:gd name="connsiteX94" fmla="*/ 504 w 10000"/>
                <a:gd name="connsiteY94" fmla="*/ 1312 h 9948"/>
                <a:gd name="connsiteX95" fmla="*/ 452 w 10000"/>
                <a:gd name="connsiteY95" fmla="*/ 1418 h 9948"/>
                <a:gd name="connsiteX96" fmla="*/ 408 w 10000"/>
                <a:gd name="connsiteY96" fmla="*/ 1521 h 9948"/>
                <a:gd name="connsiteX97" fmla="*/ 363 w 10000"/>
                <a:gd name="connsiteY97" fmla="*/ 1627 h 9948"/>
                <a:gd name="connsiteX98" fmla="*/ 319 w 10000"/>
                <a:gd name="connsiteY98" fmla="*/ 1735 h 9948"/>
                <a:gd name="connsiteX99" fmla="*/ 282 w 10000"/>
                <a:gd name="connsiteY99" fmla="*/ 1842 h 9948"/>
                <a:gd name="connsiteX100" fmla="*/ 237 w 10000"/>
                <a:gd name="connsiteY100" fmla="*/ 1955 h 9948"/>
                <a:gd name="connsiteX101" fmla="*/ 208 w 10000"/>
                <a:gd name="connsiteY101" fmla="*/ 2060 h 9948"/>
                <a:gd name="connsiteX102" fmla="*/ 170 w 10000"/>
                <a:gd name="connsiteY102" fmla="*/ 2173 h 9948"/>
                <a:gd name="connsiteX103" fmla="*/ 148 w 10000"/>
                <a:gd name="connsiteY103" fmla="*/ 2283 h 9948"/>
                <a:gd name="connsiteX104" fmla="*/ 119 w 10000"/>
                <a:gd name="connsiteY104" fmla="*/ 2391 h 9948"/>
                <a:gd name="connsiteX105" fmla="*/ 96 w 10000"/>
                <a:gd name="connsiteY105" fmla="*/ 2501 h 9948"/>
                <a:gd name="connsiteX106" fmla="*/ 74 w 10000"/>
                <a:gd name="connsiteY106" fmla="*/ 2615 h 9948"/>
                <a:gd name="connsiteX107" fmla="*/ 52 w 10000"/>
                <a:gd name="connsiteY107" fmla="*/ 2731 h 9948"/>
                <a:gd name="connsiteX108" fmla="*/ 37 w 10000"/>
                <a:gd name="connsiteY108" fmla="*/ 2843 h 9948"/>
                <a:gd name="connsiteX109" fmla="*/ 22 w 10000"/>
                <a:gd name="connsiteY109" fmla="*/ 2954 h 9948"/>
                <a:gd name="connsiteX110" fmla="*/ 15 w 10000"/>
                <a:gd name="connsiteY110" fmla="*/ 3066 h 9948"/>
                <a:gd name="connsiteX111" fmla="*/ 7 w 10000"/>
                <a:gd name="connsiteY111" fmla="*/ 3182 h 9948"/>
                <a:gd name="connsiteX112" fmla="*/ 0 w 10000"/>
                <a:gd name="connsiteY112" fmla="*/ 3294 h 9948"/>
                <a:gd name="connsiteX113" fmla="*/ 0 w 10000"/>
                <a:gd name="connsiteY113" fmla="*/ 3411 h 9948"/>
                <a:gd name="connsiteX114" fmla="*/ 7 w 10000"/>
                <a:gd name="connsiteY114" fmla="*/ 3559 h 9948"/>
                <a:gd name="connsiteX115" fmla="*/ 7 w 10000"/>
                <a:gd name="connsiteY115" fmla="*/ 3708 h 9948"/>
                <a:gd name="connsiteX116" fmla="*/ 22 w 10000"/>
                <a:gd name="connsiteY116" fmla="*/ 3848 h 9948"/>
                <a:gd name="connsiteX117" fmla="*/ 37 w 10000"/>
                <a:gd name="connsiteY117" fmla="*/ 3992 h 9948"/>
                <a:gd name="connsiteX118" fmla="*/ 59 w 10000"/>
                <a:gd name="connsiteY118" fmla="*/ 4137 h 9948"/>
                <a:gd name="connsiteX119" fmla="*/ 89 w 10000"/>
                <a:gd name="connsiteY119" fmla="*/ 4281 h 9948"/>
                <a:gd name="connsiteX120" fmla="*/ 119 w 10000"/>
                <a:gd name="connsiteY120" fmla="*/ 4424 h 9948"/>
                <a:gd name="connsiteX121" fmla="*/ 148 w 10000"/>
                <a:gd name="connsiteY121" fmla="*/ 4569 h 9948"/>
                <a:gd name="connsiteX122" fmla="*/ 193 w 10000"/>
                <a:gd name="connsiteY122" fmla="*/ 4709 h 9948"/>
                <a:gd name="connsiteX123" fmla="*/ 237 w 10000"/>
                <a:gd name="connsiteY123" fmla="*/ 4848 h 9948"/>
                <a:gd name="connsiteX124" fmla="*/ 282 w 10000"/>
                <a:gd name="connsiteY124" fmla="*/ 4988 h 9948"/>
                <a:gd name="connsiteX125" fmla="*/ 334 w 10000"/>
                <a:gd name="connsiteY125" fmla="*/ 5126 h 9948"/>
                <a:gd name="connsiteX126" fmla="*/ 393 w 10000"/>
                <a:gd name="connsiteY126" fmla="*/ 5262 h 9948"/>
                <a:gd name="connsiteX127" fmla="*/ 452 w 10000"/>
                <a:gd name="connsiteY127" fmla="*/ 5397 h 9948"/>
                <a:gd name="connsiteX128" fmla="*/ 519 w 10000"/>
                <a:gd name="connsiteY128" fmla="*/ 5532 h 9948"/>
                <a:gd name="connsiteX129" fmla="*/ 586 w 10000"/>
                <a:gd name="connsiteY129" fmla="*/ 5668 h 9948"/>
                <a:gd name="connsiteX130" fmla="*/ 660 w 10000"/>
                <a:gd name="connsiteY130" fmla="*/ 5797 h 9948"/>
                <a:gd name="connsiteX131" fmla="*/ 741 w 10000"/>
                <a:gd name="connsiteY131" fmla="*/ 5927 h 9948"/>
                <a:gd name="connsiteX132" fmla="*/ 823 w 10000"/>
                <a:gd name="connsiteY132" fmla="*/ 6062 h 9948"/>
                <a:gd name="connsiteX133" fmla="*/ 904 w 10000"/>
                <a:gd name="connsiteY133" fmla="*/ 6188 h 9948"/>
                <a:gd name="connsiteX134" fmla="*/ 993 w 10000"/>
                <a:gd name="connsiteY134" fmla="*/ 6314 h 9948"/>
                <a:gd name="connsiteX135" fmla="*/ 1090 w 10000"/>
                <a:gd name="connsiteY135" fmla="*/ 6434 h 9948"/>
                <a:gd name="connsiteX136" fmla="*/ 1186 w 10000"/>
                <a:gd name="connsiteY136" fmla="*/ 6561 h 9948"/>
                <a:gd name="connsiteX137" fmla="*/ 1290 w 10000"/>
                <a:gd name="connsiteY137" fmla="*/ 6685 h 9948"/>
                <a:gd name="connsiteX138" fmla="*/ 1386 w 10000"/>
                <a:gd name="connsiteY138" fmla="*/ 6807 h 9948"/>
                <a:gd name="connsiteX139" fmla="*/ 1497 w 10000"/>
                <a:gd name="connsiteY139" fmla="*/ 6929 h 9948"/>
                <a:gd name="connsiteX140" fmla="*/ 1609 w 10000"/>
                <a:gd name="connsiteY140" fmla="*/ 7044 h 9948"/>
                <a:gd name="connsiteX141" fmla="*/ 1727 w 10000"/>
                <a:gd name="connsiteY141" fmla="*/ 7165 h 9948"/>
                <a:gd name="connsiteX142" fmla="*/ 1846 w 10000"/>
                <a:gd name="connsiteY142" fmla="*/ 7281 h 9948"/>
                <a:gd name="connsiteX143" fmla="*/ 1964 w 10000"/>
                <a:gd name="connsiteY143" fmla="*/ 7393 h 9948"/>
                <a:gd name="connsiteX144" fmla="*/ 2090 w 10000"/>
                <a:gd name="connsiteY144" fmla="*/ 7504 h 9948"/>
                <a:gd name="connsiteX145" fmla="*/ 2224 w 10000"/>
                <a:gd name="connsiteY145" fmla="*/ 7617 h 9948"/>
                <a:gd name="connsiteX146" fmla="*/ 2350 w 10000"/>
                <a:gd name="connsiteY146" fmla="*/ 7728 h 9948"/>
                <a:gd name="connsiteX147" fmla="*/ 2491 w 10000"/>
                <a:gd name="connsiteY147" fmla="*/ 7835 h 9948"/>
                <a:gd name="connsiteX148" fmla="*/ 2617 w 10000"/>
                <a:gd name="connsiteY148" fmla="*/ 7942 h 9948"/>
                <a:gd name="connsiteX149" fmla="*/ 2765 w 10000"/>
                <a:gd name="connsiteY149" fmla="*/ 8045 h 9948"/>
                <a:gd name="connsiteX150" fmla="*/ 2906 w 10000"/>
                <a:gd name="connsiteY150" fmla="*/ 8146 h 9948"/>
                <a:gd name="connsiteX151" fmla="*/ 3054 w 10000"/>
                <a:gd name="connsiteY151" fmla="*/ 8249 h 9948"/>
                <a:gd name="connsiteX152" fmla="*/ 3210 w 10000"/>
                <a:gd name="connsiteY152" fmla="*/ 8348 h 9948"/>
                <a:gd name="connsiteX153" fmla="*/ 3358 w 10000"/>
                <a:gd name="connsiteY153" fmla="*/ 8445 h 9948"/>
                <a:gd name="connsiteX154" fmla="*/ 3514 w 10000"/>
                <a:gd name="connsiteY154" fmla="*/ 8542 h 9948"/>
                <a:gd name="connsiteX155" fmla="*/ 3677 w 10000"/>
                <a:gd name="connsiteY155" fmla="*/ 8636 h 9948"/>
                <a:gd name="connsiteX156" fmla="*/ 3840 w 10000"/>
                <a:gd name="connsiteY156" fmla="*/ 8724 h 9948"/>
                <a:gd name="connsiteX157" fmla="*/ 4010 w 10000"/>
                <a:gd name="connsiteY157" fmla="*/ 8816 h 9948"/>
                <a:gd name="connsiteX158" fmla="*/ 4181 w 10000"/>
                <a:gd name="connsiteY158" fmla="*/ 8896 h 9948"/>
                <a:gd name="connsiteX159" fmla="*/ 4351 w 10000"/>
                <a:gd name="connsiteY159" fmla="*/ 8983 h 9948"/>
                <a:gd name="connsiteX160" fmla="*/ 4522 w 10000"/>
                <a:gd name="connsiteY160" fmla="*/ 9064 h 9948"/>
                <a:gd name="connsiteX161" fmla="*/ 4700 w 10000"/>
                <a:gd name="connsiteY161" fmla="*/ 9148 h 9948"/>
                <a:gd name="connsiteX162" fmla="*/ 4878 w 10000"/>
                <a:gd name="connsiteY162" fmla="*/ 9227 h 9948"/>
                <a:gd name="connsiteX163" fmla="*/ 5063 w 10000"/>
                <a:gd name="connsiteY163" fmla="*/ 9301 h 9948"/>
                <a:gd name="connsiteX164" fmla="*/ 5248 w 10000"/>
                <a:gd name="connsiteY164" fmla="*/ 9380 h 9948"/>
                <a:gd name="connsiteX165" fmla="*/ 5426 w 10000"/>
                <a:gd name="connsiteY165" fmla="*/ 9450 h 9948"/>
                <a:gd name="connsiteX166" fmla="*/ 5619 w 10000"/>
                <a:gd name="connsiteY166" fmla="*/ 9519 h 9948"/>
                <a:gd name="connsiteX167" fmla="*/ 5812 w 10000"/>
                <a:gd name="connsiteY167" fmla="*/ 9589 h 9948"/>
                <a:gd name="connsiteX168" fmla="*/ 6004 w 10000"/>
                <a:gd name="connsiteY168" fmla="*/ 9653 h 9948"/>
                <a:gd name="connsiteX169" fmla="*/ 6205 w 10000"/>
                <a:gd name="connsiteY169" fmla="*/ 9720 h 9948"/>
                <a:gd name="connsiteX170" fmla="*/ 6397 w 10000"/>
                <a:gd name="connsiteY170" fmla="*/ 9781 h 9948"/>
                <a:gd name="connsiteX171" fmla="*/ 6605 w 10000"/>
                <a:gd name="connsiteY171" fmla="*/ 9836 h 9948"/>
                <a:gd name="connsiteX172" fmla="*/ 6805 w 10000"/>
                <a:gd name="connsiteY172" fmla="*/ 9892 h 9948"/>
                <a:gd name="connsiteX173" fmla="*/ 7005 w 10000"/>
                <a:gd name="connsiteY173" fmla="*/ 9948 h 9948"/>
                <a:gd name="connsiteX174" fmla="*/ 7539 w 10000"/>
                <a:gd name="connsiteY174" fmla="*/ 7858 h 9948"/>
                <a:gd name="connsiteX175" fmla="*/ 10000 w 10000"/>
                <a:gd name="connsiteY175" fmla="*/ 6220 h 9948"/>
                <a:gd name="connsiteX0" fmla="*/ 10000 w 10000"/>
                <a:gd name="connsiteY0" fmla="*/ 6253 h 9944"/>
                <a:gd name="connsiteX1" fmla="*/ 10000 w 10000"/>
                <a:gd name="connsiteY1" fmla="*/ 6253 h 9944"/>
                <a:gd name="connsiteX2" fmla="*/ 9911 w 10000"/>
                <a:gd name="connsiteY2" fmla="*/ 6238 h 9944"/>
                <a:gd name="connsiteX3" fmla="*/ 9815 w 10000"/>
                <a:gd name="connsiteY3" fmla="*/ 6220 h 9944"/>
                <a:gd name="connsiteX4" fmla="*/ 9726 w 10000"/>
                <a:gd name="connsiteY4" fmla="*/ 6202 h 9944"/>
                <a:gd name="connsiteX5" fmla="*/ 9637 w 10000"/>
                <a:gd name="connsiteY5" fmla="*/ 6178 h 9944"/>
                <a:gd name="connsiteX6" fmla="*/ 9548 w 10000"/>
                <a:gd name="connsiteY6" fmla="*/ 6159 h 9944"/>
                <a:gd name="connsiteX7" fmla="*/ 9466 w 10000"/>
                <a:gd name="connsiteY7" fmla="*/ 6136 h 9944"/>
                <a:gd name="connsiteX8" fmla="*/ 9377 w 10000"/>
                <a:gd name="connsiteY8" fmla="*/ 6113 h 9944"/>
                <a:gd name="connsiteX9" fmla="*/ 9288 w 10000"/>
                <a:gd name="connsiteY9" fmla="*/ 6090 h 9944"/>
                <a:gd name="connsiteX10" fmla="*/ 9118 w 10000"/>
                <a:gd name="connsiteY10" fmla="*/ 6037 h 9944"/>
                <a:gd name="connsiteX11" fmla="*/ 8955 w 10000"/>
                <a:gd name="connsiteY11" fmla="*/ 5981 h 9944"/>
                <a:gd name="connsiteX12" fmla="*/ 8792 w 10000"/>
                <a:gd name="connsiteY12" fmla="*/ 5922 h 9944"/>
                <a:gd name="connsiteX13" fmla="*/ 8636 w 10000"/>
                <a:gd name="connsiteY13" fmla="*/ 5856 h 9944"/>
                <a:gd name="connsiteX14" fmla="*/ 8480 w 10000"/>
                <a:gd name="connsiteY14" fmla="*/ 5789 h 9944"/>
                <a:gd name="connsiteX15" fmla="*/ 8340 w 10000"/>
                <a:gd name="connsiteY15" fmla="*/ 5721 h 9944"/>
                <a:gd name="connsiteX16" fmla="*/ 8199 w 10000"/>
                <a:gd name="connsiteY16" fmla="*/ 5645 h 9944"/>
                <a:gd name="connsiteX17" fmla="*/ 8058 w 10000"/>
                <a:gd name="connsiteY17" fmla="*/ 5565 h 9944"/>
                <a:gd name="connsiteX18" fmla="*/ 7924 w 10000"/>
                <a:gd name="connsiteY18" fmla="*/ 5483 h 9944"/>
                <a:gd name="connsiteX19" fmla="*/ 7798 w 10000"/>
                <a:gd name="connsiteY19" fmla="*/ 5396 h 9944"/>
                <a:gd name="connsiteX20" fmla="*/ 7672 w 10000"/>
                <a:gd name="connsiteY20" fmla="*/ 5308 h 9944"/>
                <a:gd name="connsiteX21" fmla="*/ 7554 w 10000"/>
                <a:gd name="connsiteY21" fmla="*/ 5219 h 9944"/>
                <a:gd name="connsiteX22" fmla="*/ 7450 w 10000"/>
                <a:gd name="connsiteY22" fmla="*/ 5121 h 9944"/>
                <a:gd name="connsiteX23" fmla="*/ 7346 w 10000"/>
                <a:gd name="connsiteY23" fmla="*/ 5023 h 9944"/>
                <a:gd name="connsiteX24" fmla="*/ 7250 w 10000"/>
                <a:gd name="connsiteY24" fmla="*/ 4925 h 9944"/>
                <a:gd name="connsiteX25" fmla="*/ 7161 w 10000"/>
                <a:gd name="connsiteY25" fmla="*/ 4823 h 9944"/>
                <a:gd name="connsiteX26" fmla="*/ 7072 w 10000"/>
                <a:gd name="connsiteY26" fmla="*/ 4718 h 9944"/>
                <a:gd name="connsiteX27" fmla="*/ 6990 w 10000"/>
                <a:gd name="connsiteY27" fmla="*/ 4607 h 9944"/>
                <a:gd name="connsiteX28" fmla="*/ 6953 w 10000"/>
                <a:gd name="connsiteY28" fmla="*/ 4556 h 9944"/>
                <a:gd name="connsiteX29" fmla="*/ 6916 w 10000"/>
                <a:gd name="connsiteY29" fmla="*/ 4498 h 9944"/>
                <a:gd name="connsiteX30" fmla="*/ 6887 w 10000"/>
                <a:gd name="connsiteY30" fmla="*/ 4443 h 9944"/>
                <a:gd name="connsiteX31" fmla="*/ 6850 w 10000"/>
                <a:gd name="connsiteY31" fmla="*/ 4388 h 9944"/>
                <a:gd name="connsiteX32" fmla="*/ 6820 w 10000"/>
                <a:gd name="connsiteY32" fmla="*/ 4332 h 9944"/>
                <a:gd name="connsiteX33" fmla="*/ 6790 w 10000"/>
                <a:gd name="connsiteY33" fmla="*/ 4274 h 9944"/>
                <a:gd name="connsiteX34" fmla="*/ 6768 w 10000"/>
                <a:gd name="connsiteY34" fmla="*/ 4214 h 9944"/>
                <a:gd name="connsiteX35" fmla="*/ 6738 w 10000"/>
                <a:gd name="connsiteY35" fmla="*/ 4159 h 9944"/>
                <a:gd name="connsiteX36" fmla="*/ 6723 w 10000"/>
                <a:gd name="connsiteY36" fmla="*/ 4097 h 9944"/>
                <a:gd name="connsiteX37" fmla="*/ 6694 w 10000"/>
                <a:gd name="connsiteY37" fmla="*/ 4040 h 9944"/>
                <a:gd name="connsiteX38" fmla="*/ 6679 w 10000"/>
                <a:gd name="connsiteY38" fmla="*/ 3980 h 9944"/>
                <a:gd name="connsiteX39" fmla="*/ 6664 w 10000"/>
                <a:gd name="connsiteY39" fmla="*/ 3919 h 9944"/>
                <a:gd name="connsiteX40" fmla="*/ 6649 w 10000"/>
                <a:gd name="connsiteY40" fmla="*/ 3858 h 9944"/>
                <a:gd name="connsiteX41" fmla="*/ 6635 w 10000"/>
                <a:gd name="connsiteY41" fmla="*/ 3802 h 9944"/>
                <a:gd name="connsiteX42" fmla="*/ 6620 w 10000"/>
                <a:gd name="connsiteY42" fmla="*/ 3741 h 9944"/>
                <a:gd name="connsiteX43" fmla="*/ 6612 w 10000"/>
                <a:gd name="connsiteY43" fmla="*/ 3681 h 9944"/>
                <a:gd name="connsiteX44" fmla="*/ 6605 w 10000"/>
                <a:gd name="connsiteY44" fmla="*/ 3619 h 9944"/>
                <a:gd name="connsiteX45" fmla="*/ 6597 w 10000"/>
                <a:gd name="connsiteY45" fmla="*/ 3554 h 9944"/>
                <a:gd name="connsiteX46" fmla="*/ 6597 w 10000"/>
                <a:gd name="connsiteY46" fmla="*/ 3494 h 9944"/>
                <a:gd name="connsiteX47" fmla="*/ 6590 w 10000"/>
                <a:gd name="connsiteY47" fmla="*/ 3429 h 9944"/>
                <a:gd name="connsiteX48" fmla="*/ 6597 w 10000"/>
                <a:gd name="connsiteY48" fmla="*/ 3367 h 9944"/>
                <a:gd name="connsiteX49" fmla="*/ 6605 w 10000"/>
                <a:gd name="connsiteY49" fmla="*/ 3298 h 9944"/>
                <a:gd name="connsiteX50" fmla="*/ 6605 w 10000"/>
                <a:gd name="connsiteY50" fmla="*/ 3232 h 9944"/>
                <a:gd name="connsiteX51" fmla="*/ 6612 w 10000"/>
                <a:gd name="connsiteY51" fmla="*/ 3164 h 9944"/>
                <a:gd name="connsiteX52" fmla="*/ 6620 w 10000"/>
                <a:gd name="connsiteY52" fmla="*/ 3100 h 9944"/>
                <a:gd name="connsiteX53" fmla="*/ 6635 w 10000"/>
                <a:gd name="connsiteY53" fmla="*/ 3041 h 9944"/>
                <a:gd name="connsiteX54" fmla="*/ 6649 w 10000"/>
                <a:gd name="connsiteY54" fmla="*/ 2974 h 9944"/>
                <a:gd name="connsiteX55" fmla="*/ 6664 w 10000"/>
                <a:gd name="connsiteY55" fmla="*/ 2913 h 9944"/>
                <a:gd name="connsiteX56" fmla="*/ 6686 w 10000"/>
                <a:gd name="connsiteY56" fmla="*/ 2849 h 9944"/>
                <a:gd name="connsiteX57" fmla="*/ 6709 w 10000"/>
                <a:gd name="connsiteY57" fmla="*/ 2787 h 9944"/>
                <a:gd name="connsiteX58" fmla="*/ 6731 w 10000"/>
                <a:gd name="connsiteY58" fmla="*/ 2726 h 9944"/>
                <a:gd name="connsiteX59" fmla="*/ 6753 w 10000"/>
                <a:gd name="connsiteY59" fmla="*/ 2661 h 9944"/>
                <a:gd name="connsiteX60" fmla="*/ 6783 w 10000"/>
                <a:gd name="connsiteY60" fmla="*/ 2606 h 9944"/>
                <a:gd name="connsiteX61" fmla="*/ 6812 w 10000"/>
                <a:gd name="connsiteY61" fmla="*/ 2544 h 9944"/>
                <a:gd name="connsiteX62" fmla="*/ 6842 w 10000"/>
                <a:gd name="connsiteY62" fmla="*/ 2482 h 9944"/>
                <a:gd name="connsiteX63" fmla="*/ 6879 w 10000"/>
                <a:gd name="connsiteY63" fmla="*/ 2423 h 9944"/>
                <a:gd name="connsiteX64" fmla="*/ 6909 w 10000"/>
                <a:gd name="connsiteY64" fmla="*/ 2367 h 9944"/>
                <a:gd name="connsiteX65" fmla="*/ 6946 w 10000"/>
                <a:gd name="connsiteY65" fmla="*/ 2304 h 9944"/>
                <a:gd name="connsiteX66" fmla="*/ 6990 w 10000"/>
                <a:gd name="connsiteY66" fmla="*/ 2249 h 9944"/>
                <a:gd name="connsiteX67" fmla="*/ 7027 w 10000"/>
                <a:gd name="connsiteY67" fmla="*/ 2193 h 9944"/>
                <a:gd name="connsiteX68" fmla="*/ 7072 w 10000"/>
                <a:gd name="connsiteY68" fmla="*/ 2138 h 9944"/>
                <a:gd name="connsiteX69" fmla="*/ 7109 w 10000"/>
                <a:gd name="connsiteY69" fmla="*/ 2080 h 9944"/>
                <a:gd name="connsiteX70" fmla="*/ 7161 w 10000"/>
                <a:gd name="connsiteY70" fmla="*/ 2030 h 9944"/>
                <a:gd name="connsiteX71" fmla="*/ 7213 w 10000"/>
                <a:gd name="connsiteY71" fmla="*/ 1974 h 9944"/>
                <a:gd name="connsiteX72" fmla="*/ 7257 w 10000"/>
                <a:gd name="connsiteY72" fmla="*/ 1919 h 9944"/>
                <a:gd name="connsiteX73" fmla="*/ 7309 w 10000"/>
                <a:gd name="connsiteY73" fmla="*/ 1865 h 9944"/>
                <a:gd name="connsiteX74" fmla="*/ 7361 w 10000"/>
                <a:gd name="connsiteY74" fmla="*/ 1813 h 9944"/>
                <a:gd name="connsiteX75" fmla="*/ 7413 w 10000"/>
                <a:gd name="connsiteY75" fmla="*/ 1763 h 9944"/>
                <a:gd name="connsiteX76" fmla="*/ 7472 w 10000"/>
                <a:gd name="connsiteY76" fmla="*/ 1712 h 9944"/>
                <a:gd name="connsiteX77" fmla="*/ 7524 w 10000"/>
                <a:gd name="connsiteY77" fmla="*/ 1665 h 9944"/>
                <a:gd name="connsiteX78" fmla="*/ 7583 w 10000"/>
                <a:gd name="connsiteY78" fmla="*/ 1616 h 9944"/>
                <a:gd name="connsiteX79" fmla="*/ 7610 w 10000"/>
                <a:gd name="connsiteY79" fmla="*/ 1587 h 9944"/>
                <a:gd name="connsiteX80" fmla="*/ 5390 w 10000"/>
                <a:gd name="connsiteY80" fmla="*/ 6 h 9944"/>
                <a:gd name="connsiteX81" fmla="*/ 1401 w 10000"/>
                <a:gd name="connsiteY81" fmla="*/ 0 h 9944"/>
                <a:gd name="connsiteX82" fmla="*/ 1305 w 10000"/>
                <a:gd name="connsiteY82" fmla="*/ 118 h 9944"/>
                <a:gd name="connsiteX83" fmla="*/ 1223 w 10000"/>
                <a:gd name="connsiteY83" fmla="*/ 210 h 9944"/>
                <a:gd name="connsiteX84" fmla="*/ 1149 w 10000"/>
                <a:gd name="connsiteY84" fmla="*/ 307 h 9944"/>
                <a:gd name="connsiteX85" fmla="*/ 1067 w 10000"/>
                <a:gd name="connsiteY85" fmla="*/ 407 h 9944"/>
                <a:gd name="connsiteX86" fmla="*/ 1001 w 10000"/>
                <a:gd name="connsiteY86" fmla="*/ 505 h 9944"/>
                <a:gd name="connsiteX87" fmla="*/ 927 w 10000"/>
                <a:gd name="connsiteY87" fmla="*/ 604 h 9944"/>
                <a:gd name="connsiteX88" fmla="*/ 860 w 10000"/>
                <a:gd name="connsiteY88" fmla="*/ 706 h 9944"/>
                <a:gd name="connsiteX89" fmla="*/ 793 w 10000"/>
                <a:gd name="connsiteY89" fmla="*/ 810 h 9944"/>
                <a:gd name="connsiteX90" fmla="*/ 734 w 10000"/>
                <a:gd name="connsiteY90" fmla="*/ 907 h 9944"/>
                <a:gd name="connsiteX91" fmla="*/ 675 w 10000"/>
                <a:gd name="connsiteY91" fmla="*/ 1011 h 9944"/>
                <a:gd name="connsiteX92" fmla="*/ 615 w 10000"/>
                <a:gd name="connsiteY92" fmla="*/ 1113 h 9944"/>
                <a:gd name="connsiteX93" fmla="*/ 556 w 10000"/>
                <a:gd name="connsiteY93" fmla="*/ 1221 h 9944"/>
                <a:gd name="connsiteX94" fmla="*/ 504 w 10000"/>
                <a:gd name="connsiteY94" fmla="*/ 1319 h 9944"/>
                <a:gd name="connsiteX95" fmla="*/ 452 w 10000"/>
                <a:gd name="connsiteY95" fmla="*/ 1425 h 9944"/>
                <a:gd name="connsiteX96" fmla="*/ 408 w 10000"/>
                <a:gd name="connsiteY96" fmla="*/ 1529 h 9944"/>
                <a:gd name="connsiteX97" fmla="*/ 363 w 10000"/>
                <a:gd name="connsiteY97" fmla="*/ 1636 h 9944"/>
                <a:gd name="connsiteX98" fmla="*/ 319 w 10000"/>
                <a:gd name="connsiteY98" fmla="*/ 1744 h 9944"/>
                <a:gd name="connsiteX99" fmla="*/ 282 w 10000"/>
                <a:gd name="connsiteY99" fmla="*/ 1852 h 9944"/>
                <a:gd name="connsiteX100" fmla="*/ 237 w 10000"/>
                <a:gd name="connsiteY100" fmla="*/ 1965 h 9944"/>
                <a:gd name="connsiteX101" fmla="*/ 208 w 10000"/>
                <a:gd name="connsiteY101" fmla="*/ 2071 h 9944"/>
                <a:gd name="connsiteX102" fmla="*/ 170 w 10000"/>
                <a:gd name="connsiteY102" fmla="*/ 2184 h 9944"/>
                <a:gd name="connsiteX103" fmla="*/ 148 w 10000"/>
                <a:gd name="connsiteY103" fmla="*/ 2295 h 9944"/>
                <a:gd name="connsiteX104" fmla="*/ 119 w 10000"/>
                <a:gd name="connsiteY104" fmla="*/ 2403 h 9944"/>
                <a:gd name="connsiteX105" fmla="*/ 96 w 10000"/>
                <a:gd name="connsiteY105" fmla="*/ 2514 h 9944"/>
                <a:gd name="connsiteX106" fmla="*/ 74 w 10000"/>
                <a:gd name="connsiteY106" fmla="*/ 2629 h 9944"/>
                <a:gd name="connsiteX107" fmla="*/ 52 w 10000"/>
                <a:gd name="connsiteY107" fmla="*/ 2745 h 9944"/>
                <a:gd name="connsiteX108" fmla="*/ 37 w 10000"/>
                <a:gd name="connsiteY108" fmla="*/ 2858 h 9944"/>
                <a:gd name="connsiteX109" fmla="*/ 22 w 10000"/>
                <a:gd name="connsiteY109" fmla="*/ 2969 h 9944"/>
                <a:gd name="connsiteX110" fmla="*/ 15 w 10000"/>
                <a:gd name="connsiteY110" fmla="*/ 3082 h 9944"/>
                <a:gd name="connsiteX111" fmla="*/ 7 w 10000"/>
                <a:gd name="connsiteY111" fmla="*/ 3199 h 9944"/>
                <a:gd name="connsiteX112" fmla="*/ 0 w 10000"/>
                <a:gd name="connsiteY112" fmla="*/ 3311 h 9944"/>
                <a:gd name="connsiteX113" fmla="*/ 0 w 10000"/>
                <a:gd name="connsiteY113" fmla="*/ 3429 h 9944"/>
                <a:gd name="connsiteX114" fmla="*/ 7 w 10000"/>
                <a:gd name="connsiteY114" fmla="*/ 3578 h 9944"/>
                <a:gd name="connsiteX115" fmla="*/ 7 w 10000"/>
                <a:gd name="connsiteY115" fmla="*/ 3727 h 9944"/>
                <a:gd name="connsiteX116" fmla="*/ 22 w 10000"/>
                <a:gd name="connsiteY116" fmla="*/ 3868 h 9944"/>
                <a:gd name="connsiteX117" fmla="*/ 37 w 10000"/>
                <a:gd name="connsiteY117" fmla="*/ 4013 h 9944"/>
                <a:gd name="connsiteX118" fmla="*/ 59 w 10000"/>
                <a:gd name="connsiteY118" fmla="*/ 4159 h 9944"/>
                <a:gd name="connsiteX119" fmla="*/ 89 w 10000"/>
                <a:gd name="connsiteY119" fmla="*/ 4303 h 9944"/>
                <a:gd name="connsiteX120" fmla="*/ 119 w 10000"/>
                <a:gd name="connsiteY120" fmla="*/ 4447 h 9944"/>
                <a:gd name="connsiteX121" fmla="*/ 148 w 10000"/>
                <a:gd name="connsiteY121" fmla="*/ 4593 h 9944"/>
                <a:gd name="connsiteX122" fmla="*/ 193 w 10000"/>
                <a:gd name="connsiteY122" fmla="*/ 4734 h 9944"/>
                <a:gd name="connsiteX123" fmla="*/ 237 w 10000"/>
                <a:gd name="connsiteY123" fmla="*/ 4873 h 9944"/>
                <a:gd name="connsiteX124" fmla="*/ 282 w 10000"/>
                <a:gd name="connsiteY124" fmla="*/ 5014 h 9944"/>
                <a:gd name="connsiteX125" fmla="*/ 334 w 10000"/>
                <a:gd name="connsiteY125" fmla="*/ 5153 h 9944"/>
                <a:gd name="connsiteX126" fmla="*/ 393 w 10000"/>
                <a:gd name="connsiteY126" fmla="*/ 5290 h 9944"/>
                <a:gd name="connsiteX127" fmla="*/ 452 w 10000"/>
                <a:gd name="connsiteY127" fmla="*/ 5425 h 9944"/>
                <a:gd name="connsiteX128" fmla="*/ 519 w 10000"/>
                <a:gd name="connsiteY128" fmla="*/ 5561 h 9944"/>
                <a:gd name="connsiteX129" fmla="*/ 586 w 10000"/>
                <a:gd name="connsiteY129" fmla="*/ 5698 h 9944"/>
                <a:gd name="connsiteX130" fmla="*/ 660 w 10000"/>
                <a:gd name="connsiteY130" fmla="*/ 5827 h 9944"/>
                <a:gd name="connsiteX131" fmla="*/ 741 w 10000"/>
                <a:gd name="connsiteY131" fmla="*/ 5958 h 9944"/>
                <a:gd name="connsiteX132" fmla="*/ 823 w 10000"/>
                <a:gd name="connsiteY132" fmla="*/ 6094 h 9944"/>
                <a:gd name="connsiteX133" fmla="*/ 904 w 10000"/>
                <a:gd name="connsiteY133" fmla="*/ 6220 h 9944"/>
                <a:gd name="connsiteX134" fmla="*/ 993 w 10000"/>
                <a:gd name="connsiteY134" fmla="*/ 6347 h 9944"/>
                <a:gd name="connsiteX135" fmla="*/ 1090 w 10000"/>
                <a:gd name="connsiteY135" fmla="*/ 6468 h 9944"/>
                <a:gd name="connsiteX136" fmla="*/ 1186 w 10000"/>
                <a:gd name="connsiteY136" fmla="*/ 6595 h 9944"/>
                <a:gd name="connsiteX137" fmla="*/ 1290 w 10000"/>
                <a:gd name="connsiteY137" fmla="*/ 6720 h 9944"/>
                <a:gd name="connsiteX138" fmla="*/ 1386 w 10000"/>
                <a:gd name="connsiteY138" fmla="*/ 6843 h 9944"/>
                <a:gd name="connsiteX139" fmla="*/ 1497 w 10000"/>
                <a:gd name="connsiteY139" fmla="*/ 6965 h 9944"/>
                <a:gd name="connsiteX140" fmla="*/ 1609 w 10000"/>
                <a:gd name="connsiteY140" fmla="*/ 7081 h 9944"/>
                <a:gd name="connsiteX141" fmla="*/ 1727 w 10000"/>
                <a:gd name="connsiteY141" fmla="*/ 7202 h 9944"/>
                <a:gd name="connsiteX142" fmla="*/ 1846 w 10000"/>
                <a:gd name="connsiteY142" fmla="*/ 7319 h 9944"/>
                <a:gd name="connsiteX143" fmla="*/ 1964 w 10000"/>
                <a:gd name="connsiteY143" fmla="*/ 7432 h 9944"/>
                <a:gd name="connsiteX144" fmla="*/ 2090 w 10000"/>
                <a:gd name="connsiteY144" fmla="*/ 7543 h 9944"/>
                <a:gd name="connsiteX145" fmla="*/ 2224 w 10000"/>
                <a:gd name="connsiteY145" fmla="*/ 7657 h 9944"/>
                <a:gd name="connsiteX146" fmla="*/ 2350 w 10000"/>
                <a:gd name="connsiteY146" fmla="*/ 7768 h 9944"/>
                <a:gd name="connsiteX147" fmla="*/ 2491 w 10000"/>
                <a:gd name="connsiteY147" fmla="*/ 7876 h 9944"/>
                <a:gd name="connsiteX148" fmla="*/ 2617 w 10000"/>
                <a:gd name="connsiteY148" fmla="*/ 7984 h 9944"/>
                <a:gd name="connsiteX149" fmla="*/ 2765 w 10000"/>
                <a:gd name="connsiteY149" fmla="*/ 8087 h 9944"/>
                <a:gd name="connsiteX150" fmla="*/ 2906 w 10000"/>
                <a:gd name="connsiteY150" fmla="*/ 8189 h 9944"/>
                <a:gd name="connsiteX151" fmla="*/ 3054 w 10000"/>
                <a:gd name="connsiteY151" fmla="*/ 8292 h 9944"/>
                <a:gd name="connsiteX152" fmla="*/ 3210 w 10000"/>
                <a:gd name="connsiteY152" fmla="*/ 8392 h 9944"/>
                <a:gd name="connsiteX153" fmla="*/ 3358 w 10000"/>
                <a:gd name="connsiteY153" fmla="*/ 8489 h 9944"/>
                <a:gd name="connsiteX154" fmla="*/ 3514 w 10000"/>
                <a:gd name="connsiteY154" fmla="*/ 8587 h 9944"/>
                <a:gd name="connsiteX155" fmla="*/ 3677 w 10000"/>
                <a:gd name="connsiteY155" fmla="*/ 8681 h 9944"/>
                <a:gd name="connsiteX156" fmla="*/ 3840 w 10000"/>
                <a:gd name="connsiteY156" fmla="*/ 8770 h 9944"/>
                <a:gd name="connsiteX157" fmla="*/ 4010 w 10000"/>
                <a:gd name="connsiteY157" fmla="*/ 8862 h 9944"/>
                <a:gd name="connsiteX158" fmla="*/ 4181 w 10000"/>
                <a:gd name="connsiteY158" fmla="*/ 8943 h 9944"/>
                <a:gd name="connsiteX159" fmla="*/ 4351 w 10000"/>
                <a:gd name="connsiteY159" fmla="*/ 9030 h 9944"/>
                <a:gd name="connsiteX160" fmla="*/ 4522 w 10000"/>
                <a:gd name="connsiteY160" fmla="*/ 9111 h 9944"/>
                <a:gd name="connsiteX161" fmla="*/ 4700 w 10000"/>
                <a:gd name="connsiteY161" fmla="*/ 9196 h 9944"/>
                <a:gd name="connsiteX162" fmla="*/ 4878 w 10000"/>
                <a:gd name="connsiteY162" fmla="*/ 9275 h 9944"/>
                <a:gd name="connsiteX163" fmla="*/ 5063 w 10000"/>
                <a:gd name="connsiteY163" fmla="*/ 9350 h 9944"/>
                <a:gd name="connsiteX164" fmla="*/ 5248 w 10000"/>
                <a:gd name="connsiteY164" fmla="*/ 9429 h 9944"/>
                <a:gd name="connsiteX165" fmla="*/ 5426 w 10000"/>
                <a:gd name="connsiteY165" fmla="*/ 9499 h 9944"/>
                <a:gd name="connsiteX166" fmla="*/ 5619 w 10000"/>
                <a:gd name="connsiteY166" fmla="*/ 9569 h 9944"/>
                <a:gd name="connsiteX167" fmla="*/ 5812 w 10000"/>
                <a:gd name="connsiteY167" fmla="*/ 9639 h 9944"/>
                <a:gd name="connsiteX168" fmla="*/ 6004 w 10000"/>
                <a:gd name="connsiteY168" fmla="*/ 9703 h 9944"/>
                <a:gd name="connsiteX169" fmla="*/ 6205 w 10000"/>
                <a:gd name="connsiteY169" fmla="*/ 9771 h 9944"/>
                <a:gd name="connsiteX170" fmla="*/ 6397 w 10000"/>
                <a:gd name="connsiteY170" fmla="*/ 9832 h 9944"/>
                <a:gd name="connsiteX171" fmla="*/ 6605 w 10000"/>
                <a:gd name="connsiteY171" fmla="*/ 9887 h 9944"/>
                <a:gd name="connsiteX172" fmla="*/ 6805 w 10000"/>
                <a:gd name="connsiteY172" fmla="*/ 9944 h 9944"/>
                <a:gd name="connsiteX173" fmla="*/ 7539 w 10000"/>
                <a:gd name="connsiteY173" fmla="*/ 7899 h 9944"/>
                <a:gd name="connsiteX174" fmla="*/ 10000 w 10000"/>
                <a:gd name="connsiteY174" fmla="*/ 6253 h 9944"/>
                <a:gd name="connsiteX0" fmla="*/ 10000 w 10000"/>
                <a:gd name="connsiteY0" fmla="*/ 6288 h 9943"/>
                <a:gd name="connsiteX1" fmla="*/ 10000 w 10000"/>
                <a:gd name="connsiteY1" fmla="*/ 6288 h 9943"/>
                <a:gd name="connsiteX2" fmla="*/ 9911 w 10000"/>
                <a:gd name="connsiteY2" fmla="*/ 6273 h 9943"/>
                <a:gd name="connsiteX3" fmla="*/ 9815 w 10000"/>
                <a:gd name="connsiteY3" fmla="*/ 6255 h 9943"/>
                <a:gd name="connsiteX4" fmla="*/ 9726 w 10000"/>
                <a:gd name="connsiteY4" fmla="*/ 6237 h 9943"/>
                <a:gd name="connsiteX5" fmla="*/ 9637 w 10000"/>
                <a:gd name="connsiteY5" fmla="*/ 6213 h 9943"/>
                <a:gd name="connsiteX6" fmla="*/ 9548 w 10000"/>
                <a:gd name="connsiteY6" fmla="*/ 6194 h 9943"/>
                <a:gd name="connsiteX7" fmla="*/ 9466 w 10000"/>
                <a:gd name="connsiteY7" fmla="*/ 6171 h 9943"/>
                <a:gd name="connsiteX8" fmla="*/ 9377 w 10000"/>
                <a:gd name="connsiteY8" fmla="*/ 6147 h 9943"/>
                <a:gd name="connsiteX9" fmla="*/ 9288 w 10000"/>
                <a:gd name="connsiteY9" fmla="*/ 6124 h 9943"/>
                <a:gd name="connsiteX10" fmla="*/ 9118 w 10000"/>
                <a:gd name="connsiteY10" fmla="*/ 6071 h 9943"/>
                <a:gd name="connsiteX11" fmla="*/ 8955 w 10000"/>
                <a:gd name="connsiteY11" fmla="*/ 6015 h 9943"/>
                <a:gd name="connsiteX12" fmla="*/ 8792 w 10000"/>
                <a:gd name="connsiteY12" fmla="*/ 5955 h 9943"/>
                <a:gd name="connsiteX13" fmla="*/ 8636 w 10000"/>
                <a:gd name="connsiteY13" fmla="*/ 5889 h 9943"/>
                <a:gd name="connsiteX14" fmla="*/ 8480 w 10000"/>
                <a:gd name="connsiteY14" fmla="*/ 5822 h 9943"/>
                <a:gd name="connsiteX15" fmla="*/ 8340 w 10000"/>
                <a:gd name="connsiteY15" fmla="*/ 5753 h 9943"/>
                <a:gd name="connsiteX16" fmla="*/ 8199 w 10000"/>
                <a:gd name="connsiteY16" fmla="*/ 5677 h 9943"/>
                <a:gd name="connsiteX17" fmla="*/ 8058 w 10000"/>
                <a:gd name="connsiteY17" fmla="*/ 5596 h 9943"/>
                <a:gd name="connsiteX18" fmla="*/ 7924 w 10000"/>
                <a:gd name="connsiteY18" fmla="*/ 5514 h 9943"/>
                <a:gd name="connsiteX19" fmla="*/ 7798 w 10000"/>
                <a:gd name="connsiteY19" fmla="*/ 5426 h 9943"/>
                <a:gd name="connsiteX20" fmla="*/ 7672 w 10000"/>
                <a:gd name="connsiteY20" fmla="*/ 5338 h 9943"/>
                <a:gd name="connsiteX21" fmla="*/ 7554 w 10000"/>
                <a:gd name="connsiteY21" fmla="*/ 5248 h 9943"/>
                <a:gd name="connsiteX22" fmla="*/ 7450 w 10000"/>
                <a:gd name="connsiteY22" fmla="*/ 5150 h 9943"/>
                <a:gd name="connsiteX23" fmla="*/ 7346 w 10000"/>
                <a:gd name="connsiteY23" fmla="*/ 5051 h 9943"/>
                <a:gd name="connsiteX24" fmla="*/ 7250 w 10000"/>
                <a:gd name="connsiteY24" fmla="*/ 4953 h 9943"/>
                <a:gd name="connsiteX25" fmla="*/ 7161 w 10000"/>
                <a:gd name="connsiteY25" fmla="*/ 4850 h 9943"/>
                <a:gd name="connsiteX26" fmla="*/ 7072 w 10000"/>
                <a:gd name="connsiteY26" fmla="*/ 4745 h 9943"/>
                <a:gd name="connsiteX27" fmla="*/ 6990 w 10000"/>
                <a:gd name="connsiteY27" fmla="*/ 4633 h 9943"/>
                <a:gd name="connsiteX28" fmla="*/ 6953 w 10000"/>
                <a:gd name="connsiteY28" fmla="*/ 4582 h 9943"/>
                <a:gd name="connsiteX29" fmla="*/ 6916 w 10000"/>
                <a:gd name="connsiteY29" fmla="*/ 4523 h 9943"/>
                <a:gd name="connsiteX30" fmla="*/ 6887 w 10000"/>
                <a:gd name="connsiteY30" fmla="*/ 4468 h 9943"/>
                <a:gd name="connsiteX31" fmla="*/ 6850 w 10000"/>
                <a:gd name="connsiteY31" fmla="*/ 4413 h 9943"/>
                <a:gd name="connsiteX32" fmla="*/ 6820 w 10000"/>
                <a:gd name="connsiteY32" fmla="*/ 4356 h 9943"/>
                <a:gd name="connsiteX33" fmla="*/ 6790 w 10000"/>
                <a:gd name="connsiteY33" fmla="*/ 4298 h 9943"/>
                <a:gd name="connsiteX34" fmla="*/ 6768 w 10000"/>
                <a:gd name="connsiteY34" fmla="*/ 4238 h 9943"/>
                <a:gd name="connsiteX35" fmla="*/ 6738 w 10000"/>
                <a:gd name="connsiteY35" fmla="*/ 4182 h 9943"/>
                <a:gd name="connsiteX36" fmla="*/ 6723 w 10000"/>
                <a:gd name="connsiteY36" fmla="*/ 4120 h 9943"/>
                <a:gd name="connsiteX37" fmla="*/ 6694 w 10000"/>
                <a:gd name="connsiteY37" fmla="*/ 4063 h 9943"/>
                <a:gd name="connsiteX38" fmla="*/ 6679 w 10000"/>
                <a:gd name="connsiteY38" fmla="*/ 4002 h 9943"/>
                <a:gd name="connsiteX39" fmla="*/ 6664 w 10000"/>
                <a:gd name="connsiteY39" fmla="*/ 3941 h 9943"/>
                <a:gd name="connsiteX40" fmla="*/ 6649 w 10000"/>
                <a:gd name="connsiteY40" fmla="*/ 3880 h 9943"/>
                <a:gd name="connsiteX41" fmla="*/ 6635 w 10000"/>
                <a:gd name="connsiteY41" fmla="*/ 3823 h 9943"/>
                <a:gd name="connsiteX42" fmla="*/ 6620 w 10000"/>
                <a:gd name="connsiteY42" fmla="*/ 3762 h 9943"/>
                <a:gd name="connsiteX43" fmla="*/ 6612 w 10000"/>
                <a:gd name="connsiteY43" fmla="*/ 3702 h 9943"/>
                <a:gd name="connsiteX44" fmla="*/ 6605 w 10000"/>
                <a:gd name="connsiteY44" fmla="*/ 3639 h 9943"/>
                <a:gd name="connsiteX45" fmla="*/ 6597 w 10000"/>
                <a:gd name="connsiteY45" fmla="*/ 3574 h 9943"/>
                <a:gd name="connsiteX46" fmla="*/ 6597 w 10000"/>
                <a:gd name="connsiteY46" fmla="*/ 3514 h 9943"/>
                <a:gd name="connsiteX47" fmla="*/ 6590 w 10000"/>
                <a:gd name="connsiteY47" fmla="*/ 3448 h 9943"/>
                <a:gd name="connsiteX48" fmla="*/ 6597 w 10000"/>
                <a:gd name="connsiteY48" fmla="*/ 3386 h 9943"/>
                <a:gd name="connsiteX49" fmla="*/ 6605 w 10000"/>
                <a:gd name="connsiteY49" fmla="*/ 3317 h 9943"/>
                <a:gd name="connsiteX50" fmla="*/ 6605 w 10000"/>
                <a:gd name="connsiteY50" fmla="*/ 3250 h 9943"/>
                <a:gd name="connsiteX51" fmla="*/ 6612 w 10000"/>
                <a:gd name="connsiteY51" fmla="*/ 3182 h 9943"/>
                <a:gd name="connsiteX52" fmla="*/ 6620 w 10000"/>
                <a:gd name="connsiteY52" fmla="*/ 3117 h 9943"/>
                <a:gd name="connsiteX53" fmla="*/ 6635 w 10000"/>
                <a:gd name="connsiteY53" fmla="*/ 3058 h 9943"/>
                <a:gd name="connsiteX54" fmla="*/ 6649 w 10000"/>
                <a:gd name="connsiteY54" fmla="*/ 2991 h 9943"/>
                <a:gd name="connsiteX55" fmla="*/ 6664 w 10000"/>
                <a:gd name="connsiteY55" fmla="*/ 2929 h 9943"/>
                <a:gd name="connsiteX56" fmla="*/ 6686 w 10000"/>
                <a:gd name="connsiteY56" fmla="*/ 2865 h 9943"/>
                <a:gd name="connsiteX57" fmla="*/ 6709 w 10000"/>
                <a:gd name="connsiteY57" fmla="*/ 2803 h 9943"/>
                <a:gd name="connsiteX58" fmla="*/ 6731 w 10000"/>
                <a:gd name="connsiteY58" fmla="*/ 2741 h 9943"/>
                <a:gd name="connsiteX59" fmla="*/ 6753 w 10000"/>
                <a:gd name="connsiteY59" fmla="*/ 2676 h 9943"/>
                <a:gd name="connsiteX60" fmla="*/ 6783 w 10000"/>
                <a:gd name="connsiteY60" fmla="*/ 2621 h 9943"/>
                <a:gd name="connsiteX61" fmla="*/ 6812 w 10000"/>
                <a:gd name="connsiteY61" fmla="*/ 2558 h 9943"/>
                <a:gd name="connsiteX62" fmla="*/ 6842 w 10000"/>
                <a:gd name="connsiteY62" fmla="*/ 2496 h 9943"/>
                <a:gd name="connsiteX63" fmla="*/ 6879 w 10000"/>
                <a:gd name="connsiteY63" fmla="*/ 2437 h 9943"/>
                <a:gd name="connsiteX64" fmla="*/ 6909 w 10000"/>
                <a:gd name="connsiteY64" fmla="*/ 2380 h 9943"/>
                <a:gd name="connsiteX65" fmla="*/ 6946 w 10000"/>
                <a:gd name="connsiteY65" fmla="*/ 2317 h 9943"/>
                <a:gd name="connsiteX66" fmla="*/ 6990 w 10000"/>
                <a:gd name="connsiteY66" fmla="*/ 2262 h 9943"/>
                <a:gd name="connsiteX67" fmla="*/ 7027 w 10000"/>
                <a:gd name="connsiteY67" fmla="*/ 2205 h 9943"/>
                <a:gd name="connsiteX68" fmla="*/ 7072 w 10000"/>
                <a:gd name="connsiteY68" fmla="*/ 2150 h 9943"/>
                <a:gd name="connsiteX69" fmla="*/ 7109 w 10000"/>
                <a:gd name="connsiteY69" fmla="*/ 2092 h 9943"/>
                <a:gd name="connsiteX70" fmla="*/ 7161 w 10000"/>
                <a:gd name="connsiteY70" fmla="*/ 2041 h 9943"/>
                <a:gd name="connsiteX71" fmla="*/ 7213 w 10000"/>
                <a:gd name="connsiteY71" fmla="*/ 1985 h 9943"/>
                <a:gd name="connsiteX72" fmla="*/ 7257 w 10000"/>
                <a:gd name="connsiteY72" fmla="*/ 1930 h 9943"/>
                <a:gd name="connsiteX73" fmla="*/ 7309 w 10000"/>
                <a:gd name="connsiteY73" fmla="*/ 1876 h 9943"/>
                <a:gd name="connsiteX74" fmla="*/ 7361 w 10000"/>
                <a:gd name="connsiteY74" fmla="*/ 1823 h 9943"/>
                <a:gd name="connsiteX75" fmla="*/ 7413 w 10000"/>
                <a:gd name="connsiteY75" fmla="*/ 1773 h 9943"/>
                <a:gd name="connsiteX76" fmla="*/ 7472 w 10000"/>
                <a:gd name="connsiteY76" fmla="*/ 1722 h 9943"/>
                <a:gd name="connsiteX77" fmla="*/ 7524 w 10000"/>
                <a:gd name="connsiteY77" fmla="*/ 1674 h 9943"/>
                <a:gd name="connsiteX78" fmla="*/ 7583 w 10000"/>
                <a:gd name="connsiteY78" fmla="*/ 1625 h 9943"/>
                <a:gd name="connsiteX79" fmla="*/ 7610 w 10000"/>
                <a:gd name="connsiteY79" fmla="*/ 1596 h 9943"/>
                <a:gd name="connsiteX80" fmla="*/ 5390 w 10000"/>
                <a:gd name="connsiteY80" fmla="*/ 6 h 9943"/>
                <a:gd name="connsiteX81" fmla="*/ 1401 w 10000"/>
                <a:gd name="connsiteY81" fmla="*/ 0 h 9943"/>
                <a:gd name="connsiteX82" fmla="*/ 1305 w 10000"/>
                <a:gd name="connsiteY82" fmla="*/ 119 h 9943"/>
                <a:gd name="connsiteX83" fmla="*/ 1223 w 10000"/>
                <a:gd name="connsiteY83" fmla="*/ 211 h 9943"/>
                <a:gd name="connsiteX84" fmla="*/ 1149 w 10000"/>
                <a:gd name="connsiteY84" fmla="*/ 309 h 9943"/>
                <a:gd name="connsiteX85" fmla="*/ 1067 w 10000"/>
                <a:gd name="connsiteY85" fmla="*/ 409 h 9943"/>
                <a:gd name="connsiteX86" fmla="*/ 1001 w 10000"/>
                <a:gd name="connsiteY86" fmla="*/ 508 h 9943"/>
                <a:gd name="connsiteX87" fmla="*/ 927 w 10000"/>
                <a:gd name="connsiteY87" fmla="*/ 607 h 9943"/>
                <a:gd name="connsiteX88" fmla="*/ 860 w 10000"/>
                <a:gd name="connsiteY88" fmla="*/ 710 h 9943"/>
                <a:gd name="connsiteX89" fmla="*/ 793 w 10000"/>
                <a:gd name="connsiteY89" fmla="*/ 815 h 9943"/>
                <a:gd name="connsiteX90" fmla="*/ 734 w 10000"/>
                <a:gd name="connsiteY90" fmla="*/ 912 h 9943"/>
                <a:gd name="connsiteX91" fmla="*/ 675 w 10000"/>
                <a:gd name="connsiteY91" fmla="*/ 1017 h 9943"/>
                <a:gd name="connsiteX92" fmla="*/ 615 w 10000"/>
                <a:gd name="connsiteY92" fmla="*/ 1119 h 9943"/>
                <a:gd name="connsiteX93" fmla="*/ 556 w 10000"/>
                <a:gd name="connsiteY93" fmla="*/ 1228 h 9943"/>
                <a:gd name="connsiteX94" fmla="*/ 504 w 10000"/>
                <a:gd name="connsiteY94" fmla="*/ 1326 h 9943"/>
                <a:gd name="connsiteX95" fmla="*/ 452 w 10000"/>
                <a:gd name="connsiteY95" fmla="*/ 1433 h 9943"/>
                <a:gd name="connsiteX96" fmla="*/ 408 w 10000"/>
                <a:gd name="connsiteY96" fmla="*/ 1538 h 9943"/>
                <a:gd name="connsiteX97" fmla="*/ 363 w 10000"/>
                <a:gd name="connsiteY97" fmla="*/ 1645 h 9943"/>
                <a:gd name="connsiteX98" fmla="*/ 319 w 10000"/>
                <a:gd name="connsiteY98" fmla="*/ 1754 h 9943"/>
                <a:gd name="connsiteX99" fmla="*/ 282 w 10000"/>
                <a:gd name="connsiteY99" fmla="*/ 1862 h 9943"/>
                <a:gd name="connsiteX100" fmla="*/ 237 w 10000"/>
                <a:gd name="connsiteY100" fmla="*/ 1976 h 9943"/>
                <a:gd name="connsiteX101" fmla="*/ 208 w 10000"/>
                <a:gd name="connsiteY101" fmla="*/ 2083 h 9943"/>
                <a:gd name="connsiteX102" fmla="*/ 170 w 10000"/>
                <a:gd name="connsiteY102" fmla="*/ 2196 h 9943"/>
                <a:gd name="connsiteX103" fmla="*/ 148 w 10000"/>
                <a:gd name="connsiteY103" fmla="*/ 2308 h 9943"/>
                <a:gd name="connsiteX104" fmla="*/ 119 w 10000"/>
                <a:gd name="connsiteY104" fmla="*/ 2417 h 9943"/>
                <a:gd name="connsiteX105" fmla="*/ 96 w 10000"/>
                <a:gd name="connsiteY105" fmla="*/ 2528 h 9943"/>
                <a:gd name="connsiteX106" fmla="*/ 74 w 10000"/>
                <a:gd name="connsiteY106" fmla="*/ 2644 h 9943"/>
                <a:gd name="connsiteX107" fmla="*/ 52 w 10000"/>
                <a:gd name="connsiteY107" fmla="*/ 2760 h 9943"/>
                <a:gd name="connsiteX108" fmla="*/ 37 w 10000"/>
                <a:gd name="connsiteY108" fmla="*/ 2874 h 9943"/>
                <a:gd name="connsiteX109" fmla="*/ 22 w 10000"/>
                <a:gd name="connsiteY109" fmla="*/ 2986 h 9943"/>
                <a:gd name="connsiteX110" fmla="*/ 15 w 10000"/>
                <a:gd name="connsiteY110" fmla="*/ 3099 h 9943"/>
                <a:gd name="connsiteX111" fmla="*/ 7 w 10000"/>
                <a:gd name="connsiteY111" fmla="*/ 3217 h 9943"/>
                <a:gd name="connsiteX112" fmla="*/ 0 w 10000"/>
                <a:gd name="connsiteY112" fmla="*/ 3330 h 9943"/>
                <a:gd name="connsiteX113" fmla="*/ 0 w 10000"/>
                <a:gd name="connsiteY113" fmla="*/ 3448 h 9943"/>
                <a:gd name="connsiteX114" fmla="*/ 7 w 10000"/>
                <a:gd name="connsiteY114" fmla="*/ 3598 h 9943"/>
                <a:gd name="connsiteX115" fmla="*/ 7 w 10000"/>
                <a:gd name="connsiteY115" fmla="*/ 3748 h 9943"/>
                <a:gd name="connsiteX116" fmla="*/ 22 w 10000"/>
                <a:gd name="connsiteY116" fmla="*/ 3890 h 9943"/>
                <a:gd name="connsiteX117" fmla="*/ 37 w 10000"/>
                <a:gd name="connsiteY117" fmla="*/ 4036 h 9943"/>
                <a:gd name="connsiteX118" fmla="*/ 59 w 10000"/>
                <a:gd name="connsiteY118" fmla="*/ 4182 h 9943"/>
                <a:gd name="connsiteX119" fmla="*/ 89 w 10000"/>
                <a:gd name="connsiteY119" fmla="*/ 4327 h 9943"/>
                <a:gd name="connsiteX120" fmla="*/ 119 w 10000"/>
                <a:gd name="connsiteY120" fmla="*/ 4472 h 9943"/>
                <a:gd name="connsiteX121" fmla="*/ 148 w 10000"/>
                <a:gd name="connsiteY121" fmla="*/ 4619 h 9943"/>
                <a:gd name="connsiteX122" fmla="*/ 193 w 10000"/>
                <a:gd name="connsiteY122" fmla="*/ 4761 h 9943"/>
                <a:gd name="connsiteX123" fmla="*/ 237 w 10000"/>
                <a:gd name="connsiteY123" fmla="*/ 4900 h 9943"/>
                <a:gd name="connsiteX124" fmla="*/ 282 w 10000"/>
                <a:gd name="connsiteY124" fmla="*/ 5042 h 9943"/>
                <a:gd name="connsiteX125" fmla="*/ 334 w 10000"/>
                <a:gd name="connsiteY125" fmla="*/ 5182 h 9943"/>
                <a:gd name="connsiteX126" fmla="*/ 393 w 10000"/>
                <a:gd name="connsiteY126" fmla="*/ 5320 h 9943"/>
                <a:gd name="connsiteX127" fmla="*/ 452 w 10000"/>
                <a:gd name="connsiteY127" fmla="*/ 5456 h 9943"/>
                <a:gd name="connsiteX128" fmla="*/ 519 w 10000"/>
                <a:gd name="connsiteY128" fmla="*/ 5592 h 9943"/>
                <a:gd name="connsiteX129" fmla="*/ 586 w 10000"/>
                <a:gd name="connsiteY129" fmla="*/ 5730 h 9943"/>
                <a:gd name="connsiteX130" fmla="*/ 660 w 10000"/>
                <a:gd name="connsiteY130" fmla="*/ 5860 h 9943"/>
                <a:gd name="connsiteX131" fmla="*/ 741 w 10000"/>
                <a:gd name="connsiteY131" fmla="*/ 5992 h 9943"/>
                <a:gd name="connsiteX132" fmla="*/ 823 w 10000"/>
                <a:gd name="connsiteY132" fmla="*/ 6128 h 9943"/>
                <a:gd name="connsiteX133" fmla="*/ 904 w 10000"/>
                <a:gd name="connsiteY133" fmla="*/ 6255 h 9943"/>
                <a:gd name="connsiteX134" fmla="*/ 993 w 10000"/>
                <a:gd name="connsiteY134" fmla="*/ 6383 h 9943"/>
                <a:gd name="connsiteX135" fmla="*/ 1090 w 10000"/>
                <a:gd name="connsiteY135" fmla="*/ 6504 h 9943"/>
                <a:gd name="connsiteX136" fmla="*/ 1186 w 10000"/>
                <a:gd name="connsiteY136" fmla="*/ 6632 h 9943"/>
                <a:gd name="connsiteX137" fmla="*/ 1290 w 10000"/>
                <a:gd name="connsiteY137" fmla="*/ 6758 h 9943"/>
                <a:gd name="connsiteX138" fmla="*/ 1386 w 10000"/>
                <a:gd name="connsiteY138" fmla="*/ 6882 h 9943"/>
                <a:gd name="connsiteX139" fmla="*/ 1497 w 10000"/>
                <a:gd name="connsiteY139" fmla="*/ 7004 h 9943"/>
                <a:gd name="connsiteX140" fmla="*/ 1609 w 10000"/>
                <a:gd name="connsiteY140" fmla="*/ 7121 h 9943"/>
                <a:gd name="connsiteX141" fmla="*/ 1727 w 10000"/>
                <a:gd name="connsiteY141" fmla="*/ 7243 h 9943"/>
                <a:gd name="connsiteX142" fmla="*/ 1846 w 10000"/>
                <a:gd name="connsiteY142" fmla="*/ 7360 h 9943"/>
                <a:gd name="connsiteX143" fmla="*/ 1964 w 10000"/>
                <a:gd name="connsiteY143" fmla="*/ 7474 h 9943"/>
                <a:gd name="connsiteX144" fmla="*/ 2090 w 10000"/>
                <a:gd name="connsiteY144" fmla="*/ 7585 h 9943"/>
                <a:gd name="connsiteX145" fmla="*/ 2224 w 10000"/>
                <a:gd name="connsiteY145" fmla="*/ 7700 h 9943"/>
                <a:gd name="connsiteX146" fmla="*/ 2350 w 10000"/>
                <a:gd name="connsiteY146" fmla="*/ 7812 h 9943"/>
                <a:gd name="connsiteX147" fmla="*/ 2491 w 10000"/>
                <a:gd name="connsiteY147" fmla="*/ 7920 h 9943"/>
                <a:gd name="connsiteX148" fmla="*/ 2617 w 10000"/>
                <a:gd name="connsiteY148" fmla="*/ 8029 h 9943"/>
                <a:gd name="connsiteX149" fmla="*/ 2765 w 10000"/>
                <a:gd name="connsiteY149" fmla="*/ 8133 h 9943"/>
                <a:gd name="connsiteX150" fmla="*/ 2906 w 10000"/>
                <a:gd name="connsiteY150" fmla="*/ 8235 h 9943"/>
                <a:gd name="connsiteX151" fmla="*/ 3054 w 10000"/>
                <a:gd name="connsiteY151" fmla="*/ 8339 h 9943"/>
                <a:gd name="connsiteX152" fmla="*/ 3210 w 10000"/>
                <a:gd name="connsiteY152" fmla="*/ 8439 h 9943"/>
                <a:gd name="connsiteX153" fmla="*/ 3358 w 10000"/>
                <a:gd name="connsiteY153" fmla="*/ 8537 h 9943"/>
                <a:gd name="connsiteX154" fmla="*/ 3514 w 10000"/>
                <a:gd name="connsiteY154" fmla="*/ 8635 h 9943"/>
                <a:gd name="connsiteX155" fmla="*/ 3677 w 10000"/>
                <a:gd name="connsiteY155" fmla="*/ 8730 h 9943"/>
                <a:gd name="connsiteX156" fmla="*/ 3840 w 10000"/>
                <a:gd name="connsiteY156" fmla="*/ 8819 h 9943"/>
                <a:gd name="connsiteX157" fmla="*/ 4010 w 10000"/>
                <a:gd name="connsiteY157" fmla="*/ 8912 h 9943"/>
                <a:gd name="connsiteX158" fmla="*/ 4181 w 10000"/>
                <a:gd name="connsiteY158" fmla="*/ 8993 h 9943"/>
                <a:gd name="connsiteX159" fmla="*/ 4351 w 10000"/>
                <a:gd name="connsiteY159" fmla="*/ 9081 h 9943"/>
                <a:gd name="connsiteX160" fmla="*/ 4522 w 10000"/>
                <a:gd name="connsiteY160" fmla="*/ 9162 h 9943"/>
                <a:gd name="connsiteX161" fmla="*/ 4700 w 10000"/>
                <a:gd name="connsiteY161" fmla="*/ 9248 h 9943"/>
                <a:gd name="connsiteX162" fmla="*/ 4878 w 10000"/>
                <a:gd name="connsiteY162" fmla="*/ 9327 h 9943"/>
                <a:gd name="connsiteX163" fmla="*/ 5063 w 10000"/>
                <a:gd name="connsiteY163" fmla="*/ 9403 h 9943"/>
                <a:gd name="connsiteX164" fmla="*/ 5248 w 10000"/>
                <a:gd name="connsiteY164" fmla="*/ 9482 h 9943"/>
                <a:gd name="connsiteX165" fmla="*/ 5426 w 10000"/>
                <a:gd name="connsiteY165" fmla="*/ 9552 h 9943"/>
                <a:gd name="connsiteX166" fmla="*/ 5619 w 10000"/>
                <a:gd name="connsiteY166" fmla="*/ 9623 h 9943"/>
                <a:gd name="connsiteX167" fmla="*/ 5812 w 10000"/>
                <a:gd name="connsiteY167" fmla="*/ 9693 h 9943"/>
                <a:gd name="connsiteX168" fmla="*/ 6004 w 10000"/>
                <a:gd name="connsiteY168" fmla="*/ 9758 h 9943"/>
                <a:gd name="connsiteX169" fmla="*/ 6205 w 10000"/>
                <a:gd name="connsiteY169" fmla="*/ 9826 h 9943"/>
                <a:gd name="connsiteX170" fmla="*/ 6397 w 10000"/>
                <a:gd name="connsiteY170" fmla="*/ 9887 h 9943"/>
                <a:gd name="connsiteX171" fmla="*/ 6605 w 10000"/>
                <a:gd name="connsiteY171" fmla="*/ 9943 h 9943"/>
                <a:gd name="connsiteX172" fmla="*/ 7539 w 10000"/>
                <a:gd name="connsiteY172" fmla="*/ 7943 h 9943"/>
                <a:gd name="connsiteX173" fmla="*/ 10000 w 10000"/>
                <a:gd name="connsiteY173" fmla="*/ 6288 h 9943"/>
                <a:gd name="connsiteX0" fmla="*/ 10000 w 10000"/>
                <a:gd name="connsiteY0" fmla="*/ 6324 h 9944"/>
                <a:gd name="connsiteX1" fmla="*/ 10000 w 10000"/>
                <a:gd name="connsiteY1" fmla="*/ 6324 h 9944"/>
                <a:gd name="connsiteX2" fmla="*/ 9911 w 10000"/>
                <a:gd name="connsiteY2" fmla="*/ 6309 h 9944"/>
                <a:gd name="connsiteX3" fmla="*/ 9815 w 10000"/>
                <a:gd name="connsiteY3" fmla="*/ 6291 h 9944"/>
                <a:gd name="connsiteX4" fmla="*/ 9726 w 10000"/>
                <a:gd name="connsiteY4" fmla="*/ 6273 h 9944"/>
                <a:gd name="connsiteX5" fmla="*/ 9637 w 10000"/>
                <a:gd name="connsiteY5" fmla="*/ 6249 h 9944"/>
                <a:gd name="connsiteX6" fmla="*/ 9548 w 10000"/>
                <a:gd name="connsiteY6" fmla="*/ 6230 h 9944"/>
                <a:gd name="connsiteX7" fmla="*/ 9466 w 10000"/>
                <a:gd name="connsiteY7" fmla="*/ 6206 h 9944"/>
                <a:gd name="connsiteX8" fmla="*/ 9377 w 10000"/>
                <a:gd name="connsiteY8" fmla="*/ 6182 h 9944"/>
                <a:gd name="connsiteX9" fmla="*/ 9288 w 10000"/>
                <a:gd name="connsiteY9" fmla="*/ 6159 h 9944"/>
                <a:gd name="connsiteX10" fmla="*/ 9118 w 10000"/>
                <a:gd name="connsiteY10" fmla="*/ 6106 h 9944"/>
                <a:gd name="connsiteX11" fmla="*/ 8955 w 10000"/>
                <a:gd name="connsiteY11" fmla="*/ 6049 h 9944"/>
                <a:gd name="connsiteX12" fmla="*/ 8792 w 10000"/>
                <a:gd name="connsiteY12" fmla="*/ 5989 h 9944"/>
                <a:gd name="connsiteX13" fmla="*/ 8636 w 10000"/>
                <a:gd name="connsiteY13" fmla="*/ 5923 h 9944"/>
                <a:gd name="connsiteX14" fmla="*/ 8480 w 10000"/>
                <a:gd name="connsiteY14" fmla="*/ 5855 h 9944"/>
                <a:gd name="connsiteX15" fmla="*/ 8340 w 10000"/>
                <a:gd name="connsiteY15" fmla="*/ 5786 h 9944"/>
                <a:gd name="connsiteX16" fmla="*/ 8199 w 10000"/>
                <a:gd name="connsiteY16" fmla="*/ 5710 h 9944"/>
                <a:gd name="connsiteX17" fmla="*/ 8058 w 10000"/>
                <a:gd name="connsiteY17" fmla="*/ 5628 h 9944"/>
                <a:gd name="connsiteX18" fmla="*/ 7924 w 10000"/>
                <a:gd name="connsiteY18" fmla="*/ 5546 h 9944"/>
                <a:gd name="connsiteX19" fmla="*/ 7798 w 10000"/>
                <a:gd name="connsiteY19" fmla="*/ 5457 h 9944"/>
                <a:gd name="connsiteX20" fmla="*/ 7672 w 10000"/>
                <a:gd name="connsiteY20" fmla="*/ 5369 h 9944"/>
                <a:gd name="connsiteX21" fmla="*/ 7554 w 10000"/>
                <a:gd name="connsiteY21" fmla="*/ 5278 h 9944"/>
                <a:gd name="connsiteX22" fmla="*/ 7450 w 10000"/>
                <a:gd name="connsiteY22" fmla="*/ 5180 h 9944"/>
                <a:gd name="connsiteX23" fmla="*/ 7346 w 10000"/>
                <a:gd name="connsiteY23" fmla="*/ 5080 h 9944"/>
                <a:gd name="connsiteX24" fmla="*/ 7250 w 10000"/>
                <a:gd name="connsiteY24" fmla="*/ 4981 h 9944"/>
                <a:gd name="connsiteX25" fmla="*/ 7161 w 10000"/>
                <a:gd name="connsiteY25" fmla="*/ 4878 h 9944"/>
                <a:gd name="connsiteX26" fmla="*/ 7072 w 10000"/>
                <a:gd name="connsiteY26" fmla="*/ 4772 h 9944"/>
                <a:gd name="connsiteX27" fmla="*/ 6990 w 10000"/>
                <a:gd name="connsiteY27" fmla="*/ 4660 h 9944"/>
                <a:gd name="connsiteX28" fmla="*/ 6953 w 10000"/>
                <a:gd name="connsiteY28" fmla="*/ 4608 h 9944"/>
                <a:gd name="connsiteX29" fmla="*/ 6916 w 10000"/>
                <a:gd name="connsiteY29" fmla="*/ 4549 h 9944"/>
                <a:gd name="connsiteX30" fmla="*/ 6887 w 10000"/>
                <a:gd name="connsiteY30" fmla="*/ 4494 h 9944"/>
                <a:gd name="connsiteX31" fmla="*/ 6850 w 10000"/>
                <a:gd name="connsiteY31" fmla="*/ 4438 h 9944"/>
                <a:gd name="connsiteX32" fmla="*/ 6820 w 10000"/>
                <a:gd name="connsiteY32" fmla="*/ 4381 h 9944"/>
                <a:gd name="connsiteX33" fmla="*/ 6790 w 10000"/>
                <a:gd name="connsiteY33" fmla="*/ 4323 h 9944"/>
                <a:gd name="connsiteX34" fmla="*/ 6768 w 10000"/>
                <a:gd name="connsiteY34" fmla="*/ 4262 h 9944"/>
                <a:gd name="connsiteX35" fmla="*/ 6738 w 10000"/>
                <a:gd name="connsiteY35" fmla="*/ 4206 h 9944"/>
                <a:gd name="connsiteX36" fmla="*/ 6723 w 10000"/>
                <a:gd name="connsiteY36" fmla="*/ 4144 h 9944"/>
                <a:gd name="connsiteX37" fmla="*/ 6694 w 10000"/>
                <a:gd name="connsiteY37" fmla="*/ 4086 h 9944"/>
                <a:gd name="connsiteX38" fmla="*/ 6679 w 10000"/>
                <a:gd name="connsiteY38" fmla="*/ 4025 h 9944"/>
                <a:gd name="connsiteX39" fmla="*/ 6664 w 10000"/>
                <a:gd name="connsiteY39" fmla="*/ 3964 h 9944"/>
                <a:gd name="connsiteX40" fmla="*/ 6649 w 10000"/>
                <a:gd name="connsiteY40" fmla="*/ 3902 h 9944"/>
                <a:gd name="connsiteX41" fmla="*/ 6635 w 10000"/>
                <a:gd name="connsiteY41" fmla="*/ 3845 h 9944"/>
                <a:gd name="connsiteX42" fmla="*/ 6620 w 10000"/>
                <a:gd name="connsiteY42" fmla="*/ 3784 h 9944"/>
                <a:gd name="connsiteX43" fmla="*/ 6612 w 10000"/>
                <a:gd name="connsiteY43" fmla="*/ 3723 h 9944"/>
                <a:gd name="connsiteX44" fmla="*/ 6605 w 10000"/>
                <a:gd name="connsiteY44" fmla="*/ 3660 h 9944"/>
                <a:gd name="connsiteX45" fmla="*/ 6597 w 10000"/>
                <a:gd name="connsiteY45" fmla="*/ 3594 h 9944"/>
                <a:gd name="connsiteX46" fmla="*/ 6597 w 10000"/>
                <a:gd name="connsiteY46" fmla="*/ 3534 h 9944"/>
                <a:gd name="connsiteX47" fmla="*/ 6590 w 10000"/>
                <a:gd name="connsiteY47" fmla="*/ 3468 h 9944"/>
                <a:gd name="connsiteX48" fmla="*/ 6597 w 10000"/>
                <a:gd name="connsiteY48" fmla="*/ 3405 h 9944"/>
                <a:gd name="connsiteX49" fmla="*/ 6605 w 10000"/>
                <a:gd name="connsiteY49" fmla="*/ 3336 h 9944"/>
                <a:gd name="connsiteX50" fmla="*/ 6605 w 10000"/>
                <a:gd name="connsiteY50" fmla="*/ 3269 h 9944"/>
                <a:gd name="connsiteX51" fmla="*/ 6612 w 10000"/>
                <a:gd name="connsiteY51" fmla="*/ 3200 h 9944"/>
                <a:gd name="connsiteX52" fmla="*/ 6620 w 10000"/>
                <a:gd name="connsiteY52" fmla="*/ 3135 h 9944"/>
                <a:gd name="connsiteX53" fmla="*/ 6635 w 10000"/>
                <a:gd name="connsiteY53" fmla="*/ 3076 h 9944"/>
                <a:gd name="connsiteX54" fmla="*/ 6649 w 10000"/>
                <a:gd name="connsiteY54" fmla="*/ 3008 h 9944"/>
                <a:gd name="connsiteX55" fmla="*/ 6664 w 10000"/>
                <a:gd name="connsiteY55" fmla="*/ 2946 h 9944"/>
                <a:gd name="connsiteX56" fmla="*/ 6686 w 10000"/>
                <a:gd name="connsiteY56" fmla="*/ 2881 h 9944"/>
                <a:gd name="connsiteX57" fmla="*/ 6709 w 10000"/>
                <a:gd name="connsiteY57" fmla="*/ 2819 h 9944"/>
                <a:gd name="connsiteX58" fmla="*/ 6731 w 10000"/>
                <a:gd name="connsiteY58" fmla="*/ 2757 h 9944"/>
                <a:gd name="connsiteX59" fmla="*/ 6753 w 10000"/>
                <a:gd name="connsiteY59" fmla="*/ 2691 h 9944"/>
                <a:gd name="connsiteX60" fmla="*/ 6783 w 10000"/>
                <a:gd name="connsiteY60" fmla="*/ 2636 h 9944"/>
                <a:gd name="connsiteX61" fmla="*/ 6812 w 10000"/>
                <a:gd name="connsiteY61" fmla="*/ 2573 h 9944"/>
                <a:gd name="connsiteX62" fmla="*/ 6842 w 10000"/>
                <a:gd name="connsiteY62" fmla="*/ 2510 h 9944"/>
                <a:gd name="connsiteX63" fmla="*/ 6879 w 10000"/>
                <a:gd name="connsiteY63" fmla="*/ 2451 h 9944"/>
                <a:gd name="connsiteX64" fmla="*/ 6909 w 10000"/>
                <a:gd name="connsiteY64" fmla="*/ 2394 h 9944"/>
                <a:gd name="connsiteX65" fmla="*/ 6946 w 10000"/>
                <a:gd name="connsiteY65" fmla="*/ 2330 h 9944"/>
                <a:gd name="connsiteX66" fmla="*/ 6990 w 10000"/>
                <a:gd name="connsiteY66" fmla="*/ 2275 h 9944"/>
                <a:gd name="connsiteX67" fmla="*/ 7027 w 10000"/>
                <a:gd name="connsiteY67" fmla="*/ 2218 h 9944"/>
                <a:gd name="connsiteX68" fmla="*/ 7072 w 10000"/>
                <a:gd name="connsiteY68" fmla="*/ 2162 h 9944"/>
                <a:gd name="connsiteX69" fmla="*/ 7109 w 10000"/>
                <a:gd name="connsiteY69" fmla="*/ 2104 h 9944"/>
                <a:gd name="connsiteX70" fmla="*/ 7161 w 10000"/>
                <a:gd name="connsiteY70" fmla="*/ 2053 h 9944"/>
                <a:gd name="connsiteX71" fmla="*/ 7213 w 10000"/>
                <a:gd name="connsiteY71" fmla="*/ 1996 h 9944"/>
                <a:gd name="connsiteX72" fmla="*/ 7257 w 10000"/>
                <a:gd name="connsiteY72" fmla="*/ 1941 h 9944"/>
                <a:gd name="connsiteX73" fmla="*/ 7309 w 10000"/>
                <a:gd name="connsiteY73" fmla="*/ 1887 h 9944"/>
                <a:gd name="connsiteX74" fmla="*/ 7361 w 10000"/>
                <a:gd name="connsiteY74" fmla="*/ 1833 h 9944"/>
                <a:gd name="connsiteX75" fmla="*/ 7413 w 10000"/>
                <a:gd name="connsiteY75" fmla="*/ 1783 h 9944"/>
                <a:gd name="connsiteX76" fmla="*/ 7472 w 10000"/>
                <a:gd name="connsiteY76" fmla="*/ 1732 h 9944"/>
                <a:gd name="connsiteX77" fmla="*/ 7524 w 10000"/>
                <a:gd name="connsiteY77" fmla="*/ 1684 h 9944"/>
                <a:gd name="connsiteX78" fmla="*/ 7583 w 10000"/>
                <a:gd name="connsiteY78" fmla="*/ 1634 h 9944"/>
                <a:gd name="connsiteX79" fmla="*/ 7610 w 10000"/>
                <a:gd name="connsiteY79" fmla="*/ 1605 h 9944"/>
                <a:gd name="connsiteX80" fmla="*/ 5390 w 10000"/>
                <a:gd name="connsiteY80" fmla="*/ 6 h 9944"/>
                <a:gd name="connsiteX81" fmla="*/ 1401 w 10000"/>
                <a:gd name="connsiteY81" fmla="*/ 0 h 9944"/>
                <a:gd name="connsiteX82" fmla="*/ 1305 w 10000"/>
                <a:gd name="connsiteY82" fmla="*/ 120 h 9944"/>
                <a:gd name="connsiteX83" fmla="*/ 1223 w 10000"/>
                <a:gd name="connsiteY83" fmla="*/ 212 h 9944"/>
                <a:gd name="connsiteX84" fmla="*/ 1149 w 10000"/>
                <a:gd name="connsiteY84" fmla="*/ 311 h 9944"/>
                <a:gd name="connsiteX85" fmla="*/ 1067 w 10000"/>
                <a:gd name="connsiteY85" fmla="*/ 411 h 9944"/>
                <a:gd name="connsiteX86" fmla="*/ 1001 w 10000"/>
                <a:gd name="connsiteY86" fmla="*/ 511 h 9944"/>
                <a:gd name="connsiteX87" fmla="*/ 927 w 10000"/>
                <a:gd name="connsiteY87" fmla="*/ 610 h 9944"/>
                <a:gd name="connsiteX88" fmla="*/ 860 w 10000"/>
                <a:gd name="connsiteY88" fmla="*/ 714 h 9944"/>
                <a:gd name="connsiteX89" fmla="*/ 793 w 10000"/>
                <a:gd name="connsiteY89" fmla="*/ 820 h 9944"/>
                <a:gd name="connsiteX90" fmla="*/ 734 w 10000"/>
                <a:gd name="connsiteY90" fmla="*/ 917 h 9944"/>
                <a:gd name="connsiteX91" fmla="*/ 675 w 10000"/>
                <a:gd name="connsiteY91" fmla="*/ 1023 h 9944"/>
                <a:gd name="connsiteX92" fmla="*/ 615 w 10000"/>
                <a:gd name="connsiteY92" fmla="*/ 1125 h 9944"/>
                <a:gd name="connsiteX93" fmla="*/ 556 w 10000"/>
                <a:gd name="connsiteY93" fmla="*/ 1235 h 9944"/>
                <a:gd name="connsiteX94" fmla="*/ 504 w 10000"/>
                <a:gd name="connsiteY94" fmla="*/ 1334 h 9944"/>
                <a:gd name="connsiteX95" fmla="*/ 452 w 10000"/>
                <a:gd name="connsiteY95" fmla="*/ 1441 h 9944"/>
                <a:gd name="connsiteX96" fmla="*/ 408 w 10000"/>
                <a:gd name="connsiteY96" fmla="*/ 1547 h 9944"/>
                <a:gd name="connsiteX97" fmla="*/ 363 w 10000"/>
                <a:gd name="connsiteY97" fmla="*/ 1654 h 9944"/>
                <a:gd name="connsiteX98" fmla="*/ 319 w 10000"/>
                <a:gd name="connsiteY98" fmla="*/ 1764 h 9944"/>
                <a:gd name="connsiteX99" fmla="*/ 282 w 10000"/>
                <a:gd name="connsiteY99" fmla="*/ 1873 h 9944"/>
                <a:gd name="connsiteX100" fmla="*/ 237 w 10000"/>
                <a:gd name="connsiteY100" fmla="*/ 1987 h 9944"/>
                <a:gd name="connsiteX101" fmla="*/ 208 w 10000"/>
                <a:gd name="connsiteY101" fmla="*/ 2095 h 9944"/>
                <a:gd name="connsiteX102" fmla="*/ 170 w 10000"/>
                <a:gd name="connsiteY102" fmla="*/ 2209 h 9944"/>
                <a:gd name="connsiteX103" fmla="*/ 148 w 10000"/>
                <a:gd name="connsiteY103" fmla="*/ 2321 h 9944"/>
                <a:gd name="connsiteX104" fmla="*/ 119 w 10000"/>
                <a:gd name="connsiteY104" fmla="*/ 2431 h 9944"/>
                <a:gd name="connsiteX105" fmla="*/ 96 w 10000"/>
                <a:gd name="connsiteY105" fmla="*/ 2542 h 9944"/>
                <a:gd name="connsiteX106" fmla="*/ 74 w 10000"/>
                <a:gd name="connsiteY106" fmla="*/ 2659 h 9944"/>
                <a:gd name="connsiteX107" fmla="*/ 52 w 10000"/>
                <a:gd name="connsiteY107" fmla="*/ 2776 h 9944"/>
                <a:gd name="connsiteX108" fmla="*/ 37 w 10000"/>
                <a:gd name="connsiteY108" fmla="*/ 2890 h 9944"/>
                <a:gd name="connsiteX109" fmla="*/ 22 w 10000"/>
                <a:gd name="connsiteY109" fmla="*/ 3003 h 9944"/>
                <a:gd name="connsiteX110" fmla="*/ 15 w 10000"/>
                <a:gd name="connsiteY110" fmla="*/ 3117 h 9944"/>
                <a:gd name="connsiteX111" fmla="*/ 7 w 10000"/>
                <a:gd name="connsiteY111" fmla="*/ 3235 h 9944"/>
                <a:gd name="connsiteX112" fmla="*/ 0 w 10000"/>
                <a:gd name="connsiteY112" fmla="*/ 3349 h 9944"/>
                <a:gd name="connsiteX113" fmla="*/ 0 w 10000"/>
                <a:gd name="connsiteY113" fmla="*/ 3468 h 9944"/>
                <a:gd name="connsiteX114" fmla="*/ 7 w 10000"/>
                <a:gd name="connsiteY114" fmla="*/ 3619 h 9944"/>
                <a:gd name="connsiteX115" fmla="*/ 7 w 10000"/>
                <a:gd name="connsiteY115" fmla="*/ 3769 h 9944"/>
                <a:gd name="connsiteX116" fmla="*/ 22 w 10000"/>
                <a:gd name="connsiteY116" fmla="*/ 3912 h 9944"/>
                <a:gd name="connsiteX117" fmla="*/ 37 w 10000"/>
                <a:gd name="connsiteY117" fmla="*/ 4059 h 9944"/>
                <a:gd name="connsiteX118" fmla="*/ 59 w 10000"/>
                <a:gd name="connsiteY118" fmla="*/ 4206 h 9944"/>
                <a:gd name="connsiteX119" fmla="*/ 89 w 10000"/>
                <a:gd name="connsiteY119" fmla="*/ 4352 h 9944"/>
                <a:gd name="connsiteX120" fmla="*/ 119 w 10000"/>
                <a:gd name="connsiteY120" fmla="*/ 4498 h 9944"/>
                <a:gd name="connsiteX121" fmla="*/ 148 w 10000"/>
                <a:gd name="connsiteY121" fmla="*/ 4645 h 9944"/>
                <a:gd name="connsiteX122" fmla="*/ 193 w 10000"/>
                <a:gd name="connsiteY122" fmla="*/ 4788 h 9944"/>
                <a:gd name="connsiteX123" fmla="*/ 237 w 10000"/>
                <a:gd name="connsiteY123" fmla="*/ 4928 h 9944"/>
                <a:gd name="connsiteX124" fmla="*/ 282 w 10000"/>
                <a:gd name="connsiteY124" fmla="*/ 5071 h 9944"/>
                <a:gd name="connsiteX125" fmla="*/ 334 w 10000"/>
                <a:gd name="connsiteY125" fmla="*/ 5212 h 9944"/>
                <a:gd name="connsiteX126" fmla="*/ 393 w 10000"/>
                <a:gd name="connsiteY126" fmla="*/ 5350 h 9944"/>
                <a:gd name="connsiteX127" fmla="*/ 452 w 10000"/>
                <a:gd name="connsiteY127" fmla="*/ 5487 h 9944"/>
                <a:gd name="connsiteX128" fmla="*/ 519 w 10000"/>
                <a:gd name="connsiteY128" fmla="*/ 5624 h 9944"/>
                <a:gd name="connsiteX129" fmla="*/ 586 w 10000"/>
                <a:gd name="connsiteY129" fmla="*/ 5763 h 9944"/>
                <a:gd name="connsiteX130" fmla="*/ 660 w 10000"/>
                <a:gd name="connsiteY130" fmla="*/ 5894 h 9944"/>
                <a:gd name="connsiteX131" fmla="*/ 741 w 10000"/>
                <a:gd name="connsiteY131" fmla="*/ 6026 h 9944"/>
                <a:gd name="connsiteX132" fmla="*/ 823 w 10000"/>
                <a:gd name="connsiteY132" fmla="*/ 6163 h 9944"/>
                <a:gd name="connsiteX133" fmla="*/ 904 w 10000"/>
                <a:gd name="connsiteY133" fmla="*/ 6291 h 9944"/>
                <a:gd name="connsiteX134" fmla="*/ 993 w 10000"/>
                <a:gd name="connsiteY134" fmla="*/ 6420 h 9944"/>
                <a:gd name="connsiteX135" fmla="*/ 1090 w 10000"/>
                <a:gd name="connsiteY135" fmla="*/ 6541 h 9944"/>
                <a:gd name="connsiteX136" fmla="*/ 1186 w 10000"/>
                <a:gd name="connsiteY136" fmla="*/ 6670 h 9944"/>
                <a:gd name="connsiteX137" fmla="*/ 1290 w 10000"/>
                <a:gd name="connsiteY137" fmla="*/ 6797 h 9944"/>
                <a:gd name="connsiteX138" fmla="*/ 1386 w 10000"/>
                <a:gd name="connsiteY138" fmla="*/ 6921 h 9944"/>
                <a:gd name="connsiteX139" fmla="*/ 1497 w 10000"/>
                <a:gd name="connsiteY139" fmla="*/ 7044 h 9944"/>
                <a:gd name="connsiteX140" fmla="*/ 1609 w 10000"/>
                <a:gd name="connsiteY140" fmla="*/ 7162 h 9944"/>
                <a:gd name="connsiteX141" fmla="*/ 1727 w 10000"/>
                <a:gd name="connsiteY141" fmla="*/ 7285 h 9944"/>
                <a:gd name="connsiteX142" fmla="*/ 1846 w 10000"/>
                <a:gd name="connsiteY142" fmla="*/ 7402 h 9944"/>
                <a:gd name="connsiteX143" fmla="*/ 1964 w 10000"/>
                <a:gd name="connsiteY143" fmla="*/ 7517 h 9944"/>
                <a:gd name="connsiteX144" fmla="*/ 2090 w 10000"/>
                <a:gd name="connsiteY144" fmla="*/ 7628 h 9944"/>
                <a:gd name="connsiteX145" fmla="*/ 2224 w 10000"/>
                <a:gd name="connsiteY145" fmla="*/ 7744 h 9944"/>
                <a:gd name="connsiteX146" fmla="*/ 2350 w 10000"/>
                <a:gd name="connsiteY146" fmla="*/ 7857 h 9944"/>
                <a:gd name="connsiteX147" fmla="*/ 2491 w 10000"/>
                <a:gd name="connsiteY147" fmla="*/ 7965 h 9944"/>
                <a:gd name="connsiteX148" fmla="*/ 2617 w 10000"/>
                <a:gd name="connsiteY148" fmla="*/ 8075 h 9944"/>
                <a:gd name="connsiteX149" fmla="*/ 2765 w 10000"/>
                <a:gd name="connsiteY149" fmla="*/ 8180 h 9944"/>
                <a:gd name="connsiteX150" fmla="*/ 2906 w 10000"/>
                <a:gd name="connsiteY150" fmla="*/ 8282 h 9944"/>
                <a:gd name="connsiteX151" fmla="*/ 3054 w 10000"/>
                <a:gd name="connsiteY151" fmla="*/ 8387 h 9944"/>
                <a:gd name="connsiteX152" fmla="*/ 3210 w 10000"/>
                <a:gd name="connsiteY152" fmla="*/ 8487 h 9944"/>
                <a:gd name="connsiteX153" fmla="*/ 3358 w 10000"/>
                <a:gd name="connsiteY153" fmla="*/ 8586 h 9944"/>
                <a:gd name="connsiteX154" fmla="*/ 3514 w 10000"/>
                <a:gd name="connsiteY154" fmla="*/ 8685 h 9944"/>
                <a:gd name="connsiteX155" fmla="*/ 3677 w 10000"/>
                <a:gd name="connsiteY155" fmla="*/ 8780 h 9944"/>
                <a:gd name="connsiteX156" fmla="*/ 3840 w 10000"/>
                <a:gd name="connsiteY156" fmla="*/ 8870 h 9944"/>
                <a:gd name="connsiteX157" fmla="*/ 4010 w 10000"/>
                <a:gd name="connsiteY157" fmla="*/ 8963 h 9944"/>
                <a:gd name="connsiteX158" fmla="*/ 4181 w 10000"/>
                <a:gd name="connsiteY158" fmla="*/ 9045 h 9944"/>
                <a:gd name="connsiteX159" fmla="*/ 4351 w 10000"/>
                <a:gd name="connsiteY159" fmla="*/ 9133 h 9944"/>
                <a:gd name="connsiteX160" fmla="*/ 4522 w 10000"/>
                <a:gd name="connsiteY160" fmla="*/ 9215 h 9944"/>
                <a:gd name="connsiteX161" fmla="*/ 4700 w 10000"/>
                <a:gd name="connsiteY161" fmla="*/ 9301 h 9944"/>
                <a:gd name="connsiteX162" fmla="*/ 4878 w 10000"/>
                <a:gd name="connsiteY162" fmla="*/ 9380 h 9944"/>
                <a:gd name="connsiteX163" fmla="*/ 5063 w 10000"/>
                <a:gd name="connsiteY163" fmla="*/ 9457 h 9944"/>
                <a:gd name="connsiteX164" fmla="*/ 5248 w 10000"/>
                <a:gd name="connsiteY164" fmla="*/ 9536 h 9944"/>
                <a:gd name="connsiteX165" fmla="*/ 5426 w 10000"/>
                <a:gd name="connsiteY165" fmla="*/ 9607 h 9944"/>
                <a:gd name="connsiteX166" fmla="*/ 5619 w 10000"/>
                <a:gd name="connsiteY166" fmla="*/ 9678 h 9944"/>
                <a:gd name="connsiteX167" fmla="*/ 5812 w 10000"/>
                <a:gd name="connsiteY167" fmla="*/ 9749 h 9944"/>
                <a:gd name="connsiteX168" fmla="*/ 6004 w 10000"/>
                <a:gd name="connsiteY168" fmla="*/ 9814 h 9944"/>
                <a:gd name="connsiteX169" fmla="*/ 6205 w 10000"/>
                <a:gd name="connsiteY169" fmla="*/ 9882 h 9944"/>
                <a:gd name="connsiteX170" fmla="*/ 6397 w 10000"/>
                <a:gd name="connsiteY170" fmla="*/ 9944 h 9944"/>
                <a:gd name="connsiteX171" fmla="*/ 7539 w 10000"/>
                <a:gd name="connsiteY171" fmla="*/ 7989 h 9944"/>
                <a:gd name="connsiteX172" fmla="*/ 10000 w 10000"/>
                <a:gd name="connsiteY172" fmla="*/ 6324 h 9944"/>
                <a:gd name="connsiteX0" fmla="*/ 10000 w 10000"/>
                <a:gd name="connsiteY0" fmla="*/ 6360 h 10000"/>
                <a:gd name="connsiteX1" fmla="*/ 10000 w 10000"/>
                <a:gd name="connsiteY1" fmla="*/ 6360 h 10000"/>
                <a:gd name="connsiteX2" fmla="*/ 9911 w 10000"/>
                <a:gd name="connsiteY2" fmla="*/ 6345 h 10000"/>
                <a:gd name="connsiteX3" fmla="*/ 9815 w 10000"/>
                <a:gd name="connsiteY3" fmla="*/ 6326 h 10000"/>
                <a:gd name="connsiteX4" fmla="*/ 9726 w 10000"/>
                <a:gd name="connsiteY4" fmla="*/ 6308 h 10000"/>
                <a:gd name="connsiteX5" fmla="*/ 9637 w 10000"/>
                <a:gd name="connsiteY5" fmla="*/ 6284 h 10000"/>
                <a:gd name="connsiteX6" fmla="*/ 9548 w 10000"/>
                <a:gd name="connsiteY6" fmla="*/ 6265 h 10000"/>
                <a:gd name="connsiteX7" fmla="*/ 9466 w 10000"/>
                <a:gd name="connsiteY7" fmla="*/ 6241 h 10000"/>
                <a:gd name="connsiteX8" fmla="*/ 9377 w 10000"/>
                <a:gd name="connsiteY8" fmla="*/ 6217 h 10000"/>
                <a:gd name="connsiteX9" fmla="*/ 9288 w 10000"/>
                <a:gd name="connsiteY9" fmla="*/ 6194 h 10000"/>
                <a:gd name="connsiteX10" fmla="*/ 9118 w 10000"/>
                <a:gd name="connsiteY10" fmla="*/ 6140 h 10000"/>
                <a:gd name="connsiteX11" fmla="*/ 8955 w 10000"/>
                <a:gd name="connsiteY11" fmla="*/ 6083 h 10000"/>
                <a:gd name="connsiteX12" fmla="*/ 8792 w 10000"/>
                <a:gd name="connsiteY12" fmla="*/ 6023 h 10000"/>
                <a:gd name="connsiteX13" fmla="*/ 8636 w 10000"/>
                <a:gd name="connsiteY13" fmla="*/ 5956 h 10000"/>
                <a:gd name="connsiteX14" fmla="*/ 8480 w 10000"/>
                <a:gd name="connsiteY14" fmla="*/ 5888 h 10000"/>
                <a:gd name="connsiteX15" fmla="*/ 8340 w 10000"/>
                <a:gd name="connsiteY15" fmla="*/ 5819 h 10000"/>
                <a:gd name="connsiteX16" fmla="*/ 8199 w 10000"/>
                <a:gd name="connsiteY16" fmla="*/ 5742 h 10000"/>
                <a:gd name="connsiteX17" fmla="*/ 8058 w 10000"/>
                <a:gd name="connsiteY17" fmla="*/ 5660 h 10000"/>
                <a:gd name="connsiteX18" fmla="*/ 7924 w 10000"/>
                <a:gd name="connsiteY18" fmla="*/ 5577 h 10000"/>
                <a:gd name="connsiteX19" fmla="*/ 7798 w 10000"/>
                <a:gd name="connsiteY19" fmla="*/ 5488 h 10000"/>
                <a:gd name="connsiteX20" fmla="*/ 7672 w 10000"/>
                <a:gd name="connsiteY20" fmla="*/ 5399 h 10000"/>
                <a:gd name="connsiteX21" fmla="*/ 7554 w 10000"/>
                <a:gd name="connsiteY21" fmla="*/ 5308 h 10000"/>
                <a:gd name="connsiteX22" fmla="*/ 7450 w 10000"/>
                <a:gd name="connsiteY22" fmla="*/ 5209 h 10000"/>
                <a:gd name="connsiteX23" fmla="*/ 7346 w 10000"/>
                <a:gd name="connsiteY23" fmla="*/ 5109 h 10000"/>
                <a:gd name="connsiteX24" fmla="*/ 7250 w 10000"/>
                <a:gd name="connsiteY24" fmla="*/ 5009 h 10000"/>
                <a:gd name="connsiteX25" fmla="*/ 7161 w 10000"/>
                <a:gd name="connsiteY25" fmla="*/ 4905 h 10000"/>
                <a:gd name="connsiteX26" fmla="*/ 7072 w 10000"/>
                <a:gd name="connsiteY26" fmla="*/ 4799 h 10000"/>
                <a:gd name="connsiteX27" fmla="*/ 6990 w 10000"/>
                <a:gd name="connsiteY27" fmla="*/ 4686 h 10000"/>
                <a:gd name="connsiteX28" fmla="*/ 6953 w 10000"/>
                <a:gd name="connsiteY28" fmla="*/ 4634 h 10000"/>
                <a:gd name="connsiteX29" fmla="*/ 6916 w 10000"/>
                <a:gd name="connsiteY29" fmla="*/ 4575 h 10000"/>
                <a:gd name="connsiteX30" fmla="*/ 6887 w 10000"/>
                <a:gd name="connsiteY30" fmla="*/ 4519 h 10000"/>
                <a:gd name="connsiteX31" fmla="*/ 6850 w 10000"/>
                <a:gd name="connsiteY31" fmla="*/ 4463 h 10000"/>
                <a:gd name="connsiteX32" fmla="*/ 6820 w 10000"/>
                <a:gd name="connsiteY32" fmla="*/ 4406 h 10000"/>
                <a:gd name="connsiteX33" fmla="*/ 6790 w 10000"/>
                <a:gd name="connsiteY33" fmla="*/ 4347 h 10000"/>
                <a:gd name="connsiteX34" fmla="*/ 6768 w 10000"/>
                <a:gd name="connsiteY34" fmla="*/ 4286 h 10000"/>
                <a:gd name="connsiteX35" fmla="*/ 6738 w 10000"/>
                <a:gd name="connsiteY35" fmla="*/ 4230 h 10000"/>
                <a:gd name="connsiteX36" fmla="*/ 6723 w 10000"/>
                <a:gd name="connsiteY36" fmla="*/ 4167 h 10000"/>
                <a:gd name="connsiteX37" fmla="*/ 6694 w 10000"/>
                <a:gd name="connsiteY37" fmla="*/ 4109 h 10000"/>
                <a:gd name="connsiteX38" fmla="*/ 6679 w 10000"/>
                <a:gd name="connsiteY38" fmla="*/ 4048 h 10000"/>
                <a:gd name="connsiteX39" fmla="*/ 6664 w 10000"/>
                <a:gd name="connsiteY39" fmla="*/ 3986 h 10000"/>
                <a:gd name="connsiteX40" fmla="*/ 6649 w 10000"/>
                <a:gd name="connsiteY40" fmla="*/ 3924 h 10000"/>
                <a:gd name="connsiteX41" fmla="*/ 6635 w 10000"/>
                <a:gd name="connsiteY41" fmla="*/ 3867 h 10000"/>
                <a:gd name="connsiteX42" fmla="*/ 6620 w 10000"/>
                <a:gd name="connsiteY42" fmla="*/ 3805 h 10000"/>
                <a:gd name="connsiteX43" fmla="*/ 6612 w 10000"/>
                <a:gd name="connsiteY43" fmla="*/ 3744 h 10000"/>
                <a:gd name="connsiteX44" fmla="*/ 6605 w 10000"/>
                <a:gd name="connsiteY44" fmla="*/ 3681 h 10000"/>
                <a:gd name="connsiteX45" fmla="*/ 6597 w 10000"/>
                <a:gd name="connsiteY45" fmla="*/ 3614 h 10000"/>
                <a:gd name="connsiteX46" fmla="*/ 6597 w 10000"/>
                <a:gd name="connsiteY46" fmla="*/ 3554 h 10000"/>
                <a:gd name="connsiteX47" fmla="*/ 6590 w 10000"/>
                <a:gd name="connsiteY47" fmla="*/ 3488 h 10000"/>
                <a:gd name="connsiteX48" fmla="*/ 6597 w 10000"/>
                <a:gd name="connsiteY48" fmla="*/ 3424 h 10000"/>
                <a:gd name="connsiteX49" fmla="*/ 6605 w 10000"/>
                <a:gd name="connsiteY49" fmla="*/ 3355 h 10000"/>
                <a:gd name="connsiteX50" fmla="*/ 6605 w 10000"/>
                <a:gd name="connsiteY50" fmla="*/ 3287 h 10000"/>
                <a:gd name="connsiteX51" fmla="*/ 6612 w 10000"/>
                <a:gd name="connsiteY51" fmla="*/ 3218 h 10000"/>
                <a:gd name="connsiteX52" fmla="*/ 6620 w 10000"/>
                <a:gd name="connsiteY52" fmla="*/ 3153 h 10000"/>
                <a:gd name="connsiteX53" fmla="*/ 6635 w 10000"/>
                <a:gd name="connsiteY53" fmla="*/ 3093 h 10000"/>
                <a:gd name="connsiteX54" fmla="*/ 6649 w 10000"/>
                <a:gd name="connsiteY54" fmla="*/ 3025 h 10000"/>
                <a:gd name="connsiteX55" fmla="*/ 6664 w 10000"/>
                <a:gd name="connsiteY55" fmla="*/ 2963 h 10000"/>
                <a:gd name="connsiteX56" fmla="*/ 6686 w 10000"/>
                <a:gd name="connsiteY56" fmla="*/ 2897 h 10000"/>
                <a:gd name="connsiteX57" fmla="*/ 6709 w 10000"/>
                <a:gd name="connsiteY57" fmla="*/ 2835 h 10000"/>
                <a:gd name="connsiteX58" fmla="*/ 6731 w 10000"/>
                <a:gd name="connsiteY58" fmla="*/ 2773 h 10000"/>
                <a:gd name="connsiteX59" fmla="*/ 6753 w 10000"/>
                <a:gd name="connsiteY59" fmla="*/ 2706 h 10000"/>
                <a:gd name="connsiteX60" fmla="*/ 6783 w 10000"/>
                <a:gd name="connsiteY60" fmla="*/ 2651 h 10000"/>
                <a:gd name="connsiteX61" fmla="*/ 6812 w 10000"/>
                <a:gd name="connsiteY61" fmla="*/ 2587 h 10000"/>
                <a:gd name="connsiteX62" fmla="*/ 6842 w 10000"/>
                <a:gd name="connsiteY62" fmla="*/ 2524 h 10000"/>
                <a:gd name="connsiteX63" fmla="*/ 6879 w 10000"/>
                <a:gd name="connsiteY63" fmla="*/ 2465 h 10000"/>
                <a:gd name="connsiteX64" fmla="*/ 6909 w 10000"/>
                <a:gd name="connsiteY64" fmla="*/ 2407 h 10000"/>
                <a:gd name="connsiteX65" fmla="*/ 6946 w 10000"/>
                <a:gd name="connsiteY65" fmla="*/ 2343 h 10000"/>
                <a:gd name="connsiteX66" fmla="*/ 6990 w 10000"/>
                <a:gd name="connsiteY66" fmla="*/ 2288 h 10000"/>
                <a:gd name="connsiteX67" fmla="*/ 7027 w 10000"/>
                <a:gd name="connsiteY67" fmla="*/ 2230 h 10000"/>
                <a:gd name="connsiteX68" fmla="*/ 7072 w 10000"/>
                <a:gd name="connsiteY68" fmla="*/ 2174 h 10000"/>
                <a:gd name="connsiteX69" fmla="*/ 7109 w 10000"/>
                <a:gd name="connsiteY69" fmla="*/ 2116 h 10000"/>
                <a:gd name="connsiteX70" fmla="*/ 7161 w 10000"/>
                <a:gd name="connsiteY70" fmla="*/ 2065 h 10000"/>
                <a:gd name="connsiteX71" fmla="*/ 7213 w 10000"/>
                <a:gd name="connsiteY71" fmla="*/ 2007 h 10000"/>
                <a:gd name="connsiteX72" fmla="*/ 7257 w 10000"/>
                <a:gd name="connsiteY72" fmla="*/ 1952 h 10000"/>
                <a:gd name="connsiteX73" fmla="*/ 7309 w 10000"/>
                <a:gd name="connsiteY73" fmla="*/ 1898 h 10000"/>
                <a:gd name="connsiteX74" fmla="*/ 7361 w 10000"/>
                <a:gd name="connsiteY74" fmla="*/ 1843 h 10000"/>
                <a:gd name="connsiteX75" fmla="*/ 7413 w 10000"/>
                <a:gd name="connsiteY75" fmla="*/ 1793 h 10000"/>
                <a:gd name="connsiteX76" fmla="*/ 7472 w 10000"/>
                <a:gd name="connsiteY76" fmla="*/ 1742 h 10000"/>
                <a:gd name="connsiteX77" fmla="*/ 7524 w 10000"/>
                <a:gd name="connsiteY77" fmla="*/ 1693 h 10000"/>
                <a:gd name="connsiteX78" fmla="*/ 7583 w 10000"/>
                <a:gd name="connsiteY78" fmla="*/ 1643 h 10000"/>
                <a:gd name="connsiteX79" fmla="*/ 7610 w 10000"/>
                <a:gd name="connsiteY79" fmla="*/ 1614 h 10000"/>
                <a:gd name="connsiteX80" fmla="*/ 5390 w 10000"/>
                <a:gd name="connsiteY80" fmla="*/ 6 h 10000"/>
                <a:gd name="connsiteX81" fmla="*/ 1401 w 10000"/>
                <a:gd name="connsiteY81" fmla="*/ 0 h 10000"/>
                <a:gd name="connsiteX82" fmla="*/ 1305 w 10000"/>
                <a:gd name="connsiteY82" fmla="*/ 121 h 10000"/>
                <a:gd name="connsiteX83" fmla="*/ 1223 w 10000"/>
                <a:gd name="connsiteY83" fmla="*/ 213 h 10000"/>
                <a:gd name="connsiteX84" fmla="*/ 1149 w 10000"/>
                <a:gd name="connsiteY84" fmla="*/ 313 h 10000"/>
                <a:gd name="connsiteX85" fmla="*/ 1067 w 10000"/>
                <a:gd name="connsiteY85" fmla="*/ 413 h 10000"/>
                <a:gd name="connsiteX86" fmla="*/ 1001 w 10000"/>
                <a:gd name="connsiteY86" fmla="*/ 514 h 10000"/>
                <a:gd name="connsiteX87" fmla="*/ 927 w 10000"/>
                <a:gd name="connsiteY87" fmla="*/ 613 h 10000"/>
                <a:gd name="connsiteX88" fmla="*/ 860 w 10000"/>
                <a:gd name="connsiteY88" fmla="*/ 718 h 10000"/>
                <a:gd name="connsiteX89" fmla="*/ 793 w 10000"/>
                <a:gd name="connsiteY89" fmla="*/ 825 h 10000"/>
                <a:gd name="connsiteX90" fmla="*/ 734 w 10000"/>
                <a:gd name="connsiteY90" fmla="*/ 922 h 10000"/>
                <a:gd name="connsiteX91" fmla="*/ 675 w 10000"/>
                <a:gd name="connsiteY91" fmla="*/ 1029 h 10000"/>
                <a:gd name="connsiteX92" fmla="*/ 615 w 10000"/>
                <a:gd name="connsiteY92" fmla="*/ 1131 h 10000"/>
                <a:gd name="connsiteX93" fmla="*/ 556 w 10000"/>
                <a:gd name="connsiteY93" fmla="*/ 1242 h 10000"/>
                <a:gd name="connsiteX94" fmla="*/ 504 w 10000"/>
                <a:gd name="connsiteY94" fmla="*/ 1342 h 10000"/>
                <a:gd name="connsiteX95" fmla="*/ 452 w 10000"/>
                <a:gd name="connsiteY95" fmla="*/ 1449 h 10000"/>
                <a:gd name="connsiteX96" fmla="*/ 408 w 10000"/>
                <a:gd name="connsiteY96" fmla="*/ 1556 h 10000"/>
                <a:gd name="connsiteX97" fmla="*/ 363 w 10000"/>
                <a:gd name="connsiteY97" fmla="*/ 1663 h 10000"/>
                <a:gd name="connsiteX98" fmla="*/ 319 w 10000"/>
                <a:gd name="connsiteY98" fmla="*/ 1774 h 10000"/>
                <a:gd name="connsiteX99" fmla="*/ 282 w 10000"/>
                <a:gd name="connsiteY99" fmla="*/ 1884 h 10000"/>
                <a:gd name="connsiteX100" fmla="*/ 237 w 10000"/>
                <a:gd name="connsiteY100" fmla="*/ 1998 h 10000"/>
                <a:gd name="connsiteX101" fmla="*/ 208 w 10000"/>
                <a:gd name="connsiteY101" fmla="*/ 2107 h 10000"/>
                <a:gd name="connsiteX102" fmla="*/ 170 w 10000"/>
                <a:gd name="connsiteY102" fmla="*/ 2221 h 10000"/>
                <a:gd name="connsiteX103" fmla="*/ 148 w 10000"/>
                <a:gd name="connsiteY103" fmla="*/ 2334 h 10000"/>
                <a:gd name="connsiteX104" fmla="*/ 119 w 10000"/>
                <a:gd name="connsiteY104" fmla="*/ 2445 h 10000"/>
                <a:gd name="connsiteX105" fmla="*/ 96 w 10000"/>
                <a:gd name="connsiteY105" fmla="*/ 2556 h 10000"/>
                <a:gd name="connsiteX106" fmla="*/ 74 w 10000"/>
                <a:gd name="connsiteY106" fmla="*/ 2674 h 10000"/>
                <a:gd name="connsiteX107" fmla="*/ 52 w 10000"/>
                <a:gd name="connsiteY107" fmla="*/ 2792 h 10000"/>
                <a:gd name="connsiteX108" fmla="*/ 37 w 10000"/>
                <a:gd name="connsiteY108" fmla="*/ 2906 h 10000"/>
                <a:gd name="connsiteX109" fmla="*/ 22 w 10000"/>
                <a:gd name="connsiteY109" fmla="*/ 3020 h 10000"/>
                <a:gd name="connsiteX110" fmla="*/ 15 w 10000"/>
                <a:gd name="connsiteY110" fmla="*/ 3135 h 10000"/>
                <a:gd name="connsiteX111" fmla="*/ 7 w 10000"/>
                <a:gd name="connsiteY111" fmla="*/ 3253 h 10000"/>
                <a:gd name="connsiteX112" fmla="*/ 0 w 10000"/>
                <a:gd name="connsiteY112" fmla="*/ 3368 h 10000"/>
                <a:gd name="connsiteX113" fmla="*/ 0 w 10000"/>
                <a:gd name="connsiteY113" fmla="*/ 3488 h 10000"/>
                <a:gd name="connsiteX114" fmla="*/ 7 w 10000"/>
                <a:gd name="connsiteY114" fmla="*/ 3639 h 10000"/>
                <a:gd name="connsiteX115" fmla="*/ 7 w 10000"/>
                <a:gd name="connsiteY115" fmla="*/ 3790 h 10000"/>
                <a:gd name="connsiteX116" fmla="*/ 22 w 10000"/>
                <a:gd name="connsiteY116" fmla="*/ 3934 h 10000"/>
                <a:gd name="connsiteX117" fmla="*/ 37 w 10000"/>
                <a:gd name="connsiteY117" fmla="*/ 4082 h 10000"/>
                <a:gd name="connsiteX118" fmla="*/ 59 w 10000"/>
                <a:gd name="connsiteY118" fmla="*/ 4230 h 10000"/>
                <a:gd name="connsiteX119" fmla="*/ 89 w 10000"/>
                <a:gd name="connsiteY119" fmla="*/ 4377 h 10000"/>
                <a:gd name="connsiteX120" fmla="*/ 119 w 10000"/>
                <a:gd name="connsiteY120" fmla="*/ 4523 h 10000"/>
                <a:gd name="connsiteX121" fmla="*/ 148 w 10000"/>
                <a:gd name="connsiteY121" fmla="*/ 4671 h 10000"/>
                <a:gd name="connsiteX122" fmla="*/ 193 w 10000"/>
                <a:gd name="connsiteY122" fmla="*/ 4815 h 10000"/>
                <a:gd name="connsiteX123" fmla="*/ 237 w 10000"/>
                <a:gd name="connsiteY123" fmla="*/ 4956 h 10000"/>
                <a:gd name="connsiteX124" fmla="*/ 282 w 10000"/>
                <a:gd name="connsiteY124" fmla="*/ 5100 h 10000"/>
                <a:gd name="connsiteX125" fmla="*/ 334 w 10000"/>
                <a:gd name="connsiteY125" fmla="*/ 5241 h 10000"/>
                <a:gd name="connsiteX126" fmla="*/ 393 w 10000"/>
                <a:gd name="connsiteY126" fmla="*/ 5380 h 10000"/>
                <a:gd name="connsiteX127" fmla="*/ 452 w 10000"/>
                <a:gd name="connsiteY127" fmla="*/ 5518 h 10000"/>
                <a:gd name="connsiteX128" fmla="*/ 519 w 10000"/>
                <a:gd name="connsiteY128" fmla="*/ 5656 h 10000"/>
                <a:gd name="connsiteX129" fmla="*/ 586 w 10000"/>
                <a:gd name="connsiteY129" fmla="*/ 5795 h 10000"/>
                <a:gd name="connsiteX130" fmla="*/ 660 w 10000"/>
                <a:gd name="connsiteY130" fmla="*/ 5927 h 10000"/>
                <a:gd name="connsiteX131" fmla="*/ 741 w 10000"/>
                <a:gd name="connsiteY131" fmla="*/ 6060 h 10000"/>
                <a:gd name="connsiteX132" fmla="*/ 823 w 10000"/>
                <a:gd name="connsiteY132" fmla="*/ 6198 h 10000"/>
                <a:gd name="connsiteX133" fmla="*/ 904 w 10000"/>
                <a:gd name="connsiteY133" fmla="*/ 6326 h 10000"/>
                <a:gd name="connsiteX134" fmla="*/ 993 w 10000"/>
                <a:gd name="connsiteY134" fmla="*/ 6456 h 10000"/>
                <a:gd name="connsiteX135" fmla="*/ 1090 w 10000"/>
                <a:gd name="connsiteY135" fmla="*/ 6578 h 10000"/>
                <a:gd name="connsiteX136" fmla="*/ 1186 w 10000"/>
                <a:gd name="connsiteY136" fmla="*/ 6708 h 10000"/>
                <a:gd name="connsiteX137" fmla="*/ 1290 w 10000"/>
                <a:gd name="connsiteY137" fmla="*/ 6835 h 10000"/>
                <a:gd name="connsiteX138" fmla="*/ 1386 w 10000"/>
                <a:gd name="connsiteY138" fmla="*/ 6960 h 10000"/>
                <a:gd name="connsiteX139" fmla="*/ 1497 w 10000"/>
                <a:gd name="connsiteY139" fmla="*/ 7084 h 10000"/>
                <a:gd name="connsiteX140" fmla="*/ 1609 w 10000"/>
                <a:gd name="connsiteY140" fmla="*/ 7202 h 10000"/>
                <a:gd name="connsiteX141" fmla="*/ 1727 w 10000"/>
                <a:gd name="connsiteY141" fmla="*/ 7326 h 10000"/>
                <a:gd name="connsiteX142" fmla="*/ 1846 w 10000"/>
                <a:gd name="connsiteY142" fmla="*/ 7444 h 10000"/>
                <a:gd name="connsiteX143" fmla="*/ 1964 w 10000"/>
                <a:gd name="connsiteY143" fmla="*/ 7559 h 10000"/>
                <a:gd name="connsiteX144" fmla="*/ 2090 w 10000"/>
                <a:gd name="connsiteY144" fmla="*/ 7671 h 10000"/>
                <a:gd name="connsiteX145" fmla="*/ 2224 w 10000"/>
                <a:gd name="connsiteY145" fmla="*/ 7788 h 10000"/>
                <a:gd name="connsiteX146" fmla="*/ 2350 w 10000"/>
                <a:gd name="connsiteY146" fmla="*/ 7901 h 10000"/>
                <a:gd name="connsiteX147" fmla="*/ 2491 w 10000"/>
                <a:gd name="connsiteY147" fmla="*/ 8010 h 10000"/>
                <a:gd name="connsiteX148" fmla="*/ 2617 w 10000"/>
                <a:gd name="connsiteY148" fmla="*/ 8120 h 10000"/>
                <a:gd name="connsiteX149" fmla="*/ 2765 w 10000"/>
                <a:gd name="connsiteY149" fmla="*/ 8226 h 10000"/>
                <a:gd name="connsiteX150" fmla="*/ 2906 w 10000"/>
                <a:gd name="connsiteY150" fmla="*/ 8329 h 10000"/>
                <a:gd name="connsiteX151" fmla="*/ 3054 w 10000"/>
                <a:gd name="connsiteY151" fmla="*/ 8434 h 10000"/>
                <a:gd name="connsiteX152" fmla="*/ 3210 w 10000"/>
                <a:gd name="connsiteY152" fmla="*/ 8535 h 10000"/>
                <a:gd name="connsiteX153" fmla="*/ 3358 w 10000"/>
                <a:gd name="connsiteY153" fmla="*/ 8634 h 10000"/>
                <a:gd name="connsiteX154" fmla="*/ 3514 w 10000"/>
                <a:gd name="connsiteY154" fmla="*/ 8734 h 10000"/>
                <a:gd name="connsiteX155" fmla="*/ 3677 w 10000"/>
                <a:gd name="connsiteY155" fmla="*/ 8829 h 10000"/>
                <a:gd name="connsiteX156" fmla="*/ 3840 w 10000"/>
                <a:gd name="connsiteY156" fmla="*/ 8920 h 10000"/>
                <a:gd name="connsiteX157" fmla="*/ 4010 w 10000"/>
                <a:gd name="connsiteY157" fmla="*/ 9013 h 10000"/>
                <a:gd name="connsiteX158" fmla="*/ 4181 w 10000"/>
                <a:gd name="connsiteY158" fmla="*/ 9096 h 10000"/>
                <a:gd name="connsiteX159" fmla="*/ 4351 w 10000"/>
                <a:gd name="connsiteY159" fmla="*/ 9184 h 10000"/>
                <a:gd name="connsiteX160" fmla="*/ 4522 w 10000"/>
                <a:gd name="connsiteY160" fmla="*/ 9267 h 10000"/>
                <a:gd name="connsiteX161" fmla="*/ 4700 w 10000"/>
                <a:gd name="connsiteY161" fmla="*/ 9353 h 10000"/>
                <a:gd name="connsiteX162" fmla="*/ 4878 w 10000"/>
                <a:gd name="connsiteY162" fmla="*/ 9433 h 10000"/>
                <a:gd name="connsiteX163" fmla="*/ 5063 w 10000"/>
                <a:gd name="connsiteY163" fmla="*/ 9510 h 10000"/>
                <a:gd name="connsiteX164" fmla="*/ 5248 w 10000"/>
                <a:gd name="connsiteY164" fmla="*/ 9590 h 10000"/>
                <a:gd name="connsiteX165" fmla="*/ 5426 w 10000"/>
                <a:gd name="connsiteY165" fmla="*/ 9661 h 10000"/>
                <a:gd name="connsiteX166" fmla="*/ 5619 w 10000"/>
                <a:gd name="connsiteY166" fmla="*/ 9733 h 10000"/>
                <a:gd name="connsiteX167" fmla="*/ 5812 w 10000"/>
                <a:gd name="connsiteY167" fmla="*/ 9804 h 10000"/>
                <a:gd name="connsiteX168" fmla="*/ 6004 w 10000"/>
                <a:gd name="connsiteY168" fmla="*/ 9869 h 10000"/>
                <a:gd name="connsiteX169" fmla="*/ 6397 w 10000"/>
                <a:gd name="connsiteY169" fmla="*/ 10000 h 10000"/>
                <a:gd name="connsiteX170" fmla="*/ 7539 w 10000"/>
                <a:gd name="connsiteY170" fmla="*/ 8034 h 10000"/>
                <a:gd name="connsiteX171" fmla="*/ 10000 w 10000"/>
                <a:gd name="connsiteY171" fmla="*/ 6360 h 10000"/>
                <a:gd name="connsiteX0" fmla="*/ 10000 w 10000"/>
                <a:gd name="connsiteY0" fmla="*/ 6360 h 9869"/>
                <a:gd name="connsiteX1" fmla="*/ 10000 w 10000"/>
                <a:gd name="connsiteY1" fmla="*/ 6360 h 9869"/>
                <a:gd name="connsiteX2" fmla="*/ 9911 w 10000"/>
                <a:gd name="connsiteY2" fmla="*/ 6345 h 9869"/>
                <a:gd name="connsiteX3" fmla="*/ 9815 w 10000"/>
                <a:gd name="connsiteY3" fmla="*/ 6326 h 9869"/>
                <a:gd name="connsiteX4" fmla="*/ 9726 w 10000"/>
                <a:gd name="connsiteY4" fmla="*/ 6308 h 9869"/>
                <a:gd name="connsiteX5" fmla="*/ 9637 w 10000"/>
                <a:gd name="connsiteY5" fmla="*/ 6284 h 9869"/>
                <a:gd name="connsiteX6" fmla="*/ 9548 w 10000"/>
                <a:gd name="connsiteY6" fmla="*/ 6265 h 9869"/>
                <a:gd name="connsiteX7" fmla="*/ 9466 w 10000"/>
                <a:gd name="connsiteY7" fmla="*/ 6241 h 9869"/>
                <a:gd name="connsiteX8" fmla="*/ 9377 w 10000"/>
                <a:gd name="connsiteY8" fmla="*/ 6217 h 9869"/>
                <a:gd name="connsiteX9" fmla="*/ 9288 w 10000"/>
                <a:gd name="connsiteY9" fmla="*/ 6194 h 9869"/>
                <a:gd name="connsiteX10" fmla="*/ 9118 w 10000"/>
                <a:gd name="connsiteY10" fmla="*/ 6140 h 9869"/>
                <a:gd name="connsiteX11" fmla="*/ 8955 w 10000"/>
                <a:gd name="connsiteY11" fmla="*/ 6083 h 9869"/>
                <a:gd name="connsiteX12" fmla="*/ 8792 w 10000"/>
                <a:gd name="connsiteY12" fmla="*/ 6023 h 9869"/>
                <a:gd name="connsiteX13" fmla="*/ 8636 w 10000"/>
                <a:gd name="connsiteY13" fmla="*/ 5956 h 9869"/>
                <a:gd name="connsiteX14" fmla="*/ 8480 w 10000"/>
                <a:gd name="connsiteY14" fmla="*/ 5888 h 9869"/>
                <a:gd name="connsiteX15" fmla="*/ 8340 w 10000"/>
                <a:gd name="connsiteY15" fmla="*/ 5819 h 9869"/>
                <a:gd name="connsiteX16" fmla="*/ 8199 w 10000"/>
                <a:gd name="connsiteY16" fmla="*/ 5742 h 9869"/>
                <a:gd name="connsiteX17" fmla="*/ 8058 w 10000"/>
                <a:gd name="connsiteY17" fmla="*/ 5660 h 9869"/>
                <a:gd name="connsiteX18" fmla="*/ 7924 w 10000"/>
                <a:gd name="connsiteY18" fmla="*/ 5577 h 9869"/>
                <a:gd name="connsiteX19" fmla="*/ 7798 w 10000"/>
                <a:gd name="connsiteY19" fmla="*/ 5488 h 9869"/>
                <a:gd name="connsiteX20" fmla="*/ 7672 w 10000"/>
                <a:gd name="connsiteY20" fmla="*/ 5399 h 9869"/>
                <a:gd name="connsiteX21" fmla="*/ 7554 w 10000"/>
                <a:gd name="connsiteY21" fmla="*/ 5308 h 9869"/>
                <a:gd name="connsiteX22" fmla="*/ 7450 w 10000"/>
                <a:gd name="connsiteY22" fmla="*/ 5209 h 9869"/>
                <a:gd name="connsiteX23" fmla="*/ 7346 w 10000"/>
                <a:gd name="connsiteY23" fmla="*/ 5109 h 9869"/>
                <a:gd name="connsiteX24" fmla="*/ 7250 w 10000"/>
                <a:gd name="connsiteY24" fmla="*/ 5009 h 9869"/>
                <a:gd name="connsiteX25" fmla="*/ 7161 w 10000"/>
                <a:gd name="connsiteY25" fmla="*/ 4905 h 9869"/>
                <a:gd name="connsiteX26" fmla="*/ 7072 w 10000"/>
                <a:gd name="connsiteY26" fmla="*/ 4799 h 9869"/>
                <a:gd name="connsiteX27" fmla="*/ 6990 w 10000"/>
                <a:gd name="connsiteY27" fmla="*/ 4686 h 9869"/>
                <a:gd name="connsiteX28" fmla="*/ 6953 w 10000"/>
                <a:gd name="connsiteY28" fmla="*/ 4634 h 9869"/>
                <a:gd name="connsiteX29" fmla="*/ 6916 w 10000"/>
                <a:gd name="connsiteY29" fmla="*/ 4575 h 9869"/>
                <a:gd name="connsiteX30" fmla="*/ 6887 w 10000"/>
                <a:gd name="connsiteY30" fmla="*/ 4519 h 9869"/>
                <a:gd name="connsiteX31" fmla="*/ 6850 w 10000"/>
                <a:gd name="connsiteY31" fmla="*/ 4463 h 9869"/>
                <a:gd name="connsiteX32" fmla="*/ 6820 w 10000"/>
                <a:gd name="connsiteY32" fmla="*/ 4406 h 9869"/>
                <a:gd name="connsiteX33" fmla="*/ 6790 w 10000"/>
                <a:gd name="connsiteY33" fmla="*/ 4347 h 9869"/>
                <a:gd name="connsiteX34" fmla="*/ 6768 w 10000"/>
                <a:gd name="connsiteY34" fmla="*/ 4286 h 9869"/>
                <a:gd name="connsiteX35" fmla="*/ 6738 w 10000"/>
                <a:gd name="connsiteY35" fmla="*/ 4230 h 9869"/>
                <a:gd name="connsiteX36" fmla="*/ 6723 w 10000"/>
                <a:gd name="connsiteY36" fmla="*/ 4167 h 9869"/>
                <a:gd name="connsiteX37" fmla="*/ 6694 w 10000"/>
                <a:gd name="connsiteY37" fmla="*/ 4109 h 9869"/>
                <a:gd name="connsiteX38" fmla="*/ 6679 w 10000"/>
                <a:gd name="connsiteY38" fmla="*/ 4048 h 9869"/>
                <a:gd name="connsiteX39" fmla="*/ 6664 w 10000"/>
                <a:gd name="connsiteY39" fmla="*/ 3986 h 9869"/>
                <a:gd name="connsiteX40" fmla="*/ 6649 w 10000"/>
                <a:gd name="connsiteY40" fmla="*/ 3924 h 9869"/>
                <a:gd name="connsiteX41" fmla="*/ 6635 w 10000"/>
                <a:gd name="connsiteY41" fmla="*/ 3867 h 9869"/>
                <a:gd name="connsiteX42" fmla="*/ 6620 w 10000"/>
                <a:gd name="connsiteY42" fmla="*/ 3805 h 9869"/>
                <a:gd name="connsiteX43" fmla="*/ 6612 w 10000"/>
                <a:gd name="connsiteY43" fmla="*/ 3744 h 9869"/>
                <a:gd name="connsiteX44" fmla="*/ 6605 w 10000"/>
                <a:gd name="connsiteY44" fmla="*/ 3681 h 9869"/>
                <a:gd name="connsiteX45" fmla="*/ 6597 w 10000"/>
                <a:gd name="connsiteY45" fmla="*/ 3614 h 9869"/>
                <a:gd name="connsiteX46" fmla="*/ 6597 w 10000"/>
                <a:gd name="connsiteY46" fmla="*/ 3554 h 9869"/>
                <a:gd name="connsiteX47" fmla="*/ 6590 w 10000"/>
                <a:gd name="connsiteY47" fmla="*/ 3488 h 9869"/>
                <a:gd name="connsiteX48" fmla="*/ 6597 w 10000"/>
                <a:gd name="connsiteY48" fmla="*/ 3424 h 9869"/>
                <a:gd name="connsiteX49" fmla="*/ 6605 w 10000"/>
                <a:gd name="connsiteY49" fmla="*/ 3355 h 9869"/>
                <a:gd name="connsiteX50" fmla="*/ 6605 w 10000"/>
                <a:gd name="connsiteY50" fmla="*/ 3287 h 9869"/>
                <a:gd name="connsiteX51" fmla="*/ 6612 w 10000"/>
                <a:gd name="connsiteY51" fmla="*/ 3218 h 9869"/>
                <a:gd name="connsiteX52" fmla="*/ 6620 w 10000"/>
                <a:gd name="connsiteY52" fmla="*/ 3153 h 9869"/>
                <a:gd name="connsiteX53" fmla="*/ 6635 w 10000"/>
                <a:gd name="connsiteY53" fmla="*/ 3093 h 9869"/>
                <a:gd name="connsiteX54" fmla="*/ 6649 w 10000"/>
                <a:gd name="connsiteY54" fmla="*/ 3025 h 9869"/>
                <a:gd name="connsiteX55" fmla="*/ 6664 w 10000"/>
                <a:gd name="connsiteY55" fmla="*/ 2963 h 9869"/>
                <a:gd name="connsiteX56" fmla="*/ 6686 w 10000"/>
                <a:gd name="connsiteY56" fmla="*/ 2897 h 9869"/>
                <a:gd name="connsiteX57" fmla="*/ 6709 w 10000"/>
                <a:gd name="connsiteY57" fmla="*/ 2835 h 9869"/>
                <a:gd name="connsiteX58" fmla="*/ 6731 w 10000"/>
                <a:gd name="connsiteY58" fmla="*/ 2773 h 9869"/>
                <a:gd name="connsiteX59" fmla="*/ 6753 w 10000"/>
                <a:gd name="connsiteY59" fmla="*/ 2706 h 9869"/>
                <a:gd name="connsiteX60" fmla="*/ 6783 w 10000"/>
                <a:gd name="connsiteY60" fmla="*/ 2651 h 9869"/>
                <a:gd name="connsiteX61" fmla="*/ 6812 w 10000"/>
                <a:gd name="connsiteY61" fmla="*/ 2587 h 9869"/>
                <a:gd name="connsiteX62" fmla="*/ 6842 w 10000"/>
                <a:gd name="connsiteY62" fmla="*/ 2524 h 9869"/>
                <a:gd name="connsiteX63" fmla="*/ 6879 w 10000"/>
                <a:gd name="connsiteY63" fmla="*/ 2465 h 9869"/>
                <a:gd name="connsiteX64" fmla="*/ 6909 w 10000"/>
                <a:gd name="connsiteY64" fmla="*/ 2407 h 9869"/>
                <a:gd name="connsiteX65" fmla="*/ 6946 w 10000"/>
                <a:gd name="connsiteY65" fmla="*/ 2343 h 9869"/>
                <a:gd name="connsiteX66" fmla="*/ 6990 w 10000"/>
                <a:gd name="connsiteY66" fmla="*/ 2288 h 9869"/>
                <a:gd name="connsiteX67" fmla="*/ 7027 w 10000"/>
                <a:gd name="connsiteY67" fmla="*/ 2230 h 9869"/>
                <a:gd name="connsiteX68" fmla="*/ 7072 w 10000"/>
                <a:gd name="connsiteY68" fmla="*/ 2174 h 9869"/>
                <a:gd name="connsiteX69" fmla="*/ 7109 w 10000"/>
                <a:gd name="connsiteY69" fmla="*/ 2116 h 9869"/>
                <a:gd name="connsiteX70" fmla="*/ 7161 w 10000"/>
                <a:gd name="connsiteY70" fmla="*/ 2065 h 9869"/>
                <a:gd name="connsiteX71" fmla="*/ 7213 w 10000"/>
                <a:gd name="connsiteY71" fmla="*/ 2007 h 9869"/>
                <a:gd name="connsiteX72" fmla="*/ 7257 w 10000"/>
                <a:gd name="connsiteY72" fmla="*/ 1952 h 9869"/>
                <a:gd name="connsiteX73" fmla="*/ 7309 w 10000"/>
                <a:gd name="connsiteY73" fmla="*/ 1898 h 9869"/>
                <a:gd name="connsiteX74" fmla="*/ 7361 w 10000"/>
                <a:gd name="connsiteY74" fmla="*/ 1843 h 9869"/>
                <a:gd name="connsiteX75" fmla="*/ 7413 w 10000"/>
                <a:gd name="connsiteY75" fmla="*/ 1793 h 9869"/>
                <a:gd name="connsiteX76" fmla="*/ 7472 w 10000"/>
                <a:gd name="connsiteY76" fmla="*/ 1742 h 9869"/>
                <a:gd name="connsiteX77" fmla="*/ 7524 w 10000"/>
                <a:gd name="connsiteY77" fmla="*/ 1693 h 9869"/>
                <a:gd name="connsiteX78" fmla="*/ 7583 w 10000"/>
                <a:gd name="connsiteY78" fmla="*/ 1643 h 9869"/>
                <a:gd name="connsiteX79" fmla="*/ 7610 w 10000"/>
                <a:gd name="connsiteY79" fmla="*/ 1614 h 9869"/>
                <a:gd name="connsiteX80" fmla="*/ 5390 w 10000"/>
                <a:gd name="connsiteY80" fmla="*/ 6 h 9869"/>
                <a:gd name="connsiteX81" fmla="*/ 1401 w 10000"/>
                <a:gd name="connsiteY81" fmla="*/ 0 h 9869"/>
                <a:gd name="connsiteX82" fmla="*/ 1305 w 10000"/>
                <a:gd name="connsiteY82" fmla="*/ 121 h 9869"/>
                <a:gd name="connsiteX83" fmla="*/ 1223 w 10000"/>
                <a:gd name="connsiteY83" fmla="*/ 213 h 9869"/>
                <a:gd name="connsiteX84" fmla="*/ 1149 w 10000"/>
                <a:gd name="connsiteY84" fmla="*/ 313 h 9869"/>
                <a:gd name="connsiteX85" fmla="*/ 1067 w 10000"/>
                <a:gd name="connsiteY85" fmla="*/ 413 h 9869"/>
                <a:gd name="connsiteX86" fmla="*/ 1001 w 10000"/>
                <a:gd name="connsiteY86" fmla="*/ 514 h 9869"/>
                <a:gd name="connsiteX87" fmla="*/ 927 w 10000"/>
                <a:gd name="connsiteY87" fmla="*/ 613 h 9869"/>
                <a:gd name="connsiteX88" fmla="*/ 860 w 10000"/>
                <a:gd name="connsiteY88" fmla="*/ 718 h 9869"/>
                <a:gd name="connsiteX89" fmla="*/ 793 w 10000"/>
                <a:gd name="connsiteY89" fmla="*/ 825 h 9869"/>
                <a:gd name="connsiteX90" fmla="*/ 734 w 10000"/>
                <a:gd name="connsiteY90" fmla="*/ 922 h 9869"/>
                <a:gd name="connsiteX91" fmla="*/ 675 w 10000"/>
                <a:gd name="connsiteY91" fmla="*/ 1029 h 9869"/>
                <a:gd name="connsiteX92" fmla="*/ 615 w 10000"/>
                <a:gd name="connsiteY92" fmla="*/ 1131 h 9869"/>
                <a:gd name="connsiteX93" fmla="*/ 556 w 10000"/>
                <a:gd name="connsiteY93" fmla="*/ 1242 h 9869"/>
                <a:gd name="connsiteX94" fmla="*/ 504 w 10000"/>
                <a:gd name="connsiteY94" fmla="*/ 1342 h 9869"/>
                <a:gd name="connsiteX95" fmla="*/ 452 w 10000"/>
                <a:gd name="connsiteY95" fmla="*/ 1449 h 9869"/>
                <a:gd name="connsiteX96" fmla="*/ 408 w 10000"/>
                <a:gd name="connsiteY96" fmla="*/ 1556 h 9869"/>
                <a:gd name="connsiteX97" fmla="*/ 363 w 10000"/>
                <a:gd name="connsiteY97" fmla="*/ 1663 h 9869"/>
                <a:gd name="connsiteX98" fmla="*/ 319 w 10000"/>
                <a:gd name="connsiteY98" fmla="*/ 1774 h 9869"/>
                <a:gd name="connsiteX99" fmla="*/ 282 w 10000"/>
                <a:gd name="connsiteY99" fmla="*/ 1884 h 9869"/>
                <a:gd name="connsiteX100" fmla="*/ 237 w 10000"/>
                <a:gd name="connsiteY100" fmla="*/ 1998 h 9869"/>
                <a:gd name="connsiteX101" fmla="*/ 208 w 10000"/>
                <a:gd name="connsiteY101" fmla="*/ 2107 h 9869"/>
                <a:gd name="connsiteX102" fmla="*/ 170 w 10000"/>
                <a:gd name="connsiteY102" fmla="*/ 2221 h 9869"/>
                <a:gd name="connsiteX103" fmla="*/ 148 w 10000"/>
                <a:gd name="connsiteY103" fmla="*/ 2334 h 9869"/>
                <a:gd name="connsiteX104" fmla="*/ 119 w 10000"/>
                <a:gd name="connsiteY104" fmla="*/ 2445 h 9869"/>
                <a:gd name="connsiteX105" fmla="*/ 96 w 10000"/>
                <a:gd name="connsiteY105" fmla="*/ 2556 h 9869"/>
                <a:gd name="connsiteX106" fmla="*/ 74 w 10000"/>
                <a:gd name="connsiteY106" fmla="*/ 2674 h 9869"/>
                <a:gd name="connsiteX107" fmla="*/ 52 w 10000"/>
                <a:gd name="connsiteY107" fmla="*/ 2792 h 9869"/>
                <a:gd name="connsiteX108" fmla="*/ 37 w 10000"/>
                <a:gd name="connsiteY108" fmla="*/ 2906 h 9869"/>
                <a:gd name="connsiteX109" fmla="*/ 22 w 10000"/>
                <a:gd name="connsiteY109" fmla="*/ 3020 h 9869"/>
                <a:gd name="connsiteX110" fmla="*/ 15 w 10000"/>
                <a:gd name="connsiteY110" fmla="*/ 3135 h 9869"/>
                <a:gd name="connsiteX111" fmla="*/ 7 w 10000"/>
                <a:gd name="connsiteY111" fmla="*/ 3253 h 9869"/>
                <a:gd name="connsiteX112" fmla="*/ 0 w 10000"/>
                <a:gd name="connsiteY112" fmla="*/ 3368 h 9869"/>
                <a:gd name="connsiteX113" fmla="*/ 0 w 10000"/>
                <a:gd name="connsiteY113" fmla="*/ 3488 h 9869"/>
                <a:gd name="connsiteX114" fmla="*/ 7 w 10000"/>
                <a:gd name="connsiteY114" fmla="*/ 3639 h 9869"/>
                <a:gd name="connsiteX115" fmla="*/ 7 w 10000"/>
                <a:gd name="connsiteY115" fmla="*/ 3790 h 9869"/>
                <a:gd name="connsiteX116" fmla="*/ 22 w 10000"/>
                <a:gd name="connsiteY116" fmla="*/ 3934 h 9869"/>
                <a:gd name="connsiteX117" fmla="*/ 37 w 10000"/>
                <a:gd name="connsiteY117" fmla="*/ 4082 h 9869"/>
                <a:gd name="connsiteX118" fmla="*/ 59 w 10000"/>
                <a:gd name="connsiteY118" fmla="*/ 4230 h 9869"/>
                <a:gd name="connsiteX119" fmla="*/ 89 w 10000"/>
                <a:gd name="connsiteY119" fmla="*/ 4377 h 9869"/>
                <a:gd name="connsiteX120" fmla="*/ 119 w 10000"/>
                <a:gd name="connsiteY120" fmla="*/ 4523 h 9869"/>
                <a:gd name="connsiteX121" fmla="*/ 148 w 10000"/>
                <a:gd name="connsiteY121" fmla="*/ 4671 h 9869"/>
                <a:gd name="connsiteX122" fmla="*/ 193 w 10000"/>
                <a:gd name="connsiteY122" fmla="*/ 4815 h 9869"/>
                <a:gd name="connsiteX123" fmla="*/ 237 w 10000"/>
                <a:gd name="connsiteY123" fmla="*/ 4956 h 9869"/>
                <a:gd name="connsiteX124" fmla="*/ 282 w 10000"/>
                <a:gd name="connsiteY124" fmla="*/ 5100 h 9869"/>
                <a:gd name="connsiteX125" fmla="*/ 334 w 10000"/>
                <a:gd name="connsiteY125" fmla="*/ 5241 h 9869"/>
                <a:gd name="connsiteX126" fmla="*/ 393 w 10000"/>
                <a:gd name="connsiteY126" fmla="*/ 5380 h 9869"/>
                <a:gd name="connsiteX127" fmla="*/ 452 w 10000"/>
                <a:gd name="connsiteY127" fmla="*/ 5518 h 9869"/>
                <a:gd name="connsiteX128" fmla="*/ 519 w 10000"/>
                <a:gd name="connsiteY128" fmla="*/ 5656 h 9869"/>
                <a:gd name="connsiteX129" fmla="*/ 586 w 10000"/>
                <a:gd name="connsiteY129" fmla="*/ 5795 h 9869"/>
                <a:gd name="connsiteX130" fmla="*/ 660 w 10000"/>
                <a:gd name="connsiteY130" fmla="*/ 5927 h 9869"/>
                <a:gd name="connsiteX131" fmla="*/ 741 w 10000"/>
                <a:gd name="connsiteY131" fmla="*/ 6060 h 9869"/>
                <a:gd name="connsiteX132" fmla="*/ 823 w 10000"/>
                <a:gd name="connsiteY132" fmla="*/ 6198 h 9869"/>
                <a:gd name="connsiteX133" fmla="*/ 904 w 10000"/>
                <a:gd name="connsiteY133" fmla="*/ 6326 h 9869"/>
                <a:gd name="connsiteX134" fmla="*/ 993 w 10000"/>
                <a:gd name="connsiteY134" fmla="*/ 6456 h 9869"/>
                <a:gd name="connsiteX135" fmla="*/ 1090 w 10000"/>
                <a:gd name="connsiteY135" fmla="*/ 6578 h 9869"/>
                <a:gd name="connsiteX136" fmla="*/ 1186 w 10000"/>
                <a:gd name="connsiteY136" fmla="*/ 6708 h 9869"/>
                <a:gd name="connsiteX137" fmla="*/ 1290 w 10000"/>
                <a:gd name="connsiteY137" fmla="*/ 6835 h 9869"/>
                <a:gd name="connsiteX138" fmla="*/ 1386 w 10000"/>
                <a:gd name="connsiteY138" fmla="*/ 6960 h 9869"/>
                <a:gd name="connsiteX139" fmla="*/ 1497 w 10000"/>
                <a:gd name="connsiteY139" fmla="*/ 7084 h 9869"/>
                <a:gd name="connsiteX140" fmla="*/ 1609 w 10000"/>
                <a:gd name="connsiteY140" fmla="*/ 7202 h 9869"/>
                <a:gd name="connsiteX141" fmla="*/ 1727 w 10000"/>
                <a:gd name="connsiteY141" fmla="*/ 7326 h 9869"/>
                <a:gd name="connsiteX142" fmla="*/ 1846 w 10000"/>
                <a:gd name="connsiteY142" fmla="*/ 7444 h 9869"/>
                <a:gd name="connsiteX143" fmla="*/ 1964 w 10000"/>
                <a:gd name="connsiteY143" fmla="*/ 7559 h 9869"/>
                <a:gd name="connsiteX144" fmla="*/ 2090 w 10000"/>
                <a:gd name="connsiteY144" fmla="*/ 7671 h 9869"/>
                <a:gd name="connsiteX145" fmla="*/ 2224 w 10000"/>
                <a:gd name="connsiteY145" fmla="*/ 7788 h 9869"/>
                <a:gd name="connsiteX146" fmla="*/ 2350 w 10000"/>
                <a:gd name="connsiteY146" fmla="*/ 7901 h 9869"/>
                <a:gd name="connsiteX147" fmla="*/ 2491 w 10000"/>
                <a:gd name="connsiteY147" fmla="*/ 8010 h 9869"/>
                <a:gd name="connsiteX148" fmla="*/ 2617 w 10000"/>
                <a:gd name="connsiteY148" fmla="*/ 8120 h 9869"/>
                <a:gd name="connsiteX149" fmla="*/ 2765 w 10000"/>
                <a:gd name="connsiteY149" fmla="*/ 8226 h 9869"/>
                <a:gd name="connsiteX150" fmla="*/ 2906 w 10000"/>
                <a:gd name="connsiteY150" fmla="*/ 8329 h 9869"/>
                <a:gd name="connsiteX151" fmla="*/ 3054 w 10000"/>
                <a:gd name="connsiteY151" fmla="*/ 8434 h 9869"/>
                <a:gd name="connsiteX152" fmla="*/ 3210 w 10000"/>
                <a:gd name="connsiteY152" fmla="*/ 8535 h 9869"/>
                <a:gd name="connsiteX153" fmla="*/ 3358 w 10000"/>
                <a:gd name="connsiteY153" fmla="*/ 8634 h 9869"/>
                <a:gd name="connsiteX154" fmla="*/ 3514 w 10000"/>
                <a:gd name="connsiteY154" fmla="*/ 8734 h 9869"/>
                <a:gd name="connsiteX155" fmla="*/ 3677 w 10000"/>
                <a:gd name="connsiteY155" fmla="*/ 8829 h 9869"/>
                <a:gd name="connsiteX156" fmla="*/ 3840 w 10000"/>
                <a:gd name="connsiteY156" fmla="*/ 8920 h 9869"/>
                <a:gd name="connsiteX157" fmla="*/ 4010 w 10000"/>
                <a:gd name="connsiteY157" fmla="*/ 9013 h 9869"/>
                <a:gd name="connsiteX158" fmla="*/ 4181 w 10000"/>
                <a:gd name="connsiteY158" fmla="*/ 9096 h 9869"/>
                <a:gd name="connsiteX159" fmla="*/ 4351 w 10000"/>
                <a:gd name="connsiteY159" fmla="*/ 9184 h 9869"/>
                <a:gd name="connsiteX160" fmla="*/ 4522 w 10000"/>
                <a:gd name="connsiteY160" fmla="*/ 9267 h 9869"/>
                <a:gd name="connsiteX161" fmla="*/ 4700 w 10000"/>
                <a:gd name="connsiteY161" fmla="*/ 9353 h 9869"/>
                <a:gd name="connsiteX162" fmla="*/ 4878 w 10000"/>
                <a:gd name="connsiteY162" fmla="*/ 9433 h 9869"/>
                <a:gd name="connsiteX163" fmla="*/ 5063 w 10000"/>
                <a:gd name="connsiteY163" fmla="*/ 9510 h 9869"/>
                <a:gd name="connsiteX164" fmla="*/ 5248 w 10000"/>
                <a:gd name="connsiteY164" fmla="*/ 9590 h 9869"/>
                <a:gd name="connsiteX165" fmla="*/ 5426 w 10000"/>
                <a:gd name="connsiteY165" fmla="*/ 9661 h 9869"/>
                <a:gd name="connsiteX166" fmla="*/ 5619 w 10000"/>
                <a:gd name="connsiteY166" fmla="*/ 9733 h 9869"/>
                <a:gd name="connsiteX167" fmla="*/ 5812 w 10000"/>
                <a:gd name="connsiteY167" fmla="*/ 9804 h 9869"/>
                <a:gd name="connsiteX168" fmla="*/ 6004 w 10000"/>
                <a:gd name="connsiteY168" fmla="*/ 9869 h 9869"/>
                <a:gd name="connsiteX169" fmla="*/ 7539 w 10000"/>
                <a:gd name="connsiteY169" fmla="*/ 8034 h 9869"/>
                <a:gd name="connsiteX170" fmla="*/ 10000 w 10000"/>
                <a:gd name="connsiteY170" fmla="*/ 6360 h 9869"/>
                <a:gd name="connsiteX0" fmla="*/ 10000 w 10000"/>
                <a:gd name="connsiteY0" fmla="*/ 6444 h 10000"/>
                <a:gd name="connsiteX1" fmla="*/ 10000 w 10000"/>
                <a:gd name="connsiteY1" fmla="*/ 6444 h 10000"/>
                <a:gd name="connsiteX2" fmla="*/ 9911 w 10000"/>
                <a:gd name="connsiteY2" fmla="*/ 6429 h 10000"/>
                <a:gd name="connsiteX3" fmla="*/ 9815 w 10000"/>
                <a:gd name="connsiteY3" fmla="*/ 6410 h 10000"/>
                <a:gd name="connsiteX4" fmla="*/ 9726 w 10000"/>
                <a:gd name="connsiteY4" fmla="*/ 6392 h 10000"/>
                <a:gd name="connsiteX5" fmla="*/ 9637 w 10000"/>
                <a:gd name="connsiteY5" fmla="*/ 6367 h 10000"/>
                <a:gd name="connsiteX6" fmla="*/ 9548 w 10000"/>
                <a:gd name="connsiteY6" fmla="*/ 6348 h 10000"/>
                <a:gd name="connsiteX7" fmla="*/ 9466 w 10000"/>
                <a:gd name="connsiteY7" fmla="*/ 6324 h 10000"/>
                <a:gd name="connsiteX8" fmla="*/ 9377 w 10000"/>
                <a:gd name="connsiteY8" fmla="*/ 6300 h 10000"/>
                <a:gd name="connsiteX9" fmla="*/ 9288 w 10000"/>
                <a:gd name="connsiteY9" fmla="*/ 6276 h 10000"/>
                <a:gd name="connsiteX10" fmla="*/ 9118 w 10000"/>
                <a:gd name="connsiteY10" fmla="*/ 6222 h 10000"/>
                <a:gd name="connsiteX11" fmla="*/ 8955 w 10000"/>
                <a:gd name="connsiteY11" fmla="*/ 6164 h 10000"/>
                <a:gd name="connsiteX12" fmla="*/ 8792 w 10000"/>
                <a:gd name="connsiteY12" fmla="*/ 6103 h 10000"/>
                <a:gd name="connsiteX13" fmla="*/ 8636 w 10000"/>
                <a:gd name="connsiteY13" fmla="*/ 6035 h 10000"/>
                <a:gd name="connsiteX14" fmla="*/ 8480 w 10000"/>
                <a:gd name="connsiteY14" fmla="*/ 5966 h 10000"/>
                <a:gd name="connsiteX15" fmla="*/ 8340 w 10000"/>
                <a:gd name="connsiteY15" fmla="*/ 5896 h 10000"/>
                <a:gd name="connsiteX16" fmla="*/ 8199 w 10000"/>
                <a:gd name="connsiteY16" fmla="*/ 5818 h 10000"/>
                <a:gd name="connsiteX17" fmla="*/ 8058 w 10000"/>
                <a:gd name="connsiteY17" fmla="*/ 5735 h 10000"/>
                <a:gd name="connsiteX18" fmla="*/ 7924 w 10000"/>
                <a:gd name="connsiteY18" fmla="*/ 5651 h 10000"/>
                <a:gd name="connsiteX19" fmla="*/ 7798 w 10000"/>
                <a:gd name="connsiteY19" fmla="*/ 5561 h 10000"/>
                <a:gd name="connsiteX20" fmla="*/ 7672 w 10000"/>
                <a:gd name="connsiteY20" fmla="*/ 5471 h 10000"/>
                <a:gd name="connsiteX21" fmla="*/ 7554 w 10000"/>
                <a:gd name="connsiteY21" fmla="*/ 5378 h 10000"/>
                <a:gd name="connsiteX22" fmla="*/ 7450 w 10000"/>
                <a:gd name="connsiteY22" fmla="*/ 5278 h 10000"/>
                <a:gd name="connsiteX23" fmla="*/ 7346 w 10000"/>
                <a:gd name="connsiteY23" fmla="*/ 5177 h 10000"/>
                <a:gd name="connsiteX24" fmla="*/ 7250 w 10000"/>
                <a:gd name="connsiteY24" fmla="*/ 5075 h 10000"/>
                <a:gd name="connsiteX25" fmla="*/ 7161 w 10000"/>
                <a:gd name="connsiteY25" fmla="*/ 4970 h 10000"/>
                <a:gd name="connsiteX26" fmla="*/ 7072 w 10000"/>
                <a:gd name="connsiteY26" fmla="*/ 4863 h 10000"/>
                <a:gd name="connsiteX27" fmla="*/ 6990 w 10000"/>
                <a:gd name="connsiteY27" fmla="*/ 4748 h 10000"/>
                <a:gd name="connsiteX28" fmla="*/ 6953 w 10000"/>
                <a:gd name="connsiteY28" fmla="*/ 4696 h 10000"/>
                <a:gd name="connsiteX29" fmla="*/ 6916 w 10000"/>
                <a:gd name="connsiteY29" fmla="*/ 4636 h 10000"/>
                <a:gd name="connsiteX30" fmla="*/ 6887 w 10000"/>
                <a:gd name="connsiteY30" fmla="*/ 4579 h 10000"/>
                <a:gd name="connsiteX31" fmla="*/ 6850 w 10000"/>
                <a:gd name="connsiteY31" fmla="*/ 4522 h 10000"/>
                <a:gd name="connsiteX32" fmla="*/ 6820 w 10000"/>
                <a:gd name="connsiteY32" fmla="*/ 4464 h 10000"/>
                <a:gd name="connsiteX33" fmla="*/ 6790 w 10000"/>
                <a:gd name="connsiteY33" fmla="*/ 4405 h 10000"/>
                <a:gd name="connsiteX34" fmla="*/ 6768 w 10000"/>
                <a:gd name="connsiteY34" fmla="*/ 4343 h 10000"/>
                <a:gd name="connsiteX35" fmla="*/ 6738 w 10000"/>
                <a:gd name="connsiteY35" fmla="*/ 4286 h 10000"/>
                <a:gd name="connsiteX36" fmla="*/ 6723 w 10000"/>
                <a:gd name="connsiteY36" fmla="*/ 4222 h 10000"/>
                <a:gd name="connsiteX37" fmla="*/ 6694 w 10000"/>
                <a:gd name="connsiteY37" fmla="*/ 4164 h 10000"/>
                <a:gd name="connsiteX38" fmla="*/ 6679 w 10000"/>
                <a:gd name="connsiteY38" fmla="*/ 4102 h 10000"/>
                <a:gd name="connsiteX39" fmla="*/ 6664 w 10000"/>
                <a:gd name="connsiteY39" fmla="*/ 4039 h 10000"/>
                <a:gd name="connsiteX40" fmla="*/ 6649 w 10000"/>
                <a:gd name="connsiteY40" fmla="*/ 3976 h 10000"/>
                <a:gd name="connsiteX41" fmla="*/ 6635 w 10000"/>
                <a:gd name="connsiteY41" fmla="*/ 3918 h 10000"/>
                <a:gd name="connsiteX42" fmla="*/ 6620 w 10000"/>
                <a:gd name="connsiteY42" fmla="*/ 3856 h 10000"/>
                <a:gd name="connsiteX43" fmla="*/ 6612 w 10000"/>
                <a:gd name="connsiteY43" fmla="*/ 3794 h 10000"/>
                <a:gd name="connsiteX44" fmla="*/ 6605 w 10000"/>
                <a:gd name="connsiteY44" fmla="*/ 3730 h 10000"/>
                <a:gd name="connsiteX45" fmla="*/ 6597 w 10000"/>
                <a:gd name="connsiteY45" fmla="*/ 3662 h 10000"/>
                <a:gd name="connsiteX46" fmla="*/ 6597 w 10000"/>
                <a:gd name="connsiteY46" fmla="*/ 3601 h 10000"/>
                <a:gd name="connsiteX47" fmla="*/ 6590 w 10000"/>
                <a:gd name="connsiteY47" fmla="*/ 3534 h 10000"/>
                <a:gd name="connsiteX48" fmla="*/ 6597 w 10000"/>
                <a:gd name="connsiteY48" fmla="*/ 3469 h 10000"/>
                <a:gd name="connsiteX49" fmla="*/ 6605 w 10000"/>
                <a:gd name="connsiteY49" fmla="*/ 3400 h 10000"/>
                <a:gd name="connsiteX50" fmla="*/ 6605 w 10000"/>
                <a:gd name="connsiteY50" fmla="*/ 3331 h 10000"/>
                <a:gd name="connsiteX51" fmla="*/ 6612 w 10000"/>
                <a:gd name="connsiteY51" fmla="*/ 3261 h 10000"/>
                <a:gd name="connsiteX52" fmla="*/ 6620 w 10000"/>
                <a:gd name="connsiteY52" fmla="*/ 3195 h 10000"/>
                <a:gd name="connsiteX53" fmla="*/ 6635 w 10000"/>
                <a:gd name="connsiteY53" fmla="*/ 3134 h 10000"/>
                <a:gd name="connsiteX54" fmla="*/ 6649 w 10000"/>
                <a:gd name="connsiteY54" fmla="*/ 3065 h 10000"/>
                <a:gd name="connsiteX55" fmla="*/ 6664 w 10000"/>
                <a:gd name="connsiteY55" fmla="*/ 3002 h 10000"/>
                <a:gd name="connsiteX56" fmla="*/ 6686 w 10000"/>
                <a:gd name="connsiteY56" fmla="*/ 2935 h 10000"/>
                <a:gd name="connsiteX57" fmla="*/ 6709 w 10000"/>
                <a:gd name="connsiteY57" fmla="*/ 2873 h 10000"/>
                <a:gd name="connsiteX58" fmla="*/ 6731 w 10000"/>
                <a:gd name="connsiteY58" fmla="*/ 2810 h 10000"/>
                <a:gd name="connsiteX59" fmla="*/ 6753 w 10000"/>
                <a:gd name="connsiteY59" fmla="*/ 2742 h 10000"/>
                <a:gd name="connsiteX60" fmla="*/ 6783 w 10000"/>
                <a:gd name="connsiteY60" fmla="*/ 2686 h 10000"/>
                <a:gd name="connsiteX61" fmla="*/ 6812 w 10000"/>
                <a:gd name="connsiteY61" fmla="*/ 2621 h 10000"/>
                <a:gd name="connsiteX62" fmla="*/ 6842 w 10000"/>
                <a:gd name="connsiteY62" fmla="*/ 2558 h 10000"/>
                <a:gd name="connsiteX63" fmla="*/ 6879 w 10000"/>
                <a:gd name="connsiteY63" fmla="*/ 2498 h 10000"/>
                <a:gd name="connsiteX64" fmla="*/ 6909 w 10000"/>
                <a:gd name="connsiteY64" fmla="*/ 2439 h 10000"/>
                <a:gd name="connsiteX65" fmla="*/ 6946 w 10000"/>
                <a:gd name="connsiteY65" fmla="*/ 2374 h 10000"/>
                <a:gd name="connsiteX66" fmla="*/ 6990 w 10000"/>
                <a:gd name="connsiteY66" fmla="*/ 2318 h 10000"/>
                <a:gd name="connsiteX67" fmla="*/ 7027 w 10000"/>
                <a:gd name="connsiteY67" fmla="*/ 2260 h 10000"/>
                <a:gd name="connsiteX68" fmla="*/ 7072 w 10000"/>
                <a:gd name="connsiteY68" fmla="*/ 2203 h 10000"/>
                <a:gd name="connsiteX69" fmla="*/ 7109 w 10000"/>
                <a:gd name="connsiteY69" fmla="*/ 2144 h 10000"/>
                <a:gd name="connsiteX70" fmla="*/ 7161 w 10000"/>
                <a:gd name="connsiteY70" fmla="*/ 2092 h 10000"/>
                <a:gd name="connsiteX71" fmla="*/ 7213 w 10000"/>
                <a:gd name="connsiteY71" fmla="*/ 2034 h 10000"/>
                <a:gd name="connsiteX72" fmla="*/ 7257 w 10000"/>
                <a:gd name="connsiteY72" fmla="*/ 1978 h 10000"/>
                <a:gd name="connsiteX73" fmla="*/ 7309 w 10000"/>
                <a:gd name="connsiteY73" fmla="*/ 1923 h 10000"/>
                <a:gd name="connsiteX74" fmla="*/ 7361 w 10000"/>
                <a:gd name="connsiteY74" fmla="*/ 1867 h 10000"/>
                <a:gd name="connsiteX75" fmla="*/ 7413 w 10000"/>
                <a:gd name="connsiteY75" fmla="*/ 1817 h 10000"/>
                <a:gd name="connsiteX76" fmla="*/ 7472 w 10000"/>
                <a:gd name="connsiteY76" fmla="*/ 1765 h 10000"/>
                <a:gd name="connsiteX77" fmla="*/ 7524 w 10000"/>
                <a:gd name="connsiteY77" fmla="*/ 1715 h 10000"/>
                <a:gd name="connsiteX78" fmla="*/ 7583 w 10000"/>
                <a:gd name="connsiteY78" fmla="*/ 1665 h 10000"/>
                <a:gd name="connsiteX79" fmla="*/ 7610 w 10000"/>
                <a:gd name="connsiteY79" fmla="*/ 1635 h 10000"/>
                <a:gd name="connsiteX80" fmla="*/ 5390 w 10000"/>
                <a:gd name="connsiteY80" fmla="*/ 6 h 10000"/>
                <a:gd name="connsiteX81" fmla="*/ 1401 w 10000"/>
                <a:gd name="connsiteY81" fmla="*/ 0 h 10000"/>
                <a:gd name="connsiteX82" fmla="*/ 1305 w 10000"/>
                <a:gd name="connsiteY82" fmla="*/ 123 h 10000"/>
                <a:gd name="connsiteX83" fmla="*/ 1223 w 10000"/>
                <a:gd name="connsiteY83" fmla="*/ 216 h 10000"/>
                <a:gd name="connsiteX84" fmla="*/ 1149 w 10000"/>
                <a:gd name="connsiteY84" fmla="*/ 317 h 10000"/>
                <a:gd name="connsiteX85" fmla="*/ 1067 w 10000"/>
                <a:gd name="connsiteY85" fmla="*/ 418 h 10000"/>
                <a:gd name="connsiteX86" fmla="*/ 1001 w 10000"/>
                <a:gd name="connsiteY86" fmla="*/ 521 h 10000"/>
                <a:gd name="connsiteX87" fmla="*/ 927 w 10000"/>
                <a:gd name="connsiteY87" fmla="*/ 621 h 10000"/>
                <a:gd name="connsiteX88" fmla="*/ 860 w 10000"/>
                <a:gd name="connsiteY88" fmla="*/ 728 h 10000"/>
                <a:gd name="connsiteX89" fmla="*/ 793 w 10000"/>
                <a:gd name="connsiteY89" fmla="*/ 836 h 10000"/>
                <a:gd name="connsiteX90" fmla="*/ 734 w 10000"/>
                <a:gd name="connsiteY90" fmla="*/ 934 h 10000"/>
                <a:gd name="connsiteX91" fmla="*/ 675 w 10000"/>
                <a:gd name="connsiteY91" fmla="*/ 1043 h 10000"/>
                <a:gd name="connsiteX92" fmla="*/ 615 w 10000"/>
                <a:gd name="connsiteY92" fmla="*/ 1146 h 10000"/>
                <a:gd name="connsiteX93" fmla="*/ 556 w 10000"/>
                <a:gd name="connsiteY93" fmla="*/ 1258 h 10000"/>
                <a:gd name="connsiteX94" fmla="*/ 504 w 10000"/>
                <a:gd name="connsiteY94" fmla="*/ 1360 h 10000"/>
                <a:gd name="connsiteX95" fmla="*/ 452 w 10000"/>
                <a:gd name="connsiteY95" fmla="*/ 1468 h 10000"/>
                <a:gd name="connsiteX96" fmla="*/ 408 w 10000"/>
                <a:gd name="connsiteY96" fmla="*/ 1577 h 10000"/>
                <a:gd name="connsiteX97" fmla="*/ 363 w 10000"/>
                <a:gd name="connsiteY97" fmla="*/ 1685 h 10000"/>
                <a:gd name="connsiteX98" fmla="*/ 319 w 10000"/>
                <a:gd name="connsiteY98" fmla="*/ 1798 h 10000"/>
                <a:gd name="connsiteX99" fmla="*/ 282 w 10000"/>
                <a:gd name="connsiteY99" fmla="*/ 1909 h 10000"/>
                <a:gd name="connsiteX100" fmla="*/ 237 w 10000"/>
                <a:gd name="connsiteY100" fmla="*/ 2025 h 10000"/>
                <a:gd name="connsiteX101" fmla="*/ 208 w 10000"/>
                <a:gd name="connsiteY101" fmla="*/ 2135 h 10000"/>
                <a:gd name="connsiteX102" fmla="*/ 170 w 10000"/>
                <a:gd name="connsiteY102" fmla="*/ 2250 h 10000"/>
                <a:gd name="connsiteX103" fmla="*/ 148 w 10000"/>
                <a:gd name="connsiteY103" fmla="*/ 2365 h 10000"/>
                <a:gd name="connsiteX104" fmla="*/ 119 w 10000"/>
                <a:gd name="connsiteY104" fmla="*/ 2477 h 10000"/>
                <a:gd name="connsiteX105" fmla="*/ 96 w 10000"/>
                <a:gd name="connsiteY105" fmla="*/ 2590 h 10000"/>
                <a:gd name="connsiteX106" fmla="*/ 74 w 10000"/>
                <a:gd name="connsiteY106" fmla="*/ 2709 h 10000"/>
                <a:gd name="connsiteX107" fmla="*/ 52 w 10000"/>
                <a:gd name="connsiteY107" fmla="*/ 2829 h 10000"/>
                <a:gd name="connsiteX108" fmla="*/ 37 w 10000"/>
                <a:gd name="connsiteY108" fmla="*/ 2945 h 10000"/>
                <a:gd name="connsiteX109" fmla="*/ 22 w 10000"/>
                <a:gd name="connsiteY109" fmla="*/ 3060 h 10000"/>
                <a:gd name="connsiteX110" fmla="*/ 15 w 10000"/>
                <a:gd name="connsiteY110" fmla="*/ 3177 h 10000"/>
                <a:gd name="connsiteX111" fmla="*/ 7 w 10000"/>
                <a:gd name="connsiteY111" fmla="*/ 3296 h 10000"/>
                <a:gd name="connsiteX112" fmla="*/ 0 w 10000"/>
                <a:gd name="connsiteY112" fmla="*/ 3413 h 10000"/>
                <a:gd name="connsiteX113" fmla="*/ 0 w 10000"/>
                <a:gd name="connsiteY113" fmla="*/ 3534 h 10000"/>
                <a:gd name="connsiteX114" fmla="*/ 7 w 10000"/>
                <a:gd name="connsiteY114" fmla="*/ 3687 h 10000"/>
                <a:gd name="connsiteX115" fmla="*/ 7 w 10000"/>
                <a:gd name="connsiteY115" fmla="*/ 3840 h 10000"/>
                <a:gd name="connsiteX116" fmla="*/ 22 w 10000"/>
                <a:gd name="connsiteY116" fmla="*/ 3986 h 10000"/>
                <a:gd name="connsiteX117" fmla="*/ 37 w 10000"/>
                <a:gd name="connsiteY117" fmla="*/ 4136 h 10000"/>
                <a:gd name="connsiteX118" fmla="*/ 59 w 10000"/>
                <a:gd name="connsiteY118" fmla="*/ 4286 h 10000"/>
                <a:gd name="connsiteX119" fmla="*/ 89 w 10000"/>
                <a:gd name="connsiteY119" fmla="*/ 4435 h 10000"/>
                <a:gd name="connsiteX120" fmla="*/ 119 w 10000"/>
                <a:gd name="connsiteY120" fmla="*/ 4583 h 10000"/>
                <a:gd name="connsiteX121" fmla="*/ 148 w 10000"/>
                <a:gd name="connsiteY121" fmla="*/ 4733 h 10000"/>
                <a:gd name="connsiteX122" fmla="*/ 193 w 10000"/>
                <a:gd name="connsiteY122" fmla="*/ 4879 h 10000"/>
                <a:gd name="connsiteX123" fmla="*/ 237 w 10000"/>
                <a:gd name="connsiteY123" fmla="*/ 5022 h 10000"/>
                <a:gd name="connsiteX124" fmla="*/ 282 w 10000"/>
                <a:gd name="connsiteY124" fmla="*/ 5168 h 10000"/>
                <a:gd name="connsiteX125" fmla="*/ 334 w 10000"/>
                <a:gd name="connsiteY125" fmla="*/ 5311 h 10000"/>
                <a:gd name="connsiteX126" fmla="*/ 393 w 10000"/>
                <a:gd name="connsiteY126" fmla="*/ 5451 h 10000"/>
                <a:gd name="connsiteX127" fmla="*/ 452 w 10000"/>
                <a:gd name="connsiteY127" fmla="*/ 5591 h 10000"/>
                <a:gd name="connsiteX128" fmla="*/ 519 w 10000"/>
                <a:gd name="connsiteY128" fmla="*/ 5731 h 10000"/>
                <a:gd name="connsiteX129" fmla="*/ 586 w 10000"/>
                <a:gd name="connsiteY129" fmla="*/ 5872 h 10000"/>
                <a:gd name="connsiteX130" fmla="*/ 660 w 10000"/>
                <a:gd name="connsiteY130" fmla="*/ 6006 h 10000"/>
                <a:gd name="connsiteX131" fmla="*/ 741 w 10000"/>
                <a:gd name="connsiteY131" fmla="*/ 6140 h 10000"/>
                <a:gd name="connsiteX132" fmla="*/ 823 w 10000"/>
                <a:gd name="connsiteY132" fmla="*/ 6280 h 10000"/>
                <a:gd name="connsiteX133" fmla="*/ 904 w 10000"/>
                <a:gd name="connsiteY133" fmla="*/ 6410 h 10000"/>
                <a:gd name="connsiteX134" fmla="*/ 993 w 10000"/>
                <a:gd name="connsiteY134" fmla="*/ 6542 h 10000"/>
                <a:gd name="connsiteX135" fmla="*/ 1090 w 10000"/>
                <a:gd name="connsiteY135" fmla="*/ 6665 h 10000"/>
                <a:gd name="connsiteX136" fmla="*/ 1186 w 10000"/>
                <a:gd name="connsiteY136" fmla="*/ 6797 h 10000"/>
                <a:gd name="connsiteX137" fmla="*/ 1290 w 10000"/>
                <a:gd name="connsiteY137" fmla="*/ 6926 h 10000"/>
                <a:gd name="connsiteX138" fmla="*/ 1386 w 10000"/>
                <a:gd name="connsiteY138" fmla="*/ 7052 h 10000"/>
                <a:gd name="connsiteX139" fmla="*/ 1497 w 10000"/>
                <a:gd name="connsiteY139" fmla="*/ 7178 h 10000"/>
                <a:gd name="connsiteX140" fmla="*/ 1609 w 10000"/>
                <a:gd name="connsiteY140" fmla="*/ 7298 h 10000"/>
                <a:gd name="connsiteX141" fmla="*/ 1727 w 10000"/>
                <a:gd name="connsiteY141" fmla="*/ 7423 h 10000"/>
                <a:gd name="connsiteX142" fmla="*/ 1846 w 10000"/>
                <a:gd name="connsiteY142" fmla="*/ 7543 h 10000"/>
                <a:gd name="connsiteX143" fmla="*/ 1964 w 10000"/>
                <a:gd name="connsiteY143" fmla="*/ 7659 h 10000"/>
                <a:gd name="connsiteX144" fmla="*/ 2090 w 10000"/>
                <a:gd name="connsiteY144" fmla="*/ 7773 h 10000"/>
                <a:gd name="connsiteX145" fmla="*/ 2224 w 10000"/>
                <a:gd name="connsiteY145" fmla="*/ 7891 h 10000"/>
                <a:gd name="connsiteX146" fmla="*/ 2350 w 10000"/>
                <a:gd name="connsiteY146" fmla="*/ 8006 h 10000"/>
                <a:gd name="connsiteX147" fmla="*/ 2491 w 10000"/>
                <a:gd name="connsiteY147" fmla="*/ 8116 h 10000"/>
                <a:gd name="connsiteX148" fmla="*/ 2617 w 10000"/>
                <a:gd name="connsiteY148" fmla="*/ 8228 h 10000"/>
                <a:gd name="connsiteX149" fmla="*/ 2765 w 10000"/>
                <a:gd name="connsiteY149" fmla="*/ 8335 h 10000"/>
                <a:gd name="connsiteX150" fmla="*/ 2906 w 10000"/>
                <a:gd name="connsiteY150" fmla="*/ 8440 h 10000"/>
                <a:gd name="connsiteX151" fmla="*/ 3054 w 10000"/>
                <a:gd name="connsiteY151" fmla="*/ 8546 h 10000"/>
                <a:gd name="connsiteX152" fmla="*/ 3210 w 10000"/>
                <a:gd name="connsiteY152" fmla="*/ 8648 h 10000"/>
                <a:gd name="connsiteX153" fmla="*/ 3358 w 10000"/>
                <a:gd name="connsiteY153" fmla="*/ 8749 h 10000"/>
                <a:gd name="connsiteX154" fmla="*/ 3514 w 10000"/>
                <a:gd name="connsiteY154" fmla="*/ 8850 h 10000"/>
                <a:gd name="connsiteX155" fmla="*/ 3677 w 10000"/>
                <a:gd name="connsiteY155" fmla="*/ 8946 h 10000"/>
                <a:gd name="connsiteX156" fmla="*/ 3840 w 10000"/>
                <a:gd name="connsiteY156" fmla="*/ 9038 h 10000"/>
                <a:gd name="connsiteX157" fmla="*/ 4010 w 10000"/>
                <a:gd name="connsiteY157" fmla="*/ 9133 h 10000"/>
                <a:gd name="connsiteX158" fmla="*/ 4181 w 10000"/>
                <a:gd name="connsiteY158" fmla="*/ 9217 h 10000"/>
                <a:gd name="connsiteX159" fmla="*/ 4351 w 10000"/>
                <a:gd name="connsiteY159" fmla="*/ 9306 h 10000"/>
                <a:gd name="connsiteX160" fmla="*/ 4522 w 10000"/>
                <a:gd name="connsiteY160" fmla="*/ 9390 h 10000"/>
                <a:gd name="connsiteX161" fmla="*/ 4700 w 10000"/>
                <a:gd name="connsiteY161" fmla="*/ 9477 h 10000"/>
                <a:gd name="connsiteX162" fmla="*/ 4878 w 10000"/>
                <a:gd name="connsiteY162" fmla="*/ 9558 h 10000"/>
                <a:gd name="connsiteX163" fmla="*/ 5063 w 10000"/>
                <a:gd name="connsiteY163" fmla="*/ 9636 h 10000"/>
                <a:gd name="connsiteX164" fmla="*/ 5248 w 10000"/>
                <a:gd name="connsiteY164" fmla="*/ 9717 h 10000"/>
                <a:gd name="connsiteX165" fmla="*/ 5426 w 10000"/>
                <a:gd name="connsiteY165" fmla="*/ 9789 h 10000"/>
                <a:gd name="connsiteX166" fmla="*/ 5619 w 10000"/>
                <a:gd name="connsiteY166" fmla="*/ 9862 h 10000"/>
                <a:gd name="connsiteX167" fmla="*/ 6004 w 10000"/>
                <a:gd name="connsiteY167" fmla="*/ 10000 h 10000"/>
                <a:gd name="connsiteX168" fmla="*/ 7539 w 10000"/>
                <a:gd name="connsiteY168" fmla="*/ 8141 h 10000"/>
                <a:gd name="connsiteX169" fmla="*/ 10000 w 10000"/>
                <a:gd name="connsiteY169" fmla="*/ 6444 h 10000"/>
                <a:gd name="connsiteX0" fmla="*/ 10000 w 10000"/>
                <a:gd name="connsiteY0" fmla="*/ 6444 h 9862"/>
                <a:gd name="connsiteX1" fmla="*/ 10000 w 10000"/>
                <a:gd name="connsiteY1" fmla="*/ 6444 h 9862"/>
                <a:gd name="connsiteX2" fmla="*/ 9911 w 10000"/>
                <a:gd name="connsiteY2" fmla="*/ 6429 h 9862"/>
                <a:gd name="connsiteX3" fmla="*/ 9815 w 10000"/>
                <a:gd name="connsiteY3" fmla="*/ 6410 h 9862"/>
                <a:gd name="connsiteX4" fmla="*/ 9726 w 10000"/>
                <a:gd name="connsiteY4" fmla="*/ 6392 h 9862"/>
                <a:gd name="connsiteX5" fmla="*/ 9637 w 10000"/>
                <a:gd name="connsiteY5" fmla="*/ 6367 h 9862"/>
                <a:gd name="connsiteX6" fmla="*/ 9548 w 10000"/>
                <a:gd name="connsiteY6" fmla="*/ 6348 h 9862"/>
                <a:gd name="connsiteX7" fmla="*/ 9466 w 10000"/>
                <a:gd name="connsiteY7" fmla="*/ 6324 h 9862"/>
                <a:gd name="connsiteX8" fmla="*/ 9377 w 10000"/>
                <a:gd name="connsiteY8" fmla="*/ 6300 h 9862"/>
                <a:gd name="connsiteX9" fmla="*/ 9288 w 10000"/>
                <a:gd name="connsiteY9" fmla="*/ 6276 h 9862"/>
                <a:gd name="connsiteX10" fmla="*/ 9118 w 10000"/>
                <a:gd name="connsiteY10" fmla="*/ 6222 h 9862"/>
                <a:gd name="connsiteX11" fmla="*/ 8955 w 10000"/>
                <a:gd name="connsiteY11" fmla="*/ 6164 h 9862"/>
                <a:gd name="connsiteX12" fmla="*/ 8792 w 10000"/>
                <a:gd name="connsiteY12" fmla="*/ 6103 h 9862"/>
                <a:gd name="connsiteX13" fmla="*/ 8636 w 10000"/>
                <a:gd name="connsiteY13" fmla="*/ 6035 h 9862"/>
                <a:gd name="connsiteX14" fmla="*/ 8480 w 10000"/>
                <a:gd name="connsiteY14" fmla="*/ 5966 h 9862"/>
                <a:gd name="connsiteX15" fmla="*/ 8340 w 10000"/>
                <a:gd name="connsiteY15" fmla="*/ 5896 h 9862"/>
                <a:gd name="connsiteX16" fmla="*/ 8199 w 10000"/>
                <a:gd name="connsiteY16" fmla="*/ 5818 h 9862"/>
                <a:gd name="connsiteX17" fmla="*/ 8058 w 10000"/>
                <a:gd name="connsiteY17" fmla="*/ 5735 h 9862"/>
                <a:gd name="connsiteX18" fmla="*/ 7924 w 10000"/>
                <a:gd name="connsiteY18" fmla="*/ 5651 h 9862"/>
                <a:gd name="connsiteX19" fmla="*/ 7798 w 10000"/>
                <a:gd name="connsiteY19" fmla="*/ 5561 h 9862"/>
                <a:gd name="connsiteX20" fmla="*/ 7672 w 10000"/>
                <a:gd name="connsiteY20" fmla="*/ 5471 h 9862"/>
                <a:gd name="connsiteX21" fmla="*/ 7554 w 10000"/>
                <a:gd name="connsiteY21" fmla="*/ 5378 h 9862"/>
                <a:gd name="connsiteX22" fmla="*/ 7450 w 10000"/>
                <a:gd name="connsiteY22" fmla="*/ 5278 h 9862"/>
                <a:gd name="connsiteX23" fmla="*/ 7346 w 10000"/>
                <a:gd name="connsiteY23" fmla="*/ 5177 h 9862"/>
                <a:gd name="connsiteX24" fmla="*/ 7250 w 10000"/>
                <a:gd name="connsiteY24" fmla="*/ 5075 h 9862"/>
                <a:gd name="connsiteX25" fmla="*/ 7161 w 10000"/>
                <a:gd name="connsiteY25" fmla="*/ 4970 h 9862"/>
                <a:gd name="connsiteX26" fmla="*/ 7072 w 10000"/>
                <a:gd name="connsiteY26" fmla="*/ 4863 h 9862"/>
                <a:gd name="connsiteX27" fmla="*/ 6990 w 10000"/>
                <a:gd name="connsiteY27" fmla="*/ 4748 h 9862"/>
                <a:gd name="connsiteX28" fmla="*/ 6953 w 10000"/>
                <a:gd name="connsiteY28" fmla="*/ 4696 h 9862"/>
                <a:gd name="connsiteX29" fmla="*/ 6916 w 10000"/>
                <a:gd name="connsiteY29" fmla="*/ 4636 h 9862"/>
                <a:gd name="connsiteX30" fmla="*/ 6887 w 10000"/>
                <a:gd name="connsiteY30" fmla="*/ 4579 h 9862"/>
                <a:gd name="connsiteX31" fmla="*/ 6850 w 10000"/>
                <a:gd name="connsiteY31" fmla="*/ 4522 h 9862"/>
                <a:gd name="connsiteX32" fmla="*/ 6820 w 10000"/>
                <a:gd name="connsiteY32" fmla="*/ 4464 h 9862"/>
                <a:gd name="connsiteX33" fmla="*/ 6790 w 10000"/>
                <a:gd name="connsiteY33" fmla="*/ 4405 h 9862"/>
                <a:gd name="connsiteX34" fmla="*/ 6768 w 10000"/>
                <a:gd name="connsiteY34" fmla="*/ 4343 h 9862"/>
                <a:gd name="connsiteX35" fmla="*/ 6738 w 10000"/>
                <a:gd name="connsiteY35" fmla="*/ 4286 h 9862"/>
                <a:gd name="connsiteX36" fmla="*/ 6723 w 10000"/>
                <a:gd name="connsiteY36" fmla="*/ 4222 h 9862"/>
                <a:gd name="connsiteX37" fmla="*/ 6694 w 10000"/>
                <a:gd name="connsiteY37" fmla="*/ 4164 h 9862"/>
                <a:gd name="connsiteX38" fmla="*/ 6679 w 10000"/>
                <a:gd name="connsiteY38" fmla="*/ 4102 h 9862"/>
                <a:gd name="connsiteX39" fmla="*/ 6664 w 10000"/>
                <a:gd name="connsiteY39" fmla="*/ 4039 h 9862"/>
                <a:gd name="connsiteX40" fmla="*/ 6649 w 10000"/>
                <a:gd name="connsiteY40" fmla="*/ 3976 h 9862"/>
                <a:gd name="connsiteX41" fmla="*/ 6635 w 10000"/>
                <a:gd name="connsiteY41" fmla="*/ 3918 h 9862"/>
                <a:gd name="connsiteX42" fmla="*/ 6620 w 10000"/>
                <a:gd name="connsiteY42" fmla="*/ 3856 h 9862"/>
                <a:gd name="connsiteX43" fmla="*/ 6612 w 10000"/>
                <a:gd name="connsiteY43" fmla="*/ 3794 h 9862"/>
                <a:gd name="connsiteX44" fmla="*/ 6605 w 10000"/>
                <a:gd name="connsiteY44" fmla="*/ 3730 h 9862"/>
                <a:gd name="connsiteX45" fmla="*/ 6597 w 10000"/>
                <a:gd name="connsiteY45" fmla="*/ 3662 h 9862"/>
                <a:gd name="connsiteX46" fmla="*/ 6597 w 10000"/>
                <a:gd name="connsiteY46" fmla="*/ 3601 h 9862"/>
                <a:gd name="connsiteX47" fmla="*/ 6590 w 10000"/>
                <a:gd name="connsiteY47" fmla="*/ 3534 h 9862"/>
                <a:gd name="connsiteX48" fmla="*/ 6597 w 10000"/>
                <a:gd name="connsiteY48" fmla="*/ 3469 h 9862"/>
                <a:gd name="connsiteX49" fmla="*/ 6605 w 10000"/>
                <a:gd name="connsiteY49" fmla="*/ 3400 h 9862"/>
                <a:gd name="connsiteX50" fmla="*/ 6605 w 10000"/>
                <a:gd name="connsiteY50" fmla="*/ 3331 h 9862"/>
                <a:gd name="connsiteX51" fmla="*/ 6612 w 10000"/>
                <a:gd name="connsiteY51" fmla="*/ 3261 h 9862"/>
                <a:gd name="connsiteX52" fmla="*/ 6620 w 10000"/>
                <a:gd name="connsiteY52" fmla="*/ 3195 h 9862"/>
                <a:gd name="connsiteX53" fmla="*/ 6635 w 10000"/>
                <a:gd name="connsiteY53" fmla="*/ 3134 h 9862"/>
                <a:gd name="connsiteX54" fmla="*/ 6649 w 10000"/>
                <a:gd name="connsiteY54" fmla="*/ 3065 h 9862"/>
                <a:gd name="connsiteX55" fmla="*/ 6664 w 10000"/>
                <a:gd name="connsiteY55" fmla="*/ 3002 h 9862"/>
                <a:gd name="connsiteX56" fmla="*/ 6686 w 10000"/>
                <a:gd name="connsiteY56" fmla="*/ 2935 h 9862"/>
                <a:gd name="connsiteX57" fmla="*/ 6709 w 10000"/>
                <a:gd name="connsiteY57" fmla="*/ 2873 h 9862"/>
                <a:gd name="connsiteX58" fmla="*/ 6731 w 10000"/>
                <a:gd name="connsiteY58" fmla="*/ 2810 h 9862"/>
                <a:gd name="connsiteX59" fmla="*/ 6753 w 10000"/>
                <a:gd name="connsiteY59" fmla="*/ 2742 h 9862"/>
                <a:gd name="connsiteX60" fmla="*/ 6783 w 10000"/>
                <a:gd name="connsiteY60" fmla="*/ 2686 h 9862"/>
                <a:gd name="connsiteX61" fmla="*/ 6812 w 10000"/>
                <a:gd name="connsiteY61" fmla="*/ 2621 h 9862"/>
                <a:gd name="connsiteX62" fmla="*/ 6842 w 10000"/>
                <a:gd name="connsiteY62" fmla="*/ 2558 h 9862"/>
                <a:gd name="connsiteX63" fmla="*/ 6879 w 10000"/>
                <a:gd name="connsiteY63" fmla="*/ 2498 h 9862"/>
                <a:gd name="connsiteX64" fmla="*/ 6909 w 10000"/>
                <a:gd name="connsiteY64" fmla="*/ 2439 h 9862"/>
                <a:gd name="connsiteX65" fmla="*/ 6946 w 10000"/>
                <a:gd name="connsiteY65" fmla="*/ 2374 h 9862"/>
                <a:gd name="connsiteX66" fmla="*/ 6990 w 10000"/>
                <a:gd name="connsiteY66" fmla="*/ 2318 h 9862"/>
                <a:gd name="connsiteX67" fmla="*/ 7027 w 10000"/>
                <a:gd name="connsiteY67" fmla="*/ 2260 h 9862"/>
                <a:gd name="connsiteX68" fmla="*/ 7072 w 10000"/>
                <a:gd name="connsiteY68" fmla="*/ 2203 h 9862"/>
                <a:gd name="connsiteX69" fmla="*/ 7109 w 10000"/>
                <a:gd name="connsiteY69" fmla="*/ 2144 h 9862"/>
                <a:gd name="connsiteX70" fmla="*/ 7161 w 10000"/>
                <a:gd name="connsiteY70" fmla="*/ 2092 h 9862"/>
                <a:gd name="connsiteX71" fmla="*/ 7213 w 10000"/>
                <a:gd name="connsiteY71" fmla="*/ 2034 h 9862"/>
                <a:gd name="connsiteX72" fmla="*/ 7257 w 10000"/>
                <a:gd name="connsiteY72" fmla="*/ 1978 h 9862"/>
                <a:gd name="connsiteX73" fmla="*/ 7309 w 10000"/>
                <a:gd name="connsiteY73" fmla="*/ 1923 h 9862"/>
                <a:gd name="connsiteX74" fmla="*/ 7361 w 10000"/>
                <a:gd name="connsiteY74" fmla="*/ 1867 h 9862"/>
                <a:gd name="connsiteX75" fmla="*/ 7413 w 10000"/>
                <a:gd name="connsiteY75" fmla="*/ 1817 h 9862"/>
                <a:gd name="connsiteX76" fmla="*/ 7472 w 10000"/>
                <a:gd name="connsiteY76" fmla="*/ 1765 h 9862"/>
                <a:gd name="connsiteX77" fmla="*/ 7524 w 10000"/>
                <a:gd name="connsiteY77" fmla="*/ 1715 h 9862"/>
                <a:gd name="connsiteX78" fmla="*/ 7583 w 10000"/>
                <a:gd name="connsiteY78" fmla="*/ 1665 h 9862"/>
                <a:gd name="connsiteX79" fmla="*/ 7610 w 10000"/>
                <a:gd name="connsiteY79" fmla="*/ 1635 h 9862"/>
                <a:gd name="connsiteX80" fmla="*/ 5390 w 10000"/>
                <a:gd name="connsiteY80" fmla="*/ 6 h 9862"/>
                <a:gd name="connsiteX81" fmla="*/ 1401 w 10000"/>
                <a:gd name="connsiteY81" fmla="*/ 0 h 9862"/>
                <a:gd name="connsiteX82" fmla="*/ 1305 w 10000"/>
                <a:gd name="connsiteY82" fmla="*/ 123 h 9862"/>
                <a:gd name="connsiteX83" fmla="*/ 1223 w 10000"/>
                <a:gd name="connsiteY83" fmla="*/ 216 h 9862"/>
                <a:gd name="connsiteX84" fmla="*/ 1149 w 10000"/>
                <a:gd name="connsiteY84" fmla="*/ 317 h 9862"/>
                <a:gd name="connsiteX85" fmla="*/ 1067 w 10000"/>
                <a:gd name="connsiteY85" fmla="*/ 418 h 9862"/>
                <a:gd name="connsiteX86" fmla="*/ 1001 w 10000"/>
                <a:gd name="connsiteY86" fmla="*/ 521 h 9862"/>
                <a:gd name="connsiteX87" fmla="*/ 927 w 10000"/>
                <a:gd name="connsiteY87" fmla="*/ 621 h 9862"/>
                <a:gd name="connsiteX88" fmla="*/ 860 w 10000"/>
                <a:gd name="connsiteY88" fmla="*/ 728 h 9862"/>
                <a:gd name="connsiteX89" fmla="*/ 793 w 10000"/>
                <a:gd name="connsiteY89" fmla="*/ 836 h 9862"/>
                <a:gd name="connsiteX90" fmla="*/ 734 w 10000"/>
                <a:gd name="connsiteY90" fmla="*/ 934 h 9862"/>
                <a:gd name="connsiteX91" fmla="*/ 675 w 10000"/>
                <a:gd name="connsiteY91" fmla="*/ 1043 h 9862"/>
                <a:gd name="connsiteX92" fmla="*/ 615 w 10000"/>
                <a:gd name="connsiteY92" fmla="*/ 1146 h 9862"/>
                <a:gd name="connsiteX93" fmla="*/ 556 w 10000"/>
                <a:gd name="connsiteY93" fmla="*/ 1258 h 9862"/>
                <a:gd name="connsiteX94" fmla="*/ 504 w 10000"/>
                <a:gd name="connsiteY94" fmla="*/ 1360 h 9862"/>
                <a:gd name="connsiteX95" fmla="*/ 452 w 10000"/>
                <a:gd name="connsiteY95" fmla="*/ 1468 h 9862"/>
                <a:gd name="connsiteX96" fmla="*/ 408 w 10000"/>
                <a:gd name="connsiteY96" fmla="*/ 1577 h 9862"/>
                <a:gd name="connsiteX97" fmla="*/ 363 w 10000"/>
                <a:gd name="connsiteY97" fmla="*/ 1685 h 9862"/>
                <a:gd name="connsiteX98" fmla="*/ 319 w 10000"/>
                <a:gd name="connsiteY98" fmla="*/ 1798 h 9862"/>
                <a:gd name="connsiteX99" fmla="*/ 282 w 10000"/>
                <a:gd name="connsiteY99" fmla="*/ 1909 h 9862"/>
                <a:gd name="connsiteX100" fmla="*/ 237 w 10000"/>
                <a:gd name="connsiteY100" fmla="*/ 2025 h 9862"/>
                <a:gd name="connsiteX101" fmla="*/ 208 w 10000"/>
                <a:gd name="connsiteY101" fmla="*/ 2135 h 9862"/>
                <a:gd name="connsiteX102" fmla="*/ 170 w 10000"/>
                <a:gd name="connsiteY102" fmla="*/ 2250 h 9862"/>
                <a:gd name="connsiteX103" fmla="*/ 148 w 10000"/>
                <a:gd name="connsiteY103" fmla="*/ 2365 h 9862"/>
                <a:gd name="connsiteX104" fmla="*/ 119 w 10000"/>
                <a:gd name="connsiteY104" fmla="*/ 2477 h 9862"/>
                <a:gd name="connsiteX105" fmla="*/ 96 w 10000"/>
                <a:gd name="connsiteY105" fmla="*/ 2590 h 9862"/>
                <a:gd name="connsiteX106" fmla="*/ 74 w 10000"/>
                <a:gd name="connsiteY106" fmla="*/ 2709 h 9862"/>
                <a:gd name="connsiteX107" fmla="*/ 52 w 10000"/>
                <a:gd name="connsiteY107" fmla="*/ 2829 h 9862"/>
                <a:gd name="connsiteX108" fmla="*/ 37 w 10000"/>
                <a:gd name="connsiteY108" fmla="*/ 2945 h 9862"/>
                <a:gd name="connsiteX109" fmla="*/ 22 w 10000"/>
                <a:gd name="connsiteY109" fmla="*/ 3060 h 9862"/>
                <a:gd name="connsiteX110" fmla="*/ 15 w 10000"/>
                <a:gd name="connsiteY110" fmla="*/ 3177 h 9862"/>
                <a:gd name="connsiteX111" fmla="*/ 7 w 10000"/>
                <a:gd name="connsiteY111" fmla="*/ 3296 h 9862"/>
                <a:gd name="connsiteX112" fmla="*/ 0 w 10000"/>
                <a:gd name="connsiteY112" fmla="*/ 3413 h 9862"/>
                <a:gd name="connsiteX113" fmla="*/ 0 w 10000"/>
                <a:gd name="connsiteY113" fmla="*/ 3534 h 9862"/>
                <a:gd name="connsiteX114" fmla="*/ 7 w 10000"/>
                <a:gd name="connsiteY114" fmla="*/ 3687 h 9862"/>
                <a:gd name="connsiteX115" fmla="*/ 7 w 10000"/>
                <a:gd name="connsiteY115" fmla="*/ 3840 h 9862"/>
                <a:gd name="connsiteX116" fmla="*/ 22 w 10000"/>
                <a:gd name="connsiteY116" fmla="*/ 3986 h 9862"/>
                <a:gd name="connsiteX117" fmla="*/ 37 w 10000"/>
                <a:gd name="connsiteY117" fmla="*/ 4136 h 9862"/>
                <a:gd name="connsiteX118" fmla="*/ 59 w 10000"/>
                <a:gd name="connsiteY118" fmla="*/ 4286 h 9862"/>
                <a:gd name="connsiteX119" fmla="*/ 89 w 10000"/>
                <a:gd name="connsiteY119" fmla="*/ 4435 h 9862"/>
                <a:gd name="connsiteX120" fmla="*/ 119 w 10000"/>
                <a:gd name="connsiteY120" fmla="*/ 4583 h 9862"/>
                <a:gd name="connsiteX121" fmla="*/ 148 w 10000"/>
                <a:gd name="connsiteY121" fmla="*/ 4733 h 9862"/>
                <a:gd name="connsiteX122" fmla="*/ 193 w 10000"/>
                <a:gd name="connsiteY122" fmla="*/ 4879 h 9862"/>
                <a:gd name="connsiteX123" fmla="*/ 237 w 10000"/>
                <a:gd name="connsiteY123" fmla="*/ 5022 h 9862"/>
                <a:gd name="connsiteX124" fmla="*/ 282 w 10000"/>
                <a:gd name="connsiteY124" fmla="*/ 5168 h 9862"/>
                <a:gd name="connsiteX125" fmla="*/ 334 w 10000"/>
                <a:gd name="connsiteY125" fmla="*/ 5311 h 9862"/>
                <a:gd name="connsiteX126" fmla="*/ 393 w 10000"/>
                <a:gd name="connsiteY126" fmla="*/ 5451 h 9862"/>
                <a:gd name="connsiteX127" fmla="*/ 452 w 10000"/>
                <a:gd name="connsiteY127" fmla="*/ 5591 h 9862"/>
                <a:gd name="connsiteX128" fmla="*/ 519 w 10000"/>
                <a:gd name="connsiteY128" fmla="*/ 5731 h 9862"/>
                <a:gd name="connsiteX129" fmla="*/ 586 w 10000"/>
                <a:gd name="connsiteY129" fmla="*/ 5872 h 9862"/>
                <a:gd name="connsiteX130" fmla="*/ 660 w 10000"/>
                <a:gd name="connsiteY130" fmla="*/ 6006 h 9862"/>
                <a:gd name="connsiteX131" fmla="*/ 741 w 10000"/>
                <a:gd name="connsiteY131" fmla="*/ 6140 h 9862"/>
                <a:gd name="connsiteX132" fmla="*/ 823 w 10000"/>
                <a:gd name="connsiteY132" fmla="*/ 6280 h 9862"/>
                <a:gd name="connsiteX133" fmla="*/ 904 w 10000"/>
                <a:gd name="connsiteY133" fmla="*/ 6410 h 9862"/>
                <a:gd name="connsiteX134" fmla="*/ 993 w 10000"/>
                <a:gd name="connsiteY134" fmla="*/ 6542 h 9862"/>
                <a:gd name="connsiteX135" fmla="*/ 1090 w 10000"/>
                <a:gd name="connsiteY135" fmla="*/ 6665 h 9862"/>
                <a:gd name="connsiteX136" fmla="*/ 1186 w 10000"/>
                <a:gd name="connsiteY136" fmla="*/ 6797 h 9862"/>
                <a:gd name="connsiteX137" fmla="*/ 1290 w 10000"/>
                <a:gd name="connsiteY137" fmla="*/ 6926 h 9862"/>
                <a:gd name="connsiteX138" fmla="*/ 1386 w 10000"/>
                <a:gd name="connsiteY138" fmla="*/ 7052 h 9862"/>
                <a:gd name="connsiteX139" fmla="*/ 1497 w 10000"/>
                <a:gd name="connsiteY139" fmla="*/ 7178 h 9862"/>
                <a:gd name="connsiteX140" fmla="*/ 1609 w 10000"/>
                <a:gd name="connsiteY140" fmla="*/ 7298 h 9862"/>
                <a:gd name="connsiteX141" fmla="*/ 1727 w 10000"/>
                <a:gd name="connsiteY141" fmla="*/ 7423 h 9862"/>
                <a:gd name="connsiteX142" fmla="*/ 1846 w 10000"/>
                <a:gd name="connsiteY142" fmla="*/ 7543 h 9862"/>
                <a:gd name="connsiteX143" fmla="*/ 1964 w 10000"/>
                <a:gd name="connsiteY143" fmla="*/ 7659 h 9862"/>
                <a:gd name="connsiteX144" fmla="*/ 2090 w 10000"/>
                <a:gd name="connsiteY144" fmla="*/ 7773 h 9862"/>
                <a:gd name="connsiteX145" fmla="*/ 2224 w 10000"/>
                <a:gd name="connsiteY145" fmla="*/ 7891 h 9862"/>
                <a:gd name="connsiteX146" fmla="*/ 2350 w 10000"/>
                <a:gd name="connsiteY146" fmla="*/ 8006 h 9862"/>
                <a:gd name="connsiteX147" fmla="*/ 2491 w 10000"/>
                <a:gd name="connsiteY147" fmla="*/ 8116 h 9862"/>
                <a:gd name="connsiteX148" fmla="*/ 2617 w 10000"/>
                <a:gd name="connsiteY148" fmla="*/ 8228 h 9862"/>
                <a:gd name="connsiteX149" fmla="*/ 2765 w 10000"/>
                <a:gd name="connsiteY149" fmla="*/ 8335 h 9862"/>
                <a:gd name="connsiteX150" fmla="*/ 2906 w 10000"/>
                <a:gd name="connsiteY150" fmla="*/ 8440 h 9862"/>
                <a:gd name="connsiteX151" fmla="*/ 3054 w 10000"/>
                <a:gd name="connsiteY151" fmla="*/ 8546 h 9862"/>
                <a:gd name="connsiteX152" fmla="*/ 3210 w 10000"/>
                <a:gd name="connsiteY152" fmla="*/ 8648 h 9862"/>
                <a:gd name="connsiteX153" fmla="*/ 3358 w 10000"/>
                <a:gd name="connsiteY153" fmla="*/ 8749 h 9862"/>
                <a:gd name="connsiteX154" fmla="*/ 3514 w 10000"/>
                <a:gd name="connsiteY154" fmla="*/ 8850 h 9862"/>
                <a:gd name="connsiteX155" fmla="*/ 3677 w 10000"/>
                <a:gd name="connsiteY155" fmla="*/ 8946 h 9862"/>
                <a:gd name="connsiteX156" fmla="*/ 3840 w 10000"/>
                <a:gd name="connsiteY156" fmla="*/ 9038 h 9862"/>
                <a:gd name="connsiteX157" fmla="*/ 4010 w 10000"/>
                <a:gd name="connsiteY157" fmla="*/ 9133 h 9862"/>
                <a:gd name="connsiteX158" fmla="*/ 4181 w 10000"/>
                <a:gd name="connsiteY158" fmla="*/ 9217 h 9862"/>
                <a:gd name="connsiteX159" fmla="*/ 4351 w 10000"/>
                <a:gd name="connsiteY159" fmla="*/ 9306 h 9862"/>
                <a:gd name="connsiteX160" fmla="*/ 4522 w 10000"/>
                <a:gd name="connsiteY160" fmla="*/ 9390 h 9862"/>
                <a:gd name="connsiteX161" fmla="*/ 4700 w 10000"/>
                <a:gd name="connsiteY161" fmla="*/ 9477 h 9862"/>
                <a:gd name="connsiteX162" fmla="*/ 4878 w 10000"/>
                <a:gd name="connsiteY162" fmla="*/ 9558 h 9862"/>
                <a:gd name="connsiteX163" fmla="*/ 5063 w 10000"/>
                <a:gd name="connsiteY163" fmla="*/ 9636 h 9862"/>
                <a:gd name="connsiteX164" fmla="*/ 5248 w 10000"/>
                <a:gd name="connsiteY164" fmla="*/ 9717 h 9862"/>
                <a:gd name="connsiteX165" fmla="*/ 5426 w 10000"/>
                <a:gd name="connsiteY165" fmla="*/ 9789 h 9862"/>
                <a:gd name="connsiteX166" fmla="*/ 5619 w 10000"/>
                <a:gd name="connsiteY166" fmla="*/ 9862 h 9862"/>
                <a:gd name="connsiteX167" fmla="*/ 7539 w 10000"/>
                <a:gd name="connsiteY167" fmla="*/ 8141 h 9862"/>
                <a:gd name="connsiteX168" fmla="*/ 10000 w 10000"/>
                <a:gd name="connsiteY168" fmla="*/ 6444 h 9862"/>
                <a:gd name="connsiteX0" fmla="*/ 10000 w 10000"/>
                <a:gd name="connsiteY0" fmla="*/ 6534 h 9926"/>
                <a:gd name="connsiteX1" fmla="*/ 10000 w 10000"/>
                <a:gd name="connsiteY1" fmla="*/ 6534 h 9926"/>
                <a:gd name="connsiteX2" fmla="*/ 9911 w 10000"/>
                <a:gd name="connsiteY2" fmla="*/ 6519 h 9926"/>
                <a:gd name="connsiteX3" fmla="*/ 9815 w 10000"/>
                <a:gd name="connsiteY3" fmla="*/ 6500 h 9926"/>
                <a:gd name="connsiteX4" fmla="*/ 9726 w 10000"/>
                <a:gd name="connsiteY4" fmla="*/ 6481 h 9926"/>
                <a:gd name="connsiteX5" fmla="*/ 9637 w 10000"/>
                <a:gd name="connsiteY5" fmla="*/ 6456 h 9926"/>
                <a:gd name="connsiteX6" fmla="*/ 9548 w 10000"/>
                <a:gd name="connsiteY6" fmla="*/ 6437 h 9926"/>
                <a:gd name="connsiteX7" fmla="*/ 9466 w 10000"/>
                <a:gd name="connsiteY7" fmla="*/ 6412 h 9926"/>
                <a:gd name="connsiteX8" fmla="*/ 9377 w 10000"/>
                <a:gd name="connsiteY8" fmla="*/ 6388 h 9926"/>
                <a:gd name="connsiteX9" fmla="*/ 9288 w 10000"/>
                <a:gd name="connsiteY9" fmla="*/ 6364 h 9926"/>
                <a:gd name="connsiteX10" fmla="*/ 9118 w 10000"/>
                <a:gd name="connsiteY10" fmla="*/ 6309 h 9926"/>
                <a:gd name="connsiteX11" fmla="*/ 8955 w 10000"/>
                <a:gd name="connsiteY11" fmla="*/ 6250 h 9926"/>
                <a:gd name="connsiteX12" fmla="*/ 8792 w 10000"/>
                <a:gd name="connsiteY12" fmla="*/ 6188 h 9926"/>
                <a:gd name="connsiteX13" fmla="*/ 8636 w 10000"/>
                <a:gd name="connsiteY13" fmla="*/ 6119 h 9926"/>
                <a:gd name="connsiteX14" fmla="*/ 8480 w 10000"/>
                <a:gd name="connsiteY14" fmla="*/ 6049 h 9926"/>
                <a:gd name="connsiteX15" fmla="*/ 8340 w 10000"/>
                <a:gd name="connsiteY15" fmla="*/ 5979 h 9926"/>
                <a:gd name="connsiteX16" fmla="*/ 8199 w 10000"/>
                <a:gd name="connsiteY16" fmla="*/ 5899 h 9926"/>
                <a:gd name="connsiteX17" fmla="*/ 8058 w 10000"/>
                <a:gd name="connsiteY17" fmla="*/ 5815 h 9926"/>
                <a:gd name="connsiteX18" fmla="*/ 7924 w 10000"/>
                <a:gd name="connsiteY18" fmla="*/ 5730 h 9926"/>
                <a:gd name="connsiteX19" fmla="*/ 7798 w 10000"/>
                <a:gd name="connsiteY19" fmla="*/ 5639 h 9926"/>
                <a:gd name="connsiteX20" fmla="*/ 7672 w 10000"/>
                <a:gd name="connsiteY20" fmla="*/ 5548 h 9926"/>
                <a:gd name="connsiteX21" fmla="*/ 7554 w 10000"/>
                <a:gd name="connsiteY21" fmla="*/ 5453 h 9926"/>
                <a:gd name="connsiteX22" fmla="*/ 7450 w 10000"/>
                <a:gd name="connsiteY22" fmla="*/ 5352 h 9926"/>
                <a:gd name="connsiteX23" fmla="*/ 7346 w 10000"/>
                <a:gd name="connsiteY23" fmla="*/ 5249 h 9926"/>
                <a:gd name="connsiteX24" fmla="*/ 7250 w 10000"/>
                <a:gd name="connsiteY24" fmla="*/ 5146 h 9926"/>
                <a:gd name="connsiteX25" fmla="*/ 7161 w 10000"/>
                <a:gd name="connsiteY25" fmla="*/ 5040 h 9926"/>
                <a:gd name="connsiteX26" fmla="*/ 7072 w 10000"/>
                <a:gd name="connsiteY26" fmla="*/ 4931 h 9926"/>
                <a:gd name="connsiteX27" fmla="*/ 6990 w 10000"/>
                <a:gd name="connsiteY27" fmla="*/ 4814 h 9926"/>
                <a:gd name="connsiteX28" fmla="*/ 6953 w 10000"/>
                <a:gd name="connsiteY28" fmla="*/ 4762 h 9926"/>
                <a:gd name="connsiteX29" fmla="*/ 6916 w 10000"/>
                <a:gd name="connsiteY29" fmla="*/ 4701 h 9926"/>
                <a:gd name="connsiteX30" fmla="*/ 6887 w 10000"/>
                <a:gd name="connsiteY30" fmla="*/ 4643 h 9926"/>
                <a:gd name="connsiteX31" fmla="*/ 6850 w 10000"/>
                <a:gd name="connsiteY31" fmla="*/ 4585 h 9926"/>
                <a:gd name="connsiteX32" fmla="*/ 6820 w 10000"/>
                <a:gd name="connsiteY32" fmla="*/ 4526 h 9926"/>
                <a:gd name="connsiteX33" fmla="*/ 6790 w 10000"/>
                <a:gd name="connsiteY33" fmla="*/ 4467 h 9926"/>
                <a:gd name="connsiteX34" fmla="*/ 6768 w 10000"/>
                <a:gd name="connsiteY34" fmla="*/ 4404 h 9926"/>
                <a:gd name="connsiteX35" fmla="*/ 6738 w 10000"/>
                <a:gd name="connsiteY35" fmla="*/ 4346 h 9926"/>
                <a:gd name="connsiteX36" fmla="*/ 6723 w 10000"/>
                <a:gd name="connsiteY36" fmla="*/ 4281 h 9926"/>
                <a:gd name="connsiteX37" fmla="*/ 6694 w 10000"/>
                <a:gd name="connsiteY37" fmla="*/ 4222 h 9926"/>
                <a:gd name="connsiteX38" fmla="*/ 6679 w 10000"/>
                <a:gd name="connsiteY38" fmla="*/ 4159 h 9926"/>
                <a:gd name="connsiteX39" fmla="*/ 6664 w 10000"/>
                <a:gd name="connsiteY39" fmla="*/ 4096 h 9926"/>
                <a:gd name="connsiteX40" fmla="*/ 6649 w 10000"/>
                <a:gd name="connsiteY40" fmla="*/ 4032 h 9926"/>
                <a:gd name="connsiteX41" fmla="*/ 6635 w 10000"/>
                <a:gd name="connsiteY41" fmla="*/ 3973 h 9926"/>
                <a:gd name="connsiteX42" fmla="*/ 6620 w 10000"/>
                <a:gd name="connsiteY42" fmla="*/ 3910 h 9926"/>
                <a:gd name="connsiteX43" fmla="*/ 6612 w 10000"/>
                <a:gd name="connsiteY43" fmla="*/ 3847 h 9926"/>
                <a:gd name="connsiteX44" fmla="*/ 6605 w 10000"/>
                <a:gd name="connsiteY44" fmla="*/ 3782 h 9926"/>
                <a:gd name="connsiteX45" fmla="*/ 6597 w 10000"/>
                <a:gd name="connsiteY45" fmla="*/ 3713 h 9926"/>
                <a:gd name="connsiteX46" fmla="*/ 6597 w 10000"/>
                <a:gd name="connsiteY46" fmla="*/ 3651 h 9926"/>
                <a:gd name="connsiteX47" fmla="*/ 6590 w 10000"/>
                <a:gd name="connsiteY47" fmla="*/ 3583 h 9926"/>
                <a:gd name="connsiteX48" fmla="*/ 6597 w 10000"/>
                <a:gd name="connsiteY48" fmla="*/ 3518 h 9926"/>
                <a:gd name="connsiteX49" fmla="*/ 6605 w 10000"/>
                <a:gd name="connsiteY49" fmla="*/ 3448 h 9926"/>
                <a:gd name="connsiteX50" fmla="*/ 6605 w 10000"/>
                <a:gd name="connsiteY50" fmla="*/ 3378 h 9926"/>
                <a:gd name="connsiteX51" fmla="*/ 6612 w 10000"/>
                <a:gd name="connsiteY51" fmla="*/ 3307 h 9926"/>
                <a:gd name="connsiteX52" fmla="*/ 6620 w 10000"/>
                <a:gd name="connsiteY52" fmla="*/ 3240 h 9926"/>
                <a:gd name="connsiteX53" fmla="*/ 6635 w 10000"/>
                <a:gd name="connsiteY53" fmla="*/ 3178 h 9926"/>
                <a:gd name="connsiteX54" fmla="*/ 6649 w 10000"/>
                <a:gd name="connsiteY54" fmla="*/ 3108 h 9926"/>
                <a:gd name="connsiteX55" fmla="*/ 6664 w 10000"/>
                <a:gd name="connsiteY55" fmla="*/ 3044 h 9926"/>
                <a:gd name="connsiteX56" fmla="*/ 6686 w 10000"/>
                <a:gd name="connsiteY56" fmla="*/ 2976 h 9926"/>
                <a:gd name="connsiteX57" fmla="*/ 6709 w 10000"/>
                <a:gd name="connsiteY57" fmla="*/ 2913 h 9926"/>
                <a:gd name="connsiteX58" fmla="*/ 6731 w 10000"/>
                <a:gd name="connsiteY58" fmla="*/ 2849 h 9926"/>
                <a:gd name="connsiteX59" fmla="*/ 6753 w 10000"/>
                <a:gd name="connsiteY59" fmla="*/ 2780 h 9926"/>
                <a:gd name="connsiteX60" fmla="*/ 6783 w 10000"/>
                <a:gd name="connsiteY60" fmla="*/ 2724 h 9926"/>
                <a:gd name="connsiteX61" fmla="*/ 6812 w 10000"/>
                <a:gd name="connsiteY61" fmla="*/ 2658 h 9926"/>
                <a:gd name="connsiteX62" fmla="*/ 6842 w 10000"/>
                <a:gd name="connsiteY62" fmla="*/ 2594 h 9926"/>
                <a:gd name="connsiteX63" fmla="*/ 6879 w 10000"/>
                <a:gd name="connsiteY63" fmla="*/ 2533 h 9926"/>
                <a:gd name="connsiteX64" fmla="*/ 6909 w 10000"/>
                <a:gd name="connsiteY64" fmla="*/ 2473 h 9926"/>
                <a:gd name="connsiteX65" fmla="*/ 6946 w 10000"/>
                <a:gd name="connsiteY65" fmla="*/ 2407 h 9926"/>
                <a:gd name="connsiteX66" fmla="*/ 6990 w 10000"/>
                <a:gd name="connsiteY66" fmla="*/ 2350 h 9926"/>
                <a:gd name="connsiteX67" fmla="*/ 7027 w 10000"/>
                <a:gd name="connsiteY67" fmla="*/ 2292 h 9926"/>
                <a:gd name="connsiteX68" fmla="*/ 7072 w 10000"/>
                <a:gd name="connsiteY68" fmla="*/ 2234 h 9926"/>
                <a:gd name="connsiteX69" fmla="*/ 7109 w 10000"/>
                <a:gd name="connsiteY69" fmla="*/ 2174 h 9926"/>
                <a:gd name="connsiteX70" fmla="*/ 7161 w 10000"/>
                <a:gd name="connsiteY70" fmla="*/ 2121 h 9926"/>
                <a:gd name="connsiteX71" fmla="*/ 7213 w 10000"/>
                <a:gd name="connsiteY71" fmla="*/ 2062 h 9926"/>
                <a:gd name="connsiteX72" fmla="*/ 7257 w 10000"/>
                <a:gd name="connsiteY72" fmla="*/ 2006 h 9926"/>
                <a:gd name="connsiteX73" fmla="*/ 7309 w 10000"/>
                <a:gd name="connsiteY73" fmla="*/ 1950 h 9926"/>
                <a:gd name="connsiteX74" fmla="*/ 7361 w 10000"/>
                <a:gd name="connsiteY74" fmla="*/ 1893 h 9926"/>
                <a:gd name="connsiteX75" fmla="*/ 7413 w 10000"/>
                <a:gd name="connsiteY75" fmla="*/ 1842 h 9926"/>
                <a:gd name="connsiteX76" fmla="*/ 7472 w 10000"/>
                <a:gd name="connsiteY76" fmla="*/ 1790 h 9926"/>
                <a:gd name="connsiteX77" fmla="*/ 7524 w 10000"/>
                <a:gd name="connsiteY77" fmla="*/ 1739 h 9926"/>
                <a:gd name="connsiteX78" fmla="*/ 7583 w 10000"/>
                <a:gd name="connsiteY78" fmla="*/ 1688 h 9926"/>
                <a:gd name="connsiteX79" fmla="*/ 7610 w 10000"/>
                <a:gd name="connsiteY79" fmla="*/ 1658 h 9926"/>
                <a:gd name="connsiteX80" fmla="*/ 5390 w 10000"/>
                <a:gd name="connsiteY80" fmla="*/ 6 h 9926"/>
                <a:gd name="connsiteX81" fmla="*/ 1401 w 10000"/>
                <a:gd name="connsiteY81" fmla="*/ 0 h 9926"/>
                <a:gd name="connsiteX82" fmla="*/ 1305 w 10000"/>
                <a:gd name="connsiteY82" fmla="*/ 125 h 9926"/>
                <a:gd name="connsiteX83" fmla="*/ 1223 w 10000"/>
                <a:gd name="connsiteY83" fmla="*/ 219 h 9926"/>
                <a:gd name="connsiteX84" fmla="*/ 1149 w 10000"/>
                <a:gd name="connsiteY84" fmla="*/ 321 h 9926"/>
                <a:gd name="connsiteX85" fmla="*/ 1067 w 10000"/>
                <a:gd name="connsiteY85" fmla="*/ 424 h 9926"/>
                <a:gd name="connsiteX86" fmla="*/ 1001 w 10000"/>
                <a:gd name="connsiteY86" fmla="*/ 528 h 9926"/>
                <a:gd name="connsiteX87" fmla="*/ 927 w 10000"/>
                <a:gd name="connsiteY87" fmla="*/ 630 h 9926"/>
                <a:gd name="connsiteX88" fmla="*/ 860 w 10000"/>
                <a:gd name="connsiteY88" fmla="*/ 738 h 9926"/>
                <a:gd name="connsiteX89" fmla="*/ 793 w 10000"/>
                <a:gd name="connsiteY89" fmla="*/ 848 h 9926"/>
                <a:gd name="connsiteX90" fmla="*/ 734 w 10000"/>
                <a:gd name="connsiteY90" fmla="*/ 947 h 9926"/>
                <a:gd name="connsiteX91" fmla="*/ 675 w 10000"/>
                <a:gd name="connsiteY91" fmla="*/ 1058 h 9926"/>
                <a:gd name="connsiteX92" fmla="*/ 615 w 10000"/>
                <a:gd name="connsiteY92" fmla="*/ 1162 h 9926"/>
                <a:gd name="connsiteX93" fmla="*/ 556 w 10000"/>
                <a:gd name="connsiteY93" fmla="*/ 1276 h 9926"/>
                <a:gd name="connsiteX94" fmla="*/ 504 w 10000"/>
                <a:gd name="connsiteY94" fmla="*/ 1379 h 9926"/>
                <a:gd name="connsiteX95" fmla="*/ 452 w 10000"/>
                <a:gd name="connsiteY95" fmla="*/ 1489 h 9926"/>
                <a:gd name="connsiteX96" fmla="*/ 408 w 10000"/>
                <a:gd name="connsiteY96" fmla="*/ 1599 h 9926"/>
                <a:gd name="connsiteX97" fmla="*/ 363 w 10000"/>
                <a:gd name="connsiteY97" fmla="*/ 1709 h 9926"/>
                <a:gd name="connsiteX98" fmla="*/ 319 w 10000"/>
                <a:gd name="connsiteY98" fmla="*/ 1823 h 9926"/>
                <a:gd name="connsiteX99" fmla="*/ 282 w 10000"/>
                <a:gd name="connsiteY99" fmla="*/ 1936 h 9926"/>
                <a:gd name="connsiteX100" fmla="*/ 237 w 10000"/>
                <a:gd name="connsiteY100" fmla="*/ 2053 h 9926"/>
                <a:gd name="connsiteX101" fmla="*/ 208 w 10000"/>
                <a:gd name="connsiteY101" fmla="*/ 2165 h 9926"/>
                <a:gd name="connsiteX102" fmla="*/ 170 w 10000"/>
                <a:gd name="connsiteY102" fmla="*/ 2281 h 9926"/>
                <a:gd name="connsiteX103" fmla="*/ 148 w 10000"/>
                <a:gd name="connsiteY103" fmla="*/ 2398 h 9926"/>
                <a:gd name="connsiteX104" fmla="*/ 119 w 10000"/>
                <a:gd name="connsiteY104" fmla="*/ 2512 h 9926"/>
                <a:gd name="connsiteX105" fmla="*/ 96 w 10000"/>
                <a:gd name="connsiteY105" fmla="*/ 2626 h 9926"/>
                <a:gd name="connsiteX106" fmla="*/ 74 w 10000"/>
                <a:gd name="connsiteY106" fmla="*/ 2747 h 9926"/>
                <a:gd name="connsiteX107" fmla="*/ 52 w 10000"/>
                <a:gd name="connsiteY107" fmla="*/ 2869 h 9926"/>
                <a:gd name="connsiteX108" fmla="*/ 37 w 10000"/>
                <a:gd name="connsiteY108" fmla="*/ 2986 h 9926"/>
                <a:gd name="connsiteX109" fmla="*/ 22 w 10000"/>
                <a:gd name="connsiteY109" fmla="*/ 3103 h 9926"/>
                <a:gd name="connsiteX110" fmla="*/ 15 w 10000"/>
                <a:gd name="connsiteY110" fmla="*/ 3221 h 9926"/>
                <a:gd name="connsiteX111" fmla="*/ 7 w 10000"/>
                <a:gd name="connsiteY111" fmla="*/ 3342 h 9926"/>
                <a:gd name="connsiteX112" fmla="*/ 0 w 10000"/>
                <a:gd name="connsiteY112" fmla="*/ 3461 h 9926"/>
                <a:gd name="connsiteX113" fmla="*/ 0 w 10000"/>
                <a:gd name="connsiteY113" fmla="*/ 3583 h 9926"/>
                <a:gd name="connsiteX114" fmla="*/ 7 w 10000"/>
                <a:gd name="connsiteY114" fmla="*/ 3739 h 9926"/>
                <a:gd name="connsiteX115" fmla="*/ 7 w 10000"/>
                <a:gd name="connsiteY115" fmla="*/ 3894 h 9926"/>
                <a:gd name="connsiteX116" fmla="*/ 22 w 10000"/>
                <a:gd name="connsiteY116" fmla="*/ 4042 h 9926"/>
                <a:gd name="connsiteX117" fmla="*/ 37 w 10000"/>
                <a:gd name="connsiteY117" fmla="*/ 4194 h 9926"/>
                <a:gd name="connsiteX118" fmla="*/ 59 w 10000"/>
                <a:gd name="connsiteY118" fmla="*/ 4346 h 9926"/>
                <a:gd name="connsiteX119" fmla="*/ 89 w 10000"/>
                <a:gd name="connsiteY119" fmla="*/ 4497 h 9926"/>
                <a:gd name="connsiteX120" fmla="*/ 119 w 10000"/>
                <a:gd name="connsiteY120" fmla="*/ 4647 h 9926"/>
                <a:gd name="connsiteX121" fmla="*/ 148 w 10000"/>
                <a:gd name="connsiteY121" fmla="*/ 4799 h 9926"/>
                <a:gd name="connsiteX122" fmla="*/ 193 w 10000"/>
                <a:gd name="connsiteY122" fmla="*/ 4947 h 9926"/>
                <a:gd name="connsiteX123" fmla="*/ 237 w 10000"/>
                <a:gd name="connsiteY123" fmla="*/ 5092 h 9926"/>
                <a:gd name="connsiteX124" fmla="*/ 282 w 10000"/>
                <a:gd name="connsiteY124" fmla="*/ 5240 h 9926"/>
                <a:gd name="connsiteX125" fmla="*/ 334 w 10000"/>
                <a:gd name="connsiteY125" fmla="*/ 5385 h 9926"/>
                <a:gd name="connsiteX126" fmla="*/ 393 w 10000"/>
                <a:gd name="connsiteY126" fmla="*/ 5527 h 9926"/>
                <a:gd name="connsiteX127" fmla="*/ 452 w 10000"/>
                <a:gd name="connsiteY127" fmla="*/ 5669 h 9926"/>
                <a:gd name="connsiteX128" fmla="*/ 519 w 10000"/>
                <a:gd name="connsiteY128" fmla="*/ 5811 h 9926"/>
                <a:gd name="connsiteX129" fmla="*/ 586 w 10000"/>
                <a:gd name="connsiteY129" fmla="*/ 5954 h 9926"/>
                <a:gd name="connsiteX130" fmla="*/ 660 w 10000"/>
                <a:gd name="connsiteY130" fmla="*/ 6090 h 9926"/>
                <a:gd name="connsiteX131" fmla="*/ 741 w 10000"/>
                <a:gd name="connsiteY131" fmla="*/ 6226 h 9926"/>
                <a:gd name="connsiteX132" fmla="*/ 823 w 10000"/>
                <a:gd name="connsiteY132" fmla="*/ 6368 h 9926"/>
                <a:gd name="connsiteX133" fmla="*/ 904 w 10000"/>
                <a:gd name="connsiteY133" fmla="*/ 6500 h 9926"/>
                <a:gd name="connsiteX134" fmla="*/ 993 w 10000"/>
                <a:gd name="connsiteY134" fmla="*/ 6634 h 9926"/>
                <a:gd name="connsiteX135" fmla="*/ 1090 w 10000"/>
                <a:gd name="connsiteY135" fmla="*/ 6758 h 9926"/>
                <a:gd name="connsiteX136" fmla="*/ 1186 w 10000"/>
                <a:gd name="connsiteY136" fmla="*/ 6892 h 9926"/>
                <a:gd name="connsiteX137" fmla="*/ 1290 w 10000"/>
                <a:gd name="connsiteY137" fmla="*/ 7023 h 9926"/>
                <a:gd name="connsiteX138" fmla="*/ 1386 w 10000"/>
                <a:gd name="connsiteY138" fmla="*/ 7151 h 9926"/>
                <a:gd name="connsiteX139" fmla="*/ 1497 w 10000"/>
                <a:gd name="connsiteY139" fmla="*/ 7278 h 9926"/>
                <a:gd name="connsiteX140" fmla="*/ 1609 w 10000"/>
                <a:gd name="connsiteY140" fmla="*/ 7400 h 9926"/>
                <a:gd name="connsiteX141" fmla="*/ 1727 w 10000"/>
                <a:gd name="connsiteY141" fmla="*/ 7527 h 9926"/>
                <a:gd name="connsiteX142" fmla="*/ 1846 w 10000"/>
                <a:gd name="connsiteY142" fmla="*/ 7649 h 9926"/>
                <a:gd name="connsiteX143" fmla="*/ 1964 w 10000"/>
                <a:gd name="connsiteY143" fmla="*/ 7766 h 9926"/>
                <a:gd name="connsiteX144" fmla="*/ 2090 w 10000"/>
                <a:gd name="connsiteY144" fmla="*/ 7882 h 9926"/>
                <a:gd name="connsiteX145" fmla="*/ 2224 w 10000"/>
                <a:gd name="connsiteY145" fmla="*/ 8001 h 9926"/>
                <a:gd name="connsiteX146" fmla="*/ 2350 w 10000"/>
                <a:gd name="connsiteY146" fmla="*/ 8118 h 9926"/>
                <a:gd name="connsiteX147" fmla="*/ 2491 w 10000"/>
                <a:gd name="connsiteY147" fmla="*/ 8230 h 9926"/>
                <a:gd name="connsiteX148" fmla="*/ 2617 w 10000"/>
                <a:gd name="connsiteY148" fmla="*/ 8343 h 9926"/>
                <a:gd name="connsiteX149" fmla="*/ 2765 w 10000"/>
                <a:gd name="connsiteY149" fmla="*/ 8452 h 9926"/>
                <a:gd name="connsiteX150" fmla="*/ 2906 w 10000"/>
                <a:gd name="connsiteY150" fmla="*/ 8558 h 9926"/>
                <a:gd name="connsiteX151" fmla="*/ 3054 w 10000"/>
                <a:gd name="connsiteY151" fmla="*/ 8666 h 9926"/>
                <a:gd name="connsiteX152" fmla="*/ 3210 w 10000"/>
                <a:gd name="connsiteY152" fmla="*/ 8769 h 9926"/>
                <a:gd name="connsiteX153" fmla="*/ 3358 w 10000"/>
                <a:gd name="connsiteY153" fmla="*/ 8871 h 9926"/>
                <a:gd name="connsiteX154" fmla="*/ 3514 w 10000"/>
                <a:gd name="connsiteY154" fmla="*/ 8974 h 9926"/>
                <a:gd name="connsiteX155" fmla="*/ 3677 w 10000"/>
                <a:gd name="connsiteY155" fmla="*/ 9071 h 9926"/>
                <a:gd name="connsiteX156" fmla="*/ 3840 w 10000"/>
                <a:gd name="connsiteY156" fmla="*/ 9164 h 9926"/>
                <a:gd name="connsiteX157" fmla="*/ 4010 w 10000"/>
                <a:gd name="connsiteY157" fmla="*/ 9261 h 9926"/>
                <a:gd name="connsiteX158" fmla="*/ 4181 w 10000"/>
                <a:gd name="connsiteY158" fmla="*/ 9346 h 9926"/>
                <a:gd name="connsiteX159" fmla="*/ 4351 w 10000"/>
                <a:gd name="connsiteY159" fmla="*/ 9436 h 9926"/>
                <a:gd name="connsiteX160" fmla="*/ 4522 w 10000"/>
                <a:gd name="connsiteY160" fmla="*/ 9521 h 9926"/>
                <a:gd name="connsiteX161" fmla="*/ 4700 w 10000"/>
                <a:gd name="connsiteY161" fmla="*/ 9610 h 9926"/>
                <a:gd name="connsiteX162" fmla="*/ 4878 w 10000"/>
                <a:gd name="connsiteY162" fmla="*/ 9692 h 9926"/>
                <a:gd name="connsiteX163" fmla="*/ 5063 w 10000"/>
                <a:gd name="connsiteY163" fmla="*/ 9771 h 9926"/>
                <a:gd name="connsiteX164" fmla="*/ 5248 w 10000"/>
                <a:gd name="connsiteY164" fmla="*/ 9853 h 9926"/>
                <a:gd name="connsiteX165" fmla="*/ 5426 w 10000"/>
                <a:gd name="connsiteY165" fmla="*/ 9926 h 9926"/>
                <a:gd name="connsiteX166" fmla="*/ 7539 w 10000"/>
                <a:gd name="connsiteY166" fmla="*/ 8255 h 9926"/>
                <a:gd name="connsiteX167" fmla="*/ 10000 w 10000"/>
                <a:gd name="connsiteY167" fmla="*/ 6534 h 9926"/>
                <a:gd name="connsiteX0" fmla="*/ 10000 w 10000"/>
                <a:gd name="connsiteY0" fmla="*/ 6583 h 9926"/>
                <a:gd name="connsiteX1" fmla="*/ 10000 w 10000"/>
                <a:gd name="connsiteY1" fmla="*/ 6583 h 9926"/>
                <a:gd name="connsiteX2" fmla="*/ 9911 w 10000"/>
                <a:gd name="connsiteY2" fmla="*/ 6568 h 9926"/>
                <a:gd name="connsiteX3" fmla="*/ 9815 w 10000"/>
                <a:gd name="connsiteY3" fmla="*/ 6548 h 9926"/>
                <a:gd name="connsiteX4" fmla="*/ 9726 w 10000"/>
                <a:gd name="connsiteY4" fmla="*/ 6529 h 9926"/>
                <a:gd name="connsiteX5" fmla="*/ 9637 w 10000"/>
                <a:gd name="connsiteY5" fmla="*/ 6504 h 9926"/>
                <a:gd name="connsiteX6" fmla="*/ 9548 w 10000"/>
                <a:gd name="connsiteY6" fmla="*/ 6485 h 9926"/>
                <a:gd name="connsiteX7" fmla="*/ 9466 w 10000"/>
                <a:gd name="connsiteY7" fmla="*/ 6460 h 9926"/>
                <a:gd name="connsiteX8" fmla="*/ 9377 w 10000"/>
                <a:gd name="connsiteY8" fmla="*/ 6436 h 9926"/>
                <a:gd name="connsiteX9" fmla="*/ 9288 w 10000"/>
                <a:gd name="connsiteY9" fmla="*/ 6411 h 9926"/>
                <a:gd name="connsiteX10" fmla="*/ 9118 w 10000"/>
                <a:gd name="connsiteY10" fmla="*/ 6356 h 9926"/>
                <a:gd name="connsiteX11" fmla="*/ 8955 w 10000"/>
                <a:gd name="connsiteY11" fmla="*/ 6297 h 9926"/>
                <a:gd name="connsiteX12" fmla="*/ 8792 w 10000"/>
                <a:gd name="connsiteY12" fmla="*/ 6234 h 9926"/>
                <a:gd name="connsiteX13" fmla="*/ 8636 w 10000"/>
                <a:gd name="connsiteY13" fmla="*/ 6165 h 9926"/>
                <a:gd name="connsiteX14" fmla="*/ 8480 w 10000"/>
                <a:gd name="connsiteY14" fmla="*/ 6094 h 9926"/>
                <a:gd name="connsiteX15" fmla="*/ 8340 w 10000"/>
                <a:gd name="connsiteY15" fmla="*/ 6024 h 9926"/>
                <a:gd name="connsiteX16" fmla="*/ 8199 w 10000"/>
                <a:gd name="connsiteY16" fmla="*/ 5943 h 9926"/>
                <a:gd name="connsiteX17" fmla="*/ 8058 w 10000"/>
                <a:gd name="connsiteY17" fmla="*/ 5858 h 9926"/>
                <a:gd name="connsiteX18" fmla="*/ 7924 w 10000"/>
                <a:gd name="connsiteY18" fmla="*/ 5773 h 9926"/>
                <a:gd name="connsiteX19" fmla="*/ 7798 w 10000"/>
                <a:gd name="connsiteY19" fmla="*/ 5681 h 9926"/>
                <a:gd name="connsiteX20" fmla="*/ 7672 w 10000"/>
                <a:gd name="connsiteY20" fmla="*/ 5589 h 9926"/>
                <a:gd name="connsiteX21" fmla="*/ 7554 w 10000"/>
                <a:gd name="connsiteY21" fmla="*/ 5494 h 9926"/>
                <a:gd name="connsiteX22" fmla="*/ 7450 w 10000"/>
                <a:gd name="connsiteY22" fmla="*/ 5392 h 9926"/>
                <a:gd name="connsiteX23" fmla="*/ 7346 w 10000"/>
                <a:gd name="connsiteY23" fmla="*/ 5288 h 9926"/>
                <a:gd name="connsiteX24" fmla="*/ 7250 w 10000"/>
                <a:gd name="connsiteY24" fmla="*/ 5184 h 9926"/>
                <a:gd name="connsiteX25" fmla="*/ 7161 w 10000"/>
                <a:gd name="connsiteY25" fmla="*/ 5078 h 9926"/>
                <a:gd name="connsiteX26" fmla="*/ 7072 w 10000"/>
                <a:gd name="connsiteY26" fmla="*/ 4968 h 9926"/>
                <a:gd name="connsiteX27" fmla="*/ 6990 w 10000"/>
                <a:gd name="connsiteY27" fmla="*/ 4850 h 9926"/>
                <a:gd name="connsiteX28" fmla="*/ 6953 w 10000"/>
                <a:gd name="connsiteY28" fmla="*/ 4798 h 9926"/>
                <a:gd name="connsiteX29" fmla="*/ 6916 w 10000"/>
                <a:gd name="connsiteY29" fmla="*/ 4736 h 9926"/>
                <a:gd name="connsiteX30" fmla="*/ 6887 w 10000"/>
                <a:gd name="connsiteY30" fmla="*/ 4678 h 9926"/>
                <a:gd name="connsiteX31" fmla="*/ 6850 w 10000"/>
                <a:gd name="connsiteY31" fmla="*/ 4619 h 9926"/>
                <a:gd name="connsiteX32" fmla="*/ 6820 w 10000"/>
                <a:gd name="connsiteY32" fmla="*/ 4560 h 9926"/>
                <a:gd name="connsiteX33" fmla="*/ 6790 w 10000"/>
                <a:gd name="connsiteY33" fmla="*/ 4500 h 9926"/>
                <a:gd name="connsiteX34" fmla="*/ 6768 w 10000"/>
                <a:gd name="connsiteY34" fmla="*/ 4437 h 9926"/>
                <a:gd name="connsiteX35" fmla="*/ 6738 w 10000"/>
                <a:gd name="connsiteY35" fmla="*/ 4378 h 9926"/>
                <a:gd name="connsiteX36" fmla="*/ 6723 w 10000"/>
                <a:gd name="connsiteY36" fmla="*/ 4313 h 9926"/>
                <a:gd name="connsiteX37" fmla="*/ 6694 w 10000"/>
                <a:gd name="connsiteY37" fmla="*/ 4253 h 9926"/>
                <a:gd name="connsiteX38" fmla="*/ 6679 w 10000"/>
                <a:gd name="connsiteY38" fmla="*/ 4190 h 9926"/>
                <a:gd name="connsiteX39" fmla="*/ 6664 w 10000"/>
                <a:gd name="connsiteY39" fmla="*/ 4127 h 9926"/>
                <a:gd name="connsiteX40" fmla="*/ 6649 w 10000"/>
                <a:gd name="connsiteY40" fmla="*/ 4062 h 9926"/>
                <a:gd name="connsiteX41" fmla="*/ 6635 w 10000"/>
                <a:gd name="connsiteY41" fmla="*/ 4003 h 9926"/>
                <a:gd name="connsiteX42" fmla="*/ 6620 w 10000"/>
                <a:gd name="connsiteY42" fmla="*/ 3939 h 9926"/>
                <a:gd name="connsiteX43" fmla="*/ 6612 w 10000"/>
                <a:gd name="connsiteY43" fmla="*/ 3876 h 9926"/>
                <a:gd name="connsiteX44" fmla="*/ 6605 w 10000"/>
                <a:gd name="connsiteY44" fmla="*/ 3810 h 9926"/>
                <a:gd name="connsiteX45" fmla="*/ 6597 w 10000"/>
                <a:gd name="connsiteY45" fmla="*/ 3741 h 9926"/>
                <a:gd name="connsiteX46" fmla="*/ 6597 w 10000"/>
                <a:gd name="connsiteY46" fmla="*/ 3678 h 9926"/>
                <a:gd name="connsiteX47" fmla="*/ 6590 w 10000"/>
                <a:gd name="connsiteY47" fmla="*/ 3610 h 9926"/>
                <a:gd name="connsiteX48" fmla="*/ 6597 w 10000"/>
                <a:gd name="connsiteY48" fmla="*/ 3544 h 9926"/>
                <a:gd name="connsiteX49" fmla="*/ 6605 w 10000"/>
                <a:gd name="connsiteY49" fmla="*/ 3474 h 9926"/>
                <a:gd name="connsiteX50" fmla="*/ 6605 w 10000"/>
                <a:gd name="connsiteY50" fmla="*/ 3403 h 9926"/>
                <a:gd name="connsiteX51" fmla="*/ 6612 w 10000"/>
                <a:gd name="connsiteY51" fmla="*/ 3332 h 9926"/>
                <a:gd name="connsiteX52" fmla="*/ 6620 w 10000"/>
                <a:gd name="connsiteY52" fmla="*/ 3264 h 9926"/>
                <a:gd name="connsiteX53" fmla="*/ 6635 w 10000"/>
                <a:gd name="connsiteY53" fmla="*/ 3202 h 9926"/>
                <a:gd name="connsiteX54" fmla="*/ 6649 w 10000"/>
                <a:gd name="connsiteY54" fmla="*/ 3131 h 9926"/>
                <a:gd name="connsiteX55" fmla="*/ 6664 w 10000"/>
                <a:gd name="connsiteY55" fmla="*/ 3067 h 9926"/>
                <a:gd name="connsiteX56" fmla="*/ 6686 w 10000"/>
                <a:gd name="connsiteY56" fmla="*/ 2998 h 9926"/>
                <a:gd name="connsiteX57" fmla="*/ 6709 w 10000"/>
                <a:gd name="connsiteY57" fmla="*/ 2935 h 9926"/>
                <a:gd name="connsiteX58" fmla="*/ 6731 w 10000"/>
                <a:gd name="connsiteY58" fmla="*/ 2870 h 9926"/>
                <a:gd name="connsiteX59" fmla="*/ 6753 w 10000"/>
                <a:gd name="connsiteY59" fmla="*/ 2801 h 9926"/>
                <a:gd name="connsiteX60" fmla="*/ 6783 w 10000"/>
                <a:gd name="connsiteY60" fmla="*/ 2744 h 9926"/>
                <a:gd name="connsiteX61" fmla="*/ 6812 w 10000"/>
                <a:gd name="connsiteY61" fmla="*/ 2678 h 9926"/>
                <a:gd name="connsiteX62" fmla="*/ 6842 w 10000"/>
                <a:gd name="connsiteY62" fmla="*/ 2613 h 9926"/>
                <a:gd name="connsiteX63" fmla="*/ 6879 w 10000"/>
                <a:gd name="connsiteY63" fmla="*/ 2552 h 9926"/>
                <a:gd name="connsiteX64" fmla="*/ 6909 w 10000"/>
                <a:gd name="connsiteY64" fmla="*/ 2491 h 9926"/>
                <a:gd name="connsiteX65" fmla="*/ 6946 w 10000"/>
                <a:gd name="connsiteY65" fmla="*/ 2425 h 9926"/>
                <a:gd name="connsiteX66" fmla="*/ 6990 w 10000"/>
                <a:gd name="connsiteY66" fmla="*/ 2368 h 9926"/>
                <a:gd name="connsiteX67" fmla="*/ 7027 w 10000"/>
                <a:gd name="connsiteY67" fmla="*/ 2309 h 9926"/>
                <a:gd name="connsiteX68" fmla="*/ 7072 w 10000"/>
                <a:gd name="connsiteY68" fmla="*/ 2251 h 9926"/>
                <a:gd name="connsiteX69" fmla="*/ 7109 w 10000"/>
                <a:gd name="connsiteY69" fmla="*/ 2190 h 9926"/>
                <a:gd name="connsiteX70" fmla="*/ 7161 w 10000"/>
                <a:gd name="connsiteY70" fmla="*/ 2137 h 9926"/>
                <a:gd name="connsiteX71" fmla="*/ 7213 w 10000"/>
                <a:gd name="connsiteY71" fmla="*/ 2077 h 9926"/>
                <a:gd name="connsiteX72" fmla="*/ 7257 w 10000"/>
                <a:gd name="connsiteY72" fmla="*/ 2021 h 9926"/>
                <a:gd name="connsiteX73" fmla="*/ 7309 w 10000"/>
                <a:gd name="connsiteY73" fmla="*/ 1965 h 9926"/>
                <a:gd name="connsiteX74" fmla="*/ 7361 w 10000"/>
                <a:gd name="connsiteY74" fmla="*/ 1907 h 9926"/>
                <a:gd name="connsiteX75" fmla="*/ 7413 w 10000"/>
                <a:gd name="connsiteY75" fmla="*/ 1856 h 9926"/>
                <a:gd name="connsiteX76" fmla="*/ 7472 w 10000"/>
                <a:gd name="connsiteY76" fmla="*/ 1803 h 9926"/>
                <a:gd name="connsiteX77" fmla="*/ 7524 w 10000"/>
                <a:gd name="connsiteY77" fmla="*/ 1752 h 9926"/>
                <a:gd name="connsiteX78" fmla="*/ 7583 w 10000"/>
                <a:gd name="connsiteY78" fmla="*/ 1701 h 9926"/>
                <a:gd name="connsiteX79" fmla="*/ 7610 w 10000"/>
                <a:gd name="connsiteY79" fmla="*/ 1670 h 9926"/>
                <a:gd name="connsiteX80" fmla="*/ 5390 w 10000"/>
                <a:gd name="connsiteY80" fmla="*/ 6 h 9926"/>
                <a:gd name="connsiteX81" fmla="*/ 1401 w 10000"/>
                <a:gd name="connsiteY81" fmla="*/ 0 h 9926"/>
                <a:gd name="connsiteX82" fmla="*/ 1305 w 10000"/>
                <a:gd name="connsiteY82" fmla="*/ 126 h 9926"/>
                <a:gd name="connsiteX83" fmla="*/ 1223 w 10000"/>
                <a:gd name="connsiteY83" fmla="*/ 221 h 9926"/>
                <a:gd name="connsiteX84" fmla="*/ 1149 w 10000"/>
                <a:gd name="connsiteY84" fmla="*/ 323 h 9926"/>
                <a:gd name="connsiteX85" fmla="*/ 1067 w 10000"/>
                <a:gd name="connsiteY85" fmla="*/ 427 h 9926"/>
                <a:gd name="connsiteX86" fmla="*/ 1001 w 10000"/>
                <a:gd name="connsiteY86" fmla="*/ 532 h 9926"/>
                <a:gd name="connsiteX87" fmla="*/ 927 w 10000"/>
                <a:gd name="connsiteY87" fmla="*/ 635 h 9926"/>
                <a:gd name="connsiteX88" fmla="*/ 860 w 10000"/>
                <a:gd name="connsiteY88" fmla="*/ 744 h 9926"/>
                <a:gd name="connsiteX89" fmla="*/ 793 w 10000"/>
                <a:gd name="connsiteY89" fmla="*/ 854 h 9926"/>
                <a:gd name="connsiteX90" fmla="*/ 734 w 10000"/>
                <a:gd name="connsiteY90" fmla="*/ 954 h 9926"/>
                <a:gd name="connsiteX91" fmla="*/ 675 w 10000"/>
                <a:gd name="connsiteY91" fmla="*/ 1066 h 9926"/>
                <a:gd name="connsiteX92" fmla="*/ 615 w 10000"/>
                <a:gd name="connsiteY92" fmla="*/ 1171 h 9926"/>
                <a:gd name="connsiteX93" fmla="*/ 556 w 10000"/>
                <a:gd name="connsiteY93" fmla="*/ 1286 h 9926"/>
                <a:gd name="connsiteX94" fmla="*/ 504 w 10000"/>
                <a:gd name="connsiteY94" fmla="*/ 1389 h 9926"/>
                <a:gd name="connsiteX95" fmla="*/ 452 w 10000"/>
                <a:gd name="connsiteY95" fmla="*/ 1500 h 9926"/>
                <a:gd name="connsiteX96" fmla="*/ 408 w 10000"/>
                <a:gd name="connsiteY96" fmla="*/ 1611 h 9926"/>
                <a:gd name="connsiteX97" fmla="*/ 363 w 10000"/>
                <a:gd name="connsiteY97" fmla="*/ 1722 h 9926"/>
                <a:gd name="connsiteX98" fmla="*/ 319 w 10000"/>
                <a:gd name="connsiteY98" fmla="*/ 1837 h 9926"/>
                <a:gd name="connsiteX99" fmla="*/ 282 w 10000"/>
                <a:gd name="connsiteY99" fmla="*/ 1950 h 9926"/>
                <a:gd name="connsiteX100" fmla="*/ 237 w 10000"/>
                <a:gd name="connsiteY100" fmla="*/ 2068 h 9926"/>
                <a:gd name="connsiteX101" fmla="*/ 208 w 10000"/>
                <a:gd name="connsiteY101" fmla="*/ 2181 h 9926"/>
                <a:gd name="connsiteX102" fmla="*/ 170 w 10000"/>
                <a:gd name="connsiteY102" fmla="*/ 2298 h 9926"/>
                <a:gd name="connsiteX103" fmla="*/ 148 w 10000"/>
                <a:gd name="connsiteY103" fmla="*/ 2416 h 9926"/>
                <a:gd name="connsiteX104" fmla="*/ 119 w 10000"/>
                <a:gd name="connsiteY104" fmla="*/ 2531 h 9926"/>
                <a:gd name="connsiteX105" fmla="*/ 96 w 10000"/>
                <a:gd name="connsiteY105" fmla="*/ 2646 h 9926"/>
                <a:gd name="connsiteX106" fmla="*/ 74 w 10000"/>
                <a:gd name="connsiteY106" fmla="*/ 2767 h 9926"/>
                <a:gd name="connsiteX107" fmla="*/ 52 w 10000"/>
                <a:gd name="connsiteY107" fmla="*/ 2890 h 9926"/>
                <a:gd name="connsiteX108" fmla="*/ 37 w 10000"/>
                <a:gd name="connsiteY108" fmla="*/ 3008 h 9926"/>
                <a:gd name="connsiteX109" fmla="*/ 22 w 10000"/>
                <a:gd name="connsiteY109" fmla="*/ 3126 h 9926"/>
                <a:gd name="connsiteX110" fmla="*/ 15 w 10000"/>
                <a:gd name="connsiteY110" fmla="*/ 3245 h 9926"/>
                <a:gd name="connsiteX111" fmla="*/ 7 w 10000"/>
                <a:gd name="connsiteY111" fmla="*/ 3367 h 9926"/>
                <a:gd name="connsiteX112" fmla="*/ 0 w 10000"/>
                <a:gd name="connsiteY112" fmla="*/ 3487 h 9926"/>
                <a:gd name="connsiteX113" fmla="*/ 0 w 10000"/>
                <a:gd name="connsiteY113" fmla="*/ 3610 h 9926"/>
                <a:gd name="connsiteX114" fmla="*/ 7 w 10000"/>
                <a:gd name="connsiteY114" fmla="*/ 3767 h 9926"/>
                <a:gd name="connsiteX115" fmla="*/ 7 w 10000"/>
                <a:gd name="connsiteY115" fmla="*/ 3923 h 9926"/>
                <a:gd name="connsiteX116" fmla="*/ 22 w 10000"/>
                <a:gd name="connsiteY116" fmla="*/ 4072 h 9926"/>
                <a:gd name="connsiteX117" fmla="*/ 37 w 10000"/>
                <a:gd name="connsiteY117" fmla="*/ 4225 h 9926"/>
                <a:gd name="connsiteX118" fmla="*/ 59 w 10000"/>
                <a:gd name="connsiteY118" fmla="*/ 4378 h 9926"/>
                <a:gd name="connsiteX119" fmla="*/ 89 w 10000"/>
                <a:gd name="connsiteY119" fmla="*/ 4531 h 9926"/>
                <a:gd name="connsiteX120" fmla="*/ 119 w 10000"/>
                <a:gd name="connsiteY120" fmla="*/ 4682 h 9926"/>
                <a:gd name="connsiteX121" fmla="*/ 148 w 10000"/>
                <a:gd name="connsiteY121" fmla="*/ 4835 h 9926"/>
                <a:gd name="connsiteX122" fmla="*/ 193 w 10000"/>
                <a:gd name="connsiteY122" fmla="*/ 4984 h 9926"/>
                <a:gd name="connsiteX123" fmla="*/ 237 w 10000"/>
                <a:gd name="connsiteY123" fmla="*/ 5130 h 9926"/>
                <a:gd name="connsiteX124" fmla="*/ 282 w 10000"/>
                <a:gd name="connsiteY124" fmla="*/ 5279 h 9926"/>
                <a:gd name="connsiteX125" fmla="*/ 334 w 10000"/>
                <a:gd name="connsiteY125" fmla="*/ 5425 h 9926"/>
                <a:gd name="connsiteX126" fmla="*/ 393 w 10000"/>
                <a:gd name="connsiteY126" fmla="*/ 5568 h 9926"/>
                <a:gd name="connsiteX127" fmla="*/ 452 w 10000"/>
                <a:gd name="connsiteY127" fmla="*/ 5711 h 9926"/>
                <a:gd name="connsiteX128" fmla="*/ 519 w 10000"/>
                <a:gd name="connsiteY128" fmla="*/ 5854 h 9926"/>
                <a:gd name="connsiteX129" fmla="*/ 586 w 10000"/>
                <a:gd name="connsiteY129" fmla="*/ 5998 h 9926"/>
                <a:gd name="connsiteX130" fmla="*/ 660 w 10000"/>
                <a:gd name="connsiteY130" fmla="*/ 6135 h 9926"/>
                <a:gd name="connsiteX131" fmla="*/ 741 w 10000"/>
                <a:gd name="connsiteY131" fmla="*/ 6272 h 9926"/>
                <a:gd name="connsiteX132" fmla="*/ 823 w 10000"/>
                <a:gd name="connsiteY132" fmla="*/ 6415 h 9926"/>
                <a:gd name="connsiteX133" fmla="*/ 904 w 10000"/>
                <a:gd name="connsiteY133" fmla="*/ 6548 h 9926"/>
                <a:gd name="connsiteX134" fmla="*/ 993 w 10000"/>
                <a:gd name="connsiteY134" fmla="*/ 6683 h 9926"/>
                <a:gd name="connsiteX135" fmla="*/ 1090 w 10000"/>
                <a:gd name="connsiteY135" fmla="*/ 6808 h 9926"/>
                <a:gd name="connsiteX136" fmla="*/ 1186 w 10000"/>
                <a:gd name="connsiteY136" fmla="*/ 6943 h 9926"/>
                <a:gd name="connsiteX137" fmla="*/ 1290 w 10000"/>
                <a:gd name="connsiteY137" fmla="*/ 7075 h 9926"/>
                <a:gd name="connsiteX138" fmla="*/ 1386 w 10000"/>
                <a:gd name="connsiteY138" fmla="*/ 7204 h 9926"/>
                <a:gd name="connsiteX139" fmla="*/ 1497 w 10000"/>
                <a:gd name="connsiteY139" fmla="*/ 7332 h 9926"/>
                <a:gd name="connsiteX140" fmla="*/ 1609 w 10000"/>
                <a:gd name="connsiteY140" fmla="*/ 7455 h 9926"/>
                <a:gd name="connsiteX141" fmla="*/ 1727 w 10000"/>
                <a:gd name="connsiteY141" fmla="*/ 7583 h 9926"/>
                <a:gd name="connsiteX142" fmla="*/ 1846 w 10000"/>
                <a:gd name="connsiteY142" fmla="*/ 7706 h 9926"/>
                <a:gd name="connsiteX143" fmla="*/ 1964 w 10000"/>
                <a:gd name="connsiteY143" fmla="*/ 7824 h 9926"/>
                <a:gd name="connsiteX144" fmla="*/ 2090 w 10000"/>
                <a:gd name="connsiteY144" fmla="*/ 7941 h 9926"/>
                <a:gd name="connsiteX145" fmla="*/ 2224 w 10000"/>
                <a:gd name="connsiteY145" fmla="*/ 8061 h 9926"/>
                <a:gd name="connsiteX146" fmla="*/ 2350 w 10000"/>
                <a:gd name="connsiteY146" fmla="*/ 8179 h 9926"/>
                <a:gd name="connsiteX147" fmla="*/ 2491 w 10000"/>
                <a:gd name="connsiteY147" fmla="*/ 8291 h 9926"/>
                <a:gd name="connsiteX148" fmla="*/ 2617 w 10000"/>
                <a:gd name="connsiteY148" fmla="*/ 8405 h 9926"/>
                <a:gd name="connsiteX149" fmla="*/ 2765 w 10000"/>
                <a:gd name="connsiteY149" fmla="*/ 8515 h 9926"/>
                <a:gd name="connsiteX150" fmla="*/ 2906 w 10000"/>
                <a:gd name="connsiteY150" fmla="*/ 8622 h 9926"/>
                <a:gd name="connsiteX151" fmla="*/ 3054 w 10000"/>
                <a:gd name="connsiteY151" fmla="*/ 8731 h 9926"/>
                <a:gd name="connsiteX152" fmla="*/ 3210 w 10000"/>
                <a:gd name="connsiteY152" fmla="*/ 8834 h 9926"/>
                <a:gd name="connsiteX153" fmla="*/ 3358 w 10000"/>
                <a:gd name="connsiteY153" fmla="*/ 8937 h 9926"/>
                <a:gd name="connsiteX154" fmla="*/ 3514 w 10000"/>
                <a:gd name="connsiteY154" fmla="*/ 9041 h 9926"/>
                <a:gd name="connsiteX155" fmla="*/ 3677 w 10000"/>
                <a:gd name="connsiteY155" fmla="*/ 9139 h 9926"/>
                <a:gd name="connsiteX156" fmla="*/ 3840 w 10000"/>
                <a:gd name="connsiteY156" fmla="*/ 9232 h 9926"/>
                <a:gd name="connsiteX157" fmla="*/ 4010 w 10000"/>
                <a:gd name="connsiteY157" fmla="*/ 9330 h 9926"/>
                <a:gd name="connsiteX158" fmla="*/ 4181 w 10000"/>
                <a:gd name="connsiteY158" fmla="*/ 9416 h 9926"/>
                <a:gd name="connsiteX159" fmla="*/ 4351 w 10000"/>
                <a:gd name="connsiteY159" fmla="*/ 9506 h 9926"/>
                <a:gd name="connsiteX160" fmla="*/ 4522 w 10000"/>
                <a:gd name="connsiteY160" fmla="*/ 9592 h 9926"/>
                <a:gd name="connsiteX161" fmla="*/ 4700 w 10000"/>
                <a:gd name="connsiteY161" fmla="*/ 9682 h 9926"/>
                <a:gd name="connsiteX162" fmla="*/ 4878 w 10000"/>
                <a:gd name="connsiteY162" fmla="*/ 9764 h 9926"/>
                <a:gd name="connsiteX163" fmla="*/ 5063 w 10000"/>
                <a:gd name="connsiteY163" fmla="*/ 9844 h 9926"/>
                <a:gd name="connsiteX164" fmla="*/ 5248 w 10000"/>
                <a:gd name="connsiteY164" fmla="*/ 9926 h 9926"/>
                <a:gd name="connsiteX165" fmla="*/ 7539 w 10000"/>
                <a:gd name="connsiteY165" fmla="*/ 8317 h 9926"/>
                <a:gd name="connsiteX166" fmla="*/ 10000 w 10000"/>
                <a:gd name="connsiteY166" fmla="*/ 6583 h 9926"/>
                <a:gd name="connsiteX0" fmla="*/ 10000 w 10000"/>
                <a:gd name="connsiteY0" fmla="*/ 6632 h 9917"/>
                <a:gd name="connsiteX1" fmla="*/ 10000 w 10000"/>
                <a:gd name="connsiteY1" fmla="*/ 6632 h 9917"/>
                <a:gd name="connsiteX2" fmla="*/ 9911 w 10000"/>
                <a:gd name="connsiteY2" fmla="*/ 6617 h 9917"/>
                <a:gd name="connsiteX3" fmla="*/ 9815 w 10000"/>
                <a:gd name="connsiteY3" fmla="*/ 6597 h 9917"/>
                <a:gd name="connsiteX4" fmla="*/ 9726 w 10000"/>
                <a:gd name="connsiteY4" fmla="*/ 6578 h 9917"/>
                <a:gd name="connsiteX5" fmla="*/ 9637 w 10000"/>
                <a:gd name="connsiteY5" fmla="*/ 6552 h 9917"/>
                <a:gd name="connsiteX6" fmla="*/ 9548 w 10000"/>
                <a:gd name="connsiteY6" fmla="*/ 6533 h 9917"/>
                <a:gd name="connsiteX7" fmla="*/ 9466 w 10000"/>
                <a:gd name="connsiteY7" fmla="*/ 6508 h 9917"/>
                <a:gd name="connsiteX8" fmla="*/ 9377 w 10000"/>
                <a:gd name="connsiteY8" fmla="*/ 6484 h 9917"/>
                <a:gd name="connsiteX9" fmla="*/ 9288 w 10000"/>
                <a:gd name="connsiteY9" fmla="*/ 6459 h 9917"/>
                <a:gd name="connsiteX10" fmla="*/ 9118 w 10000"/>
                <a:gd name="connsiteY10" fmla="*/ 6403 h 9917"/>
                <a:gd name="connsiteX11" fmla="*/ 8955 w 10000"/>
                <a:gd name="connsiteY11" fmla="*/ 6344 h 9917"/>
                <a:gd name="connsiteX12" fmla="*/ 8792 w 10000"/>
                <a:gd name="connsiteY12" fmla="*/ 6280 h 9917"/>
                <a:gd name="connsiteX13" fmla="*/ 8636 w 10000"/>
                <a:gd name="connsiteY13" fmla="*/ 6211 h 9917"/>
                <a:gd name="connsiteX14" fmla="*/ 8480 w 10000"/>
                <a:gd name="connsiteY14" fmla="*/ 6139 h 9917"/>
                <a:gd name="connsiteX15" fmla="*/ 8340 w 10000"/>
                <a:gd name="connsiteY15" fmla="*/ 6069 h 9917"/>
                <a:gd name="connsiteX16" fmla="*/ 8199 w 10000"/>
                <a:gd name="connsiteY16" fmla="*/ 5987 h 9917"/>
                <a:gd name="connsiteX17" fmla="*/ 8058 w 10000"/>
                <a:gd name="connsiteY17" fmla="*/ 5902 h 9917"/>
                <a:gd name="connsiteX18" fmla="*/ 7924 w 10000"/>
                <a:gd name="connsiteY18" fmla="*/ 5816 h 9917"/>
                <a:gd name="connsiteX19" fmla="*/ 7798 w 10000"/>
                <a:gd name="connsiteY19" fmla="*/ 5723 h 9917"/>
                <a:gd name="connsiteX20" fmla="*/ 7672 w 10000"/>
                <a:gd name="connsiteY20" fmla="*/ 5631 h 9917"/>
                <a:gd name="connsiteX21" fmla="*/ 7554 w 10000"/>
                <a:gd name="connsiteY21" fmla="*/ 5535 h 9917"/>
                <a:gd name="connsiteX22" fmla="*/ 7450 w 10000"/>
                <a:gd name="connsiteY22" fmla="*/ 5432 h 9917"/>
                <a:gd name="connsiteX23" fmla="*/ 7346 w 10000"/>
                <a:gd name="connsiteY23" fmla="*/ 5327 h 9917"/>
                <a:gd name="connsiteX24" fmla="*/ 7250 w 10000"/>
                <a:gd name="connsiteY24" fmla="*/ 5223 h 9917"/>
                <a:gd name="connsiteX25" fmla="*/ 7161 w 10000"/>
                <a:gd name="connsiteY25" fmla="*/ 5116 h 9917"/>
                <a:gd name="connsiteX26" fmla="*/ 7072 w 10000"/>
                <a:gd name="connsiteY26" fmla="*/ 5005 h 9917"/>
                <a:gd name="connsiteX27" fmla="*/ 6990 w 10000"/>
                <a:gd name="connsiteY27" fmla="*/ 4886 h 9917"/>
                <a:gd name="connsiteX28" fmla="*/ 6953 w 10000"/>
                <a:gd name="connsiteY28" fmla="*/ 4834 h 9917"/>
                <a:gd name="connsiteX29" fmla="*/ 6916 w 10000"/>
                <a:gd name="connsiteY29" fmla="*/ 4771 h 9917"/>
                <a:gd name="connsiteX30" fmla="*/ 6887 w 10000"/>
                <a:gd name="connsiteY30" fmla="*/ 4713 h 9917"/>
                <a:gd name="connsiteX31" fmla="*/ 6850 w 10000"/>
                <a:gd name="connsiteY31" fmla="*/ 4653 h 9917"/>
                <a:gd name="connsiteX32" fmla="*/ 6820 w 10000"/>
                <a:gd name="connsiteY32" fmla="*/ 4594 h 9917"/>
                <a:gd name="connsiteX33" fmla="*/ 6790 w 10000"/>
                <a:gd name="connsiteY33" fmla="*/ 4534 h 9917"/>
                <a:gd name="connsiteX34" fmla="*/ 6768 w 10000"/>
                <a:gd name="connsiteY34" fmla="*/ 4470 h 9917"/>
                <a:gd name="connsiteX35" fmla="*/ 6738 w 10000"/>
                <a:gd name="connsiteY35" fmla="*/ 4411 h 9917"/>
                <a:gd name="connsiteX36" fmla="*/ 6723 w 10000"/>
                <a:gd name="connsiteY36" fmla="*/ 4345 h 9917"/>
                <a:gd name="connsiteX37" fmla="*/ 6694 w 10000"/>
                <a:gd name="connsiteY37" fmla="*/ 4285 h 9917"/>
                <a:gd name="connsiteX38" fmla="*/ 6679 w 10000"/>
                <a:gd name="connsiteY38" fmla="*/ 4221 h 9917"/>
                <a:gd name="connsiteX39" fmla="*/ 6664 w 10000"/>
                <a:gd name="connsiteY39" fmla="*/ 4158 h 9917"/>
                <a:gd name="connsiteX40" fmla="*/ 6649 w 10000"/>
                <a:gd name="connsiteY40" fmla="*/ 4092 h 9917"/>
                <a:gd name="connsiteX41" fmla="*/ 6635 w 10000"/>
                <a:gd name="connsiteY41" fmla="*/ 4033 h 9917"/>
                <a:gd name="connsiteX42" fmla="*/ 6620 w 10000"/>
                <a:gd name="connsiteY42" fmla="*/ 3968 h 9917"/>
                <a:gd name="connsiteX43" fmla="*/ 6612 w 10000"/>
                <a:gd name="connsiteY43" fmla="*/ 3905 h 9917"/>
                <a:gd name="connsiteX44" fmla="*/ 6605 w 10000"/>
                <a:gd name="connsiteY44" fmla="*/ 3838 h 9917"/>
                <a:gd name="connsiteX45" fmla="*/ 6597 w 10000"/>
                <a:gd name="connsiteY45" fmla="*/ 3769 h 9917"/>
                <a:gd name="connsiteX46" fmla="*/ 6597 w 10000"/>
                <a:gd name="connsiteY46" fmla="*/ 3705 h 9917"/>
                <a:gd name="connsiteX47" fmla="*/ 6590 w 10000"/>
                <a:gd name="connsiteY47" fmla="*/ 3637 h 9917"/>
                <a:gd name="connsiteX48" fmla="*/ 6597 w 10000"/>
                <a:gd name="connsiteY48" fmla="*/ 3570 h 9917"/>
                <a:gd name="connsiteX49" fmla="*/ 6605 w 10000"/>
                <a:gd name="connsiteY49" fmla="*/ 3500 h 9917"/>
                <a:gd name="connsiteX50" fmla="*/ 6605 w 10000"/>
                <a:gd name="connsiteY50" fmla="*/ 3428 h 9917"/>
                <a:gd name="connsiteX51" fmla="*/ 6612 w 10000"/>
                <a:gd name="connsiteY51" fmla="*/ 3357 h 9917"/>
                <a:gd name="connsiteX52" fmla="*/ 6620 w 10000"/>
                <a:gd name="connsiteY52" fmla="*/ 3288 h 9917"/>
                <a:gd name="connsiteX53" fmla="*/ 6635 w 10000"/>
                <a:gd name="connsiteY53" fmla="*/ 3226 h 9917"/>
                <a:gd name="connsiteX54" fmla="*/ 6649 w 10000"/>
                <a:gd name="connsiteY54" fmla="*/ 3154 h 9917"/>
                <a:gd name="connsiteX55" fmla="*/ 6664 w 10000"/>
                <a:gd name="connsiteY55" fmla="*/ 3090 h 9917"/>
                <a:gd name="connsiteX56" fmla="*/ 6686 w 10000"/>
                <a:gd name="connsiteY56" fmla="*/ 3020 h 9917"/>
                <a:gd name="connsiteX57" fmla="*/ 6709 w 10000"/>
                <a:gd name="connsiteY57" fmla="*/ 2957 h 9917"/>
                <a:gd name="connsiteX58" fmla="*/ 6731 w 10000"/>
                <a:gd name="connsiteY58" fmla="*/ 2891 h 9917"/>
                <a:gd name="connsiteX59" fmla="*/ 6753 w 10000"/>
                <a:gd name="connsiteY59" fmla="*/ 2822 h 9917"/>
                <a:gd name="connsiteX60" fmla="*/ 6783 w 10000"/>
                <a:gd name="connsiteY60" fmla="*/ 2764 h 9917"/>
                <a:gd name="connsiteX61" fmla="*/ 6812 w 10000"/>
                <a:gd name="connsiteY61" fmla="*/ 2698 h 9917"/>
                <a:gd name="connsiteX62" fmla="*/ 6842 w 10000"/>
                <a:gd name="connsiteY62" fmla="*/ 2632 h 9917"/>
                <a:gd name="connsiteX63" fmla="*/ 6879 w 10000"/>
                <a:gd name="connsiteY63" fmla="*/ 2571 h 9917"/>
                <a:gd name="connsiteX64" fmla="*/ 6909 w 10000"/>
                <a:gd name="connsiteY64" fmla="*/ 2510 h 9917"/>
                <a:gd name="connsiteX65" fmla="*/ 6946 w 10000"/>
                <a:gd name="connsiteY65" fmla="*/ 2443 h 9917"/>
                <a:gd name="connsiteX66" fmla="*/ 6990 w 10000"/>
                <a:gd name="connsiteY66" fmla="*/ 2386 h 9917"/>
                <a:gd name="connsiteX67" fmla="*/ 7027 w 10000"/>
                <a:gd name="connsiteY67" fmla="*/ 2326 h 9917"/>
                <a:gd name="connsiteX68" fmla="*/ 7072 w 10000"/>
                <a:gd name="connsiteY68" fmla="*/ 2268 h 9917"/>
                <a:gd name="connsiteX69" fmla="*/ 7109 w 10000"/>
                <a:gd name="connsiteY69" fmla="*/ 2206 h 9917"/>
                <a:gd name="connsiteX70" fmla="*/ 7161 w 10000"/>
                <a:gd name="connsiteY70" fmla="*/ 2153 h 9917"/>
                <a:gd name="connsiteX71" fmla="*/ 7213 w 10000"/>
                <a:gd name="connsiteY71" fmla="*/ 2092 h 9917"/>
                <a:gd name="connsiteX72" fmla="*/ 7257 w 10000"/>
                <a:gd name="connsiteY72" fmla="*/ 2036 h 9917"/>
                <a:gd name="connsiteX73" fmla="*/ 7309 w 10000"/>
                <a:gd name="connsiteY73" fmla="*/ 1980 h 9917"/>
                <a:gd name="connsiteX74" fmla="*/ 7361 w 10000"/>
                <a:gd name="connsiteY74" fmla="*/ 1921 h 9917"/>
                <a:gd name="connsiteX75" fmla="*/ 7413 w 10000"/>
                <a:gd name="connsiteY75" fmla="*/ 1870 h 9917"/>
                <a:gd name="connsiteX76" fmla="*/ 7472 w 10000"/>
                <a:gd name="connsiteY76" fmla="*/ 1816 h 9917"/>
                <a:gd name="connsiteX77" fmla="*/ 7524 w 10000"/>
                <a:gd name="connsiteY77" fmla="*/ 1765 h 9917"/>
                <a:gd name="connsiteX78" fmla="*/ 7583 w 10000"/>
                <a:gd name="connsiteY78" fmla="*/ 1714 h 9917"/>
                <a:gd name="connsiteX79" fmla="*/ 7610 w 10000"/>
                <a:gd name="connsiteY79" fmla="*/ 1682 h 9917"/>
                <a:gd name="connsiteX80" fmla="*/ 5390 w 10000"/>
                <a:gd name="connsiteY80" fmla="*/ 6 h 9917"/>
                <a:gd name="connsiteX81" fmla="*/ 1401 w 10000"/>
                <a:gd name="connsiteY81" fmla="*/ 0 h 9917"/>
                <a:gd name="connsiteX82" fmla="*/ 1305 w 10000"/>
                <a:gd name="connsiteY82" fmla="*/ 127 h 9917"/>
                <a:gd name="connsiteX83" fmla="*/ 1223 w 10000"/>
                <a:gd name="connsiteY83" fmla="*/ 223 h 9917"/>
                <a:gd name="connsiteX84" fmla="*/ 1149 w 10000"/>
                <a:gd name="connsiteY84" fmla="*/ 325 h 9917"/>
                <a:gd name="connsiteX85" fmla="*/ 1067 w 10000"/>
                <a:gd name="connsiteY85" fmla="*/ 430 h 9917"/>
                <a:gd name="connsiteX86" fmla="*/ 1001 w 10000"/>
                <a:gd name="connsiteY86" fmla="*/ 536 h 9917"/>
                <a:gd name="connsiteX87" fmla="*/ 927 w 10000"/>
                <a:gd name="connsiteY87" fmla="*/ 640 h 9917"/>
                <a:gd name="connsiteX88" fmla="*/ 860 w 10000"/>
                <a:gd name="connsiteY88" fmla="*/ 750 h 9917"/>
                <a:gd name="connsiteX89" fmla="*/ 793 w 10000"/>
                <a:gd name="connsiteY89" fmla="*/ 860 h 9917"/>
                <a:gd name="connsiteX90" fmla="*/ 734 w 10000"/>
                <a:gd name="connsiteY90" fmla="*/ 961 h 9917"/>
                <a:gd name="connsiteX91" fmla="*/ 675 w 10000"/>
                <a:gd name="connsiteY91" fmla="*/ 1074 h 9917"/>
                <a:gd name="connsiteX92" fmla="*/ 615 w 10000"/>
                <a:gd name="connsiteY92" fmla="*/ 1180 h 9917"/>
                <a:gd name="connsiteX93" fmla="*/ 556 w 10000"/>
                <a:gd name="connsiteY93" fmla="*/ 1296 h 9917"/>
                <a:gd name="connsiteX94" fmla="*/ 504 w 10000"/>
                <a:gd name="connsiteY94" fmla="*/ 1399 h 9917"/>
                <a:gd name="connsiteX95" fmla="*/ 452 w 10000"/>
                <a:gd name="connsiteY95" fmla="*/ 1511 h 9917"/>
                <a:gd name="connsiteX96" fmla="*/ 408 w 10000"/>
                <a:gd name="connsiteY96" fmla="*/ 1623 h 9917"/>
                <a:gd name="connsiteX97" fmla="*/ 363 w 10000"/>
                <a:gd name="connsiteY97" fmla="*/ 1735 h 9917"/>
                <a:gd name="connsiteX98" fmla="*/ 319 w 10000"/>
                <a:gd name="connsiteY98" fmla="*/ 1851 h 9917"/>
                <a:gd name="connsiteX99" fmla="*/ 282 w 10000"/>
                <a:gd name="connsiteY99" fmla="*/ 1965 h 9917"/>
                <a:gd name="connsiteX100" fmla="*/ 237 w 10000"/>
                <a:gd name="connsiteY100" fmla="*/ 2083 h 9917"/>
                <a:gd name="connsiteX101" fmla="*/ 208 w 10000"/>
                <a:gd name="connsiteY101" fmla="*/ 2197 h 9917"/>
                <a:gd name="connsiteX102" fmla="*/ 170 w 10000"/>
                <a:gd name="connsiteY102" fmla="*/ 2315 h 9917"/>
                <a:gd name="connsiteX103" fmla="*/ 148 w 10000"/>
                <a:gd name="connsiteY103" fmla="*/ 2434 h 9917"/>
                <a:gd name="connsiteX104" fmla="*/ 119 w 10000"/>
                <a:gd name="connsiteY104" fmla="*/ 2550 h 9917"/>
                <a:gd name="connsiteX105" fmla="*/ 96 w 10000"/>
                <a:gd name="connsiteY105" fmla="*/ 2666 h 9917"/>
                <a:gd name="connsiteX106" fmla="*/ 74 w 10000"/>
                <a:gd name="connsiteY106" fmla="*/ 2788 h 9917"/>
                <a:gd name="connsiteX107" fmla="*/ 52 w 10000"/>
                <a:gd name="connsiteY107" fmla="*/ 2912 h 9917"/>
                <a:gd name="connsiteX108" fmla="*/ 37 w 10000"/>
                <a:gd name="connsiteY108" fmla="*/ 3030 h 9917"/>
                <a:gd name="connsiteX109" fmla="*/ 22 w 10000"/>
                <a:gd name="connsiteY109" fmla="*/ 3149 h 9917"/>
                <a:gd name="connsiteX110" fmla="*/ 15 w 10000"/>
                <a:gd name="connsiteY110" fmla="*/ 3269 h 9917"/>
                <a:gd name="connsiteX111" fmla="*/ 7 w 10000"/>
                <a:gd name="connsiteY111" fmla="*/ 3392 h 9917"/>
                <a:gd name="connsiteX112" fmla="*/ 0 w 10000"/>
                <a:gd name="connsiteY112" fmla="*/ 3513 h 9917"/>
                <a:gd name="connsiteX113" fmla="*/ 0 w 10000"/>
                <a:gd name="connsiteY113" fmla="*/ 3637 h 9917"/>
                <a:gd name="connsiteX114" fmla="*/ 7 w 10000"/>
                <a:gd name="connsiteY114" fmla="*/ 3795 h 9917"/>
                <a:gd name="connsiteX115" fmla="*/ 7 w 10000"/>
                <a:gd name="connsiteY115" fmla="*/ 3952 h 9917"/>
                <a:gd name="connsiteX116" fmla="*/ 22 w 10000"/>
                <a:gd name="connsiteY116" fmla="*/ 4102 h 9917"/>
                <a:gd name="connsiteX117" fmla="*/ 37 w 10000"/>
                <a:gd name="connsiteY117" fmla="*/ 4256 h 9917"/>
                <a:gd name="connsiteX118" fmla="*/ 59 w 10000"/>
                <a:gd name="connsiteY118" fmla="*/ 4411 h 9917"/>
                <a:gd name="connsiteX119" fmla="*/ 89 w 10000"/>
                <a:gd name="connsiteY119" fmla="*/ 4565 h 9917"/>
                <a:gd name="connsiteX120" fmla="*/ 119 w 10000"/>
                <a:gd name="connsiteY120" fmla="*/ 4717 h 9917"/>
                <a:gd name="connsiteX121" fmla="*/ 148 w 10000"/>
                <a:gd name="connsiteY121" fmla="*/ 4871 h 9917"/>
                <a:gd name="connsiteX122" fmla="*/ 193 w 10000"/>
                <a:gd name="connsiteY122" fmla="*/ 5021 h 9917"/>
                <a:gd name="connsiteX123" fmla="*/ 237 w 10000"/>
                <a:gd name="connsiteY123" fmla="*/ 5168 h 9917"/>
                <a:gd name="connsiteX124" fmla="*/ 282 w 10000"/>
                <a:gd name="connsiteY124" fmla="*/ 5318 h 9917"/>
                <a:gd name="connsiteX125" fmla="*/ 334 w 10000"/>
                <a:gd name="connsiteY125" fmla="*/ 5465 h 9917"/>
                <a:gd name="connsiteX126" fmla="*/ 393 w 10000"/>
                <a:gd name="connsiteY126" fmla="*/ 5610 h 9917"/>
                <a:gd name="connsiteX127" fmla="*/ 452 w 10000"/>
                <a:gd name="connsiteY127" fmla="*/ 5754 h 9917"/>
                <a:gd name="connsiteX128" fmla="*/ 519 w 10000"/>
                <a:gd name="connsiteY128" fmla="*/ 5898 h 9917"/>
                <a:gd name="connsiteX129" fmla="*/ 586 w 10000"/>
                <a:gd name="connsiteY129" fmla="*/ 6043 h 9917"/>
                <a:gd name="connsiteX130" fmla="*/ 660 w 10000"/>
                <a:gd name="connsiteY130" fmla="*/ 6181 h 9917"/>
                <a:gd name="connsiteX131" fmla="*/ 741 w 10000"/>
                <a:gd name="connsiteY131" fmla="*/ 6319 h 9917"/>
                <a:gd name="connsiteX132" fmla="*/ 823 w 10000"/>
                <a:gd name="connsiteY132" fmla="*/ 6463 h 9917"/>
                <a:gd name="connsiteX133" fmla="*/ 904 w 10000"/>
                <a:gd name="connsiteY133" fmla="*/ 6597 h 9917"/>
                <a:gd name="connsiteX134" fmla="*/ 993 w 10000"/>
                <a:gd name="connsiteY134" fmla="*/ 6733 h 9917"/>
                <a:gd name="connsiteX135" fmla="*/ 1090 w 10000"/>
                <a:gd name="connsiteY135" fmla="*/ 6859 h 9917"/>
                <a:gd name="connsiteX136" fmla="*/ 1186 w 10000"/>
                <a:gd name="connsiteY136" fmla="*/ 6995 h 9917"/>
                <a:gd name="connsiteX137" fmla="*/ 1290 w 10000"/>
                <a:gd name="connsiteY137" fmla="*/ 7128 h 9917"/>
                <a:gd name="connsiteX138" fmla="*/ 1386 w 10000"/>
                <a:gd name="connsiteY138" fmla="*/ 7258 h 9917"/>
                <a:gd name="connsiteX139" fmla="*/ 1497 w 10000"/>
                <a:gd name="connsiteY139" fmla="*/ 7387 h 9917"/>
                <a:gd name="connsiteX140" fmla="*/ 1609 w 10000"/>
                <a:gd name="connsiteY140" fmla="*/ 7511 h 9917"/>
                <a:gd name="connsiteX141" fmla="*/ 1727 w 10000"/>
                <a:gd name="connsiteY141" fmla="*/ 7640 h 9917"/>
                <a:gd name="connsiteX142" fmla="*/ 1846 w 10000"/>
                <a:gd name="connsiteY142" fmla="*/ 7763 h 9917"/>
                <a:gd name="connsiteX143" fmla="*/ 1964 w 10000"/>
                <a:gd name="connsiteY143" fmla="*/ 7882 h 9917"/>
                <a:gd name="connsiteX144" fmla="*/ 2090 w 10000"/>
                <a:gd name="connsiteY144" fmla="*/ 8000 h 9917"/>
                <a:gd name="connsiteX145" fmla="*/ 2224 w 10000"/>
                <a:gd name="connsiteY145" fmla="*/ 8121 h 9917"/>
                <a:gd name="connsiteX146" fmla="*/ 2350 w 10000"/>
                <a:gd name="connsiteY146" fmla="*/ 8240 h 9917"/>
                <a:gd name="connsiteX147" fmla="*/ 2491 w 10000"/>
                <a:gd name="connsiteY147" fmla="*/ 8353 h 9917"/>
                <a:gd name="connsiteX148" fmla="*/ 2617 w 10000"/>
                <a:gd name="connsiteY148" fmla="*/ 8468 h 9917"/>
                <a:gd name="connsiteX149" fmla="*/ 2765 w 10000"/>
                <a:gd name="connsiteY149" fmla="*/ 8578 h 9917"/>
                <a:gd name="connsiteX150" fmla="*/ 2906 w 10000"/>
                <a:gd name="connsiteY150" fmla="*/ 8686 h 9917"/>
                <a:gd name="connsiteX151" fmla="*/ 3054 w 10000"/>
                <a:gd name="connsiteY151" fmla="*/ 8796 h 9917"/>
                <a:gd name="connsiteX152" fmla="*/ 3210 w 10000"/>
                <a:gd name="connsiteY152" fmla="*/ 8900 h 9917"/>
                <a:gd name="connsiteX153" fmla="*/ 3358 w 10000"/>
                <a:gd name="connsiteY153" fmla="*/ 9004 h 9917"/>
                <a:gd name="connsiteX154" fmla="*/ 3514 w 10000"/>
                <a:gd name="connsiteY154" fmla="*/ 9108 h 9917"/>
                <a:gd name="connsiteX155" fmla="*/ 3677 w 10000"/>
                <a:gd name="connsiteY155" fmla="*/ 9207 h 9917"/>
                <a:gd name="connsiteX156" fmla="*/ 3840 w 10000"/>
                <a:gd name="connsiteY156" fmla="*/ 9301 h 9917"/>
                <a:gd name="connsiteX157" fmla="*/ 4010 w 10000"/>
                <a:gd name="connsiteY157" fmla="*/ 9400 h 9917"/>
                <a:gd name="connsiteX158" fmla="*/ 4181 w 10000"/>
                <a:gd name="connsiteY158" fmla="*/ 9486 h 9917"/>
                <a:gd name="connsiteX159" fmla="*/ 4351 w 10000"/>
                <a:gd name="connsiteY159" fmla="*/ 9577 h 9917"/>
                <a:gd name="connsiteX160" fmla="*/ 4522 w 10000"/>
                <a:gd name="connsiteY160" fmla="*/ 9664 h 9917"/>
                <a:gd name="connsiteX161" fmla="*/ 4700 w 10000"/>
                <a:gd name="connsiteY161" fmla="*/ 9754 h 9917"/>
                <a:gd name="connsiteX162" fmla="*/ 4878 w 10000"/>
                <a:gd name="connsiteY162" fmla="*/ 9837 h 9917"/>
                <a:gd name="connsiteX163" fmla="*/ 5063 w 10000"/>
                <a:gd name="connsiteY163" fmla="*/ 9917 h 9917"/>
                <a:gd name="connsiteX164" fmla="*/ 7539 w 10000"/>
                <a:gd name="connsiteY164" fmla="*/ 8379 h 9917"/>
                <a:gd name="connsiteX165" fmla="*/ 10000 w 10000"/>
                <a:gd name="connsiteY165" fmla="*/ 6632 h 9917"/>
                <a:gd name="connsiteX0" fmla="*/ 10000 w 10000"/>
                <a:gd name="connsiteY0" fmla="*/ 6688 h 9919"/>
                <a:gd name="connsiteX1" fmla="*/ 10000 w 10000"/>
                <a:gd name="connsiteY1" fmla="*/ 6688 h 9919"/>
                <a:gd name="connsiteX2" fmla="*/ 9911 w 10000"/>
                <a:gd name="connsiteY2" fmla="*/ 6672 h 9919"/>
                <a:gd name="connsiteX3" fmla="*/ 9815 w 10000"/>
                <a:gd name="connsiteY3" fmla="*/ 6652 h 9919"/>
                <a:gd name="connsiteX4" fmla="*/ 9726 w 10000"/>
                <a:gd name="connsiteY4" fmla="*/ 6633 h 9919"/>
                <a:gd name="connsiteX5" fmla="*/ 9637 w 10000"/>
                <a:gd name="connsiteY5" fmla="*/ 6607 h 9919"/>
                <a:gd name="connsiteX6" fmla="*/ 9548 w 10000"/>
                <a:gd name="connsiteY6" fmla="*/ 6588 h 9919"/>
                <a:gd name="connsiteX7" fmla="*/ 9466 w 10000"/>
                <a:gd name="connsiteY7" fmla="*/ 6562 h 9919"/>
                <a:gd name="connsiteX8" fmla="*/ 9377 w 10000"/>
                <a:gd name="connsiteY8" fmla="*/ 6538 h 9919"/>
                <a:gd name="connsiteX9" fmla="*/ 9288 w 10000"/>
                <a:gd name="connsiteY9" fmla="*/ 6513 h 9919"/>
                <a:gd name="connsiteX10" fmla="*/ 9118 w 10000"/>
                <a:gd name="connsiteY10" fmla="*/ 6457 h 9919"/>
                <a:gd name="connsiteX11" fmla="*/ 8955 w 10000"/>
                <a:gd name="connsiteY11" fmla="*/ 6397 h 9919"/>
                <a:gd name="connsiteX12" fmla="*/ 8792 w 10000"/>
                <a:gd name="connsiteY12" fmla="*/ 6333 h 9919"/>
                <a:gd name="connsiteX13" fmla="*/ 8636 w 10000"/>
                <a:gd name="connsiteY13" fmla="*/ 6263 h 9919"/>
                <a:gd name="connsiteX14" fmla="*/ 8480 w 10000"/>
                <a:gd name="connsiteY14" fmla="*/ 6190 h 9919"/>
                <a:gd name="connsiteX15" fmla="*/ 8340 w 10000"/>
                <a:gd name="connsiteY15" fmla="*/ 6120 h 9919"/>
                <a:gd name="connsiteX16" fmla="*/ 8199 w 10000"/>
                <a:gd name="connsiteY16" fmla="*/ 6037 h 9919"/>
                <a:gd name="connsiteX17" fmla="*/ 8058 w 10000"/>
                <a:gd name="connsiteY17" fmla="*/ 5951 h 9919"/>
                <a:gd name="connsiteX18" fmla="*/ 7924 w 10000"/>
                <a:gd name="connsiteY18" fmla="*/ 5865 h 9919"/>
                <a:gd name="connsiteX19" fmla="*/ 7798 w 10000"/>
                <a:gd name="connsiteY19" fmla="*/ 5771 h 9919"/>
                <a:gd name="connsiteX20" fmla="*/ 7672 w 10000"/>
                <a:gd name="connsiteY20" fmla="*/ 5678 h 9919"/>
                <a:gd name="connsiteX21" fmla="*/ 7554 w 10000"/>
                <a:gd name="connsiteY21" fmla="*/ 5581 h 9919"/>
                <a:gd name="connsiteX22" fmla="*/ 7450 w 10000"/>
                <a:gd name="connsiteY22" fmla="*/ 5477 h 9919"/>
                <a:gd name="connsiteX23" fmla="*/ 7346 w 10000"/>
                <a:gd name="connsiteY23" fmla="*/ 5372 h 9919"/>
                <a:gd name="connsiteX24" fmla="*/ 7250 w 10000"/>
                <a:gd name="connsiteY24" fmla="*/ 5267 h 9919"/>
                <a:gd name="connsiteX25" fmla="*/ 7161 w 10000"/>
                <a:gd name="connsiteY25" fmla="*/ 5159 h 9919"/>
                <a:gd name="connsiteX26" fmla="*/ 7072 w 10000"/>
                <a:gd name="connsiteY26" fmla="*/ 5047 h 9919"/>
                <a:gd name="connsiteX27" fmla="*/ 6990 w 10000"/>
                <a:gd name="connsiteY27" fmla="*/ 4927 h 9919"/>
                <a:gd name="connsiteX28" fmla="*/ 6953 w 10000"/>
                <a:gd name="connsiteY28" fmla="*/ 4874 h 9919"/>
                <a:gd name="connsiteX29" fmla="*/ 6916 w 10000"/>
                <a:gd name="connsiteY29" fmla="*/ 4811 h 9919"/>
                <a:gd name="connsiteX30" fmla="*/ 6887 w 10000"/>
                <a:gd name="connsiteY30" fmla="*/ 4752 h 9919"/>
                <a:gd name="connsiteX31" fmla="*/ 6850 w 10000"/>
                <a:gd name="connsiteY31" fmla="*/ 4692 h 9919"/>
                <a:gd name="connsiteX32" fmla="*/ 6820 w 10000"/>
                <a:gd name="connsiteY32" fmla="*/ 4632 h 9919"/>
                <a:gd name="connsiteX33" fmla="*/ 6790 w 10000"/>
                <a:gd name="connsiteY33" fmla="*/ 4572 h 9919"/>
                <a:gd name="connsiteX34" fmla="*/ 6768 w 10000"/>
                <a:gd name="connsiteY34" fmla="*/ 4507 h 9919"/>
                <a:gd name="connsiteX35" fmla="*/ 6738 w 10000"/>
                <a:gd name="connsiteY35" fmla="*/ 4448 h 9919"/>
                <a:gd name="connsiteX36" fmla="*/ 6723 w 10000"/>
                <a:gd name="connsiteY36" fmla="*/ 4381 h 9919"/>
                <a:gd name="connsiteX37" fmla="*/ 6694 w 10000"/>
                <a:gd name="connsiteY37" fmla="*/ 4321 h 9919"/>
                <a:gd name="connsiteX38" fmla="*/ 6679 w 10000"/>
                <a:gd name="connsiteY38" fmla="*/ 4256 h 9919"/>
                <a:gd name="connsiteX39" fmla="*/ 6664 w 10000"/>
                <a:gd name="connsiteY39" fmla="*/ 4193 h 9919"/>
                <a:gd name="connsiteX40" fmla="*/ 6649 w 10000"/>
                <a:gd name="connsiteY40" fmla="*/ 4126 h 9919"/>
                <a:gd name="connsiteX41" fmla="*/ 6635 w 10000"/>
                <a:gd name="connsiteY41" fmla="*/ 4067 h 9919"/>
                <a:gd name="connsiteX42" fmla="*/ 6620 w 10000"/>
                <a:gd name="connsiteY42" fmla="*/ 4001 h 9919"/>
                <a:gd name="connsiteX43" fmla="*/ 6612 w 10000"/>
                <a:gd name="connsiteY43" fmla="*/ 3938 h 9919"/>
                <a:gd name="connsiteX44" fmla="*/ 6605 w 10000"/>
                <a:gd name="connsiteY44" fmla="*/ 3870 h 9919"/>
                <a:gd name="connsiteX45" fmla="*/ 6597 w 10000"/>
                <a:gd name="connsiteY45" fmla="*/ 3801 h 9919"/>
                <a:gd name="connsiteX46" fmla="*/ 6597 w 10000"/>
                <a:gd name="connsiteY46" fmla="*/ 3736 h 9919"/>
                <a:gd name="connsiteX47" fmla="*/ 6590 w 10000"/>
                <a:gd name="connsiteY47" fmla="*/ 3667 h 9919"/>
                <a:gd name="connsiteX48" fmla="*/ 6597 w 10000"/>
                <a:gd name="connsiteY48" fmla="*/ 3600 h 9919"/>
                <a:gd name="connsiteX49" fmla="*/ 6605 w 10000"/>
                <a:gd name="connsiteY49" fmla="*/ 3529 h 9919"/>
                <a:gd name="connsiteX50" fmla="*/ 6605 w 10000"/>
                <a:gd name="connsiteY50" fmla="*/ 3457 h 9919"/>
                <a:gd name="connsiteX51" fmla="*/ 6612 w 10000"/>
                <a:gd name="connsiteY51" fmla="*/ 3385 h 9919"/>
                <a:gd name="connsiteX52" fmla="*/ 6620 w 10000"/>
                <a:gd name="connsiteY52" fmla="*/ 3316 h 9919"/>
                <a:gd name="connsiteX53" fmla="*/ 6635 w 10000"/>
                <a:gd name="connsiteY53" fmla="*/ 3253 h 9919"/>
                <a:gd name="connsiteX54" fmla="*/ 6649 w 10000"/>
                <a:gd name="connsiteY54" fmla="*/ 3180 h 9919"/>
                <a:gd name="connsiteX55" fmla="*/ 6664 w 10000"/>
                <a:gd name="connsiteY55" fmla="*/ 3116 h 9919"/>
                <a:gd name="connsiteX56" fmla="*/ 6686 w 10000"/>
                <a:gd name="connsiteY56" fmla="*/ 3045 h 9919"/>
                <a:gd name="connsiteX57" fmla="*/ 6709 w 10000"/>
                <a:gd name="connsiteY57" fmla="*/ 2982 h 9919"/>
                <a:gd name="connsiteX58" fmla="*/ 6731 w 10000"/>
                <a:gd name="connsiteY58" fmla="*/ 2915 h 9919"/>
                <a:gd name="connsiteX59" fmla="*/ 6753 w 10000"/>
                <a:gd name="connsiteY59" fmla="*/ 2846 h 9919"/>
                <a:gd name="connsiteX60" fmla="*/ 6783 w 10000"/>
                <a:gd name="connsiteY60" fmla="*/ 2787 h 9919"/>
                <a:gd name="connsiteX61" fmla="*/ 6812 w 10000"/>
                <a:gd name="connsiteY61" fmla="*/ 2721 h 9919"/>
                <a:gd name="connsiteX62" fmla="*/ 6842 w 10000"/>
                <a:gd name="connsiteY62" fmla="*/ 2654 h 9919"/>
                <a:gd name="connsiteX63" fmla="*/ 6879 w 10000"/>
                <a:gd name="connsiteY63" fmla="*/ 2593 h 9919"/>
                <a:gd name="connsiteX64" fmla="*/ 6909 w 10000"/>
                <a:gd name="connsiteY64" fmla="*/ 2531 h 9919"/>
                <a:gd name="connsiteX65" fmla="*/ 6946 w 10000"/>
                <a:gd name="connsiteY65" fmla="*/ 2463 h 9919"/>
                <a:gd name="connsiteX66" fmla="*/ 6990 w 10000"/>
                <a:gd name="connsiteY66" fmla="*/ 2406 h 9919"/>
                <a:gd name="connsiteX67" fmla="*/ 7027 w 10000"/>
                <a:gd name="connsiteY67" fmla="*/ 2345 h 9919"/>
                <a:gd name="connsiteX68" fmla="*/ 7072 w 10000"/>
                <a:gd name="connsiteY68" fmla="*/ 2287 h 9919"/>
                <a:gd name="connsiteX69" fmla="*/ 7109 w 10000"/>
                <a:gd name="connsiteY69" fmla="*/ 2224 h 9919"/>
                <a:gd name="connsiteX70" fmla="*/ 7161 w 10000"/>
                <a:gd name="connsiteY70" fmla="*/ 2171 h 9919"/>
                <a:gd name="connsiteX71" fmla="*/ 7213 w 10000"/>
                <a:gd name="connsiteY71" fmla="*/ 2110 h 9919"/>
                <a:gd name="connsiteX72" fmla="*/ 7257 w 10000"/>
                <a:gd name="connsiteY72" fmla="*/ 2053 h 9919"/>
                <a:gd name="connsiteX73" fmla="*/ 7309 w 10000"/>
                <a:gd name="connsiteY73" fmla="*/ 1997 h 9919"/>
                <a:gd name="connsiteX74" fmla="*/ 7361 w 10000"/>
                <a:gd name="connsiteY74" fmla="*/ 1937 h 9919"/>
                <a:gd name="connsiteX75" fmla="*/ 7413 w 10000"/>
                <a:gd name="connsiteY75" fmla="*/ 1886 h 9919"/>
                <a:gd name="connsiteX76" fmla="*/ 7472 w 10000"/>
                <a:gd name="connsiteY76" fmla="*/ 1831 h 9919"/>
                <a:gd name="connsiteX77" fmla="*/ 7524 w 10000"/>
                <a:gd name="connsiteY77" fmla="*/ 1780 h 9919"/>
                <a:gd name="connsiteX78" fmla="*/ 7583 w 10000"/>
                <a:gd name="connsiteY78" fmla="*/ 1728 h 9919"/>
                <a:gd name="connsiteX79" fmla="*/ 7610 w 10000"/>
                <a:gd name="connsiteY79" fmla="*/ 1696 h 9919"/>
                <a:gd name="connsiteX80" fmla="*/ 5390 w 10000"/>
                <a:gd name="connsiteY80" fmla="*/ 6 h 9919"/>
                <a:gd name="connsiteX81" fmla="*/ 1401 w 10000"/>
                <a:gd name="connsiteY81" fmla="*/ 0 h 9919"/>
                <a:gd name="connsiteX82" fmla="*/ 1305 w 10000"/>
                <a:gd name="connsiteY82" fmla="*/ 128 h 9919"/>
                <a:gd name="connsiteX83" fmla="*/ 1223 w 10000"/>
                <a:gd name="connsiteY83" fmla="*/ 225 h 9919"/>
                <a:gd name="connsiteX84" fmla="*/ 1149 w 10000"/>
                <a:gd name="connsiteY84" fmla="*/ 328 h 9919"/>
                <a:gd name="connsiteX85" fmla="*/ 1067 w 10000"/>
                <a:gd name="connsiteY85" fmla="*/ 434 h 9919"/>
                <a:gd name="connsiteX86" fmla="*/ 1001 w 10000"/>
                <a:gd name="connsiteY86" fmla="*/ 540 h 9919"/>
                <a:gd name="connsiteX87" fmla="*/ 927 w 10000"/>
                <a:gd name="connsiteY87" fmla="*/ 645 h 9919"/>
                <a:gd name="connsiteX88" fmla="*/ 860 w 10000"/>
                <a:gd name="connsiteY88" fmla="*/ 756 h 9919"/>
                <a:gd name="connsiteX89" fmla="*/ 793 w 10000"/>
                <a:gd name="connsiteY89" fmla="*/ 867 h 9919"/>
                <a:gd name="connsiteX90" fmla="*/ 734 w 10000"/>
                <a:gd name="connsiteY90" fmla="*/ 969 h 9919"/>
                <a:gd name="connsiteX91" fmla="*/ 675 w 10000"/>
                <a:gd name="connsiteY91" fmla="*/ 1083 h 9919"/>
                <a:gd name="connsiteX92" fmla="*/ 615 w 10000"/>
                <a:gd name="connsiteY92" fmla="*/ 1190 h 9919"/>
                <a:gd name="connsiteX93" fmla="*/ 556 w 10000"/>
                <a:gd name="connsiteY93" fmla="*/ 1307 h 9919"/>
                <a:gd name="connsiteX94" fmla="*/ 504 w 10000"/>
                <a:gd name="connsiteY94" fmla="*/ 1411 h 9919"/>
                <a:gd name="connsiteX95" fmla="*/ 452 w 10000"/>
                <a:gd name="connsiteY95" fmla="*/ 1524 h 9919"/>
                <a:gd name="connsiteX96" fmla="*/ 408 w 10000"/>
                <a:gd name="connsiteY96" fmla="*/ 1637 h 9919"/>
                <a:gd name="connsiteX97" fmla="*/ 363 w 10000"/>
                <a:gd name="connsiteY97" fmla="*/ 1750 h 9919"/>
                <a:gd name="connsiteX98" fmla="*/ 319 w 10000"/>
                <a:gd name="connsiteY98" fmla="*/ 1866 h 9919"/>
                <a:gd name="connsiteX99" fmla="*/ 282 w 10000"/>
                <a:gd name="connsiteY99" fmla="*/ 1981 h 9919"/>
                <a:gd name="connsiteX100" fmla="*/ 237 w 10000"/>
                <a:gd name="connsiteY100" fmla="*/ 2100 h 9919"/>
                <a:gd name="connsiteX101" fmla="*/ 208 w 10000"/>
                <a:gd name="connsiteY101" fmla="*/ 2215 h 9919"/>
                <a:gd name="connsiteX102" fmla="*/ 170 w 10000"/>
                <a:gd name="connsiteY102" fmla="*/ 2334 h 9919"/>
                <a:gd name="connsiteX103" fmla="*/ 148 w 10000"/>
                <a:gd name="connsiteY103" fmla="*/ 2454 h 9919"/>
                <a:gd name="connsiteX104" fmla="*/ 119 w 10000"/>
                <a:gd name="connsiteY104" fmla="*/ 2571 h 9919"/>
                <a:gd name="connsiteX105" fmla="*/ 96 w 10000"/>
                <a:gd name="connsiteY105" fmla="*/ 2688 h 9919"/>
                <a:gd name="connsiteX106" fmla="*/ 74 w 10000"/>
                <a:gd name="connsiteY106" fmla="*/ 2811 h 9919"/>
                <a:gd name="connsiteX107" fmla="*/ 52 w 10000"/>
                <a:gd name="connsiteY107" fmla="*/ 2936 h 9919"/>
                <a:gd name="connsiteX108" fmla="*/ 37 w 10000"/>
                <a:gd name="connsiteY108" fmla="*/ 3055 h 9919"/>
                <a:gd name="connsiteX109" fmla="*/ 22 w 10000"/>
                <a:gd name="connsiteY109" fmla="*/ 3175 h 9919"/>
                <a:gd name="connsiteX110" fmla="*/ 15 w 10000"/>
                <a:gd name="connsiteY110" fmla="*/ 3296 h 9919"/>
                <a:gd name="connsiteX111" fmla="*/ 7 w 10000"/>
                <a:gd name="connsiteY111" fmla="*/ 3420 h 9919"/>
                <a:gd name="connsiteX112" fmla="*/ 0 w 10000"/>
                <a:gd name="connsiteY112" fmla="*/ 3542 h 9919"/>
                <a:gd name="connsiteX113" fmla="*/ 0 w 10000"/>
                <a:gd name="connsiteY113" fmla="*/ 3667 h 9919"/>
                <a:gd name="connsiteX114" fmla="*/ 7 w 10000"/>
                <a:gd name="connsiteY114" fmla="*/ 3827 h 9919"/>
                <a:gd name="connsiteX115" fmla="*/ 7 w 10000"/>
                <a:gd name="connsiteY115" fmla="*/ 3985 h 9919"/>
                <a:gd name="connsiteX116" fmla="*/ 22 w 10000"/>
                <a:gd name="connsiteY116" fmla="*/ 4136 h 9919"/>
                <a:gd name="connsiteX117" fmla="*/ 37 w 10000"/>
                <a:gd name="connsiteY117" fmla="*/ 4292 h 9919"/>
                <a:gd name="connsiteX118" fmla="*/ 59 w 10000"/>
                <a:gd name="connsiteY118" fmla="*/ 4448 h 9919"/>
                <a:gd name="connsiteX119" fmla="*/ 89 w 10000"/>
                <a:gd name="connsiteY119" fmla="*/ 4603 h 9919"/>
                <a:gd name="connsiteX120" fmla="*/ 119 w 10000"/>
                <a:gd name="connsiteY120" fmla="*/ 4756 h 9919"/>
                <a:gd name="connsiteX121" fmla="*/ 148 w 10000"/>
                <a:gd name="connsiteY121" fmla="*/ 4912 h 9919"/>
                <a:gd name="connsiteX122" fmla="*/ 193 w 10000"/>
                <a:gd name="connsiteY122" fmla="*/ 5063 h 9919"/>
                <a:gd name="connsiteX123" fmla="*/ 237 w 10000"/>
                <a:gd name="connsiteY123" fmla="*/ 5211 h 9919"/>
                <a:gd name="connsiteX124" fmla="*/ 282 w 10000"/>
                <a:gd name="connsiteY124" fmla="*/ 5363 h 9919"/>
                <a:gd name="connsiteX125" fmla="*/ 334 w 10000"/>
                <a:gd name="connsiteY125" fmla="*/ 5511 h 9919"/>
                <a:gd name="connsiteX126" fmla="*/ 393 w 10000"/>
                <a:gd name="connsiteY126" fmla="*/ 5657 h 9919"/>
                <a:gd name="connsiteX127" fmla="*/ 452 w 10000"/>
                <a:gd name="connsiteY127" fmla="*/ 5802 h 9919"/>
                <a:gd name="connsiteX128" fmla="*/ 519 w 10000"/>
                <a:gd name="connsiteY128" fmla="*/ 5947 h 9919"/>
                <a:gd name="connsiteX129" fmla="*/ 586 w 10000"/>
                <a:gd name="connsiteY129" fmla="*/ 6094 h 9919"/>
                <a:gd name="connsiteX130" fmla="*/ 660 w 10000"/>
                <a:gd name="connsiteY130" fmla="*/ 6233 h 9919"/>
                <a:gd name="connsiteX131" fmla="*/ 741 w 10000"/>
                <a:gd name="connsiteY131" fmla="*/ 6372 h 9919"/>
                <a:gd name="connsiteX132" fmla="*/ 823 w 10000"/>
                <a:gd name="connsiteY132" fmla="*/ 6517 h 9919"/>
                <a:gd name="connsiteX133" fmla="*/ 904 w 10000"/>
                <a:gd name="connsiteY133" fmla="*/ 6652 h 9919"/>
                <a:gd name="connsiteX134" fmla="*/ 993 w 10000"/>
                <a:gd name="connsiteY134" fmla="*/ 6789 h 9919"/>
                <a:gd name="connsiteX135" fmla="*/ 1090 w 10000"/>
                <a:gd name="connsiteY135" fmla="*/ 6916 h 9919"/>
                <a:gd name="connsiteX136" fmla="*/ 1186 w 10000"/>
                <a:gd name="connsiteY136" fmla="*/ 7054 h 9919"/>
                <a:gd name="connsiteX137" fmla="*/ 1290 w 10000"/>
                <a:gd name="connsiteY137" fmla="*/ 7188 h 9919"/>
                <a:gd name="connsiteX138" fmla="*/ 1386 w 10000"/>
                <a:gd name="connsiteY138" fmla="*/ 7319 h 9919"/>
                <a:gd name="connsiteX139" fmla="*/ 1497 w 10000"/>
                <a:gd name="connsiteY139" fmla="*/ 7449 h 9919"/>
                <a:gd name="connsiteX140" fmla="*/ 1609 w 10000"/>
                <a:gd name="connsiteY140" fmla="*/ 7574 h 9919"/>
                <a:gd name="connsiteX141" fmla="*/ 1727 w 10000"/>
                <a:gd name="connsiteY141" fmla="*/ 7704 h 9919"/>
                <a:gd name="connsiteX142" fmla="*/ 1846 w 10000"/>
                <a:gd name="connsiteY142" fmla="*/ 7828 h 9919"/>
                <a:gd name="connsiteX143" fmla="*/ 1964 w 10000"/>
                <a:gd name="connsiteY143" fmla="*/ 7948 h 9919"/>
                <a:gd name="connsiteX144" fmla="*/ 2090 w 10000"/>
                <a:gd name="connsiteY144" fmla="*/ 8067 h 9919"/>
                <a:gd name="connsiteX145" fmla="*/ 2224 w 10000"/>
                <a:gd name="connsiteY145" fmla="*/ 8189 h 9919"/>
                <a:gd name="connsiteX146" fmla="*/ 2350 w 10000"/>
                <a:gd name="connsiteY146" fmla="*/ 8309 h 9919"/>
                <a:gd name="connsiteX147" fmla="*/ 2491 w 10000"/>
                <a:gd name="connsiteY147" fmla="*/ 8423 h 9919"/>
                <a:gd name="connsiteX148" fmla="*/ 2617 w 10000"/>
                <a:gd name="connsiteY148" fmla="*/ 8539 h 9919"/>
                <a:gd name="connsiteX149" fmla="*/ 2765 w 10000"/>
                <a:gd name="connsiteY149" fmla="*/ 8650 h 9919"/>
                <a:gd name="connsiteX150" fmla="*/ 2906 w 10000"/>
                <a:gd name="connsiteY150" fmla="*/ 8759 h 9919"/>
                <a:gd name="connsiteX151" fmla="*/ 3054 w 10000"/>
                <a:gd name="connsiteY151" fmla="*/ 8870 h 9919"/>
                <a:gd name="connsiteX152" fmla="*/ 3210 w 10000"/>
                <a:gd name="connsiteY152" fmla="*/ 8974 h 9919"/>
                <a:gd name="connsiteX153" fmla="*/ 3358 w 10000"/>
                <a:gd name="connsiteY153" fmla="*/ 9079 h 9919"/>
                <a:gd name="connsiteX154" fmla="*/ 3514 w 10000"/>
                <a:gd name="connsiteY154" fmla="*/ 9184 h 9919"/>
                <a:gd name="connsiteX155" fmla="*/ 3677 w 10000"/>
                <a:gd name="connsiteY155" fmla="*/ 9284 h 9919"/>
                <a:gd name="connsiteX156" fmla="*/ 3840 w 10000"/>
                <a:gd name="connsiteY156" fmla="*/ 9379 h 9919"/>
                <a:gd name="connsiteX157" fmla="*/ 4010 w 10000"/>
                <a:gd name="connsiteY157" fmla="*/ 9479 h 9919"/>
                <a:gd name="connsiteX158" fmla="*/ 4181 w 10000"/>
                <a:gd name="connsiteY158" fmla="*/ 9565 h 9919"/>
                <a:gd name="connsiteX159" fmla="*/ 4351 w 10000"/>
                <a:gd name="connsiteY159" fmla="*/ 9657 h 9919"/>
                <a:gd name="connsiteX160" fmla="*/ 4522 w 10000"/>
                <a:gd name="connsiteY160" fmla="*/ 9745 h 9919"/>
                <a:gd name="connsiteX161" fmla="*/ 4700 w 10000"/>
                <a:gd name="connsiteY161" fmla="*/ 9836 h 9919"/>
                <a:gd name="connsiteX162" fmla="*/ 4878 w 10000"/>
                <a:gd name="connsiteY162" fmla="*/ 9919 h 9919"/>
                <a:gd name="connsiteX163" fmla="*/ 7539 w 10000"/>
                <a:gd name="connsiteY163" fmla="*/ 8449 h 9919"/>
                <a:gd name="connsiteX164" fmla="*/ 10000 w 10000"/>
                <a:gd name="connsiteY164" fmla="*/ 6688 h 9919"/>
                <a:gd name="connsiteX0" fmla="*/ 10000 w 10000"/>
                <a:gd name="connsiteY0" fmla="*/ 6743 h 9916"/>
                <a:gd name="connsiteX1" fmla="*/ 10000 w 10000"/>
                <a:gd name="connsiteY1" fmla="*/ 6743 h 9916"/>
                <a:gd name="connsiteX2" fmla="*/ 9911 w 10000"/>
                <a:gd name="connsiteY2" fmla="*/ 6726 h 9916"/>
                <a:gd name="connsiteX3" fmla="*/ 9815 w 10000"/>
                <a:gd name="connsiteY3" fmla="*/ 6706 h 9916"/>
                <a:gd name="connsiteX4" fmla="*/ 9726 w 10000"/>
                <a:gd name="connsiteY4" fmla="*/ 6687 h 9916"/>
                <a:gd name="connsiteX5" fmla="*/ 9637 w 10000"/>
                <a:gd name="connsiteY5" fmla="*/ 6661 h 9916"/>
                <a:gd name="connsiteX6" fmla="*/ 9548 w 10000"/>
                <a:gd name="connsiteY6" fmla="*/ 6642 h 9916"/>
                <a:gd name="connsiteX7" fmla="*/ 9466 w 10000"/>
                <a:gd name="connsiteY7" fmla="*/ 6616 h 9916"/>
                <a:gd name="connsiteX8" fmla="*/ 9377 w 10000"/>
                <a:gd name="connsiteY8" fmla="*/ 6591 h 9916"/>
                <a:gd name="connsiteX9" fmla="*/ 9288 w 10000"/>
                <a:gd name="connsiteY9" fmla="*/ 6566 h 9916"/>
                <a:gd name="connsiteX10" fmla="*/ 9118 w 10000"/>
                <a:gd name="connsiteY10" fmla="*/ 6510 h 9916"/>
                <a:gd name="connsiteX11" fmla="*/ 8955 w 10000"/>
                <a:gd name="connsiteY11" fmla="*/ 6449 h 9916"/>
                <a:gd name="connsiteX12" fmla="*/ 8792 w 10000"/>
                <a:gd name="connsiteY12" fmla="*/ 6385 h 9916"/>
                <a:gd name="connsiteX13" fmla="*/ 8636 w 10000"/>
                <a:gd name="connsiteY13" fmla="*/ 6314 h 9916"/>
                <a:gd name="connsiteX14" fmla="*/ 8480 w 10000"/>
                <a:gd name="connsiteY14" fmla="*/ 6241 h 9916"/>
                <a:gd name="connsiteX15" fmla="*/ 8340 w 10000"/>
                <a:gd name="connsiteY15" fmla="*/ 6170 h 9916"/>
                <a:gd name="connsiteX16" fmla="*/ 8199 w 10000"/>
                <a:gd name="connsiteY16" fmla="*/ 6086 h 9916"/>
                <a:gd name="connsiteX17" fmla="*/ 8058 w 10000"/>
                <a:gd name="connsiteY17" fmla="*/ 6000 h 9916"/>
                <a:gd name="connsiteX18" fmla="*/ 7924 w 10000"/>
                <a:gd name="connsiteY18" fmla="*/ 5913 h 9916"/>
                <a:gd name="connsiteX19" fmla="*/ 7798 w 10000"/>
                <a:gd name="connsiteY19" fmla="*/ 5818 h 9916"/>
                <a:gd name="connsiteX20" fmla="*/ 7672 w 10000"/>
                <a:gd name="connsiteY20" fmla="*/ 5724 h 9916"/>
                <a:gd name="connsiteX21" fmla="*/ 7554 w 10000"/>
                <a:gd name="connsiteY21" fmla="*/ 5627 h 9916"/>
                <a:gd name="connsiteX22" fmla="*/ 7450 w 10000"/>
                <a:gd name="connsiteY22" fmla="*/ 5522 h 9916"/>
                <a:gd name="connsiteX23" fmla="*/ 7346 w 10000"/>
                <a:gd name="connsiteY23" fmla="*/ 5416 h 9916"/>
                <a:gd name="connsiteX24" fmla="*/ 7250 w 10000"/>
                <a:gd name="connsiteY24" fmla="*/ 5310 h 9916"/>
                <a:gd name="connsiteX25" fmla="*/ 7161 w 10000"/>
                <a:gd name="connsiteY25" fmla="*/ 5201 h 9916"/>
                <a:gd name="connsiteX26" fmla="*/ 7072 w 10000"/>
                <a:gd name="connsiteY26" fmla="*/ 5088 h 9916"/>
                <a:gd name="connsiteX27" fmla="*/ 6990 w 10000"/>
                <a:gd name="connsiteY27" fmla="*/ 4967 h 9916"/>
                <a:gd name="connsiteX28" fmla="*/ 6953 w 10000"/>
                <a:gd name="connsiteY28" fmla="*/ 4914 h 9916"/>
                <a:gd name="connsiteX29" fmla="*/ 6916 w 10000"/>
                <a:gd name="connsiteY29" fmla="*/ 4850 h 9916"/>
                <a:gd name="connsiteX30" fmla="*/ 6887 w 10000"/>
                <a:gd name="connsiteY30" fmla="*/ 4791 h 9916"/>
                <a:gd name="connsiteX31" fmla="*/ 6850 w 10000"/>
                <a:gd name="connsiteY31" fmla="*/ 4730 h 9916"/>
                <a:gd name="connsiteX32" fmla="*/ 6820 w 10000"/>
                <a:gd name="connsiteY32" fmla="*/ 4670 h 9916"/>
                <a:gd name="connsiteX33" fmla="*/ 6790 w 10000"/>
                <a:gd name="connsiteY33" fmla="*/ 4609 h 9916"/>
                <a:gd name="connsiteX34" fmla="*/ 6768 w 10000"/>
                <a:gd name="connsiteY34" fmla="*/ 4544 h 9916"/>
                <a:gd name="connsiteX35" fmla="*/ 6738 w 10000"/>
                <a:gd name="connsiteY35" fmla="*/ 4484 h 9916"/>
                <a:gd name="connsiteX36" fmla="*/ 6723 w 10000"/>
                <a:gd name="connsiteY36" fmla="*/ 4417 h 9916"/>
                <a:gd name="connsiteX37" fmla="*/ 6694 w 10000"/>
                <a:gd name="connsiteY37" fmla="*/ 4356 h 9916"/>
                <a:gd name="connsiteX38" fmla="*/ 6679 w 10000"/>
                <a:gd name="connsiteY38" fmla="*/ 4291 h 9916"/>
                <a:gd name="connsiteX39" fmla="*/ 6664 w 10000"/>
                <a:gd name="connsiteY39" fmla="*/ 4227 h 9916"/>
                <a:gd name="connsiteX40" fmla="*/ 6649 w 10000"/>
                <a:gd name="connsiteY40" fmla="*/ 4160 h 9916"/>
                <a:gd name="connsiteX41" fmla="*/ 6635 w 10000"/>
                <a:gd name="connsiteY41" fmla="*/ 4100 h 9916"/>
                <a:gd name="connsiteX42" fmla="*/ 6620 w 10000"/>
                <a:gd name="connsiteY42" fmla="*/ 4034 h 9916"/>
                <a:gd name="connsiteX43" fmla="*/ 6612 w 10000"/>
                <a:gd name="connsiteY43" fmla="*/ 3970 h 9916"/>
                <a:gd name="connsiteX44" fmla="*/ 6605 w 10000"/>
                <a:gd name="connsiteY44" fmla="*/ 3902 h 9916"/>
                <a:gd name="connsiteX45" fmla="*/ 6597 w 10000"/>
                <a:gd name="connsiteY45" fmla="*/ 3832 h 9916"/>
                <a:gd name="connsiteX46" fmla="*/ 6597 w 10000"/>
                <a:gd name="connsiteY46" fmla="*/ 3767 h 9916"/>
                <a:gd name="connsiteX47" fmla="*/ 6590 w 10000"/>
                <a:gd name="connsiteY47" fmla="*/ 3697 h 9916"/>
                <a:gd name="connsiteX48" fmla="*/ 6597 w 10000"/>
                <a:gd name="connsiteY48" fmla="*/ 3629 h 9916"/>
                <a:gd name="connsiteX49" fmla="*/ 6605 w 10000"/>
                <a:gd name="connsiteY49" fmla="*/ 3558 h 9916"/>
                <a:gd name="connsiteX50" fmla="*/ 6605 w 10000"/>
                <a:gd name="connsiteY50" fmla="*/ 3485 h 9916"/>
                <a:gd name="connsiteX51" fmla="*/ 6612 w 10000"/>
                <a:gd name="connsiteY51" fmla="*/ 3413 h 9916"/>
                <a:gd name="connsiteX52" fmla="*/ 6620 w 10000"/>
                <a:gd name="connsiteY52" fmla="*/ 3343 h 9916"/>
                <a:gd name="connsiteX53" fmla="*/ 6635 w 10000"/>
                <a:gd name="connsiteY53" fmla="*/ 3280 h 9916"/>
                <a:gd name="connsiteX54" fmla="*/ 6649 w 10000"/>
                <a:gd name="connsiteY54" fmla="*/ 3206 h 9916"/>
                <a:gd name="connsiteX55" fmla="*/ 6664 w 10000"/>
                <a:gd name="connsiteY55" fmla="*/ 3141 h 9916"/>
                <a:gd name="connsiteX56" fmla="*/ 6686 w 10000"/>
                <a:gd name="connsiteY56" fmla="*/ 3070 h 9916"/>
                <a:gd name="connsiteX57" fmla="*/ 6709 w 10000"/>
                <a:gd name="connsiteY57" fmla="*/ 3006 h 9916"/>
                <a:gd name="connsiteX58" fmla="*/ 6731 w 10000"/>
                <a:gd name="connsiteY58" fmla="*/ 2939 h 9916"/>
                <a:gd name="connsiteX59" fmla="*/ 6753 w 10000"/>
                <a:gd name="connsiteY59" fmla="*/ 2869 h 9916"/>
                <a:gd name="connsiteX60" fmla="*/ 6783 w 10000"/>
                <a:gd name="connsiteY60" fmla="*/ 2810 h 9916"/>
                <a:gd name="connsiteX61" fmla="*/ 6812 w 10000"/>
                <a:gd name="connsiteY61" fmla="*/ 2743 h 9916"/>
                <a:gd name="connsiteX62" fmla="*/ 6842 w 10000"/>
                <a:gd name="connsiteY62" fmla="*/ 2676 h 9916"/>
                <a:gd name="connsiteX63" fmla="*/ 6879 w 10000"/>
                <a:gd name="connsiteY63" fmla="*/ 2614 h 9916"/>
                <a:gd name="connsiteX64" fmla="*/ 6909 w 10000"/>
                <a:gd name="connsiteY64" fmla="*/ 2552 h 9916"/>
                <a:gd name="connsiteX65" fmla="*/ 6946 w 10000"/>
                <a:gd name="connsiteY65" fmla="*/ 2483 h 9916"/>
                <a:gd name="connsiteX66" fmla="*/ 6990 w 10000"/>
                <a:gd name="connsiteY66" fmla="*/ 2426 h 9916"/>
                <a:gd name="connsiteX67" fmla="*/ 7027 w 10000"/>
                <a:gd name="connsiteY67" fmla="*/ 2364 h 9916"/>
                <a:gd name="connsiteX68" fmla="*/ 7072 w 10000"/>
                <a:gd name="connsiteY68" fmla="*/ 2306 h 9916"/>
                <a:gd name="connsiteX69" fmla="*/ 7109 w 10000"/>
                <a:gd name="connsiteY69" fmla="*/ 2242 h 9916"/>
                <a:gd name="connsiteX70" fmla="*/ 7161 w 10000"/>
                <a:gd name="connsiteY70" fmla="*/ 2189 h 9916"/>
                <a:gd name="connsiteX71" fmla="*/ 7213 w 10000"/>
                <a:gd name="connsiteY71" fmla="*/ 2127 h 9916"/>
                <a:gd name="connsiteX72" fmla="*/ 7257 w 10000"/>
                <a:gd name="connsiteY72" fmla="*/ 2070 h 9916"/>
                <a:gd name="connsiteX73" fmla="*/ 7309 w 10000"/>
                <a:gd name="connsiteY73" fmla="*/ 2013 h 9916"/>
                <a:gd name="connsiteX74" fmla="*/ 7361 w 10000"/>
                <a:gd name="connsiteY74" fmla="*/ 1953 h 9916"/>
                <a:gd name="connsiteX75" fmla="*/ 7413 w 10000"/>
                <a:gd name="connsiteY75" fmla="*/ 1901 h 9916"/>
                <a:gd name="connsiteX76" fmla="*/ 7472 w 10000"/>
                <a:gd name="connsiteY76" fmla="*/ 1846 h 9916"/>
                <a:gd name="connsiteX77" fmla="*/ 7524 w 10000"/>
                <a:gd name="connsiteY77" fmla="*/ 1795 h 9916"/>
                <a:gd name="connsiteX78" fmla="*/ 7583 w 10000"/>
                <a:gd name="connsiteY78" fmla="*/ 1742 h 9916"/>
                <a:gd name="connsiteX79" fmla="*/ 7610 w 10000"/>
                <a:gd name="connsiteY79" fmla="*/ 1710 h 9916"/>
                <a:gd name="connsiteX80" fmla="*/ 5390 w 10000"/>
                <a:gd name="connsiteY80" fmla="*/ 6 h 9916"/>
                <a:gd name="connsiteX81" fmla="*/ 1401 w 10000"/>
                <a:gd name="connsiteY81" fmla="*/ 0 h 9916"/>
                <a:gd name="connsiteX82" fmla="*/ 1305 w 10000"/>
                <a:gd name="connsiteY82" fmla="*/ 129 h 9916"/>
                <a:gd name="connsiteX83" fmla="*/ 1223 w 10000"/>
                <a:gd name="connsiteY83" fmla="*/ 227 h 9916"/>
                <a:gd name="connsiteX84" fmla="*/ 1149 w 10000"/>
                <a:gd name="connsiteY84" fmla="*/ 331 h 9916"/>
                <a:gd name="connsiteX85" fmla="*/ 1067 w 10000"/>
                <a:gd name="connsiteY85" fmla="*/ 438 h 9916"/>
                <a:gd name="connsiteX86" fmla="*/ 1001 w 10000"/>
                <a:gd name="connsiteY86" fmla="*/ 544 h 9916"/>
                <a:gd name="connsiteX87" fmla="*/ 927 w 10000"/>
                <a:gd name="connsiteY87" fmla="*/ 650 h 9916"/>
                <a:gd name="connsiteX88" fmla="*/ 860 w 10000"/>
                <a:gd name="connsiteY88" fmla="*/ 762 h 9916"/>
                <a:gd name="connsiteX89" fmla="*/ 793 w 10000"/>
                <a:gd name="connsiteY89" fmla="*/ 874 h 9916"/>
                <a:gd name="connsiteX90" fmla="*/ 734 w 10000"/>
                <a:gd name="connsiteY90" fmla="*/ 977 h 9916"/>
                <a:gd name="connsiteX91" fmla="*/ 675 w 10000"/>
                <a:gd name="connsiteY91" fmla="*/ 1092 h 9916"/>
                <a:gd name="connsiteX92" fmla="*/ 615 w 10000"/>
                <a:gd name="connsiteY92" fmla="*/ 1200 h 9916"/>
                <a:gd name="connsiteX93" fmla="*/ 556 w 10000"/>
                <a:gd name="connsiteY93" fmla="*/ 1318 h 9916"/>
                <a:gd name="connsiteX94" fmla="*/ 504 w 10000"/>
                <a:gd name="connsiteY94" fmla="*/ 1423 h 9916"/>
                <a:gd name="connsiteX95" fmla="*/ 452 w 10000"/>
                <a:gd name="connsiteY95" fmla="*/ 1536 h 9916"/>
                <a:gd name="connsiteX96" fmla="*/ 408 w 10000"/>
                <a:gd name="connsiteY96" fmla="*/ 1650 h 9916"/>
                <a:gd name="connsiteX97" fmla="*/ 363 w 10000"/>
                <a:gd name="connsiteY97" fmla="*/ 1764 h 9916"/>
                <a:gd name="connsiteX98" fmla="*/ 319 w 10000"/>
                <a:gd name="connsiteY98" fmla="*/ 1881 h 9916"/>
                <a:gd name="connsiteX99" fmla="*/ 282 w 10000"/>
                <a:gd name="connsiteY99" fmla="*/ 1997 h 9916"/>
                <a:gd name="connsiteX100" fmla="*/ 237 w 10000"/>
                <a:gd name="connsiteY100" fmla="*/ 2117 h 9916"/>
                <a:gd name="connsiteX101" fmla="*/ 208 w 10000"/>
                <a:gd name="connsiteY101" fmla="*/ 2233 h 9916"/>
                <a:gd name="connsiteX102" fmla="*/ 170 w 10000"/>
                <a:gd name="connsiteY102" fmla="*/ 2353 h 9916"/>
                <a:gd name="connsiteX103" fmla="*/ 148 w 10000"/>
                <a:gd name="connsiteY103" fmla="*/ 2474 h 9916"/>
                <a:gd name="connsiteX104" fmla="*/ 119 w 10000"/>
                <a:gd name="connsiteY104" fmla="*/ 2592 h 9916"/>
                <a:gd name="connsiteX105" fmla="*/ 96 w 10000"/>
                <a:gd name="connsiteY105" fmla="*/ 2710 h 9916"/>
                <a:gd name="connsiteX106" fmla="*/ 74 w 10000"/>
                <a:gd name="connsiteY106" fmla="*/ 2834 h 9916"/>
                <a:gd name="connsiteX107" fmla="*/ 52 w 10000"/>
                <a:gd name="connsiteY107" fmla="*/ 2960 h 9916"/>
                <a:gd name="connsiteX108" fmla="*/ 37 w 10000"/>
                <a:gd name="connsiteY108" fmla="*/ 3080 h 9916"/>
                <a:gd name="connsiteX109" fmla="*/ 22 w 10000"/>
                <a:gd name="connsiteY109" fmla="*/ 3201 h 9916"/>
                <a:gd name="connsiteX110" fmla="*/ 15 w 10000"/>
                <a:gd name="connsiteY110" fmla="*/ 3323 h 9916"/>
                <a:gd name="connsiteX111" fmla="*/ 7 w 10000"/>
                <a:gd name="connsiteY111" fmla="*/ 3448 h 9916"/>
                <a:gd name="connsiteX112" fmla="*/ 0 w 10000"/>
                <a:gd name="connsiteY112" fmla="*/ 3571 h 9916"/>
                <a:gd name="connsiteX113" fmla="*/ 0 w 10000"/>
                <a:gd name="connsiteY113" fmla="*/ 3697 h 9916"/>
                <a:gd name="connsiteX114" fmla="*/ 7 w 10000"/>
                <a:gd name="connsiteY114" fmla="*/ 3858 h 9916"/>
                <a:gd name="connsiteX115" fmla="*/ 7 w 10000"/>
                <a:gd name="connsiteY115" fmla="*/ 4018 h 9916"/>
                <a:gd name="connsiteX116" fmla="*/ 22 w 10000"/>
                <a:gd name="connsiteY116" fmla="*/ 4170 h 9916"/>
                <a:gd name="connsiteX117" fmla="*/ 37 w 10000"/>
                <a:gd name="connsiteY117" fmla="*/ 4327 h 9916"/>
                <a:gd name="connsiteX118" fmla="*/ 59 w 10000"/>
                <a:gd name="connsiteY118" fmla="*/ 4484 h 9916"/>
                <a:gd name="connsiteX119" fmla="*/ 89 w 10000"/>
                <a:gd name="connsiteY119" fmla="*/ 4641 h 9916"/>
                <a:gd name="connsiteX120" fmla="*/ 119 w 10000"/>
                <a:gd name="connsiteY120" fmla="*/ 4795 h 9916"/>
                <a:gd name="connsiteX121" fmla="*/ 148 w 10000"/>
                <a:gd name="connsiteY121" fmla="*/ 4952 h 9916"/>
                <a:gd name="connsiteX122" fmla="*/ 193 w 10000"/>
                <a:gd name="connsiteY122" fmla="*/ 5104 h 9916"/>
                <a:gd name="connsiteX123" fmla="*/ 237 w 10000"/>
                <a:gd name="connsiteY123" fmla="*/ 5254 h 9916"/>
                <a:gd name="connsiteX124" fmla="*/ 282 w 10000"/>
                <a:gd name="connsiteY124" fmla="*/ 5407 h 9916"/>
                <a:gd name="connsiteX125" fmla="*/ 334 w 10000"/>
                <a:gd name="connsiteY125" fmla="*/ 5556 h 9916"/>
                <a:gd name="connsiteX126" fmla="*/ 393 w 10000"/>
                <a:gd name="connsiteY126" fmla="*/ 5703 h 9916"/>
                <a:gd name="connsiteX127" fmla="*/ 452 w 10000"/>
                <a:gd name="connsiteY127" fmla="*/ 5849 h 9916"/>
                <a:gd name="connsiteX128" fmla="*/ 519 w 10000"/>
                <a:gd name="connsiteY128" fmla="*/ 5996 h 9916"/>
                <a:gd name="connsiteX129" fmla="*/ 586 w 10000"/>
                <a:gd name="connsiteY129" fmla="*/ 6144 h 9916"/>
                <a:gd name="connsiteX130" fmla="*/ 660 w 10000"/>
                <a:gd name="connsiteY130" fmla="*/ 6284 h 9916"/>
                <a:gd name="connsiteX131" fmla="*/ 741 w 10000"/>
                <a:gd name="connsiteY131" fmla="*/ 6424 h 9916"/>
                <a:gd name="connsiteX132" fmla="*/ 823 w 10000"/>
                <a:gd name="connsiteY132" fmla="*/ 6570 h 9916"/>
                <a:gd name="connsiteX133" fmla="*/ 904 w 10000"/>
                <a:gd name="connsiteY133" fmla="*/ 6706 h 9916"/>
                <a:gd name="connsiteX134" fmla="*/ 993 w 10000"/>
                <a:gd name="connsiteY134" fmla="*/ 6844 h 9916"/>
                <a:gd name="connsiteX135" fmla="*/ 1090 w 10000"/>
                <a:gd name="connsiteY135" fmla="*/ 6972 h 9916"/>
                <a:gd name="connsiteX136" fmla="*/ 1186 w 10000"/>
                <a:gd name="connsiteY136" fmla="*/ 7112 h 9916"/>
                <a:gd name="connsiteX137" fmla="*/ 1290 w 10000"/>
                <a:gd name="connsiteY137" fmla="*/ 7247 h 9916"/>
                <a:gd name="connsiteX138" fmla="*/ 1386 w 10000"/>
                <a:gd name="connsiteY138" fmla="*/ 7379 h 9916"/>
                <a:gd name="connsiteX139" fmla="*/ 1497 w 10000"/>
                <a:gd name="connsiteY139" fmla="*/ 7510 h 9916"/>
                <a:gd name="connsiteX140" fmla="*/ 1609 w 10000"/>
                <a:gd name="connsiteY140" fmla="*/ 7636 h 9916"/>
                <a:gd name="connsiteX141" fmla="*/ 1727 w 10000"/>
                <a:gd name="connsiteY141" fmla="*/ 7767 h 9916"/>
                <a:gd name="connsiteX142" fmla="*/ 1846 w 10000"/>
                <a:gd name="connsiteY142" fmla="*/ 7892 h 9916"/>
                <a:gd name="connsiteX143" fmla="*/ 1964 w 10000"/>
                <a:gd name="connsiteY143" fmla="*/ 8013 h 9916"/>
                <a:gd name="connsiteX144" fmla="*/ 2090 w 10000"/>
                <a:gd name="connsiteY144" fmla="*/ 8133 h 9916"/>
                <a:gd name="connsiteX145" fmla="*/ 2224 w 10000"/>
                <a:gd name="connsiteY145" fmla="*/ 8256 h 9916"/>
                <a:gd name="connsiteX146" fmla="*/ 2350 w 10000"/>
                <a:gd name="connsiteY146" fmla="*/ 8377 h 9916"/>
                <a:gd name="connsiteX147" fmla="*/ 2491 w 10000"/>
                <a:gd name="connsiteY147" fmla="*/ 8492 h 9916"/>
                <a:gd name="connsiteX148" fmla="*/ 2617 w 10000"/>
                <a:gd name="connsiteY148" fmla="*/ 8609 h 9916"/>
                <a:gd name="connsiteX149" fmla="*/ 2765 w 10000"/>
                <a:gd name="connsiteY149" fmla="*/ 8721 h 9916"/>
                <a:gd name="connsiteX150" fmla="*/ 2906 w 10000"/>
                <a:gd name="connsiteY150" fmla="*/ 8831 h 9916"/>
                <a:gd name="connsiteX151" fmla="*/ 3054 w 10000"/>
                <a:gd name="connsiteY151" fmla="*/ 8942 h 9916"/>
                <a:gd name="connsiteX152" fmla="*/ 3210 w 10000"/>
                <a:gd name="connsiteY152" fmla="*/ 9047 h 9916"/>
                <a:gd name="connsiteX153" fmla="*/ 3358 w 10000"/>
                <a:gd name="connsiteY153" fmla="*/ 9153 h 9916"/>
                <a:gd name="connsiteX154" fmla="*/ 3514 w 10000"/>
                <a:gd name="connsiteY154" fmla="*/ 9259 h 9916"/>
                <a:gd name="connsiteX155" fmla="*/ 3677 w 10000"/>
                <a:gd name="connsiteY155" fmla="*/ 9360 h 9916"/>
                <a:gd name="connsiteX156" fmla="*/ 3840 w 10000"/>
                <a:gd name="connsiteY156" fmla="*/ 9456 h 9916"/>
                <a:gd name="connsiteX157" fmla="*/ 4010 w 10000"/>
                <a:gd name="connsiteY157" fmla="*/ 9556 h 9916"/>
                <a:gd name="connsiteX158" fmla="*/ 4181 w 10000"/>
                <a:gd name="connsiteY158" fmla="*/ 9643 h 9916"/>
                <a:gd name="connsiteX159" fmla="*/ 4351 w 10000"/>
                <a:gd name="connsiteY159" fmla="*/ 9736 h 9916"/>
                <a:gd name="connsiteX160" fmla="*/ 4522 w 10000"/>
                <a:gd name="connsiteY160" fmla="*/ 9825 h 9916"/>
                <a:gd name="connsiteX161" fmla="*/ 4700 w 10000"/>
                <a:gd name="connsiteY161" fmla="*/ 9916 h 9916"/>
                <a:gd name="connsiteX162" fmla="*/ 7539 w 10000"/>
                <a:gd name="connsiteY162" fmla="*/ 8518 h 9916"/>
                <a:gd name="connsiteX163" fmla="*/ 10000 w 10000"/>
                <a:gd name="connsiteY163" fmla="*/ 6743 h 9916"/>
                <a:gd name="connsiteX0" fmla="*/ 10000 w 10000"/>
                <a:gd name="connsiteY0" fmla="*/ 6800 h 9908"/>
                <a:gd name="connsiteX1" fmla="*/ 10000 w 10000"/>
                <a:gd name="connsiteY1" fmla="*/ 6800 h 9908"/>
                <a:gd name="connsiteX2" fmla="*/ 9911 w 10000"/>
                <a:gd name="connsiteY2" fmla="*/ 6783 h 9908"/>
                <a:gd name="connsiteX3" fmla="*/ 9815 w 10000"/>
                <a:gd name="connsiteY3" fmla="*/ 6763 h 9908"/>
                <a:gd name="connsiteX4" fmla="*/ 9726 w 10000"/>
                <a:gd name="connsiteY4" fmla="*/ 6744 h 9908"/>
                <a:gd name="connsiteX5" fmla="*/ 9637 w 10000"/>
                <a:gd name="connsiteY5" fmla="*/ 6717 h 9908"/>
                <a:gd name="connsiteX6" fmla="*/ 9548 w 10000"/>
                <a:gd name="connsiteY6" fmla="*/ 6698 h 9908"/>
                <a:gd name="connsiteX7" fmla="*/ 9466 w 10000"/>
                <a:gd name="connsiteY7" fmla="*/ 6672 h 9908"/>
                <a:gd name="connsiteX8" fmla="*/ 9377 w 10000"/>
                <a:gd name="connsiteY8" fmla="*/ 6647 h 9908"/>
                <a:gd name="connsiteX9" fmla="*/ 9288 w 10000"/>
                <a:gd name="connsiteY9" fmla="*/ 6622 h 9908"/>
                <a:gd name="connsiteX10" fmla="*/ 9118 w 10000"/>
                <a:gd name="connsiteY10" fmla="*/ 6565 h 9908"/>
                <a:gd name="connsiteX11" fmla="*/ 8955 w 10000"/>
                <a:gd name="connsiteY11" fmla="*/ 6504 h 9908"/>
                <a:gd name="connsiteX12" fmla="*/ 8792 w 10000"/>
                <a:gd name="connsiteY12" fmla="*/ 6439 h 9908"/>
                <a:gd name="connsiteX13" fmla="*/ 8636 w 10000"/>
                <a:gd name="connsiteY13" fmla="*/ 6367 h 9908"/>
                <a:gd name="connsiteX14" fmla="*/ 8480 w 10000"/>
                <a:gd name="connsiteY14" fmla="*/ 6294 h 9908"/>
                <a:gd name="connsiteX15" fmla="*/ 8340 w 10000"/>
                <a:gd name="connsiteY15" fmla="*/ 6222 h 9908"/>
                <a:gd name="connsiteX16" fmla="*/ 8199 w 10000"/>
                <a:gd name="connsiteY16" fmla="*/ 6138 h 9908"/>
                <a:gd name="connsiteX17" fmla="*/ 8058 w 10000"/>
                <a:gd name="connsiteY17" fmla="*/ 6051 h 9908"/>
                <a:gd name="connsiteX18" fmla="*/ 7924 w 10000"/>
                <a:gd name="connsiteY18" fmla="*/ 5963 h 9908"/>
                <a:gd name="connsiteX19" fmla="*/ 7798 w 10000"/>
                <a:gd name="connsiteY19" fmla="*/ 5867 h 9908"/>
                <a:gd name="connsiteX20" fmla="*/ 7672 w 10000"/>
                <a:gd name="connsiteY20" fmla="*/ 5772 h 9908"/>
                <a:gd name="connsiteX21" fmla="*/ 7554 w 10000"/>
                <a:gd name="connsiteY21" fmla="*/ 5675 h 9908"/>
                <a:gd name="connsiteX22" fmla="*/ 7450 w 10000"/>
                <a:gd name="connsiteY22" fmla="*/ 5569 h 9908"/>
                <a:gd name="connsiteX23" fmla="*/ 7346 w 10000"/>
                <a:gd name="connsiteY23" fmla="*/ 5462 h 9908"/>
                <a:gd name="connsiteX24" fmla="*/ 7250 w 10000"/>
                <a:gd name="connsiteY24" fmla="*/ 5355 h 9908"/>
                <a:gd name="connsiteX25" fmla="*/ 7161 w 10000"/>
                <a:gd name="connsiteY25" fmla="*/ 5245 h 9908"/>
                <a:gd name="connsiteX26" fmla="*/ 7072 w 10000"/>
                <a:gd name="connsiteY26" fmla="*/ 5131 h 9908"/>
                <a:gd name="connsiteX27" fmla="*/ 6990 w 10000"/>
                <a:gd name="connsiteY27" fmla="*/ 5009 h 9908"/>
                <a:gd name="connsiteX28" fmla="*/ 6953 w 10000"/>
                <a:gd name="connsiteY28" fmla="*/ 4956 h 9908"/>
                <a:gd name="connsiteX29" fmla="*/ 6916 w 10000"/>
                <a:gd name="connsiteY29" fmla="*/ 4891 h 9908"/>
                <a:gd name="connsiteX30" fmla="*/ 6887 w 10000"/>
                <a:gd name="connsiteY30" fmla="*/ 4832 h 9908"/>
                <a:gd name="connsiteX31" fmla="*/ 6850 w 10000"/>
                <a:gd name="connsiteY31" fmla="*/ 4770 h 9908"/>
                <a:gd name="connsiteX32" fmla="*/ 6820 w 10000"/>
                <a:gd name="connsiteY32" fmla="*/ 4710 h 9908"/>
                <a:gd name="connsiteX33" fmla="*/ 6790 w 10000"/>
                <a:gd name="connsiteY33" fmla="*/ 4648 h 9908"/>
                <a:gd name="connsiteX34" fmla="*/ 6768 w 10000"/>
                <a:gd name="connsiteY34" fmla="*/ 4582 h 9908"/>
                <a:gd name="connsiteX35" fmla="*/ 6738 w 10000"/>
                <a:gd name="connsiteY35" fmla="*/ 4522 h 9908"/>
                <a:gd name="connsiteX36" fmla="*/ 6723 w 10000"/>
                <a:gd name="connsiteY36" fmla="*/ 4454 h 9908"/>
                <a:gd name="connsiteX37" fmla="*/ 6694 w 10000"/>
                <a:gd name="connsiteY37" fmla="*/ 4393 h 9908"/>
                <a:gd name="connsiteX38" fmla="*/ 6679 w 10000"/>
                <a:gd name="connsiteY38" fmla="*/ 4327 h 9908"/>
                <a:gd name="connsiteX39" fmla="*/ 6664 w 10000"/>
                <a:gd name="connsiteY39" fmla="*/ 4263 h 9908"/>
                <a:gd name="connsiteX40" fmla="*/ 6649 w 10000"/>
                <a:gd name="connsiteY40" fmla="*/ 4195 h 9908"/>
                <a:gd name="connsiteX41" fmla="*/ 6635 w 10000"/>
                <a:gd name="connsiteY41" fmla="*/ 4135 h 9908"/>
                <a:gd name="connsiteX42" fmla="*/ 6620 w 10000"/>
                <a:gd name="connsiteY42" fmla="*/ 4068 h 9908"/>
                <a:gd name="connsiteX43" fmla="*/ 6612 w 10000"/>
                <a:gd name="connsiteY43" fmla="*/ 4004 h 9908"/>
                <a:gd name="connsiteX44" fmla="*/ 6605 w 10000"/>
                <a:gd name="connsiteY44" fmla="*/ 3935 h 9908"/>
                <a:gd name="connsiteX45" fmla="*/ 6597 w 10000"/>
                <a:gd name="connsiteY45" fmla="*/ 3864 h 9908"/>
                <a:gd name="connsiteX46" fmla="*/ 6597 w 10000"/>
                <a:gd name="connsiteY46" fmla="*/ 3799 h 9908"/>
                <a:gd name="connsiteX47" fmla="*/ 6590 w 10000"/>
                <a:gd name="connsiteY47" fmla="*/ 3728 h 9908"/>
                <a:gd name="connsiteX48" fmla="*/ 6597 w 10000"/>
                <a:gd name="connsiteY48" fmla="*/ 3660 h 9908"/>
                <a:gd name="connsiteX49" fmla="*/ 6605 w 10000"/>
                <a:gd name="connsiteY49" fmla="*/ 3588 h 9908"/>
                <a:gd name="connsiteX50" fmla="*/ 6605 w 10000"/>
                <a:gd name="connsiteY50" fmla="*/ 3515 h 9908"/>
                <a:gd name="connsiteX51" fmla="*/ 6612 w 10000"/>
                <a:gd name="connsiteY51" fmla="*/ 3442 h 9908"/>
                <a:gd name="connsiteX52" fmla="*/ 6620 w 10000"/>
                <a:gd name="connsiteY52" fmla="*/ 3371 h 9908"/>
                <a:gd name="connsiteX53" fmla="*/ 6635 w 10000"/>
                <a:gd name="connsiteY53" fmla="*/ 3308 h 9908"/>
                <a:gd name="connsiteX54" fmla="*/ 6649 w 10000"/>
                <a:gd name="connsiteY54" fmla="*/ 3233 h 9908"/>
                <a:gd name="connsiteX55" fmla="*/ 6664 w 10000"/>
                <a:gd name="connsiteY55" fmla="*/ 3168 h 9908"/>
                <a:gd name="connsiteX56" fmla="*/ 6686 w 10000"/>
                <a:gd name="connsiteY56" fmla="*/ 3096 h 9908"/>
                <a:gd name="connsiteX57" fmla="*/ 6709 w 10000"/>
                <a:gd name="connsiteY57" fmla="*/ 3031 h 9908"/>
                <a:gd name="connsiteX58" fmla="*/ 6731 w 10000"/>
                <a:gd name="connsiteY58" fmla="*/ 2964 h 9908"/>
                <a:gd name="connsiteX59" fmla="*/ 6753 w 10000"/>
                <a:gd name="connsiteY59" fmla="*/ 2893 h 9908"/>
                <a:gd name="connsiteX60" fmla="*/ 6783 w 10000"/>
                <a:gd name="connsiteY60" fmla="*/ 2834 h 9908"/>
                <a:gd name="connsiteX61" fmla="*/ 6812 w 10000"/>
                <a:gd name="connsiteY61" fmla="*/ 2766 h 9908"/>
                <a:gd name="connsiteX62" fmla="*/ 6842 w 10000"/>
                <a:gd name="connsiteY62" fmla="*/ 2699 h 9908"/>
                <a:gd name="connsiteX63" fmla="*/ 6879 w 10000"/>
                <a:gd name="connsiteY63" fmla="*/ 2636 h 9908"/>
                <a:gd name="connsiteX64" fmla="*/ 6909 w 10000"/>
                <a:gd name="connsiteY64" fmla="*/ 2574 h 9908"/>
                <a:gd name="connsiteX65" fmla="*/ 6946 w 10000"/>
                <a:gd name="connsiteY65" fmla="*/ 2504 h 9908"/>
                <a:gd name="connsiteX66" fmla="*/ 6990 w 10000"/>
                <a:gd name="connsiteY66" fmla="*/ 2447 h 9908"/>
                <a:gd name="connsiteX67" fmla="*/ 7027 w 10000"/>
                <a:gd name="connsiteY67" fmla="*/ 2384 h 9908"/>
                <a:gd name="connsiteX68" fmla="*/ 7072 w 10000"/>
                <a:gd name="connsiteY68" fmla="*/ 2326 h 9908"/>
                <a:gd name="connsiteX69" fmla="*/ 7109 w 10000"/>
                <a:gd name="connsiteY69" fmla="*/ 2261 h 9908"/>
                <a:gd name="connsiteX70" fmla="*/ 7161 w 10000"/>
                <a:gd name="connsiteY70" fmla="*/ 2208 h 9908"/>
                <a:gd name="connsiteX71" fmla="*/ 7213 w 10000"/>
                <a:gd name="connsiteY71" fmla="*/ 2145 h 9908"/>
                <a:gd name="connsiteX72" fmla="*/ 7257 w 10000"/>
                <a:gd name="connsiteY72" fmla="*/ 2088 h 9908"/>
                <a:gd name="connsiteX73" fmla="*/ 7309 w 10000"/>
                <a:gd name="connsiteY73" fmla="*/ 2030 h 9908"/>
                <a:gd name="connsiteX74" fmla="*/ 7361 w 10000"/>
                <a:gd name="connsiteY74" fmla="*/ 1970 h 9908"/>
                <a:gd name="connsiteX75" fmla="*/ 7413 w 10000"/>
                <a:gd name="connsiteY75" fmla="*/ 1917 h 9908"/>
                <a:gd name="connsiteX76" fmla="*/ 7472 w 10000"/>
                <a:gd name="connsiteY76" fmla="*/ 1862 h 9908"/>
                <a:gd name="connsiteX77" fmla="*/ 7524 w 10000"/>
                <a:gd name="connsiteY77" fmla="*/ 1810 h 9908"/>
                <a:gd name="connsiteX78" fmla="*/ 7583 w 10000"/>
                <a:gd name="connsiteY78" fmla="*/ 1757 h 9908"/>
                <a:gd name="connsiteX79" fmla="*/ 7610 w 10000"/>
                <a:gd name="connsiteY79" fmla="*/ 1724 h 9908"/>
                <a:gd name="connsiteX80" fmla="*/ 5390 w 10000"/>
                <a:gd name="connsiteY80" fmla="*/ 6 h 9908"/>
                <a:gd name="connsiteX81" fmla="*/ 1401 w 10000"/>
                <a:gd name="connsiteY81" fmla="*/ 0 h 9908"/>
                <a:gd name="connsiteX82" fmla="*/ 1305 w 10000"/>
                <a:gd name="connsiteY82" fmla="*/ 130 h 9908"/>
                <a:gd name="connsiteX83" fmla="*/ 1223 w 10000"/>
                <a:gd name="connsiteY83" fmla="*/ 229 h 9908"/>
                <a:gd name="connsiteX84" fmla="*/ 1149 w 10000"/>
                <a:gd name="connsiteY84" fmla="*/ 334 h 9908"/>
                <a:gd name="connsiteX85" fmla="*/ 1067 w 10000"/>
                <a:gd name="connsiteY85" fmla="*/ 442 h 9908"/>
                <a:gd name="connsiteX86" fmla="*/ 1001 w 10000"/>
                <a:gd name="connsiteY86" fmla="*/ 549 h 9908"/>
                <a:gd name="connsiteX87" fmla="*/ 927 w 10000"/>
                <a:gd name="connsiteY87" fmla="*/ 656 h 9908"/>
                <a:gd name="connsiteX88" fmla="*/ 860 w 10000"/>
                <a:gd name="connsiteY88" fmla="*/ 768 h 9908"/>
                <a:gd name="connsiteX89" fmla="*/ 793 w 10000"/>
                <a:gd name="connsiteY89" fmla="*/ 881 h 9908"/>
                <a:gd name="connsiteX90" fmla="*/ 734 w 10000"/>
                <a:gd name="connsiteY90" fmla="*/ 985 h 9908"/>
                <a:gd name="connsiteX91" fmla="*/ 675 w 10000"/>
                <a:gd name="connsiteY91" fmla="*/ 1101 h 9908"/>
                <a:gd name="connsiteX92" fmla="*/ 615 w 10000"/>
                <a:gd name="connsiteY92" fmla="*/ 1210 h 9908"/>
                <a:gd name="connsiteX93" fmla="*/ 556 w 10000"/>
                <a:gd name="connsiteY93" fmla="*/ 1329 h 9908"/>
                <a:gd name="connsiteX94" fmla="*/ 504 w 10000"/>
                <a:gd name="connsiteY94" fmla="*/ 1435 h 9908"/>
                <a:gd name="connsiteX95" fmla="*/ 452 w 10000"/>
                <a:gd name="connsiteY95" fmla="*/ 1549 h 9908"/>
                <a:gd name="connsiteX96" fmla="*/ 408 w 10000"/>
                <a:gd name="connsiteY96" fmla="*/ 1664 h 9908"/>
                <a:gd name="connsiteX97" fmla="*/ 363 w 10000"/>
                <a:gd name="connsiteY97" fmla="*/ 1779 h 9908"/>
                <a:gd name="connsiteX98" fmla="*/ 319 w 10000"/>
                <a:gd name="connsiteY98" fmla="*/ 1897 h 9908"/>
                <a:gd name="connsiteX99" fmla="*/ 282 w 10000"/>
                <a:gd name="connsiteY99" fmla="*/ 2014 h 9908"/>
                <a:gd name="connsiteX100" fmla="*/ 237 w 10000"/>
                <a:gd name="connsiteY100" fmla="*/ 2135 h 9908"/>
                <a:gd name="connsiteX101" fmla="*/ 208 w 10000"/>
                <a:gd name="connsiteY101" fmla="*/ 2252 h 9908"/>
                <a:gd name="connsiteX102" fmla="*/ 170 w 10000"/>
                <a:gd name="connsiteY102" fmla="*/ 2373 h 9908"/>
                <a:gd name="connsiteX103" fmla="*/ 148 w 10000"/>
                <a:gd name="connsiteY103" fmla="*/ 2495 h 9908"/>
                <a:gd name="connsiteX104" fmla="*/ 119 w 10000"/>
                <a:gd name="connsiteY104" fmla="*/ 2614 h 9908"/>
                <a:gd name="connsiteX105" fmla="*/ 96 w 10000"/>
                <a:gd name="connsiteY105" fmla="*/ 2733 h 9908"/>
                <a:gd name="connsiteX106" fmla="*/ 74 w 10000"/>
                <a:gd name="connsiteY106" fmla="*/ 2858 h 9908"/>
                <a:gd name="connsiteX107" fmla="*/ 52 w 10000"/>
                <a:gd name="connsiteY107" fmla="*/ 2985 h 9908"/>
                <a:gd name="connsiteX108" fmla="*/ 37 w 10000"/>
                <a:gd name="connsiteY108" fmla="*/ 3106 h 9908"/>
                <a:gd name="connsiteX109" fmla="*/ 22 w 10000"/>
                <a:gd name="connsiteY109" fmla="*/ 3228 h 9908"/>
                <a:gd name="connsiteX110" fmla="*/ 15 w 10000"/>
                <a:gd name="connsiteY110" fmla="*/ 3351 h 9908"/>
                <a:gd name="connsiteX111" fmla="*/ 7 w 10000"/>
                <a:gd name="connsiteY111" fmla="*/ 3477 h 9908"/>
                <a:gd name="connsiteX112" fmla="*/ 0 w 10000"/>
                <a:gd name="connsiteY112" fmla="*/ 3601 h 9908"/>
                <a:gd name="connsiteX113" fmla="*/ 0 w 10000"/>
                <a:gd name="connsiteY113" fmla="*/ 3728 h 9908"/>
                <a:gd name="connsiteX114" fmla="*/ 7 w 10000"/>
                <a:gd name="connsiteY114" fmla="*/ 3891 h 9908"/>
                <a:gd name="connsiteX115" fmla="*/ 7 w 10000"/>
                <a:gd name="connsiteY115" fmla="*/ 4052 h 9908"/>
                <a:gd name="connsiteX116" fmla="*/ 22 w 10000"/>
                <a:gd name="connsiteY116" fmla="*/ 4205 h 9908"/>
                <a:gd name="connsiteX117" fmla="*/ 37 w 10000"/>
                <a:gd name="connsiteY117" fmla="*/ 4364 h 9908"/>
                <a:gd name="connsiteX118" fmla="*/ 59 w 10000"/>
                <a:gd name="connsiteY118" fmla="*/ 4522 h 9908"/>
                <a:gd name="connsiteX119" fmla="*/ 89 w 10000"/>
                <a:gd name="connsiteY119" fmla="*/ 4680 h 9908"/>
                <a:gd name="connsiteX120" fmla="*/ 119 w 10000"/>
                <a:gd name="connsiteY120" fmla="*/ 4836 h 9908"/>
                <a:gd name="connsiteX121" fmla="*/ 148 w 10000"/>
                <a:gd name="connsiteY121" fmla="*/ 4994 h 9908"/>
                <a:gd name="connsiteX122" fmla="*/ 193 w 10000"/>
                <a:gd name="connsiteY122" fmla="*/ 5147 h 9908"/>
                <a:gd name="connsiteX123" fmla="*/ 237 w 10000"/>
                <a:gd name="connsiteY123" fmla="*/ 5299 h 9908"/>
                <a:gd name="connsiteX124" fmla="*/ 282 w 10000"/>
                <a:gd name="connsiteY124" fmla="*/ 5453 h 9908"/>
                <a:gd name="connsiteX125" fmla="*/ 334 w 10000"/>
                <a:gd name="connsiteY125" fmla="*/ 5603 h 9908"/>
                <a:gd name="connsiteX126" fmla="*/ 393 w 10000"/>
                <a:gd name="connsiteY126" fmla="*/ 5751 h 9908"/>
                <a:gd name="connsiteX127" fmla="*/ 452 w 10000"/>
                <a:gd name="connsiteY127" fmla="*/ 5899 h 9908"/>
                <a:gd name="connsiteX128" fmla="*/ 519 w 10000"/>
                <a:gd name="connsiteY128" fmla="*/ 6047 h 9908"/>
                <a:gd name="connsiteX129" fmla="*/ 586 w 10000"/>
                <a:gd name="connsiteY129" fmla="*/ 6196 h 9908"/>
                <a:gd name="connsiteX130" fmla="*/ 660 w 10000"/>
                <a:gd name="connsiteY130" fmla="*/ 6337 h 9908"/>
                <a:gd name="connsiteX131" fmla="*/ 741 w 10000"/>
                <a:gd name="connsiteY131" fmla="*/ 6478 h 9908"/>
                <a:gd name="connsiteX132" fmla="*/ 823 w 10000"/>
                <a:gd name="connsiteY132" fmla="*/ 6626 h 9908"/>
                <a:gd name="connsiteX133" fmla="*/ 904 w 10000"/>
                <a:gd name="connsiteY133" fmla="*/ 6763 h 9908"/>
                <a:gd name="connsiteX134" fmla="*/ 993 w 10000"/>
                <a:gd name="connsiteY134" fmla="*/ 6902 h 9908"/>
                <a:gd name="connsiteX135" fmla="*/ 1090 w 10000"/>
                <a:gd name="connsiteY135" fmla="*/ 7031 h 9908"/>
                <a:gd name="connsiteX136" fmla="*/ 1186 w 10000"/>
                <a:gd name="connsiteY136" fmla="*/ 7172 h 9908"/>
                <a:gd name="connsiteX137" fmla="*/ 1290 w 10000"/>
                <a:gd name="connsiteY137" fmla="*/ 7308 h 9908"/>
                <a:gd name="connsiteX138" fmla="*/ 1386 w 10000"/>
                <a:gd name="connsiteY138" fmla="*/ 7442 h 9908"/>
                <a:gd name="connsiteX139" fmla="*/ 1497 w 10000"/>
                <a:gd name="connsiteY139" fmla="*/ 7574 h 9908"/>
                <a:gd name="connsiteX140" fmla="*/ 1609 w 10000"/>
                <a:gd name="connsiteY140" fmla="*/ 7701 h 9908"/>
                <a:gd name="connsiteX141" fmla="*/ 1727 w 10000"/>
                <a:gd name="connsiteY141" fmla="*/ 7833 h 9908"/>
                <a:gd name="connsiteX142" fmla="*/ 1846 w 10000"/>
                <a:gd name="connsiteY142" fmla="*/ 7959 h 9908"/>
                <a:gd name="connsiteX143" fmla="*/ 1964 w 10000"/>
                <a:gd name="connsiteY143" fmla="*/ 8081 h 9908"/>
                <a:gd name="connsiteX144" fmla="*/ 2090 w 10000"/>
                <a:gd name="connsiteY144" fmla="*/ 8202 h 9908"/>
                <a:gd name="connsiteX145" fmla="*/ 2224 w 10000"/>
                <a:gd name="connsiteY145" fmla="*/ 8326 h 9908"/>
                <a:gd name="connsiteX146" fmla="*/ 2350 w 10000"/>
                <a:gd name="connsiteY146" fmla="*/ 8448 h 9908"/>
                <a:gd name="connsiteX147" fmla="*/ 2491 w 10000"/>
                <a:gd name="connsiteY147" fmla="*/ 8564 h 9908"/>
                <a:gd name="connsiteX148" fmla="*/ 2617 w 10000"/>
                <a:gd name="connsiteY148" fmla="*/ 8682 h 9908"/>
                <a:gd name="connsiteX149" fmla="*/ 2765 w 10000"/>
                <a:gd name="connsiteY149" fmla="*/ 8795 h 9908"/>
                <a:gd name="connsiteX150" fmla="*/ 2906 w 10000"/>
                <a:gd name="connsiteY150" fmla="*/ 8906 h 9908"/>
                <a:gd name="connsiteX151" fmla="*/ 3054 w 10000"/>
                <a:gd name="connsiteY151" fmla="*/ 9018 h 9908"/>
                <a:gd name="connsiteX152" fmla="*/ 3210 w 10000"/>
                <a:gd name="connsiteY152" fmla="*/ 9124 h 9908"/>
                <a:gd name="connsiteX153" fmla="*/ 3358 w 10000"/>
                <a:gd name="connsiteY153" fmla="*/ 9231 h 9908"/>
                <a:gd name="connsiteX154" fmla="*/ 3514 w 10000"/>
                <a:gd name="connsiteY154" fmla="*/ 9337 h 9908"/>
                <a:gd name="connsiteX155" fmla="*/ 3677 w 10000"/>
                <a:gd name="connsiteY155" fmla="*/ 9439 h 9908"/>
                <a:gd name="connsiteX156" fmla="*/ 3840 w 10000"/>
                <a:gd name="connsiteY156" fmla="*/ 9536 h 9908"/>
                <a:gd name="connsiteX157" fmla="*/ 4010 w 10000"/>
                <a:gd name="connsiteY157" fmla="*/ 9637 h 9908"/>
                <a:gd name="connsiteX158" fmla="*/ 4181 w 10000"/>
                <a:gd name="connsiteY158" fmla="*/ 9725 h 9908"/>
                <a:gd name="connsiteX159" fmla="*/ 4351 w 10000"/>
                <a:gd name="connsiteY159" fmla="*/ 9818 h 9908"/>
                <a:gd name="connsiteX160" fmla="*/ 4522 w 10000"/>
                <a:gd name="connsiteY160" fmla="*/ 9908 h 9908"/>
                <a:gd name="connsiteX161" fmla="*/ 7539 w 10000"/>
                <a:gd name="connsiteY161" fmla="*/ 8590 h 9908"/>
                <a:gd name="connsiteX162" fmla="*/ 10000 w 10000"/>
                <a:gd name="connsiteY162" fmla="*/ 6800 h 9908"/>
                <a:gd name="connsiteX0" fmla="*/ 10000 w 10000"/>
                <a:gd name="connsiteY0" fmla="*/ 6863 h 9909"/>
                <a:gd name="connsiteX1" fmla="*/ 10000 w 10000"/>
                <a:gd name="connsiteY1" fmla="*/ 6863 h 9909"/>
                <a:gd name="connsiteX2" fmla="*/ 9911 w 10000"/>
                <a:gd name="connsiteY2" fmla="*/ 6846 h 9909"/>
                <a:gd name="connsiteX3" fmla="*/ 9815 w 10000"/>
                <a:gd name="connsiteY3" fmla="*/ 6826 h 9909"/>
                <a:gd name="connsiteX4" fmla="*/ 9726 w 10000"/>
                <a:gd name="connsiteY4" fmla="*/ 6807 h 9909"/>
                <a:gd name="connsiteX5" fmla="*/ 9637 w 10000"/>
                <a:gd name="connsiteY5" fmla="*/ 6779 h 9909"/>
                <a:gd name="connsiteX6" fmla="*/ 9548 w 10000"/>
                <a:gd name="connsiteY6" fmla="*/ 6760 h 9909"/>
                <a:gd name="connsiteX7" fmla="*/ 9466 w 10000"/>
                <a:gd name="connsiteY7" fmla="*/ 6734 h 9909"/>
                <a:gd name="connsiteX8" fmla="*/ 9377 w 10000"/>
                <a:gd name="connsiteY8" fmla="*/ 6709 h 9909"/>
                <a:gd name="connsiteX9" fmla="*/ 9288 w 10000"/>
                <a:gd name="connsiteY9" fmla="*/ 6683 h 9909"/>
                <a:gd name="connsiteX10" fmla="*/ 9118 w 10000"/>
                <a:gd name="connsiteY10" fmla="*/ 6626 h 9909"/>
                <a:gd name="connsiteX11" fmla="*/ 8955 w 10000"/>
                <a:gd name="connsiteY11" fmla="*/ 6564 h 9909"/>
                <a:gd name="connsiteX12" fmla="*/ 8792 w 10000"/>
                <a:gd name="connsiteY12" fmla="*/ 6499 h 9909"/>
                <a:gd name="connsiteX13" fmla="*/ 8636 w 10000"/>
                <a:gd name="connsiteY13" fmla="*/ 6426 h 9909"/>
                <a:gd name="connsiteX14" fmla="*/ 8480 w 10000"/>
                <a:gd name="connsiteY14" fmla="*/ 6352 h 9909"/>
                <a:gd name="connsiteX15" fmla="*/ 8340 w 10000"/>
                <a:gd name="connsiteY15" fmla="*/ 6280 h 9909"/>
                <a:gd name="connsiteX16" fmla="*/ 8199 w 10000"/>
                <a:gd name="connsiteY16" fmla="*/ 6195 h 9909"/>
                <a:gd name="connsiteX17" fmla="*/ 8058 w 10000"/>
                <a:gd name="connsiteY17" fmla="*/ 6107 h 9909"/>
                <a:gd name="connsiteX18" fmla="*/ 7924 w 10000"/>
                <a:gd name="connsiteY18" fmla="*/ 6018 h 9909"/>
                <a:gd name="connsiteX19" fmla="*/ 7798 w 10000"/>
                <a:gd name="connsiteY19" fmla="*/ 5921 h 9909"/>
                <a:gd name="connsiteX20" fmla="*/ 7672 w 10000"/>
                <a:gd name="connsiteY20" fmla="*/ 5826 h 9909"/>
                <a:gd name="connsiteX21" fmla="*/ 7554 w 10000"/>
                <a:gd name="connsiteY21" fmla="*/ 5728 h 9909"/>
                <a:gd name="connsiteX22" fmla="*/ 7450 w 10000"/>
                <a:gd name="connsiteY22" fmla="*/ 5621 h 9909"/>
                <a:gd name="connsiteX23" fmla="*/ 7346 w 10000"/>
                <a:gd name="connsiteY23" fmla="*/ 5513 h 9909"/>
                <a:gd name="connsiteX24" fmla="*/ 7250 w 10000"/>
                <a:gd name="connsiteY24" fmla="*/ 5405 h 9909"/>
                <a:gd name="connsiteX25" fmla="*/ 7161 w 10000"/>
                <a:gd name="connsiteY25" fmla="*/ 5294 h 9909"/>
                <a:gd name="connsiteX26" fmla="*/ 7072 w 10000"/>
                <a:gd name="connsiteY26" fmla="*/ 5179 h 9909"/>
                <a:gd name="connsiteX27" fmla="*/ 6990 w 10000"/>
                <a:gd name="connsiteY27" fmla="*/ 5056 h 9909"/>
                <a:gd name="connsiteX28" fmla="*/ 6953 w 10000"/>
                <a:gd name="connsiteY28" fmla="*/ 5002 h 9909"/>
                <a:gd name="connsiteX29" fmla="*/ 6916 w 10000"/>
                <a:gd name="connsiteY29" fmla="*/ 4936 h 9909"/>
                <a:gd name="connsiteX30" fmla="*/ 6887 w 10000"/>
                <a:gd name="connsiteY30" fmla="*/ 4877 h 9909"/>
                <a:gd name="connsiteX31" fmla="*/ 6850 w 10000"/>
                <a:gd name="connsiteY31" fmla="*/ 4814 h 9909"/>
                <a:gd name="connsiteX32" fmla="*/ 6820 w 10000"/>
                <a:gd name="connsiteY32" fmla="*/ 4754 h 9909"/>
                <a:gd name="connsiteX33" fmla="*/ 6790 w 10000"/>
                <a:gd name="connsiteY33" fmla="*/ 4691 h 9909"/>
                <a:gd name="connsiteX34" fmla="*/ 6768 w 10000"/>
                <a:gd name="connsiteY34" fmla="*/ 4625 h 9909"/>
                <a:gd name="connsiteX35" fmla="*/ 6738 w 10000"/>
                <a:gd name="connsiteY35" fmla="*/ 4564 h 9909"/>
                <a:gd name="connsiteX36" fmla="*/ 6723 w 10000"/>
                <a:gd name="connsiteY36" fmla="*/ 4495 h 9909"/>
                <a:gd name="connsiteX37" fmla="*/ 6694 w 10000"/>
                <a:gd name="connsiteY37" fmla="*/ 4434 h 9909"/>
                <a:gd name="connsiteX38" fmla="*/ 6679 w 10000"/>
                <a:gd name="connsiteY38" fmla="*/ 4367 h 9909"/>
                <a:gd name="connsiteX39" fmla="*/ 6664 w 10000"/>
                <a:gd name="connsiteY39" fmla="*/ 4303 h 9909"/>
                <a:gd name="connsiteX40" fmla="*/ 6649 w 10000"/>
                <a:gd name="connsiteY40" fmla="*/ 4234 h 9909"/>
                <a:gd name="connsiteX41" fmla="*/ 6635 w 10000"/>
                <a:gd name="connsiteY41" fmla="*/ 4173 h 9909"/>
                <a:gd name="connsiteX42" fmla="*/ 6620 w 10000"/>
                <a:gd name="connsiteY42" fmla="*/ 4106 h 9909"/>
                <a:gd name="connsiteX43" fmla="*/ 6612 w 10000"/>
                <a:gd name="connsiteY43" fmla="*/ 4041 h 9909"/>
                <a:gd name="connsiteX44" fmla="*/ 6605 w 10000"/>
                <a:gd name="connsiteY44" fmla="*/ 3972 h 9909"/>
                <a:gd name="connsiteX45" fmla="*/ 6597 w 10000"/>
                <a:gd name="connsiteY45" fmla="*/ 3900 h 9909"/>
                <a:gd name="connsiteX46" fmla="*/ 6597 w 10000"/>
                <a:gd name="connsiteY46" fmla="*/ 3834 h 9909"/>
                <a:gd name="connsiteX47" fmla="*/ 6590 w 10000"/>
                <a:gd name="connsiteY47" fmla="*/ 3763 h 9909"/>
                <a:gd name="connsiteX48" fmla="*/ 6597 w 10000"/>
                <a:gd name="connsiteY48" fmla="*/ 3694 h 9909"/>
                <a:gd name="connsiteX49" fmla="*/ 6605 w 10000"/>
                <a:gd name="connsiteY49" fmla="*/ 3621 h 9909"/>
                <a:gd name="connsiteX50" fmla="*/ 6605 w 10000"/>
                <a:gd name="connsiteY50" fmla="*/ 3548 h 9909"/>
                <a:gd name="connsiteX51" fmla="*/ 6612 w 10000"/>
                <a:gd name="connsiteY51" fmla="*/ 3474 h 9909"/>
                <a:gd name="connsiteX52" fmla="*/ 6620 w 10000"/>
                <a:gd name="connsiteY52" fmla="*/ 3402 h 9909"/>
                <a:gd name="connsiteX53" fmla="*/ 6635 w 10000"/>
                <a:gd name="connsiteY53" fmla="*/ 3339 h 9909"/>
                <a:gd name="connsiteX54" fmla="*/ 6649 w 10000"/>
                <a:gd name="connsiteY54" fmla="*/ 3263 h 9909"/>
                <a:gd name="connsiteX55" fmla="*/ 6664 w 10000"/>
                <a:gd name="connsiteY55" fmla="*/ 3197 h 9909"/>
                <a:gd name="connsiteX56" fmla="*/ 6686 w 10000"/>
                <a:gd name="connsiteY56" fmla="*/ 3125 h 9909"/>
                <a:gd name="connsiteX57" fmla="*/ 6709 w 10000"/>
                <a:gd name="connsiteY57" fmla="*/ 3059 h 9909"/>
                <a:gd name="connsiteX58" fmla="*/ 6731 w 10000"/>
                <a:gd name="connsiteY58" fmla="*/ 2992 h 9909"/>
                <a:gd name="connsiteX59" fmla="*/ 6753 w 10000"/>
                <a:gd name="connsiteY59" fmla="*/ 2920 h 9909"/>
                <a:gd name="connsiteX60" fmla="*/ 6783 w 10000"/>
                <a:gd name="connsiteY60" fmla="*/ 2860 h 9909"/>
                <a:gd name="connsiteX61" fmla="*/ 6812 w 10000"/>
                <a:gd name="connsiteY61" fmla="*/ 2792 h 9909"/>
                <a:gd name="connsiteX62" fmla="*/ 6842 w 10000"/>
                <a:gd name="connsiteY62" fmla="*/ 2724 h 9909"/>
                <a:gd name="connsiteX63" fmla="*/ 6879 w 10000"/>
                <a:gd name="connsiteY63" fmla="*/ 2660 h 9909"/>
                <a:gd name="connsiteX64" fmla="*/ 6909 w 10000"/>
                <a:gd name="connsiteY64" fmla="*/ 2598 h 9909"/>
                <a:gd name="connsiteX65" fmla="*/ 6946 w 10000"/>
                <a:gd name="connsiteY65" fmla="*/ 2527 h 9909"/>
                <a:gd name="connsiteX66" fmla="*/ 6990 w 10000"/>
                <a:gd name="connsiteY66" fmla="*/ 2470 h 9909"/>
                <a:gd name="connsiteX67" fmla="*/ 7027 w 10000"/>
                <a:gd name="connsiteY67" fmla="*/ 2406 h 9909"/>
                <a:gd name="connsiteX68" fmla="*/ 7072 w 10000"/>
                <a:gd name="connsiteY68" fmla="*/ 2348 h 9909"/>
                <a:gd name="connsiteX69" fmla="*/ 7109 w 10000"/>
                <a:gd name="connsiteY69" fmla="*/ 2282 h 9909"/>
                <a:gd name="connsiteX70" fmla="*/ 7161 w 10000"/>
                <a:gd name="connsiteY70" fmla="*/ 2229 h 9909"/>
                <a:gd name="connsiteX71" fmla="*/ 7213 w 10000"/>
                <a:gd name="connsiteY71" fmla="*/ 2165 h 9909"/>
                <a:gd name="connsiteX72" fmla="*/ 7257 w 10000"/>
                <a:gd name="connsiteY72" fmla="*/ 2107 h 9909"/>
                <a:gd name="connsiteX73" fmla="*/ 7309 w 10000"/>
                <a:gd name="connsiteY73" fmla="*/ 2049 h 9909"/>
                <a:gd name="connsiteX74" fmla="*/ 7361 w 10000"/>
                <a:gd name="connsiteY74" fmla="*/ 1988 h 9909"/>
                <a:gd name="connsiteX75" fmla="*/ 7413 w 10000"/>
                <a:gd name="connsiteY75" fmla="*/ 1935 h 9909"/>
                <a:gd name="connsiteX76" fmla="*/ 7472 w 10000"/>
                <a:gd name="connsiteY76" fmla="*/ 1879 h 9909"/>
                <a:gd name="connsiteX77" fmla="*/ 7524 w 10000"/>
                <a:gd name="connsiteY77" fmla="*/ 1827 h 9909"/>
                <a:gd name="connsiteX78" fmla="*/ 7583 w 10000"/>
                <a:gd name="connsiteY78" fmla="*/ 1773 h 9909"/>
                <a:gd name="connsiteX79" fmla="*/ 7610 w 10000"/>
                <a:gd name="connsiteY79" fmla="*/ 1740 h 9909"/>
                <a:gd name="connsiteX80" fmla="*/ 5390 w 10000"/>
                <a:gd name="connsiteY80" fmla="*/ 6 h 9909"/>
                <a:gd name="connsiteX81" fmla="*/ 1401 w 10000"/>
                <a:gd name="connsiteY81" fmla="*/ 0 h 9909"/>
                <a:gd name="connsiteX82" fmla="*/ 1305 w 10000"/>
                <a:gd name="connsiteY82" fmla="*/ 131 h 9909"/>
                <a:gd name="connsiteX83" fmla="*/ 1223 w 10000"/>
                <a:gd name="connsiteY83" fmla="*/ 231 h 9909"/>
                <a:gd name="connsiteX84" fmla="*/ 1149 w 10000"/>
                <a:gd name="connsiteY84" fmla="*/ 337 h 9909"/>
                <a:gd name="connsiteX85" fmla="*/ 1067 w 10000"/>
                <a:gd name="connsiteY85" fmla="*/ 446 h 9909"/>
                <a:gd name="connsiteX86" fmla="*/ 1001 w 10000"/>
                <a:gd name="connsiteY86" fmla="*/ 554 h 9909"/>
                <a:gd name="connsiteX87" fmla="*/ 927 w 10000"/>
                <a:gd name="connsiteY87" fmla="*/ 662 h 9909"/>
                <a:gd name="connsiteX88" fmla="*/ 860 w 10000"/>
                <a:gd name="connsiteY88" fmla="*/ 775 h 9909"/>
                <a:gd name="connsiteX89" fmla="*/ 793 w 10000"/>
                <a:gd name="connsiteY89" fmla="*/ 889 h 9909"/>
                <a:gd name="connsiteX90" fmla="*/ 734 w 10000"/>
                <a:gd name="connsiteY90" fmla="*/ 994 h 9909"/>
                <a:gd name="connsiteX91" fmla="*/ 675 w 10000"/>
                <a:gd name="connsiteY91" fmla="*/ 1111 h 9909"/>
                <a:gd name="connsiteX92" fmla="*/ 615 w 10000"/>
                <a:gd name="connsiteY92" fmla="*/ 1221 h 9909"/>
                <a:gd name="connsiteX93" fmla="*/ 556 w 10000"/>
                <a:gd name="connsiteY93" fmla="*/ 1341 h 9909"/>
                <a:gd name="connsiteX94" fmla="*/ 504 w 10000"/>
                <a:gd name="connsiteY94" fmla="*/ 1448 h 9909"/>
                <a:gd name="connsiteX95" fmla="*/ 452 w 10000"/>
                <a:gd name="connsiteY95" fmla="*/ 1563 h 9909"/>
                <a:gd name="connsiteX96" fmla="*/ 408 w 10000"/>
                <a:gd name="connsiteY96" fmla="*/ 1679 h 9909"/>
                <a:gd name="connsiteX97" fmla="*/ 363 w 10000"/>
                <a:gd name="connsiteY97" fmla="*/ 1796 h 9909"/>
                <a:gd name="connsiteX98" fmla="*/ 319 w 10000"/>
                <a:gd name="connsiteY98" fmla="*/ 1915 h 9909"/>
                <a:gd name="connsiteX99" fmla="*/ 282 w 10000"/>
                <a:gd name="connsiteY99" fmla="*/ 2033 h 9909"/>
                <a:gd name="connsiteX100" fmla="*/ 237 w 10000"/>
                <a:gd name="connsiteY100" fmla="*/ 2155 h 9909"/>
                <a:gd name="connsiteX101" fmla="*/ 208 w 10000"/>
                <a:gd name="connsiteY101" fmla="*/ 2273 h 9909"/>
                <a:gd name="connsiteX102" fmla="*/ 170 w 10000"/>
                <a:gd name="connsiteY102" fmla="*/ 2395 h 9909"/>
                <a:gd name="connsiteX103" fmla="*/ 148 w 10000"/>
                <a:gd name="connsiteY103" fmla="*/ 2518 h 9909"/>
                <a:gd name="connsiteX104" fmla="*/ 119 w 10000"/>
                <a:gd name="connsiteY104" fmla="*/ 2638 h 9909"/>
                <a:gd name="connsiteX105" fmla="*/ 96 w 10000"/>
                <a:gd name="connsiteY105" fmla="*/ 2758 h 9909"/>
                <a:gd name="connsiteX106" fmla="*/ 74 w 10000"/>
                <a:gd name="connsiteY106" fmla="*/ 2885 h 9909"/>
                <a:gd name="connsiteX107" fmla="*/ 52 w 10000"/>
                <a:gd name="connsiteY107" fmla="*/ 3013 h 9909"/>
                <a:gd name="connsiteX108" fmla="*/ 37 w 10000"/>
                <a:gd name="connsiteY108" fmla="*/ 3135 h 9909"/>
                <a:gd name="connsiteX109" fmla="*/ 22 w 10000"/>
                <a:gd name="connsiteY109" fmla="*/ 3258 h 9909"/>
                <a:gd name="connsiteX110" fmla="*/ 15 w 10000"/>
                <a:gd name="connsiteY110" fmla="*/ 3382 h 9909"/>
                <a:gd name="connsiteX111" fmla="*/ 7 w 10000"/>
                <a:gd name="connsiteY111" fmla="*/ 3509 h 9909"/>
                <a:gd name="connsiteX112" fmla="*/ 0 w 10000"/>
                <a:gd name="connsiteY112" fmla="*/ 3634 h 9909"/>
                <a:gd name="connsiteX113" fmla="*/ 0 w 10000"/>
                <a:gd name="connsiteY113" fmla="*/ 3763 h 9909"/>
                <a:gd name="connsiteX114" fmla="*/ 7 w 10000"/>
                <a:gd name="connsiteY114" fmla="*/ 3927 h 9909"/>
                <a:gd name="connsiteX115" fmla="*/ 7 w 10000"/>
                <a:gd name="connsiteY115" fmla="*/ 4090 h 9909"/>
                <a:gd name="connsiteX116" fmla="*/ 22 w 10000"/>
                <a:gd name="connsiteY116" fmla="*/ 4244 h 9909"/>
                <a:gd name="connsiteX117" fmla="*/ 37 w 10000"/>
                <a:gd name="connsiteY117" fmla="*/ 4405 h 9909"/>
                <a:gd name="connsiteX118" fmla="*/ 59 w 10000"/>
                <a:gd name="connsiteY118" fmla="*/ 4564 h 9909"/>
                <a:gd name="connsiteX119" fmla="*/ 89 w 10000"/>
                <a:gd name="connsiteY119" fmla="*/ 4723 h 9909"/>
                <a:gd name="connsiteX120" fmla="*/ 119 w 10000"/>
                <a:gd name="connsiteY120" fmla="*/ 4881 h 9909"/>
                <a:gd name="connsiteX121" fmla="*/ 148 w 10000"/>
                <a:gd name="connsiteY121" fmla="*/ 5040 h 9909"/>
                <a:gd name="connsiteX122" fmla="*/ 193 w 10000"/>
                <a:gd name="connsiteY122" fmla="*/ 5195 h 9909"/>
                <a:gd name="connsiteX123" fmla="*/ 237 w 10000"/>
                <a:gd name="connsiteY123" fmla="*/ 5348 h 9909"/>
                <a:gd name="connsiteX124" fmla="*/ 282 w 10000"/>
                <a:gd name="connsiteY124" fmla="*/ 5504 h 9909"/>
                <a:gd name="connsiteX125" fmla="*/ 334 w 10000"/>
                <a:gd name="connsiteY125" fmla="*/ 5655 h 9909"/>
                <a:gd name="connsiteX126" fmla="*/ 393 w 10000"/>
                <a:gd name="connsiteY126" fmla="*/ 5804 h 9909"/>
                <a:gd name="connsiteX127" fmla="*/ 452 w 10000"/>
                <a:gd name="connsiteY127" fmla="*/ 5954 h 9909"/>
                <a:gd name="connsiteX128" fmla="*/ 519 w 10000"/>
                <a:gd name="connsiteY128" fmla="*/ 6103 h 9909"/>
                <a:gd name="connsiteX129" fmla="*/ 586 w 10000"/>
                <a:gd name="connsiteY129" fmla="*/ 6254 h 9909"/>
                <a:gd name="connsiteX130" fmla="*/ 660 w 10000"/>
                <a:gd name="connsiteY130" fmla="*/ 6396 h 9909"/>
                <a:gd name="connsiteX131" fmla="*/ 741 w 10000"/>
                <a:gd name="connsiteY131" fmla="*/ 6538 h 9909"/>
                <a:gd name="connsiteX132" fmla="*/ 823 w 10000"/>
                <a:gd name="connsiteY132" fmla="*/ 6688 h 9909"/>
                <a:gd name="connsiteX133" fmla="*/ 904 w 10000"/>
                <a:gd name="connsiteY133" fmla="*/ 6826 h 9909"/>
                <a:gd name="connsiteX134" fmla="*/ 993 w 10000"/>
                <a:gd name="connsiteY134" fmla="*/ 6966 h 9909"/>
                <a:gd name="connsiteX135" fmla="*/ 1090 w 10000"/>
                <a:gd name="connsiteY135" fmla="*/ 7096 h 9909"/>
                <a:gd name="connsiteX136" fmla="*/ 1186 w 10000"/>
                <a:gd name="connsiteY136" fmla="*/ 7239 h 9909"/>
                <a:gd name="connsiteX137" fmla="*/ 1290 w 10000"/>
                <a:gd name="connsiteY137" fmla="*/ 7376 h 9909"/>
                <a:gd name="connsiteX138" fmla="*/ 1386 w 10000"/>
                <a:gd name="connsiteY138" fmla="*/ 7511 h 9909"/>
                <a:gd name="connsiteX139" fmla="*/ 1497 w 10000"/>
                <a:gd name="connsiteY139" fmla="*/ 7644 h 9909"/>
                <a:gd name="connsiteX140" fmla="*/ 1609 w 10000"/>
                <a:gd name="connsiteY140" fmla="*/ 7773 h 9909"/>
                <a:gd name="connsiteX141" fmla="*/ 1727 w 10000"/>
                <a:gd name="connsiteY141" fmla="*/ 7906 h 9909"/>
                <a:gd name="connsiteX142" fmla="*/ 1846 w 10000"/>
                <a:gd name="connsiteY142" fmla="*/ 8033 h 9909"/>
                <a:gd name="connsiteX143" fmla="*/ 1964 w 10000"/>
                <a:gd name="connsiteY143" fmla="*/ 8156 h 9909"/>
                <a:gd name="connsiteX144" fmla="*/ 2090 w 10000"/>
                <a:gd name="connsiteY144" fmla="*/ 8278 h 9909"/>
                <a:gd name="connsiteX145" fmla="*/ 2224 w 10000"/>
                <a:gd name="connsiteY145" fmla="*/ 8403 h 9909"/>
                <a:gd name="connsiteX146" fmla="*/ 2350 w 10000"/>
                <a:gd name="connsiteY146" fmla="*/ 8526 h 9909"/>
                <a:gd name="connsiteX147" fmla="*/ 2491 w 10000"/>
                <a:gd name="connsiteY147" fmla="*/ 8644 h 9909"/>
                <a:gd name="connsiteX148" fmla="*/ 2617 w 10000"/>
                <a:gd name="connsiteY148" fmla="*/ 8763 h 9909"/>
                <a:gd name="connsiteX149" fmla="*/ 2765 w 10000"/>
                <a:gd name="connsiteY149" fmla="*/ 8877 h 9909"/>
                <a:gd name="connsiteX150" fmla="*/ 2906 w 10000"/>
                <a:gd name="connsiteY150" fmla="*/ 8989 h 9909"/>
                <a:gd name="connsiteX151" fmla="*/ 3054 w 10000"/>
                <a:gd name="connsiteY151" fmla="*/ 9102 h 9909"/>
                <a:gd name="connsiteX152" fmla="*/ 3210 w 10000"/>
                <a:gd name="connsiteY152" fmla="*/ 9209 h 9909"/>
                <a:gd name="connsiteX153" fmla="*/ 3358 w 10000"/>
                <a:gd name="connsiteY153" fmla="*/ 9317 h 9909"/>
                <a:gd name="connsiteX154" fmla="*/ 3514 w 10000"/>
                <a:gd name="connsiteY154" fmla="*/ 9424 h 9909"/>
                <a:gd name="connsiteX155" fmla="*/ 3677 w 10000"/>
                <a:gd name="connsiteY155" fmla="*/ 9527 h 9909"/>
                <a:gd name="connsiteX156" fmla="*/ 3840 w 10000"/>
                <a:gd name="connsiteY156" fmla="*/ 9625 h 9909"/>
                <a:gd name="connsiteX157" fmla="*/ 4010 w 10000"/>
                <a:gd name="connsiteY157" fmla="*/ 9726 h 9909"/>
                <a:gd name="connsiteX158" fmla="*/ 4181 w 10000"/>
                <a:gd name="connsiteY158" fmla="*/ 9815 h 9909"/>
                <a:gd name="connsiteX159" fmla="*/ 4351 w 10000"/>
                <a:gd name="connsiteY159" fmla="*/ 9909 h 9909"/>
                <a:gd name="connsiteX160" fmla="*/ 7539 w 10000"/>
                <a:gd name="connsiteY160" fmla="*/ 8670 h 9909"/>
                <a:gd name="connsiteX161" fmla="*/ 10000 w 10000"/>
                <a:gd name="connsiteY161" fmla="*/ 6863 h 9909"/>
                <a:gd name="connsiteX0" fmla="*/ 10000 w 10000"/>
                <a:gd name="connsiteY0" fmla="*/ 6926 h 9905"/>
                <a:gd name="connsiteX1" fmla="*/ 10000 w 10000"/>
                <a:gd name="connsiteY1" fmla="*/ 6926 h 9905"/>
                <a:gd name="connsiteX2" fmla="*/ 9911 w 10000"/>
                <a:gd name="connsiteY2" fmla="*/ 6909 h 9905"/>
                <a:gd name="connsiteX3" fmla="*/ 9815 w 10000"/>
                <a:gd name="connsiteY3" fmla="*/ 6889 h 9905"/>
                <a:gd name="connsiteX4" fmla="*/ 9726 w 10000"/>
                <a:gd name="connsiteY4" fmla="*/ 6870 h 9905"/>
                <a:gd name="connsiteX5" fmla="*/ 9637 w 10000"/>
                <a:gd name="connsiteY5" fmla="*/ 6841 h 9905"/>
                <a:gd name="connsiteX6" fmla="*/ 9548 w 10000"/>
                <a:gd name="connsiteY6" fmla="*/ 6822 h 9905"/>
                <a:gd name="connsiteX7" fmla="*/ 9466 w 10000"/>
                <a:gd name="connsiteY7" fmla="*/ 6796 h 9905"/>
                <a:gd name="connsiteX8" fmla="*/ 9377 w 10000"/>
                <a:gd name="connsiteY8" fmla="*/ 6771 h 9905"/>
                <a:gd name="connsiteX9" fmla="*/ 9288 w 10000"/>
                <a:gd name="connsiteY9" fmla="*/ 6744 h 9905"/>
                <a:gd name="connsiteX10" fmla="*/ 9118 w 10000"/>
                <a:gd name="connsiteY10" fmla="*/ 6687 h 9905"/>
                <a:gd name="connsiteX11" fmla="*/ 8955 w 10000"/>
                <a:gd name="connsiteY11" fmla="*/ 6624 h 9905"/>
                <a:gd name="connsiteX12" fmla="*/ 8792 w 10000"/>
                <a:gd name="connsiteY12" fmla="*/ 6559 h 9905"/>
                <a:gd name="connsiteX13" fmla="*/ 8636 w 10000"/>
                <a:gd name="connsiteY13" fmla="*/ 6485 h 9905"/>
                <a:gd name="connsiteX14" fmla="*/ 8480 w 10000"/>
                <a:gd name="connsiteY14" fmla="*/ 6410 h 9905"/>
                <a:gd name="connsiteX15" fmla="*/ 8340 w 10000"/>
                <a:gd name="connsiteY15" fmla="*/ 6338 h 9905"/>
                <a:gd name="connsiteX16" fmla="*/ 8199 w 10000"/>
                <a:gd name="connsiteY16" fmla="*/ 6252 h 9905"/>
                <a:gd name="connsiteX17" fmla="*/ 8058 w 10000"/>
                <a:gd name="connsiteY17" fmla="*/ 6163 h 9905"/>
                <a:gd name="connsiteX18" fmla="*/ 7924 w 10000"/>
                <a:gd name="connsiteY18" fmla="*/ 6073 h 9905"/>
                <a:gd name="connsiteX19" fmla="*/ 7798 w 10000"/>
                <a:gd name="connsiteY19" fmla="*/ 5975 h 9905"/>
                <a:gd name="connsiteX20" fmla="*/ 7672 w 10000"/>
                <a:gd name="connsiteY20" fmla="*/ 5880 h 9905"/>
                <a:gd name="connsiteX21" fmla="*/ 7554 w 10000"/>
                <a:gd name="connsiteY21" fmla="*/ 5781 h 9905"/>
                <a:gd name="connsiteX22" fmla="*/ 7450 w 10000"/>
                <a:gd name="connsiteY22" fmla="*/ 5673 h 9905"/>
                <a:gd name="connsiteX23" fmla="*/ 7346 w 10000"/>
                <a:gd name="connsiteY23" fmla="*/ 5564 h 9905"/>
                <a:gd name="connsiteX24" fmla="*/ 7250 w 10000"/>
                <a:gd name="connsiteY24" fmla="*/ 5455 h 9905"/>
                <a:gd name="connsiteX25" fmla="*/ 7161 w 10000"/>
                <a:gd name="connsiteY25" fmla="*/ 5343 h 9905"/>
                <a:gd name="connsiteX26" fmla="*/ 7072 w 10000"/>
                <a:gd name="connsiteY26" fmla="*/ 5227 h 9905"/>
                <a:gd name="connsiteX27" fmla="*/ 6990 w 10000"/>
                <a:gd name="connsiteY27" fmla="*/ 5102 h 9905"/>
                <a:gd name="connsiteX28" fmla="*/ 6953 w 10000"/>
                <a:gd name="connsiteY28" fmla="*/ 5048 h 9905"/>
                <a:gd name="connsiteX29" fmla="*/ 6916 w 10000"/>
                <a:gd name="connsiteY29" fmla="*/ 4981 h 9905"/>
                <a:gd name="connsiteX30" fmla="*/ 6887 w 10000"/>
                <a:gd name="connsiteY30" fmla="*/ 4922 h 9905"/>
                <a:gd name="connsiteX31" fmla="*/ 6850 w 10000"/>
                <a:gd name="connsiteY31" fmla="*/ 4858 h 9905"/>
                <a:gd name="connsiteX32" fmla="*/ 6820 w 10000"/>
                <a:gd name="connsiteY32" fmla="*/ 4798 h 9905"/>
                <a:gd name="connsiteX33" fmla="*/ 6790 w 10000"/>
                <a:gd name="connsiteY33" fmla="*/ 4734 h 9905"/>
                <a:gd name="connsiteX34" fmla="*/ 6768 w 10000"/>
                <a:gd name="connsiteY34" fmla="*/ 4667 h 9905"/>
                <a:gd name="connsiteX35" fmla="*/ 6738 w 10000"/>
                <a:gd name="connsiteY35" fmla="*/ 4606 h 9905"/>
                <a:gd name="connsiteX36" fmla="*/ 6723 w 10000"/>
                <a:gd name="connsiteY36" fmla="*/ 4536 h 9905"/>
                <a:gd name="connsiteX37" fmla="*/ 6694 w 10000"/>
                <a:gd name="connsiteY37" fmla="*/ 4475 h 9905"/>
                <a:gd name="connsiteX38" fmla="*/ 6679 w 10000"/>
                <a:gd name="connsiteY38" fmla="*/ 4407 h 9905"/>
                <a:gd name="connsiteX39" fmla="*/ 6664 w 10000"/>
                <a:gd name="connsiteY39" fmla="*/ 4343 h 9905"/>
                <a:gd name="connsiteX40" fmla="*/ 6649 w 10000"/>
                <a:gd name="connsiteY40" fmla="*/ 4273 h 9905"/>
                <a:gd name="connsiteX41" fmla="*/ 6635 w 10000"/>
                <a:gd name="connsiteY41" fmla="*/ 4211 h 9905"/>
                <a:gd name="connsiteX42" fmla="*/ 6620 w 10000"/>
                <a:gd name="connsiteY42" fmla="*/ 4144 h 9905"/>
                <a:gd name="connsiteX43" fmla="*/ 6612 w 10000"/>
                <a:gd name="connsiteY43" fmla="*/ 4078 h 9905"/>
                <a:gd name="connsiteX44" fmla="*/ 6605 w 10000"/>
                <a:gd name="connsiteY44" fmla="*/ 4008 h 9905"/>
                <a:gd name="connsiteX45" fmla="*/ 6597 w 10000"/>
                <a:gd name="connsiteY45" fmla="*/ 3936 h 9905"/>
                <a:gd name="connsiteX46" fmla="*/ 6597 w 10000"/>
                <a:gd name="connsiteY46" fmla="*/ 3869 h 9905"/>
                <a:gd name="connsiteX47" fmla="*/ 6590 w 10000"/>
                <a:gd name="connsiteY47" fmla="*/ 3798 h 9905"/>
                <a:gd name="connsiteX48" fmla="*/ 6597 w 10000"/>
                <a:gd name="connsiteY48" fmla="*/ 3728 h 9905"/>
                <a:gd name="connsiteX49" fmla="*/ 6605 w 10000"/>
                <a:gd name="connsiteY49" fmla="*/ 3654 h 9905"/>
                <a:gd name="connsiteX50" fmla="*/ 6605 w 10000"/>
                <a:gd name="connsiteY50" fmla="*/ 3581 h 9905"/>
                <a:gd name="connsiteX51" fmla="*/ 6612 w 10000"/>
                <a:gd name="connsiteY51" fmla="*/ 3506 h 9905"/>
                <a:gd name="connsiteX52" fmla="*/ 6620 w 10000"/>
                <a:gd name="connsiteY52" fmla="*/ 3433 h 9905"/>
                <a:gd name="connsiteX53" fmla="*/ 6635 w 10000"/>
                <a:gd name="connsiteY53" fmla="*/ 3370 h 9905"/>
                <a:gd name="connsiteX54" fmla="*/ 6649 w 10000"/>
                <a:gd name="connsiteY54" fmla="*/ 3293 h 9905"/>
                <a:gd name="connsiteX55" fmla="*/ 6664 w 10000"/>
                <a:gd name="connsiteY55" fmla="*/ 3226 h 9905"/>
                <a:gd name="connsiteX56" fmla="*/ 6686 w 10000"/>
                <a:gd name="connsiteY56" fmla="*/ 3154 h 9905"/>
                <a:gd name="connsiteX57" fmla="*/ 6709 w 10000"/>
                <a:gd name="connsiteY57" fmla="*/ 3087 h 9905"/>
                <a:gd name="connsiteX58" fmla="*/ 6731 w 10000"/>
                <a:gd name="connsiteY58" fmla="*/ 3019 h 9905"/>
                <a:gd name="connsiteX59" fmla="*/ 6753 w 10000"/>
                <a:gd name="connsiteY59" fmla="*/ 2947 h 9905"/>
                <a:gd name="connsiteX60" fmla="*/ 6783 w 10000"/>
                <a:gd name="connsiteY60" fmla="*/ 2886 h 9905"/>
                <a:gd name="connsiteX61" fmla="*/ 6812 w 10000"/>
                <a:gd name="connsiteY61" fmla="*/ 2818 h 9905"/>
                <a:gd name="connsiteX62" fmla="*/ 6842 w 10000"/>
                <a:gd name="connsiteY62" fmla="*/ 2749 h 9905"/>
                <a:gd name="connsiteX63" fmla="*/ 6879 w 10000"/>
                <a:gd name="connsiteY63" fmla="*/ 2684 h 9905"/>
                <a:gd name="connsiteX64" fmla="*/ 6909 w 10000"/>
                <a:gd name="connsiteY64" fmla="*/ 2622 h 9905"/>
                <a:gd name="connsiteX65" fmla="*/ 6946 w 10000"/>
                <a:gd name="connsiteY65" fmla="*/ 2550 h 9905"/>
                <a:gd name="connsiteX66" fmla="*/ 6990 w 10000"/>
                <a:gd name="connsiteY66" fmla="*/ 2493 h 9905"/>
                <a:gd name="connsiteX67" fmla="*/ 7027 w 10000"/>
                <a:gd name="connsiteY67" fmla="*/ 2428 h 9905"/>
                <a:gd name="connsiteX68" fmla="*/ 7072 w 10000"/>
                <a:gd name="connsiteY68" fmla="*/ 2370 h 9905"/>
                <a:gd name="connsiteX69" fmla="*/ 7109 w 10000"/>
                <a:gd name="connsiteY69" fmla="*/ 2303 h 9905"/>
                <a:gd name="connsiteX70" fmla="*/ 7161 w 10000"/>
                <a:gd name="connsiteY70" fmla="*/ 2249 h 9905"/>
                <a:gd name="connsiteX71" fmla="*/ 7213 w 10000"/>
                <a:gd name="connsiteY71" fmla="*/ 2185 h 9905"/>
                <a:gd name="connsiteX72" fmla="*/ 7257 w 10000"/>
                <a:gd name="connsiteY72" fmla="*/ 2126 h 9905"/>
                <a:gd name="connsiteX73" fmla="*/ 7309 w 10000"/>
                <a:gd name="connsiteY73" fmla="*/ 2068 h 9905"/>
                <a:gd name="connsiteX74" fmla="*/ 7361 w 10000"/>
                <a:gd name="connsiteY74" fmla="*/ 2006 h 9905"/>
                <a:gd name="connsiteX75" fmla="*/ 7413 w 10000"/>
                <a:gd name="connsiteY75" fmla="*/ 1953 h 9905"/>
                <a:gd name="connsiteX76" fmla="*/ 7472 w 10000"/>
                <a:gd name="connsiteY76" fmla="*/ 1896 h 9905"/>
                <a:gd name="connsiteX77" fmla="*/ 7524 w 10000"/>
                <a:gd name="connsiteY77" fmla="*/ 1844 h 9905"/>
                <a:gd name="connsiteX78" fmla="*/ 7583 w 10000"/>
                <a:gd name="connsiteY78" fmla="*/ 1789 h 9905"/>
                <a:gd name="connsiteX79" fmla="*/ 7610 w 10000"/>
                <a:gd name="connsiteY79" fmla="*/ 1756 h 9905"/>
                <a:gd name="connsiteX80" fmla="*/ 5390 w 10000"/>
                <a:gd name="connsiteY80" fmla="*/ 6 h 9905"/>
                <a:gd name="connsiteX81" fmla="*/ 1401 w 10000"/>
                <a:gd name="connsiteY81" fmla="*/ 0 h 9905"/>
                <a:gd name="connsiteX82" fmla="*/ 1305 w 10000"/>
                <a:gd name="connsiteY82" fmla="*/ 132 h 9905"/>
                <a:gd name="connsiteX83" fmla="*/ 1223 w 10000"/>
                <a:gd name="connsiteY83" fmla="*/ 233 h 9905"/>
                <a:gd name="connsiteX84" fmla="*/ 1149 w 10000"/>
                <a:gd name="connsiteY84" fmla="*/ 340 h 9905"/>
                <a:gd name="connsiteX85" fmla="*/ 1067 w 10000"/>
                <a:gd name="connsiteY85" fmla="*/ 450 h 9905"/>
                <a:gd name="connsiteX86" fmla="*/ 1001 w 10000"/>
                <a:gd name="connsiteY86" fmla="*/ 559 h 9905"/>
                <a:gd name="connsiteX87" fmla="*/ 927 w 10000"/>
                <a:gd name="connsiteY87" fmla="*/ 668 h 9905"/>
                <a:gd name="connsiteX88" fmla="*/ 860 w 10000"/>
                <a:gd name="connsiteY88" fmla="*/ 782 h 9905"/>
                <a:gd name="connsiteX89" fmla="*/ 793 w 10000"/>
                <a:gd name="connsiteY89" fmla="*/ 897 h 9905"/>
                <a:gd name="connsiteX90" fmla="*/ 734 w 10000"/>
                <a:gd name="connsiteY90" fmla="*/ 1003 h 9905"/>
                <a:gd name="connsiteX91" fmla="*/ 675 w 10000"/>
                <a:gd name="connsiteY91" fmla="*/ 1121 h 9905"/>
                <a:gd name="connsiteX92" fmla="*/ 615 w 10000"/>
                <a:gd name="connsiteY92" fmla="*/ 1232 h 9905"/>
                <a:gd name="connsiteX93" fmla="*/ 556 w 10000"/>
                <a:gd name="connsiteY93" fmla="*/ 1353 h 9905"/>
                <a:gd name="connsiteX94" fmla="*/ 504 w 10000"/>
                <a:gd name="connsiteY94" fmla="*/ 1461 h 9905"/>
                <a:gd name="connsiteX95" fmla="*/ 452 w 10000"/>
                <a:gd name="connsiteY95" fmla="*/ 1577 h 9905"/>
                <a:gd name="connsiteX96" fmla="*/ 408 w 10000"/>
                <a:gd name="connsiteY96" fmla="*/ 1694 h 9905"/>
                <a:gd name="connsiteX97" fmla="*/ 363 w 10000"/>
                <a:gd name="connsiteY97" fmla="*/ 1812 h 9905"/>
                <a:gd name="connsiteX98" fmla="*/ 319 w 10000"/>
                <a:gd name="connsiteY98" fmla="*/ 1933 h 9905"/>
                <a:gd name="connsiteX99" fmla="*/ 282 w 10000"/>
                <a:gd name="connsiteY99" fmla="*/ 2052 h 9905"/>
                <a:gd name="connsiteX100" fmla="*/ 237 w 10000"/>
                <a:gd name="connsiteY100" fmla="*/ 2175 h 9905"/>
                <a:gd name="connsiteX101" fmla="*/ 208 w 10000"/>
                <a:gd name="connsiteY101" fmla="*/ 2294 h 9905"/>
                <a:gd name="connsiteX102" fmla="*/ 170 w 10000"/>
                <a:gd name="connsiteY102" fmla="*/ 2417 h 9905"/>
                <a:gd name="connsiteX103" fmla="*/ 148 w 10000"/>
                <a:gd name="connsiteY103" fmla="*/ 2541 h 9905"/>
                <a:gd name="connsiteX104" fmla="*/ 119 w 10000"/>
                <a:gd name="connsiteY104" fmla="*/ 2662 h 9905"/>
                <a:gd name="connsiteX105" fmla="*/ 96 w 10000"/>
                <a:gd name="connsiteY105" fmla="*/ 2783 h 9905"/>
                <a:gd name="connsiteX106" fmla="*/ 74 w 10000"/>
                <a:gd name="connsiteY106" fmla="*/ 2911 h 9905"/>
                <a:gd name="connsiteX107" fmla="*/ 52 w 10000"/>
                <a:gd name="connsiteY107" fmla="*/ 3041 h 9905"/>
                <a:gd name="connsiteX108" fmla="*/ 37 w 10000"/>
                <a:gd name="connsiteY108" fmla="*/ 3164 h 9905"/>
                <a:gd name="connsiteX109" fmla="*/ 22 w 10000"/>
                <a:gd name="connsiteY109" fmla="*/ 3288 h 9905"/>
                <a:gd name="connsiteX110" fmla="*/ 15 w 10000"/>
                <a:gd name="connsiteY110" fmla="*/ 3413 h 9905"/>
                <a:gd name="connsiteX111" fmla="*/ 7 w 10000"/>
                <a:gd name="connsiteY111" fmla="*/ 3541 h 9905"/>
                <a:gd name="connsiteX112" fmla="*/ 0 w 10000"/>
                <a:gd name="connsiteY112" fmla="*/ 3667 h 9905"/>
                <a:gd name="connsiteX113" fmla="*/ 0 w 10000"/>
                <a:gd name="connsiteY113" fmla="*/ 3798 h 9905"/>
                <a:gd name="connsiteX114" fmla="*/ 7 w 10000"/>
                <a:gd name="connsiteY114" fmla="*/ 3963 h 9905"/>
                <a:gd name="connsiteX115" fmla="*/ 7 w 10000"/>
                <a:gd name="connsiteY115" fmla="*/ 4128 h 9905"/>
                <a:gd name="connsiteX116" fmla="*/ 22 w 10000"/>
                <a:gd name="connsiteY116" fmla="*/ 4283 h 9905"/>
                <a:gd name="connsiteX117" fmla="*/ 37 w 10000"/>
                <a:gd name="connsiteY117" fmla="*/ 4445 h 9905"/>
                <a:gd name="connsiteX118" fmla="*/ 59 w 10000"/>
                <a:gd name="connsiteY118" fmla="*/ 4606 h 9905"/>
                <a:gd name="connsiteX119" fmla="*/ 89 w 10000"/>
                <a:gd name="connsiteY119" fmla="*/ 4766 h 9905"/>
                <a:gd name="connsiteX120" fmla="*/ 119 w 10000"/>
                <a:gd name="connsiteY120" fmla="*/ 4926 h 9905"/>
                <a:gd name="connsiteX121" fmla="*/ 148 w 10000"/>
                <a:gd name="connsiteY121" fmla="*/ 5086 h 9905"/>
                <a:gd name="connsiteX122" fmla="*/ 193 w 10000"/>
                <a:gd name="connsiteY122" fmla="*/ 5243 h 9905"/>
                <a:gd name="connsiteX123" fmla="*/ 237 w 10000"/>
                <a:gd name="connsiteY123" fmla="*/ 5397 h 9905"/>
                <a:gd name="connsiteX124" fmla="*/ 282 w 10000"/>
                <a:gd name="connsiteY124" fmla="*/ 5555 h 9905"/>
                <a:gd name="connsiteX125" fmla="*/ 334 w 10000"/>
                <a:gd name="connsiteY125" fmla="*/ 5707 h 9905"/>
                <a:gd name="connsiteX126" fmla="*/ 393 w 10000"/>
                <a:gd name="connsiteY126" fmla="*/ 5857 h 9905"/>
                <a:gd name="connsiteX127" fmla="*/ 452 w 10000"/>
                <a:gd name="connsiteY127" fmla="*/ 6009 h 9905"/>
                <a:gd name="connsiteX128" fmla="*/ 519 w 10000"/>
                <a:gd name="connsiteY128" fmla="*/ 6159 h 9905"/>
                <a:gd name="connsiteX129" fmla="*/ 586 w 10000"/>
                <a:gd name="connsiteY129" fmla="*/ 6311 h 9905"/>
                <a:gd name="connsiteX130" fmla="*/ 660 w 10000"/>
                <a:gd name="connsiteY130" fmla="*/ 6455 h 9905"/>
                <a:gd name="connsiteX131" fmla="*/ 741 w 10000"/>
                <a:gd name="connsiteY131" fmla="*/ 6598 h 9905"/>
                <a:gd name="connsiteX132" fmla="*/ 823 w 10000"/>
                <a:gd name="connsiteY132" fmla="*/ 6749 h 9905"/>
                <a:gd name="connsiteX133" fmla="*/ 904 w 10000"/>
                <a:gd name="connsiteY133" fmla="*/ 6889 h 9905"/>
                <a:gd name="connsiteX134" fmla="*/ 993 w 10000"/>
                <a:gd name="connsiteY134" fmla="*/ 7030 h 9905"/>
                <a:gd name="connsiteX135" fmla="*/ 1090 w 10000"/>
                <a:gd name="connsiteY135" fmla="*/ 7161 h 9905"/>
                <a:gd name="connsiteX136" fmla="*/ 1186 w 10000"/>
                <a:gd name="connsiteY136" fmla="*/ 7305 h 9905"/>
                <a:gd name="connsiteX137" fmla="*/ 1290 w 10000"/>
                <a:gd name="connsiteY137" fmla="*/ 7444 h 9905"/>
                <a:gd name="connsiteX138" fmla="*/ 1386 w 10000"/>
                <a:gd name="connsiteY138" fmla="*/ 7580 h 9905"/>
                <a:gd name="connsiteX139" fmla="*/ 1497 w 10000"/>
                <a:gd name="connsiteY139" fmla="*/ 7714 h 9905"/>
                <a:gd name="connsiteX140" fmla="*/ 1609 w 10000"/>
                <a:gd name="connsiteY140" fmla="*/ 7844 h 9905"/>
                <a:gd name="connsiteX141" fmla="*/ 1727 w 10000"/>
                <a:gd name="connsiteY141" fmla="*/ 7979 h 9905"/>
                <a:gd name="connsiteX142" fmla="*/ 1846 w 10000"/>
                <a:gd name="connsiteY142" fmla="*/ 8107 h 9905"/>
                <a:gd name="connsiteX143" fmla="*/ 1964 w 10000"/>
                <a:gd name="connsiteY143" fmla="*/ 8231 h 9905"/>
                <a:gd name="connsiteX144" fmla="*/ 2090 w 10000"/>
                <a:gd name="connsiteY144" fmla="*/ 8354 h 9905"/>
                <a:gd name="connsiteX145" fmla="*/ 2224 w 10000"/>
                <a:gd name="connsiteY145" fmla="*/ 8480 h 9905"/>
                <a:gd name="connsiteX146" fmla="*/ 2350 w 10000"/>
                <a:gd name="connsiteY146" fmla="*/ 8604 h 9905"/>
                <a:gd name="connsiteX147" fmla="*/ 2491 w 10000"/>
                <a:gd name="connsiteY147" fmla="*/ 8723 h 9905"/>
                <a:gd name="connsiteX148" fmla="*/ 2617 w 10000"/>
                <a:gd name="connsiteY148" fmla="*/ 8843 h 9905"/>
                <a:gd name="connsiteX149" fmla="*/ 2765 w 10000"/>
                <a:gd name="connsiteY149" fmla="*/ 8959 h 9905"/>
                <a:gd name="connsiteX150" fmla="*/ 2906 w 10000"/>
                <a:gd name="connsiteY150" fmla="*/ 9072 h 9905"/>
                <a:gd name="connsiteX151" fmla="*/ 3054 w 10000"/>
                <a:gd name="connsiteY151" fmla="*/ 9186 h 9905"/>
                <a:gd name="connsiteX152" fmla="*/ 3210 w 10000"/>
                <a:gd name="connsiteY152" fmla="*/ 9294 h 9905"/>
                <a:gd name="connsiteX153" fmla="*/ 3358 w 10000"/>
                <a:gd name="connsiteY153" fmla="*/ 9403 h 9905"/>
                <a:gd name="connsiteX154" fmla="*/ 3514 w 10000"/>
                <a:gd name="connsiteY154" fmla="*/ 9511 h 9905"/>
                <a:gd name="connsiteX155" fmla="*/ 3677 w 10000"/>
                <a:gd name="connsiteY155" fmla="*/ 9614 h 9905"/>
                <a:gd name="connsiteX156" fmla="*/ 3840 w 10000"/>
                <a:gd name="connsiteY156" fmla="*/ 9713 h 9905"/>
                <a:gd name="connsiteX157" fmla="*/ 4010 w 10000"/>
                <a:gd name="connsiteY157" fmla="*/ 9815 h 9905"/>
                <a:gd name="connsiteX158" fmla="*/ 4181 w 10000"/>
                <a:gd name="connsiteY158" fmla="*/ 9905 h 9905"/>
                <a:gd name="connsiteX159" fmla="*/ 7539 w 10000"/>
                <a:gd name="connsiteY159" fmla="*/ 8750 h 9905"/>
                <a:gd name="connsiteX160" fmla="*/ 10000 w 10000"/>
                <a:gd name="connsiteY160" fmla="*/ 6926 h 9905"/>
                <a:gd name="connsiteX0" fmla="*/ 10000 w 10000"/>
                <a:gd name="connsiteY0" fmla="*/ 6992 h 9909"/>
                <a:gd name="connsiteX1" fmla="*/ 10000 w 10000"/>
                <a:gd name="connsiteY1" fmla="*/ 6992 h 9909"/>
                <a:gd name="connsiteX2" fmla="*/ 9911 w 10000"/>
                <a:gd name="connsiteY2" fmla="*/ 6975 h 9909"/>
                <a:gd name="connsiteX3" fmla="*/ 9815 w 10000"/>
                <a:gd name="connsiteY3" fmla="*/ 6955 h 9909"/>
                <a:gd name="connsiteX4" fmla="*/ 9726 w 10000"/>
                <a:gd name="connsiteY4" fmla="*/ 6936 h 9909"/>
                <a:gd name="connsiteX5" fmla="*/ 9637 w 10000"/>
                <a:gd name="connsiteY5" fmla="*/ 6907 h 9909"/>
                <a:gd name="connsiteX6" fmla="*/ 9548 w 10000"/>
                <a:gd name="connsiteY6" fmla="*/ 6887 h 9909"/>
                <a:gd name="connsiteX7" fmla="*/ 9466 w 10000"/>
                <a:gd name="connsiteY7" fmla="*/ 6861 h 9909"/>
                <a:gd name="connsiteX8" fmla="*/ 9377 w 10000"/>
                <a:gd name="connsiteY8" fmla="*/ 6836 h 9909"/>
                <a:gd name="connsiteX9" fmla="*/ 9288 w 10000"/>
                <a:gd name="connsiteY9" fmla="*/ 6809 h 9909"/>
                <a:gd name="connsiteX10" fmla="*/ 9118 w 10000"/>
                <a:gd name="connsiteY10" fmla="*/ 6751 h 9909"/>
                <a:gd name="connsiteX11" fmla="*/ 8955 w 10000"/>
                <a:gd name="connsiteY11" fmla="*/ 6688 h 9909"/>
                <a:gd name="connsiteX12" fmla="*/ 8792 w 10000"/>
                <a:gd name="connsiteY12" fmla="*/ 6622 h 9909"/>
                <a:gd name="connsiteX13" fmla="*/ 8636 w 10000"/>
                <a:gd name="connsiteY13" fmla="*/ 6547 h 9909"/>
                <a:gd name="connsiteX14" fmla="*/ 8480 w 10000"/>
                <a:gd name="connsiteY14" fmla="*/ 6471 h 9909"/>
                <a:gd name="connsiteX15" fmla="*/ 8340 w 10000"/>
                <a:gd name="connsiteY15" fmla="*/ 6399 h 9909"/>
                <a:gd name="connsiteX16" fmla="*/ 8199 w 10000"/>
                <a:gd name="connsiteY16" fmla="*/ 6312 h 9909"/>
                <a:gd name="connsiteX17" fmla="*/ 8058 w 10000"/>
                <a:gd name="connsiteY17" fmla="*/ 6222 h 9909"/>
                <a:gd name="connsiteX18" fmla="*/ 7924 w 10000"/>
                <a:gd name="connsiteY18" fmla="*/ 6131 h 9909"/>
                <a:gd name="connsiteX19" fmla="*/ 7798 w 10000"/>
                <a:gd name="connsiteY19" fmla="*/ 6032 h 9909"/>
                <a:gd name="connsiteX20" fmla="*/ 7672 w 10000"/>
                <a:gd name="connsiteY20" fmla="*/ 5936 h 9909"/>
                <a:gd name="connsiteX21" fmla="*/ 7554 w 10000"/>
                <a:gd name="connsiteY21" fmla="*/ 5836 h 9909"/>
                <a:gd name="connsiteX22" fmla="*/ 7450 w 10000"/>
                <a:gd name="connsiteY22" fmla="*/ 5727 h 9909"/>
                <a:gd name="connsiteX23" fmla="*/ 7346 w 10000"/>
                <a:gd name="connsiteY23" fmla="*/ 5617 h 9909"/>
                <a:gd name="connsiteX24" fmla="*/ 7250 w 10000"/>
                <a:gd name="connsiteY24" fmla="*/ 5507 h 9909"/>
                <a:gd name="connsiteX25" fmla="*/ 7161 w 10000"/>
                <a:gd name="connsiteY25" fmla="*/ 5394 h 9909"/>
                <a:gd name="connsiteX26" fmla="*/ 7072 w 10000"/>
                <a:gd name="connsiteY26" fmla="*/ 5277 h 9909"/>
                <a:gd name="connsiteX27" fmla="*/ 6990 w 10000"/>
                <a:gd name="connsiteY27" fmla="*/ 5151 h 9909"/>
                <a:gd name="connsiteX28" fmla="*/ 6953 w 10000"/>
                <a:gd name="connsiteY28" fmla="*/ 5096 h 9909"/>
                <a:gd name="connsiteX29" fmla="*/ 6916 w 10000"/>
                <a:gd name="connsiteY29" fmla="*/ 5029 h 9909"/>
                <a:gd name="connsiteX30" fmla="*/ 6887 w 10000"/>
                <a:gd name="connsiteY30" fmla="*/ 4969 h 9909"/>
                <a:gd name="connsiteX31" fmla="*/ 6850 w 10000"/>
                <a:gd name="connsiteY31" fmla="*/ 4905 h 9909"/>
                <a:gd name="connsiteX32" fmla="*/ 6820 w 10000"/>
                <a:gd name="connsiteY32" fmla="*/ 4844 h 9909"/>
                <a:gd name="connsiteX33" fmla="*/ 6790 w 10000"/>
                <a:gd name="connsiteY33" fmla="*/ 4779 h 9909"/>
                <a:gd name="connsiteX34" fmla="*/ 6768 w 10000"/>
                <a:gd name="connsiteY34" fmla="*/ 4712 h 9909"/>
                <a:gd name="connsiteX35" fmla="*/ 6738 w 10000"/>
                <a:gd name="connsiteY35" fmla="*/ 4650 h 9909"/>
                <a:gd name="connsiteX36" fmla="*/ 6723 w 10000"/>
                <a:gd name="connsiteY36" fmla="*/ 4580 h 9909"/>
                <a:gd name="connsiteX37" fmla="*/ 6694 w 10000"/>
                <a:gd name="connsiteY37" fmla="*/ 4518 h 9909"/>
                <a:gd name="connsiteX38" fmla="*/ 6679 w 10000"/>
                <a:gd name="connsiteY38" fmla="*/ 4449 h 9909"/>
                <a:gd name="connsiteX39" fmla="*/ 6664 w 10000"/>
                <a:gd name="connsiteY39" fmla="*/ 4385 h 9909"/>
                <a:gd name="connsiteX40" fmla="*/ 6649 w 10000"/>
                <a:gd name="connsiteY40" fmla="*/ 4314 h 9909"/>
                <a:gd name="connsiteX41" fmla="*/ 6635 w 10000"/>
                <a:gd name="connsiteY41" fmla="*/ 4251 h 9909"/>
                <a:gd name="connsiteX42" fmla="*/ 6620 w 10000"/>
                <a:gd name="connsiteY42" fmla="*/ 4184 h 9909"/>
                <a:gd name="connsiteX43" fmla="*/ 6612 w 10000"/>
                <a:gd name="connsiteY43" fmla="*/ 4117 h 9909"/>
                <a:gd name="connsiteX44" fmla="*/ 6605 w 10000"/>
                <a:gd name="connsiteY44" fmla="*/ 4046 h 9909"/>
                <a:gd name="connsiteX45" fmla="*/ 6597 w 10000"/>
                <a:gd name="connsiteY45" fmla="*/ 3974 h 9909"/>
                <a:gd name="connsiteX46" fmla="*/ 6597 w 10000"/>
                <a:gd name="connsiteY46" fmla="*/ 3906 h 9909"/>
                <a:gd name="connsiteX47" fmla="*/ 6590 w 10000"/>
                <a:gd name="connsiteY47" fmla="*/ 3834 h 9909"/>
                <a:gd name="connsiteX48" fmla="*/ 6597 w 10000"/>
                <a:gd name="connsiteY48" fmla="*/ 3764 h 9909"/>
                <a:gd name="connsiteX49" fmla="*/ 6605 w 10000"/>
                <a:gd name="connsiteY49" fmla="*/ 3689 h 9909"/>
                <a:gd name="connsiteX50" fmla="*/ 6605 w 10000"/>
                <a:gd name="connsiteY50" fmla="*/ 3615 h 9909"/>
                <a:gd name="connsiteX51" fmla="*/ 6612 w 10000"/>
                <a:gd name="connsiteY51" fmla="*/ 3540 h 9909"/>
                <a:gd name="connsiteX52" fmla="*/ 6620 w 10000"/>
                <a:gd name="connsiteY52" fmla="*/ 3466 h 9909"/>
                <a:gd name="connsiteX53" fmla="*/ 6635 w 10000"/>
                <a:gd name="connsiteY53" fmla="*/ 3402 h 9909"/>
                <a:gd name="connsiteX54" fmla="*/ 6649 w 10000"/>
                <a:gd name="connsiteY54" fmla="*/ 3325 h 9909"/>
                <a:gd name="connsiteX55" fmla="*/ 6664 w 10000"/>
                <a:gd name="connsiteY55" fmla="*/ 3257 h 9909"/>
                <a:gd name="connsiteX56" fmla="*/ 6686 w 10000"/>
                <a:gd name="connsiteY56" fmla="*/ 3184 h 9909"/>
                <a:gd name="connsiteX57" fmla="*/ 6709 w 10000"/>
                <a:gd name="connsiteY57" fmla="*/ 3117 h 9909"/>
                <a:gd name="connsiteX58" fmla="*/ 6731 w 10000"/>
                <a:gd name="connsiteY58" fmla="*/ 3048 h 9909"/>
                <a:gd name="connsiteX59" fmla="*/ 6753 w 10000"/>
                <a:gd name="connsiteY59" fmla="*/ 2975 h 9909"/>
                <a:gd name="connsiteX60" fmla="*/ 6783 w 10000"/>
                <a:gd name="connsiteY60" fmla="*/ 2914 h 9909"/>
                <a:gd name="connsiteX61" fmla="*/ 6812 w 10000"/>
                <a:gd name="connsiteY61" fmla="*/ 2845 h 9909"/>
                <a:gd name="connsiteX62" fmla="*/ 6842 w 10000"/>
                <a:gd name="connsiteY62" fmla="*/ 2775 h 9909"/>
                <a:gd name="connsiteX63" fmla="*/ 6879 w 10000"/>
                <a:gd name="connsiteY63" fmla="*/ 2710 h 9909"/>
                <a:gd name="connsiteX64" fmla="*/ 6909 w 10000"/>
                <a:gd name="connsiteY64" fmla="*/ 2647 h 9909"/>
                <a:gd name="connsiteX65" fmla="*/ 6946 w 10000"/>
                <a:gd name="connsiteY65" fmla="*/ 2574 h 9909"/>
                <a:gd name="connsiteX66" fmla="*/ 6990 w 10000"/>
                <a:gd name="connsiteY66" fmla="*/ 2517 h 9909"/>
                <a:gd name="connsiteX67" fmla="*/ 7027 w 10000"/>
                <a:gd name="connsiteY67" fmla="*/ 2451 h 9909"/>
                <a:gd name="connsiteX68" fmla="*/ 7072 w 10000"/>
                <a:gd name="connsiteY68" fmla="*/ 2393 h 9909"/>
                <a:gd name="connsiteX69" fmla="*/ 7109 w 10000"/>
                <a:gd name="connsiteY69" fmla="*/ 2325 h 9909"/>
                <a:gd name="connsiteX70" fmla="*/ 7161 w 10000"/>
                <a:gd name="connsiteY70" fmla="*/ 2271 h 9909"/>
                <a:gd name="connsiteX71" fmla="*/ 7213 w 10000"/>
                <a:gd name="connsiteY71" fmla="*/ 2206 h 9909"/>
                <a:gd name="connsiteX72" fmla="*/ 7257 w 10000"/>
                <a:gd name="connsiteY72" fmla="*/ 2146 h 9909"/>
                <a:gd name="connsiteX73" fmla="*/ 7309 w 10000"/>
                <a:gd name="connsiteY73" fmla="*/ 2088 h 9909"/>
                <a:gd name="connsiteX74" fmla="*/ 7361 w 10000"/>
                <a:gd name="connsiteY74" fmla="*/ 2025 h 9909"/>
                <a:gd name="connsiteX75" fmla="*/ 7413 w 10000"/>
                <a:gd name="connsiteY75" fmla="*/ 1972 h 9909"/>
                <a:gd name="connsiteX76" fmla="*/ 7472 w 10000"/>
                <a:gd name="connsiteY76" fmla="*/ 1914 h 9909"/>
                <a:gd name="connsiteX77" fmla="*/ 7524 w 10000"/>
                <a:gd name="connsiteY77" fmla="*/ 1862 h 9909"/>
                <a:gd name="connsiteX78" fmla="*/ 7583 w 10000"/>
                <a:gd name="connsiteY78" fmla="*/ 1806 h 9909"/>
                <a:gd name="connsiteX79" fmla="*/ 7610 w 10000"/>
                <a:gd name="connsiteY79" fmla="*/ 1773 h 9909"/>
                <a:gd name="connsiteX80" fmla="*/ 5390 w 10000"/>
                <a:gd name="connsiteY80" fmla="*/ 6 h 9909"/>
                <a:gd name="connsiteX81" fmla="*/ 1401 w 10000"/>
                <a:gd name="connsiteY81" fmla="*/ 0 h 9909"/>
                <a:gd name="connsiteX82" fmla="*/ 1305 w 10000"/>
                <a:gd name="connsiteY82" fmla="*/ 133 h 9909"/>
                <a:gd name="connsiteX83" fmla="*/ 1223 w 10000"/>
                <a:gd name="connsiteY83" fmla="*/ 235 h 9909"/>
                <a:gd name="connsiteX84" fmla="*/ 1149 w 10000"/>
                <a:gd name="connsiteY84" fmla="*/ 343 h 9909"/>
                <a:gd name="connsiteX85" fmla="*/ 1067 w 10000"/>
                <a:gd name="connsiteY85" fmla="*/ 454 h 9909"/>
                <a:gd name="connsiteX86" fmla="*/ 1001 w 10000"/>
                <a:gd name="connsiteY86" fmla="*/ 564 h 9909"/>
                <a:gd name="connsiteX87" fmla="*/ 927 w 10000"/>
                <a:gd name="connsiteY87" fmla="*/ 674 h 9909"/>
                <a:gd name="connsiteX88" fmla="*/ 860 w 10000"/>
                <a:gd name="connsiteY88" fmla="*/ 790 h 9909"/>
                <a:gd name="connsiteX89" fmla="*/ 793 w 10000"/>
                <a:gd name="connsiteY89" fmla="*/ 906 h 9909"/>
                <a:gd name="connsiteX90" fmla="*/ 734 w 10000"/>
                <a:gd name="connsiteY90" fmla="*/ 1013 h 9909"/>
                <a:gd name="connsiteX91" fmla="*/ 675 w 10000"/>
                <a:gd name="connsiteY91" fmla="*/ 1132 h 9909"/>
                <a:gd name="connsiteX92" fmla="*/ 615 w 10000"/>
                <a:gd name="connsiteY92" fmla="*/ 1244 h 9909"/>
                <a:gd name="connsiteX93" fmla="*/ 556 w 10000"/>
                <a:gd name="connsiteY93" fmla="*/ 1366 h 9909"/>
                <a:gd name="connsiteX94" fmla="*/ 504 w 10000"/>
                <a:gd name="connsiteY94" fmla="*/ 1475 h 9909"/>
                <a:gd name="connsiteX95" fmla="*/ 452 w 10000"/>
                <a:gd name="connsiteY95" fmla="*/ 1592 h 9909"/>
                <a:gd name="connsiteX96" fmla="*/ 408 w 10000"/>
                <a:gd name="connsiteY96" fmla="*/ 1710 h 9909"/>
                <a:gd name="connsiteX97" fmla="*/ 363 w 10000"/>
                <a:gd name="connsiteY97" fmla="*/ 1829 h 9909"/>
                <a:gd name="connsiteX98" fmla="*/ 319 w 10000"/>
                <a:gd name="connsiteY98" fmla="*/ 1952 h 9909"/>
                <a:gd name="connsiteX99" fmla="*/ 282 w 10000"/>
                <a:gd name="connsiteY99" fmla="*/ 2072 h 9909"/>
                <a:gd name="connsiteX100" fmla="*/ 237 w 10000"/>
                <a:gd name="connsiteY100" fmla="*/ 2196 h 9909"/>
                <a:gd name="connsiteX101" fmla="*/ 208 w 10000"/>
                <a:gd name="connsiteY101" fmla="*/ 2316 h 9909"/>
                <a:gd name="connsiteX102" fmla="*/ 170 w 10000"/>
                <a:gd name="connsiteY102" fmla="*/ 2440 h 9909"/>
                <a:gd name="connsiteX103" fmla="*/ 148 w 10000"/>
                <a:gd name="connsiteY103" fmla="*/ 2565 h 9909"/>
                <a:gd name="connsiteX104" fmla="*/ 119 w 10000"/>
                <a:gd name="connsiteY104" fmla="*/ 2688 h 9909"/>
                <a:gd name="connsiteX105" fmla="*/ 96 w 10000"/>
                <a:gd name="connsiteY105" fmla="*/ 2810 h 9909"/>
                <a:gd name="connsiteX106" fmla="*/ 74 w 10000"/>
                <a:gd name="connsiteY106" fmla="*/ 2939 h 9909"/>
                <a:gd name="connsiteX107" fmla="*/ 52 w 10000"/>
                <a:gd name="connsiteY107" fmla="*/ 3070 h 9909"/>
                <a:gd name="connsiteX108" fmla="*/ 37 w 10000"/>
                <a:gd name="connsiteY108" fmla="*/ 3194 h 9909"/>
                <a:gd name="connsiteX109" fmla="*/ 22 w 10000"/>
                <a:gd name="connsiteY109" fmla="*/ 3320 h 9909"/>
                <a:gd name="connsiteX110" fmla="*/ 15 w 10000"/>
                <a:gd name="connsiteY110" fmla="*/ 3446 h 9909"/>
                <a:gd name="connsiteX111" fmla="*/ 7 w 10000"/>
                <a:gd name="connsiteY111" fmla="*/ 3575 h 9909"/>
                <a:gd name="connsiteX112" fmla="*/ 0 w 10000"/>
                <a:gd name="connsiteY112" fmla="*/ 3702 h 9909"/>
                <a:gd name="connsiteX113" fmla="*/ 0 w 10000"/>
                <a:gd name="connsiteY113" fmla="*/ 3834 h 9909"/>
                <a:gd name="connsiteX114" fmla="*/ 7 w 10000"/>
                <a:gd name="connsiteY114" fmla="*/ 4001 h 9909"/>
                <a:gd name="connsiteX115" fmla="*/ 7 w 10000"/>
                <a:gd name="connsiteY115" fmla="*/ 4168 h 9909"/>
                <a:gd name="connsiteX116" fmla="*/ 22 w 10000"/>
                <a:gd name="connsiteY116" fmla="*/ 4324 h 9909"/>
                <a:gd name="connsiteX117" fmla="*/ 37 w 10000"/>
                <a:gd name="connsiteY117" fmla="*/ 4488 h 9909"/>
                <a:gd name="connsiteX118" fmla="*/ 59 w 10000"/>
                <a:gd name="connsiteY118" fmla="*/ 4650 h 9909"/>
                <a:gd name="connsiteX119" fmla="*/ 89 w 10000"/>
                <a:gd name="connsiteY119" fmla="*/ 4812 h 9909"/>
                <a:gd name="connsiteX120" fmla="*/ 119 w 10000"/>
                <a:gd name="connsiteY120" fmla="*/ 4973 h 9909"/>
                <a:gd name="connsiteX121" fmla="*/ 148 w 10000"/>
                <a:gd name="connsiteY121" fmla="*/ 5135 h 9909"/>
                <a:gd name="connsiteX122" fmla="*/ 193 w 10000"/>
                <a:gd name="connsiteY122" fmla="*/ 5293 h 9909"/>
                <a:gd name="connsiteX123" fmla="*/ 237 w 10000"/>
                <a:gd name="connsiteY123" fmla="*/ 5449 h 9909"/>
                <a:gd name="connsiteX124" fmla="*/ 282 w 10000"/>
                <a:gd name="connsiteY124" fmla="*/ 5608 h 9909"/>
                <a:gd name="connsiteX125" fmla="*/ 334 w 10000"/>
                <a:gd name="connsiteY125" fmla="*/ 5762 h 9909"/>
                <a:gd name="connsiteX126" fmla="*/ 393 w 10000"/>
                <a:gd name="connsiteY126" fmla="*/ 5913 h 9909"/>
                <a:gd name="connsiteX127" fmla="*/ 452 w 10000"/>
                <a:gd name="connsiteY127" fmla="*/ 6067 h 9909"/>
                <a:gd name="connsiteX128" fmla="*/ 519 w 10000"/>
                <a:gd name="connsiteY128" fmla="*/ 6218 h 9909"/>
                <a:gd name="connsiteX129" fmla="*/ 586 w 10000"/>
                <a:gd name="connsiteY129" fmla="*/ 6372 h 9909"/>
                <a:gd name="connsiteX130" fmla="*/ 660 w 10000"/>
                <a:gd name="connsiteY130" fmla="*/ 6517 h 9909"/>
                <a:gd name="connsiteX131" fmla="*/ 741 w 10000"/>
                <a:gd name="connsiteY131" fmla="*/ 6661 h 9909"/>
                <a:gd name="connsiteX132" fmla="*/ 823 w 10000"/>
                <a:gd name="connsiteY132" fmla="*/ 6814 h 9909"/>
                <a:gd name="connsiteX133" fmla="*/ 904 w 10000"/>
                <a:gd name="connsiteY133" fmla="*/ 6955 h 9909"/>
                <a:gd name="connsiteX134" fmla="*/ 993 w 10000"/>
                <a:gd name="connsiteY134" fmla="*/ 7097 h 9909"/>
                <a:gd name="connsiteX135" fmla="*/ 1090 w 10000"/>
                <a:gd name="connsiteY135" fmla="*/ 7230 h 9909"/>
                <a:gd name="connsiteX136" fmla="*/ 1186 w 10000"/>
                <a:gd name="connsiteY136" fmla="*/ 7375 h 9909"/>
                <a:gd name="connsiteX137" fmla="*/ 1290 w 10000"/>
                <a:gd name="connsiteY137" fmla="*/ 7515 h 9909"/>
                <a:gd name="connsiteX138" fmla="*/ 1386 w 10000"/>
                <a:gd name="connsiteY138" fmla="*/ 7653 h 9909"/>
                <a:gd name="connsiteX139" fmla="*/ 1497 w 10000"/>
                <a:gd name="connsiteY139" fmla="*/ 7788 h 9909"/>
                <a:gd name="connsiteX140" fmla="*/ 1609 w 10000"/>
                <a:gd name="connsiteY140" fmla="*/ 7919 h 9909"/>
                <a:gd name="connsiteX141" fmla="*/ 1727 w 10000"/>
                <a:gd name="connsiteY141" fmla="*/ 8056 h 9909"/>
                <a:gd name="connsiteX142" fmla="*/ 1846 w 10000"/>
                <a:gd name="connsiteY142" fmla="*/ 8185 h 9909"/>
                <a:gd name="connsiteX143" fmla="*/ 1964 w 10000"/>
                <a:gd name="connsiteY143" fmla="*/ 8310 h 9909"/>
                <a:gd name="connsiteX144" fmla="*/ 2090 w 10000"/>
                <a:gd name="connsiteY144" fmla="*/ 8434 h 9909"/>
                <a:gd name="connsiteX145" fmla="*/ 2224 w 10000"/>
                <a:gd name="connsiteY145" fmla="*/ 8561 h 9909"/>
                <a:gd name="connsiteX146" fmla="*/ 2350 w 10000"/>
                <a:gd name="connsiteY146" fmla="*/ 8687 h 9909"/>
                <a:gd name="connsiteX147" fmla="*/ 2491 w 10000"/>
                <a:gd name="connsiteY147" fmla="*/ 8807 h 9909"/>
                <a:gd name="connsiteX148" fmla="*/ 2617 w 10000"/>
                <a:gd name="connsiteY148" fmla="*/ 8928 h 9909"/>
                <a:gd name="connsiteX149" fmla="*/ 2765 w 10000"/>
                <a:gd name="connsiteY149" fmla="*/ 9045 h 9909"/>
                <a:gd name="connsiteX150" fmla="*/ 2906 w 10000"/>
                <a:gd name="connsiteY150" fmla="*/ 9159 h 9909"/>
                <a:gd name="connsiteX151" fmla="*/ 3054 w 10000"/>
                <a:gd name="connsiteY151" fmla="*/ 9274 h 9909"/>
                <a:gd name="connsiteX152" fmla="*/ 3210 w 10000"/>
                <a:gd name="connsiteY152" fmla="*/ 9383 h 9909"/>
                <a:gd name="connsiteX153" fmla="*/ 3358 w 10000"/>
                <a:gd name="connsiteY153" fmla="*/ 9493 h 9909"/>
                <a:gd name="connsiteX154" fmla="*/ 3514 w 10000"/>
                <a:gd name="connsiteY154" fmla="*/ 9602 h 9909"/>
                <a:gd name="connsiteX155" fmla="*/ 3677 w 10000"/>
                <a:gd name="connsiteY155" fmla="*/ 9706 h 9909"/>
                <a:gd name="connsiteX156" fmla="*/ 3840 w 10000"/>
                <a:gd name="connsiteY156" fmla="*/ 9806 h 9909"/>
                <a:gd name="connsiteX157" fmla="*/ 4010 w 10000"/>
                <a:gd name="connsiteY157" fmla="*/ 9909 h 9909"/>
                <a:gd name="connsiteX158" fmla="*/ 7539 w 10000"/>
                <a:gd name="connsiteY158" fmla="*/ 8834 h 9909"/>
                <a:gd name="connsiteX159" fmla="*/ 10000 w 10000"/>
                <a:gd name="connsiteY159" fmla="*/ 6992 h 9909"/>
                <a:gd name="connsiteX0" fmla="*/ 10000 w 10000"/>
                <a:gd name="connsiteY0" fmla="*/ 7056 h 9896"/>
                <a:gd name="connsiteX1" fmla="*/ 10000 w 10000"/>
                <a:gd name="connsiteY1" fmla="*/ 7056 h 9896"/>
                <a:gd name="connsiteX2" fmla="*/ 9911 w 10000"/>
                <a:gd name="connsiteY2" fmla="*/ 7039 h 9896"/>
                <a:gd name="connsiteX3" fmla="*/ 9815 w 10000"/>
                <a:gd name="connsiteY3" fmla="*/ 7019 h 9896"/>
                <a:gd name="connsiteX4" fmla="*/ 9726 w 10000"/>
                <a:gd name="connsiteY4" fmla="*/ 7000 h 9896"/>
                <a:gd name="connsiteX5" fmla="*/ 9637 w 10000"/>
                <a:gd name="connsiteY5" fmla="*/ 6970 h 9896"/>
                <a:gd name="connsiteX6" fmla="*/ 9548 w 10000"/>
                <a:gd name="connsiteY6" fmla="*/ 6950 h 9896"/>
                <a:gd name="connsiteX7" fmla="*/ 9466 w 10000"/>
                <a:gd name="connsiteY7" fmla="*/ 6924 h 9896"/>
                <a:gd name="connsiteX8" fmla="*/ 9377 w 10000"/>
                <a:gd name="connsiteY8" fmla="*/ 6899 h 9896"/>
                <a:gd name="connsiteX9" fmla="*/ 9288 w 10000"/>
                <a:gd name="connsiteY9" fmla="*/ 6872 h 9896"/>
                <a:gd name="connsiteX10" fmla="*/ 9118 w 10000"/>
                <a:gd name="connsiteY10" fmla="*/ 6813 h 9896"/>
                <a:gd name="connsiteX11" fmla="*/ 8955 w 10000"/>
                <a:gd name="connsiteY11" fmla="*/ 6749 h 9896"/>
                <a:gd name="connsiteX12" fmla="*/ 8792 w 10000"/>
                <a:gd name="connsiteY12" fmla="*/ 6683 h 9896"/>
                <a:gd name="connsiteX13" fmla="*/ 8636 w 10000"/>
                <a:gd name="connsiteY13" fmla="*/ 6607 h 9896"/>
                <a:gd name="connsiteX14" fmla="*/ 8480 w 10000"/>
                <a:gd name="connsiteY14" fmla="*/ 6530 h 9896"/>
                <a:gd name="connsiteX15" fmla="*/ 8340 w 10000"/>
                <a:gd name="connsiteY15" fmla="*/ 6458 h 9896"/>
                <a:gd name="connsiteX16" fmla="*/ 8199 w 10000"/>
                <a:gd name="connsiteY16" fmla="*/ 6370 h 9896"/>
                <a:gd name="connsiteX17" fmla="*/ 8058 w 10000"/>
                <a:gd name="connsiteY17" fmla="*/ 6279 h 9896"/>
                <a:gd name="connsiteX18" fmla="*/ 7924 w 10000"/>
                <a:gd name="connsiteY18" fmla="*/ 6187 h 9896"/>
                <a:gd name="connsiteX19" fmla="*/ 7798 w 10000"/>
                <a:gd name="connsiteY19" fmla="*/ 6087 h 9896"/>
                <a:gd name="connsiteX20" fmla="*/ 7672 w 10000"/>
                <a:gd name="connsiteY20" fmla="*/ 5991 h 9896"/>
                <a:gd name="connsiteX21" fmla="*/ 7554 w 10000"/>
                <a:gd name="connsiteY21" fmla="*/ 5890 h 9896"/>
                <a:gd name="connsiteX22" fmla="*/ 7450 w 10000"/>
                <a:gd name="connsiteY22" fmla="*/ 5780 h 9896"/>
                <a:gd name="connsiteX23" fmla="*/ 7346 w 10000"/>
                <a:gd name="connsiteY23" fmla="*/ 5669 h 9896"/>
                <a:gd name="connsiteX24" fmla="*/ 7250 w 10000"/>
                <a:gd name="connsiteY24" fmla="*/ 5558 h 9896"/>
                <a:gd name="connsiteX25" fmla="*/ 7161 w 10000"/>
                <a:gd name="connsiteY25" fmla="*/ 5444 h 9896"/>
                <a:gd name="connsiteX26" fmla="*/ 7072 w 10000"/>
                <a:gd name="connsiteY26" fmla="*/ 5325 h 9896"/>
                <a:gd name="connsiteX27" fmla="*/ 6990 w 10000"/>
                <a:gd name="connsiteY27" fmla="*/ 5198 h 9896"/>
                <a:gd name="connsiteX28" fmla="*/ 6953 w 10000"/>
                <a:gd name="connsiteY28" fmla="*/ 5143 h 9896"/>
                <a:gd name="connsiteX29" fmla="*/ 6916 w 10000"/>
                <a:gd name="connsiteY29" fmla="*/ 5075 h 9896"/>
                <a:gd name="connsiteX30" fmla="*/ 6887 w 10000"/>
                <a:gd name="connsiteY30" fmla="*/ 5015 h 9896"/>
                <a:gd name="connsiteX31" fmla="*/ 6850 w 10000"/>
                <a:gd name="connsiteY31" fmla="*/ 4950 h 9896"/>
                <a:gd name="connsiteX32" fmla="*/ 6820 w 10000"/>
                <a:gd name="connsiteY32" fmla="*/ 4888 h 9896"/>
                <a:gd name="connsiteX33" fmla="*/ 6790 w 10000"/>
                <a:gd name="connsiteY33" fmla="*/ 4823 h 9896"/>
                <a:gd name="connsiteX34" fmla="*/ 6768 w 10000"/>
                <a:gd name="connsiteY34" fmla="*/ 4755 h 9896"/>
                <a:gd name="connsiteX35" fmla="*/ 6738 w 10000"/>
                <a:gd name="connsiteY35" fmla="*/ 4693 h 9896"/>
                <a:gd name="connsiteX36" fmla="*/ 6723 w 10000"/>
                <a:gd name="connsiteY36" fmla="*/ 4622 h 9896"/>
                <a:gd name="connsiteX37" fmla="*/ 6694 w 10000"/>
                <a:gd name="connsiteY37" fmla="*/ 4559 h 9896"/>
                <a:gd name="connsiteX38" fmla="*/ 6679 w 10000"/>
                <a:gd name="connsiteY38" fmla="*/ 4490 h 9896"/>
                <a:gd name="connsiteX39" fmla="*/ 6664 w 10000"/>
                <a:gd name="connsiteY39" fmla="*/ 4425 h 9896"/>
                <a:gd name="connsiteX40" fmla="*/ 6649 w 10000"/>
                <a:gd name="connsiteY40" fmla="*/ 4354 h 9896"/>
                <a:gd name="connsiteX41" fmla="*/ 6635 w 10000"/>
                <a:gd name="connsiteY41" fmla="*/ 4290 h 9896"/>
                <a:gd name="connsiteX42" fmla="*/ 6620 w 10000"/>
                <a:gd name="connsiteY42" fmla="*/ 4222 h 9896"/>
                <a:gd name="connsiteX43" fmla="*/ 6612 w 10000"/>
                <a:gd name="connsiteY43" fmla="*/ 4155 h 9896"/>
                <a:gd name="connsiteX44" fmla="*/ 6605 w 10000"/>
                <a:gd name="connsiteY44" fmla="*/ 4083 h 9896"/>
                <a:gd name="connsiteX45" fmla="*/ 6597 w 10000"/>
                <a:gd name="connsiteY45" fmla="*/ 4010 h 9896"/>
                <a:gd name="connsiteX46" fmla="*/ 6597 w 10000"/>
                <a:gd name="connsiteY46" fmla="*/ 3942 h 9896"/>
                <a:gd name="connsiteX47" fmla="*/ 6590 w 10000"/>
                <a:gd name="connsiteY47" fmla="*/ 3869 h 9896"/>
                <a:gd name="connsiteX48" fmla="*/ 6597 w 10000"/>
                <a:gd name="connsiteY48" fmla="*/ 3799 h 9896"/>
                <a:gd name="connsiteX49" fmla="*/ 6605 w 10000"/>
                <a:gd name="connsiteY49" fmla="*/ 3723 h 9896"/>
                <a:gd name="connsiteX50" fmla="*/ 6605 w 10000"/>
                <a:gd name="connsiteY50" fmla="*/ 3648 h 9896"/>
                <a:gd name="connsiteX51" fmla="*/ 6612 w 10000"/>
                <a:gd name="connsiteY51" fmla="*/ 3573 h 9896"/>
                <a:gd name="connsiteX52" fmla="*/ 6620 w 10000"/>
                <a:gd name="connsiteY52" fmla="*/ 3498 h 9896"/>
                <a:gd name="connsiteX53" fmla="*/ 6635 w 10000"/>
                <a:gd name="connsiteY53" fmla="*/ 3433 h 9896"/>
                <a:gd name="connsiteX54" fmla="*/ 6649 w 10000"/>
                <a:gd name="connsiteY54" fmla="*/ 3356 h 9896"/>
                <a:gd name="connsiteX55" fmla="*/ 6664 w 10000"/>
                <a:gd name="connsiteY55" fmla="*/ 3287 h 9896"/>
                <a:gd name="connsiteX56" fmla="*/ 6686 w 10000"/>
                <a:gd name="connsiteY56" fmla="*/ 3213 h 9896"/>
                <a:gd name="connsiteX57" fmla="*/ 6709 w 10000"/>
                <a:gd name="connsiteY57" fmla="*/ 3146 h 9896"/>
                <a:gd name="connsiteX58" fmla="*/ 6731 w 10000"/>
                <a:gd name="connsiteY58" fmla="*/ 3076 h 9896"/>
                <a:gd name="connsiteX59" fmla="*/ 6753 w 10000"/>
                <a:gd name="connsiteY59" fmla="*/ 3002 h 9896"/>
                <a:gd name="connsiteX60" fmla="*/ 6783 w 10000"/>
                <a:gd name="connsiteY60" fmla="*/ 2941 h 9896"/>
                <a:gd name="connsiteX61" fmla="*/ 6812 w 10000"/>
                <a:gd name="connsiteY61" fmla="*/ 2871 h 9896"/>
                <a:gd name="connsiteX62" fmla="*/ 6842 w 10000"/>
                <a:gd name="connsiteY62" fmla="*/ 2800 h 9896"/>
                <a:gd name="connsiteX63" fmla="*/ 6879 w 10000"/>
                <a:gd name="connsiteY63" fmla="*/ 2735 h 9896"/>
                <a:gd name="connsiteX64" fmla="*/ 6909 w 10000"/>
                <a:gd name="connsiteY64" fmla="*/ 2671 h 9896"/>
                <a:gd name="connsiteX65" fmla="*/ 6946 w 10000"/>
                <a:gd name="connsiteY65" fmla="*/ 2598 h 9896"/>
                <a:gd name="connsiteX66" fmla="*/ 6990 w 10000"/>
                <a:gd name="connsiteY66" fmla="*/ 2540 h 9896"/>
                <a:gd name="connsiteX67" fmla="*/ 7027 w 10000"/>
                <a:gd name="connsiteY67" fmla="*/ 2474 h 9896"/>
                <a:gd name="connsiteX68" fmla="*/ 7072 w 10000"/>
                <a:gd name="connsiteY68" fmla="*/ 2415 h 9896"/>
                <a:gd name="connsiteX69" fmla="*/ 7109 w 10000"/>
                <a:gd name="connsiteY69" fmla="*/ 2346 h 9896"/>
                <a:gd name="connsiteX70" fmla="*/ 7161 w 10000"/>
                <a:gd name="connsiteY70" fmla="*/ 2292 h 9896"/>
                <a:gd name="connsiteX71" fmla="*/ 7213 w 10000"/>
                <a:gd name="connsiteY71" fmla="*/ 2226 h 9896"/>
                <a:gd name="connsiteX72" fmla="*/ 7257 w 10000"/>
                <a:gd name="connsiteY72" fmla="*/ 2166 h 9896"/>
                <a:gd name="connsiteX73" fmla="*/ 7309 w 10000"/>
                <a:gd name="connsiteY73" fmla="*/ 2107 h 9896"/>
                <a:gd name="connsiteX74" fmla="*/ 7361 w 10000"/>
                <a:gd name="connsiteY74" fmla="*/ 2044 h 9896"/>
                <a:gd name="connsiteX75" fmla="*/ 7413 w 10000"/>
                <a:gd name="connsiteY75" fmla="*/ 1990 h 9896"/>
                <a:gd name="connsiteX76" fmla="*/ 7472 w 10000"/>
                <a:gd name="connsiteY76" fmla="*/ 1932 h 9896"/>
                <a:gd name="connsiteX77" fmla="*/ 7524 w 10000"/>
                <a:gd name="connsiteY77" fmla="*/ 1879 h 9896"/>
                <a:gd name="connsiteX78" fmla="*/ 7583 w 10000"/>
                <a:gd name="connsiteY78" fmla="*/ 1823 h 9896"/>
                <a:gd name="connsiteX79" fmla="*/ 7610 w 10000"/>
                <a:gd name="connsiteY79" fmla="*/ 1789 h 9896"/>
                <a:gd name="connsiteX80" fmla="*/ 5390 w 10000"/>
                <a:gd name="connsiteY80" fmla="*/ 6 h 9896"/>
                <a:gd name="connsiteX81" fmla="*/ 1401 w 10000"/>
                <a:gd name="connsiteY81" fmla="*/ 0 h 9896"/>
                <a:gd name="connsiteX82" fmla="*/ 1305 w 10000"/>
                <a:gd name="connsiteY82" fmla="*/ 134 h 9896"/>
                <a:gd name="connsiteX83" fmla="*/ 1223 w 10000"/>
                <a:gd name="connsiteY83" fmla="*/ 237 h 9896"/>
                <a:gd name="connsiteX84" fmla="*/ 1149 w 10000"/>
                <a:gd name="connsiteY84" fmla="*/ 346 h 9896"/>
                <a:gd name="connsiteX85" fmla="*/ 1067 w 10000"/>
                <a:gd name="connsiteY85" fmla="*/ 458 h 9896"/>
                <a:gd name="connsiteX86" fmla="*/ 1001 w 10000"/>
                <a:gd name="connsiteY86" fmla="*/ 569 h 9896"/>
                <a:gd name="connsiteX87" fmla="*/ 927 w 10000"/>
                <a:gd name="connsiteY87" fmla="*/ 680 h 9896"/>
                <a:gd name="connsiteX88" fmla="*/ 860 w 10000"/>
                <a:gd name="connsiteY88" fmla="*/ 797 h 9896"/>
                <a:gd name="connsiteX89" fmla="*/ 793 w 10000"/>
                <a:gd name="connsiteY89" fmla="*/ 914 h 9896"/>
                <a:gd name="connsiteX90" fmla="*/ 734 w 10000"/>
                <a:gd name="connsiteY90" fmla="*/ 1022 h 9896"/>
                <a:gd name="connsiteX91" fmla="*/ 675 w 10000"/>
                <a:gd name="connsiteY91" fmla="*/ 1142 h 9896"/>
                <a:gd name="connsiteX92" fmla="*/ 615 w 10000"/>
                <a:gd name="connsiteY92" fmla="*/ 1255 h 9896"/>
                <a:gd name="connsiteX93" fmla="*/ 556 w 10000"/>
                <a:gd name="connsiteY93" fmla="*/ 1379 h 9896"/>
                <a:gd name="connsiteX94" fmla="*/ 504 w 10000"/>
                <a:gd name="connsiteY94" fmla="*/ 1489 h 9896"/>
                <a:gd name="connsiteX95" fmla="*/ 452 w 10000"/>
                <a:gd name="connsiteY95" fmla="*/ 1607 h 9896"/>
                <a:gd name="connsiteX96" fmla="*/ 408 w 10000"/>
                <a:gd name="connsiteY96" fmla="*/ 1726 h 9896"/>
                <a:gd name="connsiteX97" fmla="*/ 363 w 10000"/>
                <a:gd name="connsiteY97" fmla="*/ 1846 h 9896"/>
                <a:gd name="connsiteX98" fmla="*/ 319 w 10000"/>
                <a:gd name="connsiteY98" fmla="*/ 1970 h 9896"/>
                <a:gd name="connsiteX99" fmla="*/ 282 w 10000"/>
                <a:gd name="connsiteY99" fmla="*/ 2091 h 9896"/>
                <a:gd name="connsiteX100" fmla="*/ 237 w 10000"/>
                <a:gd name="connsiteY100" fmla="*/ 2216 h 9896"/>
                <a:gd name="connsiteX101" fmla="*/ 208 w 10000"/>
                <a:gd name="connsiteY101" fmla="*/ 2337 h 9896"/>
                <a:gd name="connsiteX102" fmla="*/ 170 w 10000"/>
                <a:gd name="connsiteY102" fmla="*/ 2462 h 9896"/>
                <a:gd name="connsiteX103" fmla="*/ 148 w 10000"/>
                <a:gd name="connsiteY103" fmla="*/ 2589 h 9896"/>
                <a:gd name="connsiteX104" fmla="*/ 119 w 10000"/>
                <a:gd name="connsiteY104" fmla="*/ 2713 h 9896"/>
                <a:gd name="connsiteX105" fmla="*/ 96 w 10000"/>
                <a:gd name="connsiteY105" fmla="*/ 2836 h 9896"/>
                <a:gd name="connsiteX106" fmla="*/ 74 w 10000"/>
                <a:gd name="connsiteY106" fmla="*/ 2966 h 9896"/>
                <a:gd name="connsiteX107" fmla="*/ 52 w 10000"/>
                <a:gd name="connsiteY107" fmla="*/ 3098 h 9896"/>
                <a:gd name="connsiteX108" fmla="*/ 37 w 10000"/>
                <a:gd name="connsiteY108" fmla="*/ 3223 h 9896"/>
                <a:gd name="connsiteX109" fmla="*/ 22 w 10000"/>
                <a:gd name="connsiteY109" fmla="*/ 3350 h 9896"/>
                <a:gd name="connsiteX110" fmla="*/ 15 w 10000"/>
                <a:gd name="connsiteY110" fmla="*/ 3478 h 9896"/>
                <a:gd name="connsiteX111" fmla="*/ 7 w 10000"/>
                <a:gd name="connsiteY111" fmla="*/ 3608 h 9896"/>
                <a:gd name="connsiteX112" fmla="*/ 0 w 10000"/>
                <a:gd name="connsiteY112" fmla="*/ 3736 h 9896"/>
                <a:gd name="connsiteX113" fmla="*/ 0 w 10000"/>
                <a:gd name="connsiteY113" fmla="*/ 3869 h 9896"/>
                <a:gd name="connsiteX114" fmla="*/ 7 w 10000"/>
                <a:gd name="connsiteY114" fmla="*/ 4038 h 9896"/>
                <a:gd name="connsiteX115" fmla="*/ 7 w 10000"/>
                <a:gd name="connsiteY115" fmla="*/ 4206 h 9896"/>
                <a:gd name="connsiteX116" fmla="*/ 22 w 10000"/>
                <a:gd name="connsiteY116" fmla="*/ 4364 h 9896"/>
                <a:gd name="connsiteX117" fmla="*/ 37 w 10000"/>
                <a:gd name="connsiteY117" fmla="*/ 4529 h 9896"/>
                <a:gd name="connsiteX118" fmla="*/ 59 w 10000"/>
                <a:gd name="connsiteY118" fmla="*/ 4693 h 9896"/>
                <a:gd name="connsiteX119" fmla="*/ 89 w 10000"/>
                <a:gd name="connsiteY119" fmla="*/ 4856 h 9896"/>
                <a:gd name="connsiteX120" fmla="*/ 119 w 10000"/>
                <a:gd name="connsiteY120" fmla="*/ 5019 h 9896"/>
                <a:gd name="connsiteX121" fmla="*/ 148 w 10000"/>
                <a:gd name="connsiteY121" fmla="*/ 5182 h 9896"/>
                <a:gd name="connsiteX122" fmla="*/ 193 w 10000"/>
                <a:gd name="connsiteY122" fmla="*/ 5342 h 9896"/>
                <a:gd name="connsiteX123" fmla="*/ 237 w 10000"/>
                <a:gd name="connsiteY123" fmla="*/ 5499 h 9896"/>
                <a:gd name="connsiteX124" fmla="*/ 282 w 10000"/>
                <a:gd name="connsiteY124" fmla="*/ 5660 h 9896"/>
                <a:gd name="connsiteX125" fmla="*/ 334 w 10000"/>
                <a:gd name="connsiteY125" fmla="*/ 5815 h 9896"/>
                <a:gd name="connsiteX126" fmla="*/ 393 w 10000"/>
                <a:gd name="connsiteY126" fmla="*/ 5967 h 9896"/>
                <a:gd name="connsiteX127" fmla="*/ 452 w 10000"/>
                <a:gd name="connsiteY127" fmla="*/ 6123 h 9896"/>
                <a:gd name="connsiteX128" fmla="*/ 519 w 10000"/>
                <a:gd name="connsiteY128" fmla="*/ 6275 h 9896"/>
                <a:gd name="connsiteX129" fmla="*/ 586 w 10000"/>
                <a:gd name="connsiteY129" fmla="*/ 6431 h 9896"/>
                <a:gd name="connsiteX130" fmla="*/ 660 w 10000"/>
                <a:gd name="connsiteY130" fmla="*/ 6577 h 9896"/>
                <a:gd name="connsiteX131" fmla="*/ 741 w 10000"/>
                <a:gd name="connsiteY131" fmla="*/ 6722 h 9896"/>
                <a:gd name="connsiteX132" fmla="*/ 823 w 10000"/>
                <a:gd name="connsiteY132" fmla="*/ 6877 h 9896"/>
                <a:gd name="connsiteX133" fmla="*/ 904 w 10000"/>
                <a:gd name="connsiteY133" fmla="*/ 7019 h 9896"/>
                <a:gd name="connsiteX134" fmla="*/ 993 w 10000"/>
                <a:gd name="connsiteY134" fmla="*/ 7162 h 9896"/>
                <a:gd name="connsiteX135" fmla="*/ 1090 w 10000"/>
                <a:gd name="connsiteY135" fmla="*/ 7296 h 9896"/>
                <a:gd name="connsiteX136" fmla="*/ 1186 w 10000"/>
                <a:gd name="connsiteY136" fmla="*/ 7443 h 9896"/>
                <a:gd name="connsiteX137" fmla="*/ 1290 w 10000"/>
                <a:gd name="connsiteY137" fmla="*/ 7584 h 9896"/>
                <a:gd name="connsiteX138" fmla="*/ 1386 w 10000"/>
                <a:gd name="connsiteY138" fmla="*/ 7723 h 9896"/>
                <a:gd name="connsiteX139" fmla="*/ 1497 w 10000"/>
                <a:gd name="connsiteY139" fmla="*/ 7860 h 9896"/>
                <a:gd name="connsiteX140" fmla="*/ 1609 w 10000"/>
                <a:gd name="connsiteY140" fmla="*/ 7992 h 9896"/>
                <a:gd name="connsiteX141" fmla="*/ 1727 w 10000"/>
                <a:gd name="connsiteY141" fmla="*/ 8130 h 9896"/>
                <a:gd name="connsiteX142" fmla="*/ 1846 w 10000"/>
                <a:gd name="connsiteY142" fmla="*/ 8260 h 9896"/>
                <a:gd name="connsiteX143" fmla="*/ 1964 w 10000"/>
                <a:gd name="connsiteY143" fmla="*/ 8386 h 9896"/>
                <a:gd name="connsiteX144" fmla="*/ 2090 w 10000"/>
                <a:gd name="connsiteY144" fmla="*/ 8511 h 9896"/>
                <a:gd name="connsiteX145" fmla="*/ 2224 w 10000"/>
                <a:gd name="connsiteY145" fmla="*/ 8640 h 9896"/>
                <a:gd name="connsiteX146" fmla="*/ 2350 w 10000"/>
                <a:gd name="connsiteY146" fmla="*/ 8767 h 9896"/>
                <a:gd name="connsiteX147" fmla="*/ 2491 w 10000"/>
                <a:gd name="connsiteY147" fmla="*/ 8888 h 9896"/>
                <a:gd name="connsiteX148" fmla="*/ 2617 w 10000"/>
                <a:gd name="connsiteY148" fmla="*/ 9010 h 9896"/>
                <a:gd name="connsiteX149" fmla="*/ 2765 w 10000"/>
                <a:gd name="connsiteY149" fmla="*/ 9128 h 9896"/>
                <a:gd name="connsiteX150" fmla="*/ 2906 w 10000"/>
                <a:gd name="connsiteY150" fmla="*/ 9243 h 9896"/>
                <a:gd name="connsiteX151" fmla="*/ 3054 w 10000"/>
                <a:gd name="connsiteY151" fmla="*/ 9359 h 9896"/>
                <a:gd name="connsiteX152" fmla="*/ 3210 w 10000"/>
                <a:gd name="connsiteY152" fmla="*/ 9469 h 9896"/>
                <a:gd name="connsiteX153" fmla="*/ 3358 w 10000"/>
                <a:gd name="connsiteY153" fmla="*/ 9580 h 9896"/>
                <a:gd name="connsiteX154" fmla="*/ 3514 w 10000"/>
                <a:gd name="connsiteY154" fmla="*/ 9690 h 9896"/>
                <a:gd name="connsiteX155" fmla="*/ 3677 w 10000"/>
                <a:gd name="connsiteY155" fmla="*/ 9795 h 9896"/>
                <a:gd name="connsiteX156" fmla="*/ 3840 w 10000"/>
                <a:gd name="connsiteY156" fmla="*/ 9896 h 9896"/>
                <a:gd name="connsiteX157" fmla="*/ 7539 w 10000"/>
                <a:gd name="connsiteY157" fmla="*/ 8915 h 9896"/>
                <a:gd name="connsiteX158" fmla="*/ 10000 w 10000"/>
                <a:gd name="connsiteY158" fmla="*/ 7056 h 9896"/>
                <a:gd name="connsiteX0" fmla="*/ 10000 w 10000"/>
                <a:gd name="connsiteY0" fmla="*/ 7130 h 9898"/>
                <a:gd name="connsiteX1" fmla="*/ 10000 w 10000"/>
                <a:gd name="connsiteY1" fmla="*/ 7130 h 9898"/>
                <a:gd name="connsiteX2" fmla="*/ 9911 w 10000"/>
                <a:gd name="connsiteY2" fmla="*/ 7113 h 9898"/>
                <a:gd name="connsiteX3" fmla="*/ 9815 w 10000"/>
                <a:gd name="connsiteY3" fmla="*/ 7093 h 9898"/>
                <a:gd name="connsiteX4" fmla="*/ 9726 w 10000"/>
                <a:gd name="connsiteY4" fmla="*/ 7074 h 9898"/>
                <a:gd name="connsiteX5" fmla="*/ 9637 w 10000"/>
                <a:gd name="connsiteY5" fmla="*/ 7043 h 9898"/>
                <a:gd name="connsiteX6" fmla="*/ 9548 w 10000"/>
                <a:gd name="connsiteY6" fmla="*/ 7023 h 9898"/>
                <a:gd name="connsiteX7" fmla="*/ 9466 w 10000"/>
                <a:gd name="connsiteY7" fmla="*/ 6997 h 9898"/>
                <a:gd name="connsiteX8" fmla="*/ 9377 w 10000"/>
                <a:gd name="connsiteY8" fmla="*/ 6972 h 9898"/>
                <a:gd name="connsiteX9" fmla="*/ 9288 w 10000"/>
                <a:gd name="connsiteY9" fmla="*/ 6944 h 9898"/>
                <a:gd name="connsiteX10" fmla="*/ 9118 w 10000"/>
                <a:gd name="connsiteY10" fmla="*/ 6885 h 9898"/>
                <a:gd name="connsiteX11" fmla="*/ 8955 w 10000"/>
                <a:gd name="connsiteY11" fmla="*/ 6820 h 9898"/>
                <a:gd name="connsiteX12" fmla="*/ 8792 w 10000"/>
                <a:gd name="connsiteY12" fmla="*/ 6753 h 9898"/>
                <a:gd name="connsiteX13" fmla="*/ 8636 w 10000"/>
                <a:gd name="connsiteY13" fmla="*/ 6676 h 9898"/>
                <a:gd name="connsiteX14" fmla="*/ 8480 w 10000"/>
                <a:gd name="connsiteY14" fmla="*/ 6599 h 9898"/>
                <a:gd name="connsiteX15" fmla="*/ 8340 w 10000"/>
                <a:gd name="connsiteY15" fmla="*/ 6526 h 9898"/>
                <a:gd name="connsiteX16" fmla="*/ 8199 w 10000"/>
                <a:gd name="connsiteY16" fmla="*/ 6437 h 9898"/>
                <a:gd name="connsiteX17" fmla="*/ 8058 w 10000"/>
                <a:gd name="connsiteY17" fmla="*/ 6345 h 9898"/>
                <a:gd name="connsiteX18" fmla="*/ 7924 w 10000"/>
                <a:gd name="connsiteY18" fmla="*/ 6252 h 9898"/>
                <a:gd name="connsiteX19" fmla="*/ 7798 w 10000"/>
                <a:gd name="connsiteY19" fmla="*/ 6151 h 9898"/>
                <a:gd name="connsiteX20" fmla="*/ 7672 w 10000"/>
                <a:gd name="connsiteY20" fmla="*/ 6054 h 9898"/>
                <a:gd name="connsiteX21" fmla="*/ 7554 w 10000"/>
                <a:gd name="connsiteY21" fmla="*/ 5952 h 9898"/>
                <a:gd name="connsiteX22" fmla="*/ 7450 w 10000"/>
                <a:gd name="connsiteY22" fmla="*/ 5841 h 9898"/>
                <a:gd name="connsiteX23" fmla="*/ 7346 w 10000"/>
                <a:gd name="connsiteY23" fmla="*/ 5729 h 9898"/>
                <a:gd name="connsiteX24" fmla="*/ 7250 w 10000"/>
                <a:gd name="connsiteY24" fmla="*/ 5616 h 9898"/>
                <a:gd name="connsiteX25" fmla="*/ 7161 w 10000"/>
                <a:gd name="connsiteY25" fmla="*/ 5501 h 9898"/>
                <a:gd name="connsiteX26" fmla="*/ 7072 w 10000"/>
                <a:gd name="connsiteY26" fmla="*/ 5381 h 9898"/>
                <a:gd name="connsiteX27" fmla="*/ 6990 w 10000"/>
                <a:gd name="connsiteY27" fmla="*/ 5253 h 9898"/>
                <a:gd name="connsiteX28" fmla="*/ 6953 w 10000"/>
                <a:gd name="connsiteY28" fmla="*/ 5197 h 9898"/>
                <a:gd name="connsiteX29" fmla="*/ 6916 w 10000"/>
                <a:gd name="connsiteY29" fmla="*/ 5128 h 9898"/>
                <a:gd name="connsiteX30" fmla="*/ 6887 w 10000"/>
                <a:gd name="connsiteY30" fmla="*/ 5068 h 9898"/>
                <a:gd name="connsiteX31" fmla="*/ 6850 w 10000"/>
                <a:gd name="connsiteY31" fmla="*/ 5002 h 9898"/>
                <a:gd name="connsiteX32" fmla="*/ 6820 w 10000"/>
                <a:gd name="connsiteY32" fmla="*/ 4939 h 9898"/>
                <a:gd name="connsiteX33" fmla="*/ 6790 w 10000"/>
                <a:gd name="connsiteY33" fmla="*/ 4874 h 9898"/>
                <a:gd name="connsiteX34" fmla="*/ 6768 w 10000"/>
                <a:gd name="connsiteY34" fmla="*/ 4805 h 9898"/>
                <a:gd name="connsiteX35" fmla="*/ 6738 w 10000"/>
                <a:gd name="connsiteY35" fmla="*/ 4742 h 9898"/>
                <a:gd name="connsiteX36" fmla="*/ 6723 w 10000"/>
                <a:gd name="connsiteY36" fmla="*/ 4671 h 9898"/>
                <a:gd name="connsiteX37" fmla="*/ 6694 w 10000"/>
                <a:gd name="connsiteY37" fmla="*/ 4607 h 9898"/>
                <a:gd name="connsiteX38" fmla="*/ 6679 w 10000"/>
                <a:gd name="connsiteY38" fmla="*/ 4537 h 9898"/>
                <a:gd name="connsiteX39" fmla="*/ 6664 w 10000"/>
                <a:gd name="connsiteY39" fmla="*/ 4472 h 9898"/>
                <a:gd name="connsiteX40" fmla="*/ 6649 w 10000"/>
                <a:gd name="connsiteY40" fmla="*/ 4400 h 9898"/>
                <a:gd name="connsiteX41" fmla="*/ 6635 w 10000"/>
                <a:gd name="connsiteY41" fmla="*/ 4335 h 9898"/>
                <a:gd name="connsiteX42" fmla="*/ 6620 w 10000"/>
                <a:gd name="connsiteY42" fmla="*/ 4266 h 9898"/>
                <a:gd name="connsiteX43" fmla="*/ 6612 w 10000"/>
                <a:gd name="connsiteY43" fmla="*/ 4199 h 9898"/>
                <a:gd name="connsiteX44" fmla="*/ 6605 w 10000"/>
                <a:gd name="connsiteY44" fmla="*/ 4126 h 9898"/>
                <a:gd name="connsiteX45" fmla="*/ 6597 w 10000"/>
                <a:gd name="connsiteY45" fmla="*/ 4052 h 9898"/>
                <a:gd name="connsiteX46" fmla="*/ 6597 w 10000"/>
                <a:gd name="connsiteY46" fmla="*/ 3983 h 9898"/>
                <a:gd name="connsiteX47" fmla="*/ 6590 w 10000"/>
                <a:gd name="connsiteY47" fmla="*/ 3910 h 9898"/>
                <a:gd name="connsiteX48" fmla="*/ 6597 w 10000"/>
                <a:gd name="connsiteY48" fmla="*/ 3839 h 9898"/>
                <a:gd name="connsiteX49" fmla="*/ 6605 w 10000"/>
                <a:gd name="connsiteY49" fmla="*/ 3762 h 9898"/>
                <a:gd name="connsiteX50" fmla="*/ 6605 w 10000"/>
                <a:gd name="connsiteY50" fmla="*/ 3686 h 9898"/>
                <a:gd name="connsiteX51" fmla="*/ 6612 w 10000"/>
                <a:gd name="connsiteY51" fmla="*/ 3611 h 9898"/>
                <a:gd name="connsiteX52" fmla="*/ 6620 w 10000"/>
                <a:gd name="connsiteY52" fmla="*/ 3535 h 9898"/>
                <a:gd name="connsiteX53" fmla="*/ 6635 w 10000"/>
                <a:gd name="connsiteY53" fmla="*/ 3469 h 9898"/>
                <a:gd name="connsiteX54" fmla="*/ 6649 w 10000"/>
                <a:gd name="connsiteY54" fmla="*/ 3391 h 9898"/>
                <a:gd name="connsiteX55" fmla="*/ 6664 w 10000"/>
                <a:gd name="connsiteY55" fmla="*/ 3322 h 9898"/>
                <a:gd name="connsiteX56" fmla="*/ 6686 w 10000"/>
                <a:gd name="connsiteY56" fmla="*/ 3247 h 9898"/>
                <a:gd name="connsiteX57" fmla="*/ 6709 w 10000"/>
                <a:gd name="connsiteY57" fmla="*/ 3179 h 9898"/>
                <a:gd name="connsiteX58" fmla="*/ 6731 w 10000"/>
                <a:gd name="connsiteY58" fmla="*/ 3108 h 9898"/>
                <a:gd name="connsiteX59" fmla="*/ 6753 w 10000"/>
                <a:gd name="connsiteY59" fmla="*/ 3034 h 9898"/>
                <a:gd name="connsiteX60" fmla="*/ 6783 w 10000"/>
                <a:gd name="connsiteY60" fmla="*/ 2972 h 9898"/>
                <a:gd name="connsiteX61" fmla="*/ 6812 w 10000"/>
                <a:gd name="connsiteY61" fmla="*/ 2901 h 9898"/>
                <a:gd name="connsiteX62" fmla="*/ 6842 w 10000"/>
                <a:gd name="connsiteY62" fmla="*/ 2829 h 9898"/>
                <a:gd name="connsiteX63" fmla="*/ 6879 w 10000"/>
                <a:gd name="connsiteY63" fmla="*/ 2764 h 9898"/>
                <a:gd name="connsiteX64" fmla="*/ 6909 w 10000"/>
                <a:gd name="connsiteY64" fmla="*/ 2699 h 9898"/>
                <a:gd name="connsiteX65" fmla="*/ 6946 w 10000"/>
                <a:gd name="connsiteY65" fmla="*/ 2625 h 9898"/>
                <a:gd name="connsiteX66" fmla="*/ 6990 w 10000"/>
                <a:gd name="connsiteY66" fmla="*/ 2567 h 9898"/>
                <a:gd name="connsiteX67" fmla="*/ 7027 w 10000"/>
                <a:gd name="connsiteY67" fmla="*/ 2500 h 9898"/>
                <a:gd name="connsiteX68" fmla="*/ 7072 w 10000"/>
                <a:gd name="connsiteY68" fmla="*/ 2440 h 9898"/>
                <a:gd name="connsiteX69" fmla="*/ 7109 w 10000"/>
                <a:gd name="connsiteY69" fmla="*/ 2371 h 9898"/>
                <a:gd name="connsiteX70" fmla="*/ 7161 w 10000"/>
                <a:gd name="connsiteY70" fmla="*/ 2316 h 9898"/>
                <a:gd name="connsiteX71" fmla="*/ 7213 w 10000"/>
                <a:gd name="connsiteY71" fmla="*/ 2249 h 9898"/>
                <a:gd name="connsiteX72" fmla="*/ 7257 w 10000"/>
                <a:gd name="connsiteY72" fmla="*/ 2189 h 9898"/>
                <a:gd name="connsiteX73" fmla="*/ 7309 w 10000"/>
                <a:gd name="connsiteY73" fmla="*/ 2129 h 9898"/>
                <a:gd name="connsiteX74" fmla="*/ 7361 w 10000"/>
                <a:gd name="connsiteY74" fmla="*/ 2065 h 9898"/>
                <a:gd name="connsiteX75" fmla="*/ 7413 w 10000"/>
                <a:gd name="connsiteY75" fmla="*/ 2011 h 9898"/>
                <a:gd name="connsiteX76" fmla="*/ 7472 w 10000"/>
                <a:gd name="connsiteY76" fmla="*/ 1952 h 9898"/>
                <a:gd name="connsiteX77" fmla="*/ 7524 w 10000"/>
                <a:gd name="connsiteY77" fmla="*/ 1899 h 9898"/>
                <a:gd name="connsiteX78" fmla="*/ 7583 w 10000"/>
                <a:gd name="connsiteY78" fmla="*/ 1842 h 9898"/>
                <a:gd name="connsiteX79" fmla="*/ 7610 w 10000"/>
                <a:gd name="connsiteY79" fmla="*/ 1808 h 9898"/>
                <a:gd name="connsiteX80" fmla="*/ 5390 w 10000"/>
                <a:gd name="connsiteY80" fmla="*/ 6 h 9898"/>
                <a:gd name="connsiteX81" fmla="*/ 1401 w 10000"/>
                <a:gd name="connsiteY81" fmla="*/ 0 h 9898"/>
                <a:gd name="connsiteX82" fmla="*/ 1305 w 10000"/>
                <a:gd name="connsiteY82" fmla="*/ 135 h 9898"/>
                <a:gd name="connsiteX83" fmla="*/ 1223 w 10000"/>
                <a:gd name="connsiteY83" fmla="*/ 239 h 9898"/>
                <a:gd name="connsiteX84" fmla="*/ 1149 w 10000"/>
                <a:gd name="connsiteY84" fmla="*/ 350 h 9898"/>
                <a:gd name="connsiteX85" fmla="*/ 1067 w 10000"/>
                <a:gd name="connsiteY85" fmla="*/ 463 h 9898"/>
                <a:gd name="connsiteX86" fmla="*/ 1001 w 10000"/>
                <a:gd name="connsiteY86" fmla="*/ 575 h 9898"/>
                <a:gd name="connsiteX87" fmla="*/ 927 w 10000"/>
                <a:gd name="connsiteY87" fmla="*/ 687 h 9898"/>
                <a:gd name="connsiteX88" fmla="*/ 860 w 10000"/>
                <a:gd name="connsiteY88" fmla="*/ 805 h 9898"/>
                <a:gd name="connsiteX89" fmla="*/ 793 w 10000"/>
                <a:gd name="connsiteY89" fmla="*/ 924 h 9898"/>
                <a:gd name="connsiteX90" fmla="*/ 734 w 10000"/>
                <a:gd name="connsiteY90" fmla="*/ 1033 h 9898"/>
                <a:gd name="connsiteX91" fmla="*/ 675 w 10000"/>
                <a:gd name="connsiteY91" fmla="*/ 1154 h 9898"/>
                <a:gd name="connsiteX92" fmla="*/ 615 w 10000"/>
                <a:gd name="connsiteY92" fmla="*/ 1268 h 9898"/>
                <a:gd name="connsiteX93" fmla="*/ 556 w 10000"/>
                <a:gd name="connsiteY93" fmla="*/ 1393 h 9898"/>
                <a:gd name="connsiteX94" fmla="*/ 504 w 10000"/>
                <a:gd name="connsiteY94" fmla="*/ 1505 h 9898"/>
                <a:gd name="connsiteX95" fmla="*/ 452 w 10000"/>
                <a:gd name="connsiteY95" fmla="*/ 1624 h 9898"/>
                <a:gd name="connsiteX96" fmla="*/ 408 w 10000"/>
                <a:gd name="connsiteY96" fmla="*/ 1744 h 9898"/>
                <a:gd name="connsiteX97" fmla="*/ 363 w 10000"/>
                <a:gd name="connsiteY97" fmla="*/ 1865 h 9898"/>
                <a:gd name="connsiteX98" fmla="*/ 319 w 10000"/>
                <a:gd name="connsiteY98" fmla="*/ 1991 h 9898"/>
                <a:gd name="connsiteX99" fmla="*/ 282 w 10000"/>
                <a:gd name="connsiteY99" fmla="*/ 2113 h 9898"/>
                <a:gd name="connsiteX100" fmla="*/ 237 w 10000"/>
                <a:gd name="connsiteY100" fmla="*/ 2239 h 9898"/>
                <a:gd name="connsiteX101" fmla="*/ 208 w 10000"/>
                <a:gd name="connsiteY101" fmla="*/ 2362 h 9898"/>
                <a:gd name="connsiteX102" fmla="*/ 170 w 10000"/>
                <a:gd name="connsiteY102" fmla="*/ 2488 h 9898"/>
                <a:gd name="connsiteX103" fmla="*/ 148 w 10000"/>
                <a:gd name="connsiteY103" fmla="*/ 2616 h 9898"/>
                <a:gd name="connsiteX104" fmla="*/ 119 w 10000"/>
                <a:gd name="connsiteY104" fmla="*/ 2742 h 9898"/>
                <a:gd name="connsiteX105" fmla="*/ 96 w 10000"/>
                <a:gd name="connsiteY105" fmla="*/ 2866 h 9898"/>
                <a:gd name="connsiteX106" fmla="*/ 74 w 10000"/>
                <a:gd name="connsiteY106" fmla="*/ 2997 h 9898"/>
                <a:gd name="connsiteX107" fmla="*/ 52 w 10000"/>
                <a:gd name="connsiteY107" fmla="*/ 3131 h 9898"/>
                <a:gd name="connsiteX108" fmla="*/ 37 w 10000"/>
                <a:gd name="connsiteY108" fmla="*/ 3257 h 9898"/>
                <a:gd name="connsiteX109" fmla="*/ 22 w 10000"/>
                <a:gd name="connsiteY109" fmla="*/ 3385 h 9898"/>
                <a:gd name="connsiteX110" fmla="*/ 15 w 10000"/>
                <a:gd name="connsiteY110" fmla="*/ 3515 h 9898"/>
                <a:gd name="connsiteX111" fmla="*/ 7 w 10000"/>
                <a:gd name="connsiteY111" fmla="*/ 3646 h 9898"/>
                <a:gd name="connsiteX112" fmla="*/ 0 w 10000"/>
                <a:gd name="connsiteY112" fmla="*/ 3775 h 9898"/>
                <a:gd name="connsiteX113" fmla="*/ 0 w 10000"/>
                <a:gd name="connsiteY113" fmla="*/ 3910 h 9898"/>
                <a:gd name="connsiteX114" fmla="*/ 7 w 10000"/>
                <a:gd name="connsiteY114" fmla="*/ 4080 h 9898"/>
                <a:gd name="connsiteX115" fmla="*/ 7 w 10000"/>
                <a:gd name="connsiteY115" fmla="*/ 4250 h 9898"/>
                <a:gd name="connsiteX116" fmla="*/ 22 w 10000"/>
                <a:gd name="connsiteY116" fmla="*/ 4410 h 9898"/>
                <a:gd name="connsiteX117" fmla="*/ 37 w 10000"/>
                <a:gd name="connsiteY117" fmla="*/ 4577 h 9898"/>
                <a:gd name="connsiteX118" fmla="*/ 59 w 10000"/>
                <a:gd name="connsiteY118" fmla="*/ 4742 h 9898"/>
                <a:gd name="connsiteX119" fmla="*/ 89 w 10000"/>
                <a:gd name="connsiteY119" fmla="*/ 4907 h 9898"/>
                <a:gd name="connsiteX120" fmla="*/ 119 w 10000"/>
                <a:gd name="connsiteY120" fmla="*/ 5072 h 9898"/>
                <a:gd name="connsiteX121" fmla="*/ 148 w 10000"/>
                <a:gd name="connsiteY121" fmla="*/ 5236 h 9898"/>
                <a:gd name="connsiteX122" fmla="*/ 193 w 10000"/>
                <a:gd name="connsiteY122" fmla="*/ 5398 h 9898"/>
                <a:gd name="connsiteX123" fmla="*/ 237 w 10000"/>
                <a:gd name="connsiteY123" fmla="*/ 5557 h 9898"/>
                <a:gd name="connsiteX124" fmla="*/ 282 w 10000"/>
                <a:gd name="connsiteY124" fmla="*/ 5719 h 9898"/>
                <a:gd name="connsiteX125" fmla="*/ 334 w 10000"/>
                <a:gd name="connsiteY125" fmla="*/ 5876 h 9898"/>
                <a:gd name="connsiteX126" fmla="*/ 393 w 10000"/>
                <a:gd name="connsiteY126" fmla="*/ 6030 h 9898"/>
                <a:gd name="connsiteX127" fmla="*/ 452 w 10000"/>
                <a:gd name="connsiteY127" fmla="*/ 6187 h 9898"/>
                <a:gd name="connsiteX128" fmla="*/ 519 w 10000"/>
                <a:gd name="connsiteY128" fmla="*/ 6341 h 9898"/>
                <a:gd name="connsiteX129" fmla="*/ 586 w 10000"/>
                <a:gd name="connsiteY129" fmla="*/ 6499 h 9898"/>
                <a:gd name="connsiteX130" fmla="*/ 660 w 10000"/>
                <a:gd name="connsiteY130" fmla="*/ 6646 h 9898"/>
                <a:gd name="connsiteX131" fmla="*/ 741 w 10000"/>
                <a:gd name="connsiteY131" fmla="*/ 6793 h 9898"/>
                <a:gd name="connsiteX132" fmla="*/ 823 w 10000"/>
                <a:gd name="connsiteY132" fmla="*/ 6949 h 9898"/>
                <a:gd name="connsiteX133" fmla="*/ 904 w 10000"/>
                <a:gd name="connsiteY133" fmla="*/ 7093 h 9898"/>
                <a:gd name="connsiteX134" fmla="*/ 993 w 10000"/>
                <a:gd name="connsiteY134" fmla="*/ 7237 h 9898"/>
                <a:gd name="connsiteX135" fmla="*/ 1090 w 10000"/>
                <a:gd name="connsiteY135" fmla="*/ 7373 h 9898"/>
                <a:gd name="connsiteX136" fmla="*/ 1186 w 10000"/>
                <a:gd name="connsiteY136" fmla="*/ 7521 h 9898"/>
                <a:gd name="connsiteX137" fmla="*/ 1290 w 10000"/>
                <a:gd name="connsiteY137" fmla="*/ 7664 h 9898"/>
                <a:gd name="connsiteX138" fmla="*/ 1386 w 10000"/>
                <a:gd name="connsiteY138" fmla="*/ 7804 h 9898"/>
                <a:gd name="connsiteX139" fmla="*/ 1497 w 10000"/>
                <a:gd name="connsiteY139" fmla="*/ 7943 h 9898"/>
                <a:gd name="connsiteX140" fmla="*/ 1609 w 10000"/>
                <a:gd name="connsiteY140" fmla="*/ 8076 h 9898"/>
                <a:gd name="connsiteX141" fmla="*/ 1727 w 10000"/>
                <a:gd name="connsiteY141" fmla="*/ 8215 h 9898"/>
                <a:gd name="connsiteX142" fmla="*/ 1846 w 10000"/>
                <a:gd name="connsiteY142" fmla="*/ 8347 h 9898"/>
                <a:gd name="connsiteX143" fmla="*/ 1964 w 10000"/>
                <a:gd name="connsiteY143" fmla="*/ 8474 h 9898"/>
                <a:gd name="connsiteX144" fmla="*/ 2090 w 10000"/>
                <a:gd name="connsiteY144" fmla="*/ 8600 h 9898"/>
                <a:gd name="connsiteX145" fmla="*/ 2224 w 10000"/>
                <a:gd name="connsiteY145" fmla="*/ 8731 h 9898"/>
                <a:gd name="connsiteX146" fmla="*/ 2350 w 10000"/>
                <a:gd name="connsiteY146" fmla="*/ 8859 h 9898"/>
                <a:gd name="connsiteX147" fmla="*/ 2491 w 10000"/>
                <a:gd name="connsiteY147" fmla="*/ 8981 h 9898"/>
                <a:gd name="connsiteX148" fmla="*/ 2617 w 10000"/>
                <a:gd name="connsiteY148" fmla="*/ 9105 h 9898"/>
                <a:gd name="connsiteX149" fmla="*/ 2765 w 10000"/>
                <a:gd name="connsiteY149" fmla="*/ 9224 h 9898"/>
                <a:gd name="connsiteX150" fmla="*/ 2906 w 10000"/>
                <a:gd name="connsiteY150" fmla="*/ 9340 h 9898"/>
                <a:gd name="connsiteX151" fmla="*/ 3054 w 10000"/>
                <a:gd name="connsiteY151" fmla="*/ 9457 h 9898"/>
                <a:gd name="connsiteX152" fmla="*/ 3210 w 10000"/>
                <a:gd name="connsiteY152" fmla="*/ 9569 h 9898"/>
                <a:gd name="connsiteX153" fmla="*/ 3358 w 10000"/>
                <a:gd name="connsiteY153" fmla="*/ 9681 h 9898"/>
                <a:gd name="connsiteX154" fmla="*/ 3514 w 10000"/>
                <a:gd name="connsiteY154" fmla="*/ 9792 h 9898"/>
                <a:gd name="connsiteX155" fmla="*/ 3677 w 10000"/>
                <a:gd name="connsiteY155" fmla="*/ 9898 h 9898"/>
                <a:gd name="connsiteX156" fmla="*/ 7539 w 10000"/>
                <a:gd name="connsiteY156" fmla="*/ 9009 h 9898"/>
                <a:gd name="connsiteX157" fmla="*/ 10000 w 10000"/>
                <a:gd name="connsiteY157" fmla="*/ 7130 h 9898"/>
                <a:gd name="connsiteX0" fmla="*/ 10000 w 10000"/>
                <a:gd name="connsiteY0" fmla="*/ 7203 h 9893"/>
                <a:gd name="connsiteX1" fmla="*/ 10000 w 10000"/>
                <a:gd name="connsiteY1" fmla="*/ 7203 h 9893"/>
                <a:gd name="connsiteX2" fmla="*/ 9911 w 10000"/>
                <a:gd name="connsiteY2" fmla="*/ 7186 h 9893"/>
                <a:gd name="connsiteX3" fmla="*/ 9815 w 10000"/>
                <a:gd name="connsiteY3" fmla="*/ 7166 h 9893"/>
                <a:gd name="connsiteX4" fmla="*/ 9726 w 10000"/>
                <a:gd name="connsiteY4" fmla="*/ 7147 h 9893"/>
                <a:gd name="connsiteX5" fmla="*/ 9637 w 10000"/>
                <a:gd name="connsiteY5" fmla="*/ 7116 h 9893"/>
                <a:gd name="connsiteX6" fmla="*/ 9548 w 10000"/>
                <a:gd name="connsiteY6" fmla="*/ 7095 h 9893"/>
                <a:gd name="connsiteX7" fmla="*/ 9466 w 10000"/>
                <a:gd name="connsiteY7" fmla="*/ 7069 h 9893"/>
                <a:gd name="connsiteX8" fmla="*/ 9377 w 10000"/>
                <a:gd name="connsiteY8" fmla="*/ 7044 h 9893"/>
                <a:gd name="connsiteX9" fmla="*/ 9288 w 10000"/>
                <a:gd name="connsiteY9" fmla="*/ 7016 h 9893"/>
                <a:gd name="connsiteX10" fmla="*/ 9118 w 10000"/>
                <a:gd name="connsiteY10" fmla="*/ 6956 h 9893"/>
                <a:gd name="connsiteX11" fmla="*/ 8955 w 10000"/>
                <a:gd name="connsiteY11" fmla="*/ 6890 h 9893"/>
                <a:gd name="connsiteX12" fmla="*/ 8792 w 10000"/>
                <a:gd name="connsiteY12" fmla="*/ 6823 h 9893"/>
                <a:gd name="connsiteX13" fmla="*/ 8636 w 10000"/>
                <a:gd name="connsiteY13" fmla="*/ 6745 h 9893"/>
                <a:gd name="connsiteX14" fmla="*/ 8480 w 10000"/>
                <a:gd name="connsiteY14" fmla="*/ 6667 h 9893"/>
                <a:gd name="connsiteX15" fmla="*/ 8340 w 10000"/>
                <a:gd name="connsiteY15" fmla="*/ 6593 h 9893"/>
                <a:gd name="connsiteX16" fmla="*/ 8199 w 10000"/>
                <a:gd name="connsiteY16" fmla="*/ 6503 h 9893"/>
                <a:gd name="connsiteX17" fmla="*/ 8058 w 10000"/>
                <a:gd name="connsiteY17" fmla="*/ 6410 h 9893"/>
                <a:gd name="connsiteX18" fmla="*/ 7924 w 10000"/>
                <a:gd name="connsiteY18" fmla="*/ 6316 h 9893"/>
                <a:gd name="connsiteX19" fmla="*/ 7798 w 10000"/>
                <a:gd name="connsiteY19" fmla="*/ 6214 h 9893"/>
                <a:gd name="connsiteX20" fmla="*/ 7672 w 10000"/>
                <a:gd name="connsiteY20" fmla="*/ 6116 h 9893"/>
                <a:gd name="connsiteX21" fmla="*/ 7554 w 10000"/>
                <a:gd name="connsiteY21" fmla="*/ 6013 h 9893"/>
                <a:gd name="connsiteX22" fmla="*/ 7450 w 10000"/>
                <a:gd name="connsiteY22" fmla="*/ 5901 h 9893"/>
                <a:gd name="connsiteX23" fmla="*/ 7346 w 10000"/>
                <a:gd name="connsiteY23" fmla="*/ 5788 h 9893"/>
                <a:gd name="connsiteX24" fmla="*/ 7250 w 10000"/>
                <a:gd name="connsiteY24" fmla="*/ 5674 h 9893"/>
                <a:gd name="connsiteX25" fmla="*/ 7161 w 10000"/>
                <a:gd name="connsiteY25" fmla="*/ 5558 h 9893"/>
                <a:gd name="connsiteX26" fmla="*/ 7072 w 10000"/>
                <a:gd name="connsiteY26" fmla="*/ 5436 h 9893"/>
                <a:gd name="connsiteX27" fmla="*/ 6990 w 10000"/>
                <a:gd name="connsiteY27" fmla="*/ 5307 h 9893"/>
                <a:gd name="connsiteX28" fmla="*/ 6953 w 10000"/>
                <a:gd name="connsiteY28" fmla="*/ 5251 h 9893"/>
                <a:gd name="connsiteX29" fmla="*/ 6916 w 10000"/>
                <a:gd name="connsiteY29" fmla="*/ 5181 h 9893"/>
                <a:gd name="connsiteX30" fmla="*/ 6887 w 10000"/>
                <a:gd name="connsiteY30" fmla="*/ 5120 h 9893"/>
                <a:gd name="connsiteX31" fmla="*/ 6850 w 10000"/>
                <a:gd name="connsiteY31" fmla="*/ 5054 h 9893"/>
                <a:gd name="connsiteX32" fmla="*/ 6820 w 10000"/>
                <a:gd name="connsiteY32" fmla="*/ 4990 h 9893"/>
                <a:gd name="connsiteX33" fmla="*/ 6790 w 10000"/>
                <a:gd name="connsiteY33" fmla="*/ 4924 h 9893"/>
                <a:gd name="connsiteX34" fmla="*/ 6768 w 10000"/>
                <a:gd name="connsiteY34" fmla="*/ 4855 h 9893"/>
                <a:gd name="connsiteX35" fmla="*/ 6738 w 10000"/>
                <a:gd name="connsiteY35" fmla="*/ 4791 h 9893"/>
                <a:gd name="connsiteX36" fmla="*/ 6723 w 10000"/>
                <a:gd name="connsiteY36" fmla="*/ 4719 h 9893"/>
                <a:gd name="connsiteX37" fmla="*/ 6694 w 10000"/>
                <a:gd name="connsiteY37" fmla="*/ 4654 h 9893"/>
                <a:gd name="connsiteX38" fmla="*/ 6679 w 10000"/>
                <a:gd name="connsiteY38" fmla="*/ 4584 h 9893"/>
                <a:gd name="connsiteX39" fmla="*/ 6664 w 10000"/>
                <a:gd name="connsiteY39" fmla="*/ 4518 h 9893"/>
                <a:gd name="connsiteX40" fmla="*/ 6649 w 10000"/>
                <a:gd name="connsiteY40" fmla="*/ 4445 h 9893"/>
                <a:gd name="connsiteX41" fmla="*/ 6635 w 10000"/>
                <a:gd name="connsiteY41" fmla="*/ 4380 h 9893"/>
                <a:gd name="connsiteX42" fmla="*/ 6620 w 10000"/>
                <a:gd name="connsiteY42" fmla="*/ 4310 h 9893"/>
                <a:gd name="connsiteX43" fmla="*/ 6612 w 10000"/>
                <a:gd name="connsiteY43" fmla="*/ 4242 h 9893"/>
                <a:gd name="connsiteX44" fmla="*/ 6605 w 10000"/>
                <a:gd name="connsiteY44" fmla="*/ 4169 h 9893"/>
                <a:gd name="connsiteX45" fmla="*/ 6597 w 10000"/>
                <a:gd name="connsiteY45" fmla="*/ 4094 h 9893"/>
                <a:gd name="connsiteX46" fmla="*/ 6597 w 10000"/>
                <a:gd name="connsiteY46" fmla="*/ 4024 h 9893"/>
                <a:gd name="connsiteX47" fmla="*/ 6590 w 10000"/>
                <a:gd name="connsiteY47" fmla="*/ 3950 h 9893"/>
                <a:gd name="connsiteX48" fmla="*/ 6597 w 10000"/>
                <a:gd name="connsiteY48" fmla="*/ 3879 h 9893"/>
                <a:gd name="connsiteX49" fmla="*/ 6605 w 10000"/>
                <a:gd name="connsiteY49" fmla="*/ 3801 h 9893"/>
                <a:gd name="connsiteX50" fmla="*/ 6605 w 10000"/>
                <a:gd name="connsiteY50" fmla="*/ 3724 h 9893"/>
                <a:gd name="connsiteX51" fmla="*/ 6612 w 10000"/>
                <a:gd name="connsiteY51" fmla="*/ 3648 h 9893"/>
                <a:gd name="connsiteX52" fmla="*/ 6620 w 10000"/>
                <a:gd name="connsiteY52" fmla="*/ 3571 h 9893"/>
                <a:gd name="connsiteX53" fmla="*/ 6635 w 10000"/>
                <a:gd name="connsiteY53" fmla="*/ 3505 h 9893"/>
                <a:gd name="connsiteX54" fmla="*/ 6649 w 10000"/>
                <a:gd name="connsiteY54" fmla="*/ 3426 h 9893"/>
                <a:gd name="connsiteX55" fmla="*/ 6664 w 10000"/>
                <a:gd name="connsiteY55" fmla="*/ 3356 h 9893"/>
                <a:gd name="connsiteX56" fmla="*/ 6686 w 10000"/>
                <a:gd name="connsiteY56" fmla="*/ 3280 h 9893"/>
                <a:gd name="connsiteX57" fmla="*/ 6709 w 10000"/>
                <a:gd name="connsiteY57" fmla="*/ 3212 h 9893"/>
                <a:gd name="connsiteX58" fmla="*/ 6731 w 10000"/>
                <a:gd name="connsiteY58" fmla="*/ 3140 h 9893"/>
                <a:gd name="connsiteX59" fmla="*/ 6753 w 10000"/>
                <a:gd name="connsiteY59" fmla="*/ 3065 h 9893"/>
                <a:gd name="connsiteX60" fmla="*/ 6783 w 10000"/>
                <a:gd name="connsiteY60" fmla="*/ 3003 h 9893"/>
                <a:gd name="connsiteX61" fmla="*/ 6812 w 10000"/>
                <a:gd name="connsiteY61" fmla="*/ 2931 h 9893"/>
                <a:gd name="connsiteX62" fmla="*/ 6842 w 10000"/>
                <a:gd name="connsiteY62" fmla="*/ 2858 h 9893"/>
                <a:gd name="connsiteX63" fmla="*/ 6879 w 10000"/>
                <a:gd name="connsiteY63" fmla="*/ 2792 h 9893"/>
                <a:gd name="connsiteX64" fmla="*/ 6909 w 10000"/>
                <a:gd name="connsiteY64" fmla="*/ 2727 h 9893"/>
                <a:gd name="connsiteX65" fmla="*/ 6946 w 10000"/>
                <a:gd name="connsiteY65" fmla="*/ 2652 h 9893"/>
                <a:gd name="connsiteX66" fmla="*/ 6990 w 10000"/>
                <a:gd name="connsiteY66" fmla="*/ 2593 h 9893"/>
                <a:gd name="connsiteX67" fmla="*/ 7027 w 10000"/>
                <a:gd name="connsiteY67" fmla="*/ 2526 h 9893"/>
                <a:gd name="connsiteX68" fmla="*/ 7072 w 10000"/>
                <a:gd name="connsiteY68" fmla="*/ 2465 h 9893"/>
                <a:gd name="connsiteX69" fmla="*/ 7109 w 10000"/>
                <a:gd name="connsiteY69" fmla="*/ 2395 h 9893"/>
                <a:gd name="connsiteX70" fmla="*/ 7161 w 10000"/>
                <a:gd name="connsiteY70" fmla="*/ 2340 h 9893"/>
                <a:gd name="connsiteX71" fmla="*/ 7213 w 10000"/>
                <a:gd name="connsiteY71" fmla="*/ 2272 h 9893"/>
                <a:gd name="connsiteX72" fmla="*/ 7257 w 10000"/>
                <a:gd name="connsiteY72" fmla="*/ 2212 h 9893"/>
                <a:gd name="connsiteX73" fmla="*/ 7309 w 10000"/>
                <a:gd name="connsiteY73" fmla="*/ 2151 h 9893"/>
                <a:gd name="connsiteX74" fmla="*/ 7361 w 10000"/>
                <a:gd name="connsiteY74" fmla="*/ 2086 h 9893"/>
                <a:gd name="connsiteX75" fmla="*/ 7413 w 10000"/>
                <a:gd name="connsiteY75" fmla="*/ 2032 h 9893"/>
                <a:gd name="connsiteX76" fmla="*/ 7472 w 10000"/>
                <a:gd name="connsiteY76" fmla="*/ 1972 h 9893"/>
                <a:gd name="connsiteX77" fmla="*/ 7524 w 10000"/>
                <a:gd name="connsiteY77" fmla="*/ 1919 h 9893"/>
                <a:gd name="connsiteX78" fmla="*/ 7583 w 10000"/>
                <a:gd name="connsiteY78" fmla="*/ 1861 h 9893"/>
                <a:gd name="connsiteX79" fmla="*/ 7610 w 10000"/>
                <a:gd name="connsiteY79" fmla="*/ 1827 h 9893"/>
                <a:gd name="connsiteX80" fmla="*/ 5390 w 10000"/>
                <a:gd name="connsiteY80" fmla="*/ 6 h 9893"/>
                <a:gd name="connsiteX81" fmla="*/ 1401 w 10000"/>
                <a:gd name="connsiteY81" fmla="*/ 0 h 9893"/>
                <a:gd name="connsiteX82" fmla="*/ 1305 w 10000"/>
                <a:gd name="connsiteY82" fmla="*/ 136 h 9893"/>
                <a:gd name="connsiteX83" fmla="*/ 1223 w 10000"/>
                <a:gd name="connsiteY83" fmla="*/ 241 h 9893"/>
                <a:gd name="connsiteX84" fmla="*/ 1149 w 10000"/>
                <a:gd name="connsiteY84" fmla="*/ 354 h 9893"/>
                <a:gd name="connsiteX85" fmla="*/ 1067 w 10000"/>
                <a:gd name="connsiteY85" fmla="*/ 468 h 9893"/>
                <a:gd name="connsiteX86" fmla="*/ 1001 w 10000"/>
                <a:gd name="connsiteY86" fmla="*/ 581 h 9893"/>
                <a:gd name="connsiteX87" fmla="*/ 927 w 10000"/>
                <a:gd name="connsiteY87" fmla="*/ 694 h 9893"/>
                <a:gd name="connsiteX88" fmla="*/ 860 w 10000"/>
                <a:gd name="connsiteY88" fmla="*/ 813 h 9893"/>
                <a:gd name="connsiteX89" fmla="*/ 793 w 10000"/>
                <a:gd name="connsiteY89" fmla="*/ 934 h 9893"/>
                <a:gd name="connsiteX90" fmla="*/ 734 w 10000"/>
                <a:gd name="connsiteY90" fmla="*/ 1044 h 9893"/>
                <a:gd name="connsiteX91" fmla="*/ 675 w 10000"/>
                <a:gd name="connsiteY91" fmla="*/ 1166 h 9893"/>
                <a:gd name="connsiteX92" fmla="*/ 615 w 10000"/>
                <a:gd name="connsiteY92" fmla="*/ 1281 h 9893"/>
                <a:gd name="connsiteX93" fmla="*/ 556 w 10000"/>
                <a:gd name="connsiteY93" fmla="*/ 1407 h 9893"/>
                <a:gd name="connsiteX94" fmla="*/ 504 w 10000"/>
                <a:gd name="connsiteY94" fmla="*/ 1521 h 9893"/>
                <a:gd name="connsiteX95" fmla="*/ 452 w 10000"/>
                <a:gd name="connsiteY95" fmla="*/ 1641 h 9893"/>
                <a:gd name="connsiteX96" fmla="*/ 408 w 10000"/>
                <a:gd name="connsiteY96" fmla="*/ 1762 h 9893"/>
                <a:gd name="connsiteX97" fmla="*/ 363 w 10000"/>
                <a:gd name="connsiteY97" fmla="*/ 1884 h 9893"/>
                <a:gd name="connsiteX98" fmla="*/ 319 w 10000"/>
                <a:gd name="connsiteY98" fmla="*/ 2012 h 9893"/>
                <a:gd name="connsiteX99" fmla="*/ 282 w 10000"/>
                <a:gd name="connsiteY99" fmla="*/ 2135 h 9893"/>
                <a:gd name="connsiteX100" fmla="*/ 237 w 10000"/>
                <a:gd name="connsiteY100" fmla="*/ 2262 h 9893"/>
                <a:gd name="connsiteX101" fmla="*/ 208 w 10000"/>
                <a:gd name="connsiteY101" fmla="*/ 2386 h 9893"/>
                <a:gd name="connsiteX102" fmla="*/ 170 w 10000"/>
                <a:gd name="connsiteY102" fmla="*/ 2514 h 9893"/>
                <a:gd name="connsiteX103" fmla="*/ 148 w 10000"/>
                <a:gd name="connsiteY103" fmla="*/ 2643 h 9893"/>
                <a:gd name="connsiteX104" fmla="*/ 119 w 10000"/>
                <a:gd name="connsiteY104" fmla="*/ 2770 h 9893"/>
                <a:gd name="connsiteX105" fmla="*/ 96 w 10000"/>
                <a:gd name="connsiteY105" fmla="*/ 2896 h 9893"/>
                <a:gd name="connsiteX106" fmla="*/ 74 w 10000"/>
                <a:gd name="connsiteY106" fmla="*/ 3028 h 9893"/>
                <a:gd name="connsiteX107" fmla="*/ 52 w 10000"/>
                <a:gd name="connsiteY107" fmla="*/ 3163 h 9893"/>
                <a:gd name="connsiteX108" fmla="*/ 37 w 10000"/>
                <a:gd name="connsiteY108" fmla="*/ 3291 h 9893"/>
                <a:gd name="connsiteX109" fmla="*/ 22 w 10000"/>
                <a:gd name="connsiteY109" fmla="*/ 3420 h 9893"/>
                <a:gd name="connsiteX110" fmla="*/ 15 w 10000"/>
                <a:gd name="connsiteY110" fmla="*/ 3551 h 9893"/>
                <a:gd name="connsiteX111" fmla="*/ 7 w 10000"/>
                <a:gd name="connsiteY111" fmla="*/ 3684 h 9893"/>
                <a:gd name="connsiteX112" fmla="*/ 0 w 10000"/>
                <a:gd name="connsiteY112" fmla="*/ 3814 h 9893"/>
                <a:gd name="connsiteX113" fmla="*/ 0 w 10000"/>
                <a:gd name="connsiteY113" fmla="*/ 3950 h 9893"/>
                <a:gd name="connsiteX114" fmla="*/ 7 w 10000"/>
                <a:gd name="connsiteY114" fmla="*/ 4122 h 9893"/>
                <a:gd name="connsiteX115" fmla="*/ 7 w 10000"/>
                <a:gd name="connsiteY115" fmla="*/ 4294 h 9893"/>
                <a:gd name="connsiteX116" fmla="*/ 22 w 10000"/>
                <a:gd name="connsiteY116" fmla="*/ 4455 h 9893"/>
                <a:gd name="connsiteX117" fmla="*/ 37 w 10000"/>
                <a:gd name="connsiteY117" fmla="*/ 4624 h 9893"/>
                <a:gd name="connsiteX118" fmla="*/ 59 w 10000"/>
                <a:gd name="connsiteY118" fmla="*/ 4791 h 9893"/>
                <a:gd name="connsiteX119" fmla="*/ 89 w 10000"/>
                <a:gd name="connsiteY119" fmla="*/ 4958 h 9893"/>
                <a:gd name="connsiteX120" fmla="*/ 119 w 10000"/>
                <a:gd name="connsiteY120" fmla="*/ 5124 h 9893"/>
                <a:gd name="connsiteX121" fmla="*/ 148 w 10000"/>
                <a:gd name="connsiteY121" fmla="*/ 5290 h 9893"/>
                <a:gd name="connsiteX122" fmla="*/ 193 w 10000"/>
                <a:gd name="connsiteY122" fmla="*/ 5454 h 9893"/>
                <a:gd name="connsiteX123" fmla="*/ 237 w 10000"/>
                <a:gd name="connsiteY123" fmla="*/ 5614 h 9893"/>
                <a:gd name="connsiteX124" fmla="*/ 282 w 10000"/>
                <a:gd name="connsiteY124" fmla="*/ 5778 h 9893"/>
                <a:gd name="connsiteX125" fmla="*/ 334 w 10000"/>
                <a:gd name="connsiteY125" fmla="*/ 5937 h 9893"/>
                <a:gd name="connsiteX126" fmla="*/ 393 w 10000"/>
                <a:gd name="connsiteY126" fmla="*/ 6092 h 9893"/>
                <a:gd name="connsiteX127" fmla="*/ 452 w 10000"/>
                <a:gd name="connsiteY127" fmla="*/ 6251 h 9893"/>
                <a:gd name="connsiteX128" fmla="*/ 519 w 10000"/>
                <a:gd name="connsiteY128" fmla="*/ 6406 h 9893"/>
                <a:gd name="connsiteX129" fmla="*/ 586 w 10000"/>
                <a:gd name="connsiteY129" fmla="*/ 6566 h 9893"/>
                <a:gd name="connsiteX130" fmla="*/ 660 w 10000"/>
                <a:gd name="connsiteY130" fmla="*/ 6714 h 9893"/>
                <a:gd name="connsiteX131" fmla="*/ 741 w 10000"/>
                <a:gd name="connsiteY131" fmla="*/ 6863 h 9893"/>
                <a:gd name="connsiteX132" fmla="*/ 823 w 10000"/>
                <a:gd name="connsiteY132" fmla="*/ 7021 h 9893"/>
                <a:gd name="connsiteX133" fmla="*/ 904 w 10000"/>
                <a:gd name="connsiteY133" fmla="*/ 7166 h 9893"/>
                <a:gd name="connsiteX134" fmla="*/ 993 w 10000"/>
                <a:gd name="connsiteY134" fmla="*/ 7312 h 9893"/>
                <a:gd name="connsiteX135" fmla="*/ 1090 w 10000"/>
                <a:gd name="connsiteY135" fmla="*/ 7449 h 9893"/>
                <a:gd name="connsiteX136" fmla="*/ 1186 w 10000"/>
                <a:gd name="connsiteY136" fmla="*/ 7599 h 9893"/>
                <a:gd name="connsiteX137" fmla="*/ 1290 w 10000"/>
                <a:gd name="connsiteY137" fmla="*/ 7743 h 9893"/>
                <a:gd name="connsiteX138" fmla="*/ 1386 w 10000"/>
                <a:gd name="connsiteY138" fmla="*/ 7884 h 9893"/>
                <a:gd name="connsiteX139" fmla="*/ 1497 w 10000"/>
                <a:gd name="connsiteY139" fmla="*/ 8025 h 9893"/>
                <a:gd name="connsiteX140" fmla="*/ 1609 w 10000"/>
                <a:gd name="connsiteY140" fmla="*/ 8159 h 9893"/>
                <a:gd name="connsiteX141" fmla="*/ 1727 w 10000"/>
                <a:gd name="connsiteY141" fmla="*/ 8300 h 9893"/>
                <a:gd name="connsiteX142" fmla="*/ 1846 w 10000"/>
                <a:gd name="connsiteY142" fmla="*/ 8433 h 9893"/>
                <a:gd name="connsiteX143" fmla="*/ 1964 w 10000"/>
                <a:gd name="connsiteY143" fmla="*/ 8561 h 9893"/>
                <a:gd name="connsiteX144" fmla="*/ 2090 w 10000"/>
                <a:gd name="connsiteY144" fmla="*/ 8689 h 9893"/>
                <a:gd name="connsiteX145" fmla="*/ 2224 w 10000"/>
                <a:gd name="connsiteY145" fmla="*/ 8821 h 9893"/>
                <a:gd name="connsiteX146" fmla="*/ 2350 w 10000"/>
                <a:gd name="connsiteY146" fmla="*/ 8950 h 9893"/>
                <a:gd name="connsiteX147" fmla="*/ 2491 w 10000"/>
                <a:gd name="connsiteY147" fmla="*/ 9074 h 9893"/>
                <a:gd name="connsiteX148" fmla="*/ 2617 w 10000"/>
                <a:gd name="connsiteY148" fmla="*/ 9199 h 9893"/>
                <a:gd name="connsiteX149" fmla="*/ 2765 w 10000"/>
                <a:gd name="connsiteY149" fmla="*/ 9319 h 9893"/>
                <a:gd name="connsiteX150" fmla="*/ 2906 w 10000"/>
                <a:gd name="connsiteY150" fmla="*/ 9436 h 9893"/>
                <a:gd name="connsiteX151" fmla="*/ 3054 w 10000"/>
                <a:gd name="connsiteY151" fmla="*/ 9554 h 9893"/>
                <a:gd name="connsiteX152" fmla="*/ 3210 w 10000"/>
                <a:gd name="connsiteY152" fmla="*/ 9668 h 9893"/>
                <a:gd name="connsiteX153" fmla="*/ 3358 w 10000"/>
                <a:gd name="connsiteY153" fmla="*/ 9781 h 9893"/>
                <a:gd name="connsiteX154" fmla="*/ 3514 w 10000"/>
                <a:gd name="connsiteY154" fmla="*/ 9893 h 9893"/>
                <a:gd name="connsiteX155" fmla="*/ 7539 w 10000"/>
                <a:gd name="connsiteY155" fmla="*/ 9102 h 9893"/>
                <a:gd name="connsiteX156" fmla="*/ 10000 w 10000"/>
                <a:gd name="connsiteY156" fmla="*/ 7203 h 9893"/>
                <a:gd name="connsiteX0" fmla="*/ 10000 w 10000"/>
                <a:gd name="connsiteY0" fmla="*/ 7281 h 9887"/>
                <a:gd name="connsiteX1" fmla="*/ 10000 w 10000"/>
                <a:gd name="connsiteY1" fmla="*/ 7281 h 9887"/>
                <a:gd name="connsiteX2" fmla="*/ 9911 w 10000"/>
                <a:gd name="connsiteY2" fmla="*/ 7264 h 9887"/>
                <a:gd name="connsiteX3" fmla="*/ 9815 w 10000"/>
                <a:gd name="connsiteY3" fmla="*/ 7244 h 9887"/>
                <a:gd name="connsiteX4" fmla="*/ 9726 w 10000"/>
                <a:gd name="connsiteY4" fmla="*/ 7224 h 9887"/>
                <a:gd name="connsiteX5" fmla="*/ 9637 w 10000"/>
                <a:gd name="connsiteY5" fmla="*/ 7193 h 9887"/>
                <a:gd name="connsiteX6" fmla="*/ 9548 w 10000"/>
                <a:gd name="connsiteY6" fmla="*/ 7172 h 9887"/>
                <a:gd name="connsiteX7" fmla="*/ 9466 w 10000"/>
                <a:gd name="connsiteY7" fmla="*/ 7145 h 9887"/>
                <a:gd name="connsiteX8" fmla="*/ 9377 w 10000"/>
                <a:gd name="connsiteY8" fmla="*/ 7120 h 9887"/>
                <a:gd name="connsiteX9" fmla="*/ 9288 w 10000"/>
                <a:gd name="connsiteY9" fmla="*/ 7092 h 9887"/>
                <a:gd name="connsiteX10" fmla="*/ 9118 w 10000"/>
                <a:gd name="connsiteY10" fmla="*/ 7031 h 9887"/>
                <a:gd name="connsiteX11" fmla="*/ 8955 w 10000"/>
                <a:gd name="connsiteY11" fmla="*/ 6965 h 9887"/>
                <a:gd name="connsiteX12" fmla="*/ 8792 w 10000"/>
                <a:gd name="connsiteY12" fmla="*/ 6897 h 9887"/>
                <a:gd name="connsiteX13" fmla="*/ 8636 w 10000"/>
                <a:gd name="connsiteY13" fmla="*/ 6818 h 9887"/>
                <a:gd name="connsiteX14" fmla="*/ 8480 w 10000"/>
                <a:gd name="connsiteY14" fmla="*/ 6739 h 9887"/>
                <a:gd name="connsiteX15" fmla="*/ 8340 w 10000"/>
                <a:gd name="connsiteY15" fmla="*/ 6664 h 9887"/>
                <a:gd name="connsiteX16" fmla="*/ 8199 w 10000"/>
                <a:gd name="connsiteY16" fmla="*/ 6573 h 9887"/>
                <a:gd name="connsiteX17" fmla="*/ 8058 w 10000"/>
                <a:gd name="connsiteY17" fmla="*/ 6479 h 9887"/>
                <a:gd name="connsiteX18" fmla="*/ 7924 w 10000"/>
                <a:gd name="connsiteY18" fmla="*/ 6384 h 9887"/>
                <a:gd name="connsiteX19" fmla="*/ 7798 w 10000"/>
                <a:gd name="connsiteY19" fmla="*/ 6281 h 9887"/>
                <a:gd name="connsiteX20" fmla="*/ 7672 w 10000"/>
                <a:gd name="connsiteY20" fmla="*/ 6182 h 9887"/>
                <a:gd name="connsiteX21" fmla="*/ 7554 w 10000"/>
                <a:gd name="connsiteY21" fmla="*/ 6078 h 9887"/>
                <a:gd name="connsiteX22" fmla="*/ 7450 w 10000"/>
                <a:gd name="connsiteY22" fmla="*/ 5965 h 9887"/>
                <a:gd name="connsiteX23" fmla="*/ 7346 w 10000"/>
                <a:gd name="connsiteY23" fmla="*/ 5851 h 9887"/>
                <a:gd name="connsiteX24" fmla="*/ 7250 w 10000"/>
                <a:gd name="connsiteY24" fmla="*/ 5735 h 9887"/>
                <a:gd name="connsiteX25" fmla="*/ 7161 w 10000"/>
                <a:gd name="connsiteY25" fmla="*/ 5618 h 9887"/>
                <a:gd name="connsiteX26" fmla="*/ 7072 w 10000"/>
                <a:gd name="connsiteY26" fmla="*/ 5495 h 9887"/>
                <a:gd name="connsiteX27" fmla="*/ 6990 w 10000"/>
                <a:gd name="connsiteY27" fmla="*/ 5364 h 9887"/>
                <a:gd name="connsiteX28" fmla="*/ 6953 w 10000"/>
                <a:gd name="connsiteY28" fmla="*/ 5308 h 9887"/>
                <a:gd name="connsiteX29" fmla="*/ 6916 w 10000"/>
                <a:gd name="connsiteY29" fmla="*/ 5237 h 9887"/>
                <a:gd name="connsiteX30" fmla="*/ 6887 w 10000"/>
                <a:gd name="connsiteY30" fmla="*/ 5175 h 9887"/>
                <a:gd name="connsiteX31" fmla="*/ 6850 w 10000"/>
                <a:gd name="connsiteY31" fmla="*/ 5109 h 9887"/>
                <a:gd name="connsiteX32" fmla="*/ 6820 w 10000"/>
                <a:gd name="connsiteY32" fmla="*/ 5044 h 9887"/>
                <a:gd name="connsiteX33" fmla="*/ 6790 w 10000"/>
                <a:gd name="connsiteY33" fmla="*/ 4977 h 9887"/>
                <a:gd name="connsiteX34" fmla="*/ 6768 w 10000"/>
                <a:gd name="connsiteY34" fmla="*/ 4908 h 9887"/>
                <a:gd name="connsiteX35" fmla="*/ 6738 w 10000"/>
                <a:gd name="connsiteY35" fmla="*/ 4843 h 9887"/>
                <a:gd name="connsiteX36" fmla="*/ 6723 w 10000"/>
                <a:gd name="connsiteY36" fmla="*/ 4770 h 9887"/>
                <a:gd name="connsiteX37" fmla="*/ 6694 w 10000"/>
                <a:gd name="connsiteY37" fmla="*/ 4704 h 9887"/>
                <a:gd name="connsiteX38" fmla="*/ 6679 w 10000"/>
                <a:gd name="connsiteY38" fmla="*/ 4634 h 9887"/>
                <a:gd name="connsiteX39" fmla="*/ 6664 w 10000"/>
                <a:gd name="connsiteY39" fmla="*/ 4567 h 9887"/>
                <a:gd name="connsiteX40" fmla="*/ 6649 w 10000"/>
                <a:gd name="connsiteY40" fmla="*/ 4493 h 9887"/>
                <a:gd name="connsiteX41" fmla="*/ 6635 w 10000"/>
                <a:gd name="connsiteY41" fmla="*/ 4427 h 9887"/>
                <a:gd name="connsiteX42" fmla="*/ 6620 w 10000"/>
                <a:gd name="connsiteY42" fmla="*/ 4357 h 9887"/>
                <a:gd name="connsiteX43" fmla="*/ 6612 w 10000"/>
                <a:gd name="connsiteY43" fmla="*/ 4288 h 9887"/>
                <a:gd name="connsiteX44" fmla="*/ 6605 w 10000"/>
                <a:gd name="connsiteY44" fmla="*/ 4214 h 9887"/>
                <a:gd name="connsiteX45" fmla="*/ 6597 w 10000"/>
                <a:gd name="connsiteY45" fmla="*/ 4138 h 9887"/>
                <a:gd name="connsiteX46" fmla="*/ 6597 w 10000"/>
                <a:gd name="connsiteY46" fmla="*/ 4068 h 9887"/>
                <a:gd name="connsiteX47" fmla="*/ 6590 w 10000"/>
                <a:gd name="connsiteY47" fmla="*/ 3993 h 9887"/>
                <a:gd name="connsiteX48" fmla="*/ 6597 w 10000"/>
                <a:gd name="connsiteY48" fmla="*/ 3921 h 9887"/>
                <a:gd name="connsiteX49" fmla="*/ 6605 w 10000"/>
                <a:gd name="connsiteY49" fmla="*/ 3842 h 9887"/>
                <a:gd name="connsiteX50" fmla="*/ 6605 w 10000"/>
                <a:gd name="connsiteY50" fmla="*/ 3764 h 9887"/>
                <a:gd name="connsiteX51" fmla="*/ 6612 w 10000"/>
                <a:gd name="connsiteY51" fmla="*/ 3687 h 9887"/>
                <a:gd name="connsiteX52" fmla="*/ 6620 w 10000"/>
                <a:gd name="connsiteY52" fmla="*/ 3610 h 9887"/>
                <a:gd name="connsiteX53" fmla="*/ 6635 w 10000"/>
                <a:gd name="connsiteY53" fmla="*/ 3543 h 9887"/>
                <a:gd name="connsiteX54" fmla="*/ 6649 w 10000"/>
                <a:gd name="connsiteY54" fmla="*/ 3463 h 9887"/>
                <a:gd name="connsiteX55" fmla="*/ 6664 w 10000"/>
                <a:gd name="connsiteY55" fmla="*/ 3392 h 9887"/>
                <a:gd name="connsiteX56" fmla="*/ 6686 w 10000"/>
                <a:gd name="connsiteY56" fmla="*/ 3315 h 9887"/>
                <a:gd name="connsiteX57" fmla="*/ 6709 w 10000"/>
                <a:gd name="connsiteY57" fmla="*/ 3247 h 9887"/>
                <a:gd name="connsiteX58" fmla="*/ 6731 w 10000"/>
                <a:gd name="connsiteY58" fmla="*/ 3174 h 9887"/>
                <a:gd name="connsiteX59" fmla="*/ 6753 w 10000"/>
                <a:gd name="connsiteY59" fmla="*/ 3098 h 9887"/>
                <a:gd name="connsiteX60" fmla="*/ 6783 w 10000"/>
                <a:gd name="connsiteY60" fmla="*/ 3035 h 9887"/>
                <a:gd name="connsiteX61" fmla="*/ 6812 w 10000"/>
                <a:gd name="connsiteY61" fmla="*/ 2963 h 9887"/>
                <a:gd name="connsiteX62" fmla="*/ 6842 w 10000"/>
                <a:gd name="connsiteY62" fmla="*/ 2889 h 9887"/>
                <a:gd name="connsiteX63" fmla="*/ 6879 w 10000"/>
                <a:gd name="connsiteY63" fmla="*/ 2822 h 9887"/>
                <a:gd name="connsiteX64" fmla="*/ 6909 w 10000"/>
                <a:gd name="connsiteY64" fmla="*/ 2756 h 9887"/>
                <a:gd name="connsiteX65" fmla="*/ 6946 w 10000"/>
                <a:gd name="connsiteY65" fmla="*/ 2681 h 9887"/>
                <a:gd name="connsiteX66" fmla="*/ 6990 w 10000"/>
                <a:gd name="connsiteY66" fmla="*/ 2621 h 9887"/>
                <a:gd name="connsiteX67" fmla="*/ 7027 w 10000"/>
                <a:gd name="connsiteY67" fmla="*/ 2553 h 9887"/>
                <a:gd name="connsiteX68" fmla="*/ 7072 w 10000"/>
                <a:gd name="connsiteY68" fmla="*/ 2492 h 9887"/>
                <a:gd name="connsiteX69" fmla="*/ 7109 w 10000"/>
                <a:gd name="connsiteY69" fmla="*/ 2421 h 9887"/>
                <a:gd name="connsiteX70" fmla="*/ 7161 w 10000"/>
                <a:gd name="connsiteY70" fmla="*/ 2365 h 9887"/>
                <a:gd name="connsiteX71" fmla="*/ 7213 w 10000"/>
                <a:gd name="connsiteY71" fmla="*/ 2297 h 9887"/>
                <a:gd name="connsiteX72" fmla="*/ 7257 w 10000"/>
                <a:gd name="connsiteY72" fmla="*/ 2236 h 9887"/>
                <a:gd name="connsiteX73" fmla="*/ 7309 w 10000"/>
                <a:gd name="connsiteY73" fmla="*/ 2174 h 9887"/>
                <a:gd name="connsiteX74" fmla="*/ 7361 w 10000"/>
                <a:gd name="connsiteY74" fmla="*/ 2109 h 9887"/>
                <a:gd name="connsiteX75" fmla="*/ 7413 w 10000"/>
                <a:gd name="connsiteY75" fmla="*/ 2054 h 9887"/>
                <a:gd name="connsiteX76" fmla="*/ 7472 w 10000"/>
                <a:gd name="connsiteY76" fmla="*/ 1993 h 9887"/>
                <a:gd name="connsiteX77" fmla="*/ 7524 w 10000"/>
                <a:gd name="connsiteY77" fmla="*/ 1940 h 9887"/>
                <a:gd name="connsiteX78" fmla="*/ 7583 w 10000"/>
                <a:gd name="connsiteY78" fmla="*/ 1881 h 9887"/>
                <a:gd name="connsiteX79" fmla="*/ 7610 w 10000"/>
                <a:gd name="connsiteY79" fmla="*/ 1847 h 9887"/>
                <a:gd name="connsiteX80" fmla="*/ 5390 w 10000"/>
                <a:gd name="connsiteY80" fmla="*/ 6 h 9887"/>
                <a:gd name="connsiteX81" fmla="*/ 1401 w 10000"/>
                <a:gd name="connsiteY81" fmla="*/ 0 h 9887"/>
                <a:gd name="connsiteX82" fmla="*/ 1305 w 10000"/>
                <a:gd name="connsiteY82" fmla="*/ 137 h 9887"/>
                <a:gd name="connsiteX83" fmla="*/ 1223 w 10000"/>
                <a:gd name="connsiteY83" fmla="*/ 244 h 9887"/>
                <a:gd name="connsiteX84" fmla="*/ 1149 w 10000"/>
                <a:gd name="connsiteY84" fmla="*/ 358 h 9887"/>
                <a:gd name="connsiteX85" fmla="*/ 1067 w 10000"/>
                <a:gd name="connsiteY85" fmla="*/ 473 h 9887"/>
                <a:gd name="connsiteX86" fmla="*/ 1001 w 10000"/>
                <a:gd name="connsiteY86" fmla="*/ 587 h 9887"/>
                <a:gd name="connsiteX87" fmla="*/ 927 w 10000"/>
                <a:gd name="connsiteY87" fmla="*/ 702 h 9887"/>
                <a:gd name="connsiteX88" fmla="*/ 860 w 10000"/>
                <a:gd name="connsiteY88" fmla="*/ 822 h 9887"/>
                <a:gd name="connsiteX89" fmla="*/ 793 w 10000"/>
                <a:gd name="connsiteY89" fmla="*/ 944 h 9887"/>
                <a:gd name="connsiteX90" fmla="*/ 734 w 10000"/>
                <a:gd name="connsiteY90" fmla="*/ 1055 h 9887"/>
                <a:gd name="connsiteX91" fmla="*/ 675 w 10000"/>
                <a:gd name="connsiteY91" fmla="*/ 1179 h 9887"/>
                <a:gd name="connsiteX92" fmla="*/ 615 w 10000"/>
                <a:gd name="connsiteY92" fmla="*/ 1295 h 9887"/>
                <a:gd name="connsiteX93" fmla="*/ 556 w 10000"/>
                <a:gd name="connsiteY93" fmla="*/ 1422 h 9887"/>
                <a:gd name="connsiteX94" fmla="*/ 504 w 10000"/>
                <a:gd name="connsiteY94" fmla="*/ 1537 h 9887"/>
                <a:gd name="connsiteX95" fmla="*/ 452 w 10000"/>
                <a:gd name="connsiteY95" fmla="*/ 1659 h 9887"/>
                <a:gd name="connsiteX96" fmla="*/ 408 w 10000"/>
                <a:gd name="connsiteY96" fmla="*/ 1781 h 9887"/>
                <a:gd name="connsiteX97" fmla="*/ 363 w 10000"/>
                <a:gd name="connsiteY97" fmla="*/ 1904 h 9887"/>
                <a:gd name="connsiteX98" fmla="*/ 319 w 10000"/>
                <a:gd name="connsiteY98" fmla="*/ 2034 h 9887"/>
                <a:gd name="connsiteX99" fmla="*/ 282 w 10000"/>
                <a:gd name="connsiteY99" fmla="*/ 2158 h 9887"/>
                <a:gd name="connsiteX100" fmla="*/ 237 w 10000"/>
                <a:gd name="connsiteY100" fmla="*/ 2286 h 9887"/>
                <a:gd name="connsiteX101" fmla="*/ 208 w 10000"/>
                <a:gd name="connsiteY101" fmla="*/ 2412 h 9887"/>
                <a:gd name="connsiteX102" fmla="*/ 170 w 10000"/>
                <a:gd name="connsiteY102" fmla="*/ 2541 h 9887"/>
                <a:gd name="connsiteX103" fmla="*/ 148 w 10000"/>
                <a:gd name="connsiteY103" fmla="*/ 2672 h 9887"/>
                <a:gd name="connsiteX104" fmla="*/ 119 w 10000"/>
                <a:gd name="connsiteY104" fmla="*/ 2800 h 9887"/>
                <a:gd name="connsiteX105" fmla="*/ 96 w 10000"/>
                <a:gd name="connsiteY105" fmla="*/ 2927 h 9887"/>
                <a:gd name="connsiteX106" fmla="*/ 74 w 10000"/>
                <a:gd name="connsiteY106" fmla="*/ 3061 h 9887"/>
                <a:gd name="connsiteX107" fmla="*/ 52 w 10000"/>
                <a:gd name="connsiteY107" fmla="*/ 3197 h 9887"/>
                <a:gd name="connsiteX108" fmla="*/ 37 w 10000"/>
                <a:gd name="connsiteY108" fmla="*/ 3327 h 9887"/>
                <a:gd name="connsiteX109" fmla="*/ 22 w 10000"/>
                <a:gd name="connsiteY109" fmla="*/ 3457 h 9887"/>
                <a:gd name="connsiteX110" fmla="*/ 15 w 10000"/>
                <a:gd name="connsiteY110" fmla="*/ 3589 h 9887"/>
                <a:gd name="connsiteX111" fmla="*/ 7 w 10000"/>
                <a:gd name="connsiteY111" fmla="*/ 3724 h 9887"/>
                <a:gd name="connsiteX112" fmla="*/ 0 w 10000"/>
                <a:gd name="connsiteY112" fmla="*/ 3855 h 9887"/>
                <a:gd name="connsiteX113" fmla="*/ 0 w 10000"/>
                <a:gd name="connsiteY113" fmla="*/ 3993 h 9887"/>
                <a:gd name="connsiteX114" fmla="*/ 7 w 10000"/>
                <a:gd name="connsiteY114" fmla="*/ 4167 h 9887"/>
                <a:gd name="connsiteX115" fmla="*/ 7 w 10000"/>
                <a:gd name="connsiteY115" fmla="*/ 4340 h 9887"/>
                <a:gd name="connsiteX116" fmla="*/ 22 w 10000"/>
                <a:gd name="connsiteY116" fmla="*/ 4503 h 9887"/>
                <a:gd name="connsiteX117" fmla="*/ 37 w 10000"/>
                <a:gd name="connsiteY117" fmla="*/ 4674 h 9887"/>
                <a:gd name="connsiteX118" fmla="*/ 59 w 10000"/>
                <a:gd name="connsiteY118" fmla="*/ 4843 h 9887"/>
                <a:gd name="connsiteX119" fmla="*/ 89 w 10000"/>
                <a:gd name="connsiteY119" fmla="*/ 5012 h 9887"/>
                <a:gd name="connsiteX120" fmla="*/ 119 w 10000"/>
                <a:gd name="connsiteY120" fmla="*/ 5179 h 9887"/>
                <a:gd name="connsiteX121" fmla="*/ 148 w 10000"/>
                <a:gd name="connsiteY121" fmla="*/ 5347 h 9887"/>
                <a:gd name="connsiteX122" fmla="*/ 193 w 10000"/>
                <a:gd name="connsiteY122" fmla="*/ 5513 h 9887"/>
                <a:gd name="connsiteX123" fmla="*/ 237 w 10000"/>
                <a:gd name="connsiteY123" fmla="*/ 5675 h 9887"/>
                <a:gd name="connsiteX124" fmla="*/ 282 w 10000"/>
                <a:gd name="connsiteY124" fmla="*/ 5840 h 9887"/>
                <a:gd name="connsiteX125" fmla="*/ 334 w 10000"/>
                <a:gd name="connsiteY125" fmla="*/ 6001 h 9887"/>
                <a:gd name="connsiteX126" fmla="*/ 393 w 10000"/>
                <a:gd name="connsiteY126" fmla="*/ 6158 h 9887"/>
                <a:gd name="connsiteX127" fmla="*/ 452 w 10000"/>
                <a:gd name="connsiteY127" fmla="*/ 6319 h 9887"/>
                <a:gd name="connsiteX128" fmla="*/ 519 w 10000"/>
                <a:gd name="connsiteY128" fmla="*/ 6475 h 9887"/>
                <a:gd name="connsiteX129" fmla="*/ 586 w 10000"/>
                <a:gd name="connsiteY129" fmla="*/ 6637 h 9887"/>
                <a:gd name="connsiteX130" fmla="*/ 660 w 10000"/>
                <a:gd name="connsiteY130" fmla="*/ 6787 h 9887"/>
                <a:gd name="connsiteX131" fmla="*/ 741 w 10000"/>
                <a:gd name="connsiteY131" fmla="*/ 6937 h 9887"/>
                <a:gd name="connsiteX132" fmla="*/ 823 w 10000"/>
                <a:gd name="connsiteY132" fmla="*/ 7097 h 9887"/>
                <a:gd name="connsiteX133" fmla="*/ 904 w 10000"/>
                <a:gd name="connsiteY133" fmla="*/ 7244 h 9887"/>
                <a:gd name="connsiteX134" fmla="*/ 993 w 10000"/>
                <a:gd name="connsiteY134" fmla="*/ 7391 h 9887"/>
                <a:gd name="connsiteX135" fmla="*/ 1090 w 10000"/>
                <a:gd name="connsiteY135" fmla="*/ 7530 h 9887"/>
                <a:gd name="connsiteX136" fmla="*/ 1186 w 10000"/>
                <a:gd name="connsiteY136" fmla="*/ 7681 h 9887"/>
                <a:gd name="connsiteX137" fmla="*/ 1290 w 10000"/>
                <a:gd name="connsiteY137" fmla="*/ 7827 h 9887"/>
                <a:gd name="connsiteX138" fmla="*/ 1386 w 10000"/>
                <a:gd name="connsiteY138" fmla="*/ 7969 h 9887"/>
                <a:gd name="connsiteX139" fmla="*/ 1497 w 10000"/>
                <a:gd name="connsiteY139" fmla="*/ 8112 h 9887"/>
                <a:gd name="connsiteX140" fmla="*/ 1609 w 10000"/>
                <a:gd name="connsiteY140" fmla="*/ 8247 h 9887"/>
                <a:gd name="connsiteX141" fmla="*/ 1727 w 10000"/>
                <a:gd name="connsiteY141" fmla="*/ 8390 h 9887"/>
                <a:gd name="connsiteX142" fmla="*/ 1846 w 10000"/>
                <a:gd name="connsiteY142" fmla="*/ 8524 h 9887"/>
                <a:gd name="connsiteX143" fmla="*/ 1964 w 10000"/>
                <a:gd name="connsiteY143" fmla="*/ 8654 h 9887"/>
                <a:gd name="connsiteX144" fmla="*/ 2090 w 10000"/>
                <a:gd name="connsiteY144" fmla="*/ 8783 h 9887"/>
                <a:gd name="connsiteX145" fmla="*/ 2224 w 10000"/>
                <a:gd name="connsiteY145" fmla="*/ 8916 h 9887"/>
                <a:gd name="connsiteX146" fmla="*/ 2350 w 10000"/>
                <a:gd name="connsiteY146" fmla="*/ 9047 h 9887"/>
                <a:gd name="connsiteX147" fmla="*/ 2491 w 10000"/>
                <a:gd name="connsiteY147" fmla="*/ 9172 h 9887"/>
                <a:gd name="connsiteX148" fmla="*/ 2617 w 10000"/>
                <a:gd name="connsiteY148" fmla="*/ 9298 h 9887"/>
                <a:gd name="connsiteX149" fmla="*/ 2765 w 10000"/>
                <a:gd name="connsiteY149" fmla="*/ 9420 h 9887"/>
                <a:gd name="connsiteX150" fmla="*/ 2906 w 10000"/>
                <a:gd name="connsiteY150" fmla="*/ 9538 h 9887"/>
                <a:gd name="connsiteX151" fmla="*/ 3054 w 10000"/>
                <a:gd name="connsiteY151" fmla="*/ 9657 h 9887"/>
                <a:gd name="connsiteX152" fmla="*/ 3210 w 10000"/>
                <a:gd name="connsiteY152" fmla="*/ 9773 h 9887"/>
                <a:gd name="connsiteX153" fmla="*/ 3358 w 10000"/>
                <a:gd name="connsiteY153" fmla="*/ 9887 h 9887"/>
                <a:gd name="connsiteX154" fmla="*/ 7539 w 10000"/>
                <a:gd name="connsiteY154" fmla="*/ 9200 h 9887"/>
                <a:gd name="connsiteX155" fmla="*/ 10000 w 10000"/>
                <a:gd name="connsiteY155" fmla="*/ 7281 h 9887"/>
                <a:gd name="connsiteX0" fmla="*/ 10000 w 10000"/>
                <a:gd name="connsiteY0" fmla="*/ 7364 h 9885"/>
                <a:gd name="connsiteX1" fmla="*/ 10000 w 10000"/>
                <a:gd name="connsiteY1" fmla="*/ 7364 h 9885"/>
                <a:gd name="connsiteX2" fmla="*/ 9911 w 10000"/>
                <a:gd name="connsiteY2" fmla="*/ 7347 h 9885"/>
                <a:gd name="connsiteX3" fmla="*/ 9815 w 10000"/>
                <a:gd name="connsiteY3" fmla="*/ 7327 h 9885"/>
                <a:gd name="connsiteX4" fmla="*/ 9726 w 10000"/>
                <a:gd name="connsiteY4" fmla="*/ 7307 h 9885"/>
                <a:gd name="connsiteX5" fmla="*/ 9637 w 10000"/>
                <a:gd name="connsiteY5" fmla="*/ 7275 h 9885"/>
                <a:gd name="connsiteX6" fmla="*/ 9548 w 10000"/>
                <a:gd name="connsiteY6" fmla="*/ 7254 h 9885"/>
                <a:gd name="connsiteX7" fmla="*/ 9466 w 10000"/>
                <a:gd name="connsiteY7" fmla="*/ 7227 h 9885"/>
                <a:gd name="connsiteX8" fmla="*/ 9377 w 10000"/>
                <a:gd name="connsiteY8" fmla="*/ 7201 h 9885"/>
                <a:gd name="connsiteX9" fmla="*/ 9288 w 10000"/>
                <a:gd name="connsiteY9" fmla="*/ 7173 h 9885"/>
                <a:gd name="connsiteX10" fmla="*/ 9118 w 10000"/>
                <a:gd name="connsiteY10" fmla="*/ 7111 h 9885"/>
                <a:gd name="connsiteX11" fmla="*/ 8955 w 10000"/>
                <a:gd name="connsiteY11" fmla="*/ 7045 h 9885"/>
                <a:gd name="connsiteX12" fmla="*/ 8792 w 10000"/>
                <a:gd name="connsiteY12" fmla="*/ 6976 h 9885"/>
                <a:gd name="connsiteX13" fmla="*/ 8636 w 10000"/>
                <a:gd name="connsiteY13" fmla="*/ 6896 h 9885"/>
                <a:gd name="connsiteX14" fmla="*/ 8480 w 10000"/>
                <a:gd name="connsiteY14" fmla="*/ 6816 h 9885"/>
                <a:gd name="connsiteX15" fmla="*/ 8340 w 10000"/>
                <a:gd name="connsiteY15" fmla="*/ 6740 h 9885"/>
                <a:gd name="connsiteX16" fmla="*/ 8199 w 10000"/>
                <a:gd name="connsiteY16" fmla="*/ 6648 h 9885"/>
                <a:gd name="connsiteX17" fmla="*/ 8058 w 10000"/>
                <a:gd name="connsiteY17" fmla="*/ 6553 h 9885"/>
                <a:gd name="connsiteX18" fmla="*/ 7924 w 10000"/>
                <a:gd name="connsiteY18" fmla="*/ 6457 h 9885"/>
                <a:gd name="connsiteX19" fmla="*/ 7798 w 10000"/>
                <a:gd name="connsiteY19" fmla="*/ 6353 h 9885"/>
                <a:gd name="connsiteX20" fmla="*/ 7672 w 10000"/>
                <a:gd name="connsiteY20" fmla="*/ 6253 h 9885"/>
                <a:gd name="connsiteX21" fmla="*/ 7554 w 10000"/>
                <a:gd name="connsiteY21" fmla="*/ 6147 h 9885"/>
                <a:gd name="connsiteX22" fmla="*/ 7450 w 10000"/>
                <a:gd name="connsiteY22" fmla="*/ 6033 h 9885"/>
                <a:gd name="connsiteX23" fmla="*/ 7346 w 10000"/>
                <a:gd name="connsiteY23" fmla="*/ 5918 h 9885"/>
                <a:gd name="connsiteX24" fmla="*/ 7250 w 10000"/>
                <a:gd name="connsiteY24" fmla="*/ 5801 h 9885"/>
                <a:gd name="connsiteX25" fmla="*/ 7161 w 10000"/>
                <a:gd name="connsiteY25" fmla="*/ 5682 h 9885"/>
                <a:gd name="connsiteX26" fmla="*/ 7072 w 10000"/>
                <a:gd name="connsiteY26" fmla="*/ 5558 h 9885"/>
                <a:gd name="connsiteX27" fmla="*/ 6990 w 10000"/>
                <a:gd name="connsiteY27" fmla="*/ 5425 h 9885"/>
                <a:gd name="connsiteX28" fmla="*/ 6953 w 10000"/>
                <a:gd name="connsiteY28" fmla="*/ 5369 h 9885"/>
                <a:gd name="connsiteX29" fmla="*/ 6916 w 10000"/>
                <a:gd name="connsiteY29" fmla="*/ 5297 h 9885"/>
                <a:gd name="connsiteX30" fmla="*/ 6887 w 10000"/>
                <a:gd name="connsiteY30" fmla="*/ 5234 h 9885"/>
                <a:gd name="connsiteX31" fmla="*/ 6850 w 10000"/>
                <a:gd name="connsiteY31" fmla="*/ 5167 h 9885"/>
                <a:gd name="connsiteX32" fmla="*/ 6820 w 10000"/>
                <a:gd name="connsiteY32" fmla="*/ 5102 h 9885"/>
                <a:gd name="connsiteX33" fmla="*/ 6790 w 10000"/>
                <a:gd name="connsiteY33" fmla="*/ 5034 h 9885"/>
                <a:gd name="connsiteX34" fmla="*/ 6768 w 10000"/>
                <a:gd name="connsiteY34" fmla="*/ 4964 h 9885"/>
                <a:gd name="connsiteX35" fmla="*/ 6738 w 10000"/>
                <a:gd name="connsiteY35" fmla="*/ 4898 h 9885"/>
                <a:gd name="connsiteX36" fmla="*/ 6723 w 10000"/>
                <a:gd name="connsiteY36" fmla="*/ 4825 h 9885"/>
                <a:gd name="connsiteX37" fmla="*/ 6694 w 10000"/>
                <a:gd name="connsiteY37" fmla="*/ 4758 h 9885"/>
                <a:gd name="connsiteX38" fmla="*/ 6679 w 10000"/>
                <a:gd name="connsiteY38" fmla="*/ 4687 h 9885"/>
                <a:gd name="connsiteX39" fmla="*/ 6664 w 10000"/>
                <a:gd name="connsiteY39" fmla="*/ 4619 h 9885"/>
                <a:gd name="connsiteX40" fmla="*/ 6649 w 10000"/>
                <a:gd name="connsiteY40" fmla="*/ 4544 h 9885"/>
                <a:gd name="connsiteX41" fmla="*/ 6635 w 10000"/>
                <a:gd name="connsiteY41" fmla="*/ 4478 h 9885"/>
                <a:gd name="connsiteX42" fmla="*/ 6620 w 10000"/>
                <a:gd name="connsiteY42" fmla="*/ 4407 h 9885"/>
                <a:gd name="connsiteX43" fmla="*/ 6612 w 10000"/>
                <a:gd name="connsiteY43" fmla="*/ 4337 h 9885"/>
                <a:gd name="connsiteX44" fmla="*/ 6605 w 10000"/>
                <a:gd name="connsiteY44" fmla="*/ 4262 h 9885"/>
                <a:gd name="connsiteX45" fmla="*/ 6597 w 10000"/>
                <a:gd name="connsiteY45" fmla="*/ 4185 h 9885"/>
                <a:gd name="connsiteX46" fmla="*/ 6597 w 10000"/>
                <a:gd name="connsiteY46" fmla="*/ 4114 h 9885"/>
                <a:gd name="connsiteX47" fmla="*/ 6590 w 10000"/>
                <a:gd name="connsiteY47" fmla="*/ 4039 h 9885"/>
                <a:gd name="connsiteX48" fmla="*/ 6597 w 10000"/>
                <a:gd name="connsiteY48" fmla="*/ 3966 h 9885"/>
                <a:gd name="connsiteX49" fmla="*/ 6605 w 10000"/>
                <a:gd name="connsiteY49" fmla="*/ 3886 h 9885"/>
                <a:gd name="connsiteX50" fmla="*/ 6605 w 10000"/>
                <a:gd name="connsiteY50" fmla="*/ 3807 h 9885"/>
                <a:gd name="connsiteX51" fmla="*/ 6612 w 10000"/>
                <a:gd name="connsiteY51" fmla="*/ 3729 h 9885"/>
                <a:gd name="connsiteX52" fmla="*/ 6620 w 10000"/>
                <a:gd name="connsiteY52" fmla="*/ 3651 h 9885"/>
                <a:gd name="connsiteX53" fmla="*/ 6635 w 10000"/>
                <a:gd name="connsiteY53" fmla="*/ 3583 h 9885"/>
                <a:gd name="connsiteX54" fmla="*/ 6649 w 10000"/>
                <a:gd name="connsiteY54" fmla="*/ 3503 h 9885"/>
                <a:gd name="connsiteX55" fmla="*/ 6664 w 10000"/>
                <a:gd name="connsiteY55" fmla="*/ 3431 h 9885"/>
                <a:gd name="connsiteX56" fmla="*/ 6686 w 10000"/>
                <a:gd name="connsiteY56" fmla="*/ 3353 h 9885"/>
                <a:gd name="connsiteX57" fmla="*/ 6709 w 10000"/>
                <a:gd name="connsiteY57" fmla="*/ 3284 h 9885"/>
                <a:gd name="connsiteX58" fmla="*/ 6731 w 10000"/>
                <a:gd name="connsiteY58" fmla="*/ 3210 h 9885"/>
                <a:gd name="connsiteX59" fmla="*/ 6753 w 10000"/>
                <a:gd name="connsiteY59" fmla="*/ 3133 h 9885"/>
                <a:gd name="connsiteX60" fmla="*/ 6783 w 10000"/>
                <a:gd name="connsiteY60" fmla="*/ 3070 h 9885"/>
                <a:gd name="connsiteX61" fmla="*/ 6812 w 10000"/>
                <a:gd name="connsiteY61" fmla="*/ 2997 h 9885"/>
                <a:gd name="connsiteX62" fmla="*/ 6842 w 10000"/>
                <a:gd name="connsiteY62" fmla="*/ 2922 h 9885"/>
                <a:gd name="connsiteX63" fmla="*/ 6879 w 10000"/>
                <a:gd name="connsiteY63" fmla="*/ 2854 h 9885"/>
                <a:gd name="connsiteX64" fmla="*/ 6909 w 10000"/>
                <a:gd name="connsiteY64" fmla="*/ 2787 h 9885"/>
                <a:gd name="connsiteX65" fmla="*/ 6946 w 10000"/>
                <a:gd name="connsiteY65" fmla="*/ 2712 h 9885"/>
                <a:gd name="connsiteX66" fmla="*/ 6990 w 10000"/>
                <a:gd name="connsiteY66" fmla="*/ 2651 h 9885"/>
                <a:gd name="connsiteX67" fmla="*/ 7027 w 10000"/>
                <a:gd name="connsiteY67" fmla="*/ 2582 h 9885"/>
                <a:gd name="connsiteX68" fmla="*/ 7072 w 10000"/>
                <a:gd name="connsiteY68" fmla="*/ 2520 h 9885"/>
                <a:gd name="connsiteX69" fmla="*/ 7109 w 10000"/>
                <a:gd name="connsiteY69" fmla="*/ 2449 h 9885"/>
                <a:gd name="connsiteX70" fmla="*/ 7161 w 10000"/>
                <a:gd name="connsiteY70" fmla="*/ 2392 h 9885"/>
                <a:gd name="connsiteX71" fmla="*/ 7213 w 10000"/>
                <a:gd name="connsiteY71" fmla="*/ 2323 h 9885"/>
                <a:gd name="connsiteX72" fmla="*/ 7257 w 10000"/>
                <a:gd name="connsiteY72" fmla="*/ 2262 h 9885"/>
                <a:gd name="connsiteX73" fmla="*/ 7309 w 10000"/>
                <a:gd name="connsiteY73" fmla="*/ 2199 h 9885"/>
                <a:gd name="connsiteX74" fmla="*/ 7361 w 10000"/>
                <a:gd name="connsiteY74" fmla="*/ 2133 h 9885"/>
                <a:gd name="connsiteX75" fmla="*/ 7413 w 10000"/>
                <a:gd name="connsiteY75" fmla="*/ 2077 h 9885"/>
                <a:gd name="connsiteX76" fmla="*/ 7472 w 10000"/>
                <a:gd name="connsiteY76" fmla="*/ 2016 h 9885"/>
                <a:gd name="connsiteX77" fmla="*/ 7524 w 10000"/>
                <a:gd name="connsiteY77" fmla="*/ 1962 h 9885"/>
                <a:gd name="connsiteX78" fmla="*/ 7583 w 10000"/>
                <a:gd name="connsiteY78" fmla="*/ 1902 h 9885"/>
                <a:gd name="connsiteX79" fmla="*/ 7610 w 10000"/>
                <a:gd name="connsiteY79" fmla="*/ 1868 h 9885"/>
                <a:gd name="connsiteX80" fmla="*/ 5390 w 10000"/>
                <a:gd name="connsiteY80" fmla="*/ 6 h 9885"/>
                <a:gd name="connsiteX81" fmla="*/ 1401 w 10000"/>
                <a:gd name="connsiteY81" fmla="*/ 0 h 9885"/>
                <a:gd name="connsiteX82" fmla="*/ 1305 w 10000"/>
                <a:gd name="connsiteY82" fmla="*/ 139 h 9885"/>
                <a:gd name="connsiteX83" fmla="*/ 1223 w 10000"/>
                <a:gd name="connsiteY83" fmla="*/ 247 h 9885"/>
                <a:gd name="connsiteX84" fmla="*/ 1149 w 10000"/>
                <a:gd name="connsiteY84" fmla="*/ 362 h 9885"/>
                <a:gd name="connsiteX85" fmla="*/ 1067 w 10000"/>
                <a:gd name="connsiteY85" fmla="*/ 478 h 9885"/>
                <a:gd name="connsiteX86" fmla="*/ 1001 w 10000"/>
                <a:gd name="connsiteY86" fmla="*/ 594 h 9885"/>
                <a:gd name="connsiteX87" fmla="*/ 927 w 10000"/>
                <a:gd name="connsiteY87" fmla="*/ 710 h 9885"/>
                <a:gd name="connsiteX88" fmla="*/ 860 w 10000"/>
                <a:gd name="connsiteY88" fmla="*/ 831 h 9885"/>
                <a:gd name="connsiteX89" fmla="*/ 793 w 10000"/>
                <a:gd name="connsiteY89" fmla="*/ 955 h 9885"/>
                <a:gd name="connsiteX90" fmla="*/ 734 w 10000"/>
                <a:gd name="connsiteY90" fmla="*/ 1067 h 9885"/>
                <a:gd name="connsiteX91" fmla="*/ 675 w 10000"/>
                <a:gd name="connsiteY91" fmla="*/ 1192 h 9885"/>
                <a:gd name="connsiteX92" fmla="*/ 615 w 10000"/>
                <a:gd name="connsiteY92" fmla="*/ 1310 h 9885"/>
                <a:gd name="connsiteX93" fmla="*/ 556 w 10000"/>
                <a:gd name="connsiteY93" fmla="*/ 1438 h 9885"/>
                <a:gd name="connsiteX94" fmla="*/ 504 w 10000"/>
                <a:gd name="connsiteY94" fmla="*/ 1555 h 9885"/>
                <a:gd name="connsiteX95" fmla="*/ 452 w 10000"/>
                <a:gd name="connsiteY95" fmla="*/ 1678 h 9885"/>
                <a:gd name="connsiteX96" fmla="*/ 408 w 10000"/>
                <a:gd name="connsiteY96" fmla="*/ 1801 h 9885"/>
                <a:gd name="connsiteX97" fmla="*/ 363 w 10000"/>
                <a:gd name="connsiteY97" fmla="*/ 1926 h 9885"/>
                <a:gd name="connsiteX98" fmla="*/ 319 w 10000"/>
                <a:gd name="connsiteY98" fmla="*/ 2057 h 9885"/>
                <a:gd name="connsiteX99" fmla="*/ 282 w 10000"/>
                <a:gd name="connsiteY99" fmla="*/ 2183 h 9885"/>
                <a:gd name="connsiteX100" fmla="*/ 237 w 10000"/>
                <a:gd name="connsiteY100" fmla="*/ 2312 h 9885"/>
                <a:gd name="connsiteX101" fmla="*/ 208 w 10000"/>
                <a:gd name="connsiteY101" fmla="*/ 2440 h 9885"/>
                <a:gd name="connsiteX102" fmla="*/ 170 w 10000"/>
                <a:gd name="connsiteY102" fmla="*/ 2570 h 9885"/>
                <a:gd name="connsiteX103" fmla="*/ 148 w 10000"/>
                <a:gd name="connsiteY103" fmla="*/ 2703 h 9885"/>
                <a:gd name="connsiteX104" fmla="*/ 119 w 10000"/>
                <a:gd name="connsiteY104" fmla="*/ 2832 h 9885"/>
                <a:gd name="connsiteX105" fmla="*/ 96 w 10000"/>
                <a:gd name="connsiteY105" fmla="*/ 2960 h 9885"/>
                <a:gd name="connsiteX106" fmla="*/ 74 w 10000"/>
                <a:gd name="connsiteY106" fmla="*/ 3096 h 9885"/>
                <a:gd name="connsiteX107" fmla="*/ 52 w 10000"/>
                <a:gd name="connsiteY107" fmla="*/ 3234 h 9885"/>
                <a:gd name="connsiteX108" fmla="*/ 37 w 10000"/>
                <a:gd name="connsiteY108" fmla="*/ 3365 h 9885"/>
                <a:gd name="connsiteX109" fmla="*/ 22 w 10000"/>
                <a:gd name="connsiteY109" fmla="*/ 3497 h 9885"/>
                <a:gd name="connsiteX110" fmla="*/ 15 w 10000"/>
                <a:gd name="connsiteY110" fmla="*/ 3630 h 9885"/>
                <a:gd name="connsiteX111" fmla="*/ 7 w 10000"/>
                <a:gd name="connsiteY111" fmla="*/ 3767 h 9885"/>
                <a:gd name="connsiteX112" fmla="*/ 0 w 10000"/>
                <a:gd name="connsiteY112" fmla="*/ 3899 h 9885"/>
                <a:gd name="connsiteX113" fmla="*/ 0 w 10000"/>
                <a:gd name="connsiteY113" fmla="*/ 4039 h 9885"/>
                <a:gd name="connsiteX114" fmla="*/ 7 w 10000"/>
                <a:gd name="connsiteY114" fmla="*/ 4215 h 9885"/>
                <a:gd name="connsiteX115" fmla="*/ 7 w 10000"/>
                <a:gd name="connsiteY115" fmla="*/ 4390 h 9885"/>
                <a:gd name="connsiteX116" fmla="*/ 22 w 10000"/>
                <a:gd name="connsiteY116" fmla="*/ 4554 h 9885"/>
                <a:gd name="connsiteX117" fmla="*/ 37 w 10000"/>
                <a:gd name="connsiteY117" fmla="*/ 4727 h 9885"/>
                <a:gd name="connsiteX118" fmla="*/ 59 w 10000"/>
                <a:gd name="connsiteY118" fmla="*/ 4898 h 9885"/>
                <a:gd name="connsiteX119" fmla="*/ 89 w 10000"/>
                <a:gd name="connsiteY119" fmla="*/ 5069 h 9885"/>
                <a:gd name="connsiteX120" fmla="*/ 119 w 10000"/>
                <a:gd name="connsiteY120" fmla="*/ 5238 h 9885"/>
                <a:gd name="connsiteX121" fmla="*/ 148 w 10000"/>
                <a:gd name="connsiteY121" fmla="*/ 5408 h 9885"/>
                <a:gd name="connsiteX122" fmla="*/ 193 w 10000"/>
                <a:gd name="connsiteY122" fmla="*/ 5576 h 9885"/>
                <a:gd name="connsiteX123" fmla="*/ 237 w 10000"/>
                <a:gd name="connsiteY123" fmla="*/ 5740 h 9885"/>
                <a:gd name="connsiteX124" fmla="*/ 282 w 10000"/>
                <a:gd name="connsiteY124" fmla="*/ 5907 h 9885"/>
                <a:gd name="connsiteX125" fmla="*/ 334 w 10000"/>
                <a:gd name="connsiteY125" fmla="*/ 6070 h 9885"/>
                <a:gd name="connsiteX126" fmla="*/ 393 w 10000"/>
                <a:gd name="connsiteY126" fmla="*/ 6228 h 9885"/>
                <a:gd name="connsiteX127" fmla="*/ 452 w 10000"/>
                <a:gd name="connsiteY127" fmla="*/ 6391 h 9885"/>
                <a:gd name="connsiteX128" fmla="*/ 519 w 10000"/>
                <a:gd name="connsiteY128" fmla="*/ 6549 h 9885"/>
                <a:gd name="connsiteX129" fmla="*/ 586 w 10000"/>
                <a:gd name="connsiteY129" fmla="*/ 6713 h 9885"/>
                <a:gd name="connsiteX130" fmla="*/ 660 w 10000"/>
                <a:gd name="connsiteY130" fmla="*/ 6865 h 9885"/>
                <a:gd name="connsiteX131" fmla="*/ 741 w 10000"/>
                <a:gd name="connsiteY131" fmla="*/ 7016 h 9885"/>
                <a:gd name="connsiteX132" fmla="*/ 823 w 10000"/>
                <a:gd name="connsiteY132" fmla="*/ 7178 h 9885"/>
                <a:gd name="connsiteX133" fmla="*/ 904 w 10000"/>
                <a:gd name="connsiteY133" fmla="*/ 7327 h 9885"/>
                <a:gd name="connsiteX134" fmla="*/ 993 w 10000"/>
                <a:gd name="connsiteY134" fmla="*/ 7475 h 9885"/>
                <a:gd name="connsiteX135" fmla="*/ 1090 w 10000"/>
                <a:gd name="connsiteY135" fmla="*/ 7616 h 9885"/>
                <a:gd name="connsiteX136" fmla="*/ 1186 w 10000"/>
                <a:gd name="connsiteY136" fmla="*/ 7769 h 9885"/>
                <a:gd name="connsiteX137" fmla="*/ 1290 w 10000"/>
                <a:gd name="connsiteY137" fmla="*/ 7916 h 9885"/>
                <a:gd name="connsiteX138" fmla="*/ 1386 w 10000"/>
                <a:gd name="connsiteY138" fmla="*/ 8060 h 9885"/>
                <a:gd name="connsiteX139" fmla="*/ 1497 w 10000"/>
                <a:gd name="connsiteY139" fmla="*/ 8205 h 9885"/>
                <a:gd name="connsiteX140" fmla="*/ 1609 w 10000"/>
                <a:gd name="connsiteY140" fmla="*/ 8341 h 9885"/>
                <a:gd name="connsiteX141" fmla="*/ 1727 w 10000"/>
                <a:gd name="connsiteY141" fmla="*/ 8486 h 9885"/>
                <a:gd name="connsiteX142" fmla="*/ 1846 w 10000"/>
                <a:gd name="connsiteY142" fmla="*/ 8621 h 9885"/>
                <a:gd name="connsiteX143" fmla="*/ 1964 w 10000"/>
                <a:gd name="connsiteY143" fmla="*/ 8753 h 9885"/>
                <a:gd name="connsiteX144" fmla="*/ 2090 w 10000"/>
                <a:gd name="connsiteY144" fmla="*/ 8883 h 9885"/>
                <a:gd name="connsiteX145" fmla="*/ 2224 w 10000"/>
                <a:gd name="connsiteY145" fmla="*/ 9018 h 9885"/>
                <a:gd name="connsiteX146" fmla="*/ 2350 w 10000"/>
                <a:gd name="connsiteY146" fmla="*/ 9150 h 9885"/>
                <a:gd name="connsiteX147" fmla="*/ 2491 w 10000"/>
                <a:gd name="connsiteY147" fmla="*/ 9277 h 9885"/>
                <a:gd name="connsiteX148" fmla="*/ 2617 w 10000"/>
                <a:gd name="connsiteY148" fmla="*/ 9404 h 9885"/>
                <a:gd name="connsiteX149" fmla="*/ 2765 w 10000"/>
                <a:gd name="connsiteY149" fmla="*/ 9528 h 9885"/>
                <a:gd name="connsiteX150" fmla="*/ 2906 w 10000"/>
                <a:gd name="connsiteY150" fmla="*/ 9647 h 9885"/>
                <a:gd name="connsiteX151" fmla="*/ 3054 w 10000"/>
                <a:gd name="connsiteY151" fmla="*/ 9767 h 9885"/>
                <a:gd name="connsiteX152" fmla="*/ 3210 w 10000"/>
                <a:gd name="connsiteY152" fmla="*/ 9885 h 9885"/>
                <a:gd name="connsiteX153" fmla="*/ 7539 w 10000"/>
                <a:gd name="connsiteY153" fmla="*/ 9305 h 9885"/>
                <a:gd name="connsiteX154" fmla="*/ 10000 w 10000"/>
                <a:gd name="connsiteY154" fmla="*/ 7364 h 9885"/>
                <a:gd name="connsiteX0" fmla="*/ 10000 w 10000"/>
                <a:gd name="connsiteY0" fmla="*/ 7450 h 10000"/>
                <a:gd name="connsiteX1" fmla="*/ 10000 w 10000"/>
                <a:gd name="connsiteY1" fmla="*/ 7450 h 10000"/>
                <a:gd name="connsiteX2" fmla="*/ 9911 w 10000"/>
                <a:gd name="connsiteY2" fmla="*/ 7432 h 10000"/>
                <a:gd name="connsiteX3" fmla="*/ 9815 w 10000"/>
                <a:gd name="connsiteY3" fmla="*/ 7412 h 10000"/>
                <a:gd name="connsiteX4" fmla="*/ 9726 w 10000"/>
                <a:gd name="connsiteY4" fmla="*/ 7392 h 10000"/>
                <a:gd name="connsiteX5" fmla="*/ 9637 w 10000"/>
                <a:gd name="connsiteY5" fmla="*/ 7360 h 10000"/>
                <a:gd name="connsiteX6" fmla="*/ 9548 w 10000"/>
                <a:gd name="connsiteY6" fmla="*/ 7338 h 10000"/>
                <a:gd name="connsiteX7" fmla="*/ 9466 w 10000"/>
                <a:gd name="connsiteY7" fmla="*/ 7311 h 10000"/>
                <a:gd name="connsiteX8" fmla="*/ 9377 w 10000"/>
                <a:gd name="connsiteY8" fmla="*/ 7285 h 10000"/>
                <a:gd name="connsiteX9" fmla="*/ 9288 w 10000"/>
                <a:gd name="connsiteY9" fmla="*/ 7256 h 10000"/>
                <a:gd name="connsiteX10" fmla="*/ 9118 w 10000"/>
                <a:gd name="connsiteY10" fmla="*/ 7194 h 10000"/>
                <a:gd name="connsiteX11" fmla="*/ 8955 w 10000"/>
                <a:gd name="connsiteY11" fmla="*/ 7127 h 10000"/>
                <a:gd name="connsiteX12" fmla="*/ 8792 w 10000"/>
                <a:gd name="connsiteY12" fmla="*/ 7057 h 10000"/>
                <a:gd name="connsiteX13" fmla="*/ 8636 w 10000"/>
                <a:gd name="connsiteY13" fmla="*/ 6976 h 10000"/>
                <a:gd name="connsiteX14" fmla="*/ 8480 w 10000"/>
                <a:gd name="connsiteY14" fmla="*/ 6895 h 10000"/>
                <a:gd name="connsiteX15" fmla="*/ 8340 w 10000"/>
                <a:gd name="connsiteY15" fmla="*/ 6818 h 10000"/>
                <a:gd name="connsiteX16" fmla="*/ 8199 w 10000"/>
                <a:gd name="connsiteY16" fmla="*/ 6725 h 10000"/>
                <a:gd name="connsiteX17" fmla="*/ 8058 w 10000"/>
                <a:gd name="connsiteY17" fmla="*/ 6629 h 10000"/>
                <a:gd name="connsiteX18" fmla="*/ 7924 w 10000"/>
                <a:gd name="connsiteY18" fmla="*/ 6532 h 10000"/>
                <a:gd name="connsiteX19" fmla="*/ 7798 w 10000"/>
                <a:gd name="connsiteY19" fmla="*/ 6427 h 10000"/>
                <a:gd name="connsiteX20" fmla="*/ 7672 w 10000"/>
                <a:gd name="connsiteY20" fmla="*/ 6326 h 10000"/>
                <a:gd name="connsiteX21" fmla="*/ 7554 w 10000"/>
                <a:gd name="connsiteY21" fmla="*/ 6219 h 10000"/>
                <a:gd name="connsiteX22" fmla="*/ 7450 w 10000"/>
                <a:gd name="connsiteY22" fmla="*/ 6103 h 10000"/>
                <a:gd name="connsiteX23" fmla="*/ 7346 w 10000"/>
                <a:gd name="connsiteY23" fmla="*/ 5987 h 10000"/>
                <a:gd name="connsiteX24" fmla="*/ 7250 w 10000"/>
                <a:gd name="connsiteY24" fmla="*/ 5868 h 10000"/>
                <a:gd name="connsiteX25" fmla="*/ 7161 w 10000"/>
                <a:gd name="connsiteY25" fmla="*/ 5748 h 10000"/>
                <a:gd name="connsiteX26" fmla="*/ 7072 w 10000"/>
                <a:gd name="connsiteY26" fmla="*/ 5623 h 10000"/>
                <a:gd name="connsiteX27" fmla="*/ 6990 w 10000"/>
                <a:gd name="connsiteY27" fmla="*/ 5488 h 10000"/>
                <a:gd name="connsiteX28" fmla="*/ 6953 w 10000"/>
                <a:gd name="connsiteY28" fmla="*/ 5431 h 10000"/>
                <a:gd name="connsiteX29" fmla="*/ 6916 w 10000"/>
                <a:gd name="connsiteY29" fmla="*/ 5359 h 10000"/>
                <a:gd name="connsiteX30" fmla="*/ 6887 w 10000"/>
                <a:gd name="connsiteY30" fmla="*/ 5295 h 10000"/>
                <a:gd name="connsiteX31" fmla="*/ 6850 w 10000"/>
                <a:gd name="connsiteY31" fmla="*/ 5227 h 10000"/>
                <a:gd name="connsiteX32" fmla="*/ 6820 w 10000"/>
                <a:gd name="connsiteY32" fmla="*/ 5161 h 10000"/>
                <a:gd name="connsiteX33" fmla="*/ 6790 w 10000"/>
                <a:gd name="connsiteY33" fmla="*/ 5093 h 10000"/>
                <a:gd name="connsiteX34" fmla="*/ 6768 w 10000"/>
                <a:gd name="connsiteY34" fmla="*/ 5022 h 10000"/>
                <a:gd name="connsiteX35" fmla="*/ 6738 w 10000"/>
                <a:gd name="connsiteY35" fmla="*/ 4955 h 10000"/>
                <a:gd name="connsiteX36" fmla="*/ 6723 w 10000"/>
                <a:gd name="connsiteY36" fmla="*/ 4881 h 10000"/>
                <a:gd name="connsiteX37" fmla="*/ 6694 w 10000"/>
                <a:gd name="connsiteY37" fmla="*/ 4813 h 10000"/>
                <a:gd name="connsiteX38" fmla="*/ 6679 w 10000"/>
                <a:gd name="connsiteY38" fmla="*/ 4742 h 10000"/>
                <a:gd name="connsiteX39" fmla="*/ 6664 w 10000"/>
                <a:gd name="connsiteY39" fmla="*/ 4673 h 10000"/>
                <a:gd name="connsiteX40" fmla="*/ 6649 w 10000"/>
                <a:gd name="connsiteY40" fmla="*/ 4597 h 10000"/>
                <a:gd name="connsiteX41" fmla="*/ 6635 w 10000"/>
                <a:gd name="connsiteY41" fmla="*/ 4530 h 10000"/>
                <a:gd name="connsiteX42" fmla="*/ 6620 w 10000"/>
                <a:gd name="connsiteY42" fmla="*/ 4458 h 10000"/>
                <a:gd name="connsiteX43" fmla="*/ 6612 w 10000"/>
                <a:gd name="connsiteY43" fmla="*/ 4387 h 10000"/>
                <a:gd name="connsiteX44" fmla="*/ 6605 w 10000"/>
                <a:gd name="connsiteY44" fmla="*/ 4312 h 10000"/>
                <a:gd name="connsiteX45" fmla="*/ 6597 w 10000"/>
                <a:gd name="connsiteY45" fmla="*/ 4234 h 10000"/>
                <a:gd name="connsiteX46" fmla="*/ 6597 w 10000"/>
                <a:gd name="connsiteY46" fmla="*/ 4162 h 10000"/>
                <a:gd name="connsiteX47" fmla="*/ 6590 w 10000"/>
                <a:gd name="connsiteY47" fmla="*/ 4086 h 10000"/>
                <a:gd name="connsiteX48" fmla="*/ 6597 w 10000"/>
                <a:gd name="connsiteY48" fmla="*/ 4012 h 10000"/>
                <a:gd name="connsiteX49" fmla="*/ 6605 w 10000"/>
                <a:gd name="connsiteY49" fmla="*/ 3931 h 10000"/>
                <a:gd name="connsiteX50" fmla="*/ 6605 w 10000"/>
                <a:gd name="connsiteY50" fmla="*/ 3851 h 10000"/>
                <a:gd name="connsiteX51" fmla="*/ 6612 w 10000"/>
                <a:gd name="connsiteY51" fmla="*/ 3772 h 10000"/>
                <a:gd name="connsiteX52" fmla="*/ 6620 w 10000"/>
                <a:gd name="connsiteY52" fmla="*/ 3693 h 10000"/>
                <a:gd name="connsiteX53" fmla="*/ 6635 w 10000"/>
                <a:gd name="connsiteY53" fmla="*/ 3625 h 10000"/>
                <a:gd name="connsiteX54" fmla="*/ 6649 w 10000"/>
                <a:gd name="connsiteY54" fmla="*/ 3544 h 10000"/>
                <a:gd name="connsiteX55" fmla="*/ 6664 w 10000"/>
                <a:gd name="connsiteY55" fmla="*/ 3471 h 10000"/>
                <a:gd name="connsiteX56" fmla="*/ 6686 w 10000"/>
                <a:gd name="connsiteY56" fmla="*/ 3392 h 10000"/>
                <a:gd name="connsiteX57" fmla="*/ 6709 w 10000"/>
                <a:gd name="connsiteY57" fmla="*/ 3322 h 10000"/>
                <a:gd name="connsiteX58" fmla="*/ 6731 w 10000"/>
                <a:gd name="connsiteY58" fmla="*/ 3247 h 10000"/>
                <a:gd name="connsiteX59" fmla="*/ 6753 w 10000"/>
                <a:gd name="connsiteY59" fmla="*/ 3169 h 10000"/>
                <a:gd name="connsiteX60" fmla="*/ 6783 w 10000"/>
                <a:gd name="connsiteY60" fmla="*/ 3106 h 10000"/>
                <a:gd name="connsiteX61" fmla="*/ 6812 w 10000"/>
                <a:gd name="connsiteY61" fmla="*/ 3032 h 10000"/>
                <a:gd name="connsiteX62" fmla="*/ 6842 w 10000"/>
                <a:gd name="connsiteY62" fmla="*/ 2956 h 10000"/>
                <a:gd name="connsiteX63" fmla="*/ 6879 w 10000"/>
                <a:gd name="connsiteY63" fmla="*/ 2887 h 10000"/>
                <a:gd name="connsiteX64" fmla="*/ 6909 w 10000"/>
                <a:gd name="connsiteY64" fmla="*/ 2819 h 10000"/>
                <a:gd name="connsiteX65" fmla="*/ 6946 w 10000"/>
                <a:gd name="connsiteY65" fmla="*/ 2744 h 10000"/>
                <a:gd name="connsiteX66" fmla="*/ 6990 w 10000"/>
                <a:gd name="connsiteY66" fmla="*/ 2682 h 10000"/>
                <a:gd name="connsiteX67" fmla="*/ 7027 w 10000"/>
                <a:gd name="connsiteY67" fmla="*/ 2612 h 10000"/>
                <a:gd name="connsiteX68" fmla="*/ 7072 w 10000"/>
                <a:gd name="connsiteY68" fmla="*/ 2549 h 10000"/>
                <a:gd name="connsiteX69" fmla="*/ 7109 w 10000"/>
                <a:gd name="connsiteY69" fmla="*/ 2477 h 10000"/>
                <a:gd name="connsiteX70" fmla="*/ 7161 w 10000"/>
                <a:gd name="connsiteY70" fmla="*/ 2420 h 10000"/>
                <a:gd name="connsiteX71" fmla="*/ 7213 w 10000"/>
                <a:gd name="connsiteY71" fmla="*/ 2350 h 10000"/>
                <a:gd name="connsiteX72" fmla="*/ 7257 w 10000"/>
                <a:gd name="connsiteY72" fmla="*/ 2288 h 10000"/>
                <a:gd name="connsiteX73" fmla="*/ 7309 w 10000"/>
                <a:gd name="connsiteY73" fmla="*/ 2225 h 10000"/>
                <a:gd name="connsiteX74" fmla="*/ 7361 w 10000"/>
                <a:gd name="connsiteY74" fmla="*/ 2158 h 10000"/>
                <a:gd name="connsiteX75" fmla="*/ 7413 w 10000"/>
                <a:gd name="connsiteY75" fmla="*/ 2101 h 10000"/>
                <a:gd name="connsiteX76" fmla="*/ 7472 w 10000"/>
                <a:gd name="connsiteY76" fmla="*/ 2039 h 10000"/>
                <a:gd name="connsiteX77" fmla="*/ 7524 w 10000"/>
                <a:gd name="connsiteY77" fmla="*/ 1985 h 10000"/>
                <a:gd name="connsiteX78" fmla="*/ 7583 w 10000"/>
                <a:gd name="connsiteY78" fmla="*/ 1924 h 10000"/>
                <a:gd name="connsiteX79" fmla="*/ 7610 w 10000"/>
                <a:gd name="connsiteY79" fmla="*/ 1890 h 10000"/>
                <a:gd name="connsiteX80" fmla="*/ 5390 w 10000"/>
                <a:gd name="connsiteY80" fmla="*/ 6 h 10000"/>
                <a:gd name="connsiteX81" fmla="*/ 1401 w 10000"/>
                <a:gd name="connsiteY81" fmla="*/ 0 h 10000"/>
                <a:gd name="connsiteX82" fmla="*/ 1305 w 10000"/>
                <a:gd name="connsiteY82" fmla="*/ 141 h 10000"/>
                <a:gd name="connsiteX83" fmla="*/ 1223 w 10000"/>
                <a:gd name="connsiteY83" fmla="*/ 250 h 10000"/>
                <a:gd name="connsiteX84" fmla="*/ 1149 w 10000"/>
                <a:gd name="connsiteY84" fmla="*/ 366 h 10000"/>
                <a:gd name="connsiteX85" fmla="*/ 1067 w 10000"/>
                <a:gd name="connsiteY85" fmla="*/ 484 h 10000"/>
                <a:gd name="connsiteX86" fmla="*/ 1001 w 10000"/>
                <a:gd name="connsiteY86" fmla="*/ 601 h 10000"/>
                <a:gd name="connsiteX87" fmla="*/ 927 w 10000"/>
                <a:gd name="connsiteY87" fmla="*/ 718 h 10000"/>
                <a:gd name="connsiteX88" fmla="*/ 860 w 10000"/>
                <a:gd name="connsiteY88" fmla="*/ 841 h 10000"/>
                <a:gd name="connsiteX89" fmla="*/ 793 w 10000"/>
                <a:gd name="connsiteY89" fmla="*/ 966 h 10000"/>
                <a:gd name="connsiteX90" fmla="*/ 734 w 10000"/>
                <a:gd name="connsiteY90" fmla="*/ 1079 h 10000"/>
                <a:gd name="connsiteX91" fmla="*/ 675 w 10000"/>
                <a:gd name="connsiteY91" fmla="*/ 1206 h 10000"/>
                <a:gd name="connsiteX92" fmla="*/ 615 w 10000"/>
                <a:gd name="connsiteY92" fmla="*/ 1325 h 10000"/>
                <a:gd name="connsiteX93" fmla="*/ 556 w 10000"/>
                <a:gd name="connsiteY93" fmla="*/ 1455 h 10000"/>
                <a:gd name="connsiteX94" fmla="*/ 504 w 10000"/>
                <a:gd name="connsiteY94" fmla="*/ 1573 h 10000"/>
                <a:gd name="connsiteX95" fmla="*/ 452 w 10000"/>
                <a:gd name="connsiteY95" fmla="*/ 1698 h 10000"/>
                <a:gd name="connsiteX96" fmla="*/ 408 w 10000"/>
                <a:gd name="connsiteY96" fmla="*/ 1822 h 10000"/>
                <a:gd name="connsiteX97" fmla="*/ 363 w 10000"/>
                <a:gd name="connsiteY97" fmla="*/ 1948 h 10000"/>
                <a:gd name="connsiteX98" fmla="*/ 319 w 10000"/>
                <a:gd name="connsiteY98" fmla="*/ 2081 h 10000"/>
                <a:gd name="connsiteX99" fmla="*/ 282 w 10000"/>
                <a:gd name="connsiteY99" fmla="*/ 2208 h 10000"/>
                <a:gd name="connsiteX100" fmla="*/ 237 w 10000"/>
                <a:gd name="connsiteY100" fmla="*/ 2339 h 10000"/>
                <a:gd name="connsiteX101" fmla="*/ 208 w 10000"/>
                <a:gd name="connsiteY101" fmla="*/ 2468 h 10000"/>
                <a:gd name="connsiteX102" fmla="*/ 170 w 10000"/>
                <a:gd name="connsiteY102" fmla="*/ 2600 h 10000"/>
                <a:gd name="connsiteX103" fmla="*/ 148 w 10000"/>
                <a:gd name="connsiteY103" fmla="*/ 2734 h 10000"/>
                <a:gd name="connsiteX104" fmla="*/ 119 w 10000"/>
                <a:gd name="connsiteY104" fmla="*/ 2865 h 10000"/>
                <a:gd name="connsiteX105" fmla="*/ 96 w 10000"/>
                <a:gd name="connsiteY105" fmla="*/ 2994 h 10000"/>
                <a:gd name="connsiteX106" fmla="*/ 74 w 10000"/>
                <a:gd name="connsiteY106" fmla="*/ 3132 h 10000"/>
                <a:gd name="connsiteX107" fmla="*/ 52 w 10000"/>
                <a:gd name="connsiteY107" fmla="*/ 3272 h 10000"/>
                <a:gd name="connsiteX108" fmla="*/ 37 w 10000"/>
                <a:gd name="connsiteY108" fmla="*/ 3404 h 10000"/>
                <a:gd name="connsiteX109" fmla="*/ 22 w 10000"/>
                <a:gd name="connsiteY109" fmla="*/ 3538 h 10000"/>
                <a:gd name="connsiteX110" fmla="*/ 15 w 10000"/>
                <a:gd name="connsiteY110" fmla="*/ 3672 h 10000"/>
                <a:gd name="connsiteX111" fmla="*/ 7 w 10000"/>
                <a:gd name="connsiteY111" fmla="*/ 3811 h 10000"/>
                <a:gd name="connsiteX112" fmla="*/ 0 w 10000"/>
                <a:gd name="connsiteY112" fmla="*/ 3944 h 10000"/>
                <a:gd name="connsiteX113" fmla="*/ 0 w 10000"/>
                <a:gd name="connsiteY113" fmla="*/ 4086 h 10000"/>
                <a:gd name="connsiteX114" fmla="*/ 7 w 10000"/>
                <a:gd name="connsiteY114" fmla="*/ 4264 h 10000"/>
                <a:gd name="connsiteX115" fmla="*/ 7 w 10000"/>
                <a:gd name="connsiteY115" fmla="*/ 4441 h 10000"/>
                <a:gd name="connsiteX116" fmla="*/ 22 w 10000"/>
                <a:gd name="connsiteY116" fmla="*/ 4607 h 10000"/>
                <a:gd name="connsiteX117" fmla="*/ 37 w 10000"/>
                <a:gd name="connsiteY117" fmla="*/ 4782 h 10000"/>
                <a:gd name="connsiteX118" fmla="*/ 59 w 10000"/>
                <a:gd name="connsiteY118" fmla="*/ 4955 h 10000"/>
                <a:gd name="connsiteX119" fmla="*/ 89 w 10000"/>
                <a:gd name="connsiteY119" fmla="*/ 5128 h 10000"/>
                <a:gd name="connsiteX120" fmla="*/ 119 w 10000"/>
                <a:gd name="connsiteY120" fmla="*/ 5299 h 10000"/>
                <a:gd name="connsiteX121" fmla="*/ 148 w 10000"/>
                <a:gd name="connsiteY121" fmla="*/ 5471 h 10000"/>
                <a:gd name="connsiteX122" fmla="*/ 193 w 10000"/>
                <a:gd name="connsiteY122" fmla="*/ 5641 h 10000"/>
                <a:gd name="connsiteX123" fmla="*/ 237 w 10000"/>
                <a:gd name="connsiteY123" fmla="*/ 5807 h 10000"/>
                <a:gd name="connsiteX124" fmla="*/ 282 w 10000"/>
                <a:gd name="connsiteY124" fmla="*/ 5976 h 10000"/>
                <a:gd name="connsiteX125" fmla="*/ 334 w 10000"/>
                <a:gd name="connsiteY125" fmla="*/ 6141 h 10000"/>
                <a:gd name="connsiteX126" fmla="*/ 393 w 10000"/>
                <a:gd name="connsiteY126" fmla="*/ 6300 h 10000"/>
                <a:gd name="connsiteX127" fmla="*/ 452 w 10000"/>
                <a:gd name="connsiteY127" fmla="*/ 6465 h 10000"/>
                <a:gd name="connsiteX128" fmla="*/ 519 w 10000"/>
                <a:gd name="connsiteY128" fmla="*/ 6625 h 10000"/>
                <a:gd name="connsiteX129" fmla="*/ 586 w 10000"/>
                <a:gd name="connsiteY129" fmla="*/ 6791 h 10000"/>
                <a:gd name="connsiteX130" fmla="*/ 660 w 10000"/>
                <a:gd name="connsiteY130" fmla="*/ 6945 h 10000"/>
                <a:gd name="connsiteX131" fmla="*/ 741 w 10000"/>
                <a:gd name="connsiteY131" fmla="*/ 7098 h 10000"/>
                <a:gd name="connsiteX132" fmla="*/ 823 w 10000"/>
                <a:gd name="connsiteY132" fmla="*/ 7262 h 10000"/>
                <a:gd name="connsiteX133" fmla="*/ 904 w 10000"/>
                <a:gd name="connsiteY133" fmla="*/ 7412 h 10000"/>
                <a:gd name="connsiteX134" fmla="*/ 993 w 10000"/>
                <a:gd name="connsiteY134" fmla="*/ 7562 h 10000"/>
                <a:gd name="connsiteX135" fmla="*/ 1090 w 10000"/>
                <a:gd name="connsiteY135" fmla="*/ 7705 h 10000"/>
                <a:gd name="connsiteX136" fmla="*/ 1186 w 10000"/>
                <a:gd name="connsiteY136" fmla="*/ 7859 h 10000"/>
                <a:gd name="connsiteX137" fmla="*/ 1290 w 10000"/>
                <a:gd name="connsiteY137" fmla="*/ 8008 h 10000"/>
                <a:gd name="connsiteX138" fmla="*/ 1386 w 10000"/>
                <a:gd name="connsiteY138" fmla="*/ 8154 h 10000"/>
                <a:gd name="connsiteX139" fmla="*/ 1497 w 10000"/>
                <a:gd name="connsiteY139" fmla="*/ 8300 h 10000"/>
                <a:gd name="connsiteX140" fmla="*/ 1609 w 10000"/>
                <a:gd name="connsiteY140" fmla="*/ 8438 h 10000"/>
                <a:gd name="connsiteX141" fmla="*/ 1727 w 10000"/>
                <a:gd name="connsiteY141" fmla="*/ 8585 h 10000"/>
                <a:gd name="connsiteX142" fmla="*/ 1846 w 10000"/>
                <a:gd name="connsiteY142" fmla="*/ 8721 h 10000"/>
                <a:gd name="connsiteX143" fmla="*/ 1964 w 10000"/>
                <a:gd name="connsiteY143" fmla="*/ 8855 h 10000"/>
                <a:gd name="connsiteX144" fmla="*/ 2090 w 10000"/>
                <a:gd name="connsiteY144" fmla="*/ 8986 h 10000"/>
                <a:gd name="connsiteX145" fmla="*/ 2224 w 10000"/>
                <a:gd name="connsiteY145" fmla="*/ 9123 h 10000"/>
                <a:gd name="connsiteX146" fmla="*/ 2350 w 10000"/>
                <a:gd name="connsiteY146" fmla="*/ 9256 h 10000"/>
                <a:gd name="connsiteX147" fmla="*/ 2491 w 10000"/>
                <a:gd name="connsiteY147" fmla="*/ 9385 h 10000"/>
                <a:gd name="connsiteX148" fmla="*/ 2617 w 10000"/>
                <a:gd name="connsiteY148" fmla="*/ 9513 h 10000"/>
                <a:gd name="connsiteX149" fmla="*/ 2765 w 10000"/>
                <a:gd name="connsiteY149" fmla="*/ 9639 h 10000"/>
                <a:gd name="connsiteX150" fmla="*/ 2906 w 10000"/>
                <a:gd name="connsiteY150" fmla="*/ 9759 h 10000"/>
                <a:gd name="connsiteX151" fmla="*/ 3054 w 10000"/>
                <a:gd name="connsiteY151" fmla="*/ 9881 h 10000"/>
                <a:gd name="connsiteX152" fmla="*/ 3108 w 10000"/>
                <a:gd name="connsiteY152" fmla="*/ 9887 h 10000"/>
                <a:gd name="connsiteX153" fmla="*/ 3210 w 10000"/>
                <a:gd name="connsiteY153" fmla="*/ 10000 h 10000"/>
                <a:gd name="connsiteX154" fmla="*/ 7539 w 10000"/>
                <a:gd name="connsiteY154" fmla="*/ 9413 h 10000"/>
                <a:gd name="connsiteX155" fmla="*/ 10000 w 10000"/>
                <a:gd name="connsiteY155" fmla="*/ 7450 h 10000"/>
                <a:gd name="connsiteX0" fmla="*/ 10000 w 10000"/>
                <a:gd name="connsiteY0" fmla="*/ 7450 h 9887"/>
                <a:gd name="connsiteX1" fmla="*/ 10000 w 10000"/>
                <a:gd name="connsiteY1" fmla="*/ 7450 h 9887"/>
                <a:gd name="connsiteX2" fmla="*/ 9911 w 10000"/>
                <a:gd name="connsiteY2" fmla="*/ 7432 h 9887"/>
                <a:gd name="connsiteX3" fmla="*/ 9815 w 10000"/>
                <a:gd name="connsiteY3" fmla="*/ 7412 h 9887"/>
                <a:gd name="connsiteX4" fmla="*/ 9726 w 10000"/>
                <a:gd name="connsiteY4" fmla="*/ 7392 h 9887"/>
                <a:gd name="connsiteX5" fmla="*/ 9637 w 10000"/>
                <a:gd name="connsiteY5" fmla="*/ 7360 h 9887"/>
                <a:gd name="connsiteX6" fmla="*/ 9548 w 10000"/>
                <a:gd name="connsiteY6" fmla="*/ 7338 h 9887"/>
                <a:gd name="connsiteX7" fmla="*/ 9466 w 10000"/>
                <a:gd name="connsiteY7" fmla="*/ 7311 h 9887"/>
                <a:gd name="connsiteX8" fmla="*/ 9377 w 10000"/>
                <a:gd name="connsiteY8" fmla="*/ 7285 h 9887"/>
                <a:gd name="connsiteX9" fmla="*/ 9288 w 10000"/>
                <a:gd name="connsiteY9" fmla="*/ 7256 h 9887"/>
                <a:gd name="connsiteX10" fmla="*/ 9118 w 10000"/>
                <a:gd name="connsiteY10" fmla="*/ 7194 h 9887"/>
                <a:gd name="connsiteX11" fmla="*/ 8955 w 10000"/>
                <a:gd name="connsiteY11" fmla="*/ 7127 h 9887"/>
                <a:gd name="connsiteX12" fmla="*/ 8792 w 10000"/>
                <a:gd name="connsiteY12" fmla="*/ 7057 h 9887"/>
                <a:gd name="connsiteX13" fmla="*/ 8636 w 10000"/>
                <a:gd name="connsiteY13" fmla="*/ 6976 h 9887"/>
                <a:gd name="connsiteX14" fmla="*/ 8480 w 10000"/>
                <a:gd name="connsiteY14" fmla="*/ 6895 h 9887"/>
                <a:gd name="connsiteX15" fmla="*/ 8340 w 10000"/>
                <a:gd name="connsiteY15" fmla="*/ 6818 h 9887"/>
                <a:gd name="connsiteX16" fmla="*/ 8199 w 10000"/>
                <a:gd name="connsiteY16" fmla="*/ 6725 h 9887"/>
                <a:gd name="connsiteX17" fmla="*/ 8058 w 10000"/>
                <a:gd name="connsiteY17" fmla="*/ 6629 h 9887"/>
                <a:gd name="connsiteX18" fmla="*/ 7924 w 10000"/>
                <a:gd name="connsiteY18" fmla="*/ 6532 h 9887"/>
                <a:gd name="connsiteX19" fmla="*/ 7798 w 10000"/>
                <a:gd name="connsiteY19" fmla="*/ 6427 h 9887"/>
                <a:gd name="connsiteX20" fmla="*/ 7672 w 10000"/>
                <a:gd name="connsiteY20" fmla="*/ 6326 h 9887"/>
                <a:gd name="connsiteX21" fmla="*/ 7554 w 10000"/>
                <a:gd name="connsiteY21" fmla="*/ 6219 h 9887"/>
                <a:gd name="connsiteX22" fmla="*/ 7450 w 10000"/>
                <a:gd name="connsiteY22" fmla="*/ 6103 h 9887"/>
                <a:gd name="connsiteX23" fmla="*/ 7346 w 10000"/>
                <a:gd name="connsiteY23" fmla="*/ 5987 h 9887"/>
                <a:gd name="connsiteX24" fmla="*/ 7250 w 10000"/>
                <a:gd name="connsiteY24" fmla="*/ 5868 h 9887"/>
                <a:gd name="connsiteX25" fmla="*/ 7161 w 10000"/>
                <a:gd name="connsiteY25" fmla="*/ 5748 h 9887"/>
                <a:gd name="connsiteX26" fmla="*/ 7072 w 10000"/>
                <a:gd name="connsiteY26" fmla="*/ 5623 h 9887"/>
                <a:gd name="connsiteX27" fmla="*/ 6990 w 10000"/>
                <a:gd name="connsiteY27" fmla="*/ 5488 h 9887"/>
                <a:gd name="connsiteX28" fmla="*/ 6953 w 10000"/>
                <a:gd name="connsiteY28" fmla="*/ 5431 h 9887"/>
                <a:gd name="connsiteX29" fmla="*/ 6916 w 10000"/>
                <a:gd name="connsiteY29" fmla="*/ 5359 h 9887"/>
                <a:gd name="connsiteX30" fmla="*/ 6887 w 10000"/>
                <a:gd name="connsiteY30" fmla="*/ 5295 h 9887"/>
                <a:gd name="connsiteX31" fmla="*/ 6850 w 10000"/>
                <a:gd name="connsiteY31" fmla="*/ 5227 h 9887"/>
                <a:gd name="connsiteX32" fmla="*/ 6820 w 10000"/>
                <a:gd name="connsiteY32" fmla="*/ 5161 h 9887"/>
                <a:gd name="connsiteX33" fmla="*/ 6790 w 10000"/>
                <a:gd name="connsiteY33" fmla="*/ 5093 h 9887"/>
                <a:gd name="connsiteX34" fmla="*/ 6768 w 10000"/>
                <a:gd name="connsiteY34" fmla="*/ 5022 h 9887"/>
                <a:gd name="connsiteX35" fmla="*/ 6738 w 10000"/>
                <a:gd name="connsiteY35" fmla="*/ 4955 h 9887"/>
                <a:gd name="connsiteX36" fmla="*/ 6723 w 10000"/>
                <a:gd name="connsiteY36" fmla="*/ 4881 h 9887"/>
                <a:gd name="connsiteX37" fmla="*/ 6694 w 10000"/>
                <a:gd name="connsiteY37" fmla="*/ 4813 h 9887"/>
                <a:gd name="connsiteX38" fmla="*/ 6679 w 10000"/>
                <a:gd name="connsiteY38" fmla="*/ 4742 h 9887"/>
                <a:gd name="connsiteX39" fmla="*/ 6664 w 10000"/>
                <a:gd name="connsiteY39" fmla="*/ 4673 h 9887"/>
                <a:gd name="connsiteX40" fmla="*/ 6649 w 10000"/>
                <a:gd name="connsiteY40" fmla="*/ 4597 h 9887"/>
                <a:gd name="connsiteX41" fmla="*/ 6635 w 10000"/>
                <a:gd name="connsiteY41" fmla="*/ 4530 h 9887"/>
                <a:gd name="connsiteX42" fmla="*/ 6620 w 10000"/>
                <a:gd name="connsiteY42" fmla="*/ 4458 h 9887"/>
                <a:gd name="connsiteX43" fmla="*/ 6612 w 10000"/>
                <a:gd name="connsiteY43" fmla="*/ 4387 h 9887"/>
                <a:gd name="connsiteX44" fmla="*/ 6605 w 10000"/>
                <a:gd name="connsiteY44" fmla="*/ 4312 h 9887"/>
                <a:gd name="connsiteX45" fmla="*/ 6597 w 10000"/>
                <a:gd name="connsiteY45" fmla="*/ 4234 h 9887"/>
                <a:gd name="connsiteX46" fmla="*/ 6597 w 10000"/>
                <a:gd name="connsiteY46" fmla="*/ 4162 h 9887"/>
                <a:gd name="connsiteX47" fmla="*/ 6590 w 10000"/>
                <a:gd name="connsiteY47" fmla="*/ 4086 h 9887"/>
                <a:gd name="connsiteX48" fmla="*/ 6597 w 10000"/>
                <a:gd name="connsiteY48" fmla="*/ 4012 h 9887"/>
                <a:gd name="connsiteX49" fmla="*/ 6605 w 10000"/>
                <a:gd name="connsiteY49" fmla="*/ 3931 h 9887"/>
                <a:gd name="connsiteX50" fmla="*/ 6605 w 10000"/>
                <a:gd name="connsiteY50" fmla="*/ 3851 h 9887"/>
                <a:gd name="connsiteX51" fmla="*/ 6612 w 10000"/>
                <a:gd name="connsiteY51" fmla="*/ 3772 h 9887"/>
                <a:gd name="connsiteX52" fmla="*/ 6620 w 10000"/>
                <a:gd name="connsiteY52" fmla="*/ 3693 h 9887"/>
                <a:gd name="connsiteX53" fmla="*/ 6635 w 10000"/>
                <a:gd name="connsiteY53" fmla="*/ 3625 h 9887"/>
                <a:gd name="connsiteX54" fmla="*/ 6649 w 10000"/>
                <a:gd name="connsiteY54" fmla="*/ 3544 h 9887"/>
                <a:gd name="connsiteX55" fmla="*/ 6664 w 10000"/>
                <a:gd name="connsiteY55" fmla="*/ 3471 h 9887"/>
                <a:gd name="connsiteX56" fmla="*/ 6686 w 10000"/>
                <a:gd name="connsiteY56" fmla="*/ 3392 h 9887"/>
                <a:gd name="connsiteX57" fmla="*/ 6709 w 10000"/>
                <a:gd name="connsiteY57" fmla="*/ 3322 h 9887"/>
                <a:gd name="connsiteX58" fmla="*/ 6731 w 10000"/>
                <a:gd name="connsiteY58" fmla="*/ 3247 h 9887"/>
                <a:gd name="connsiteX59" fmla="*/ 6753 w 10000"/>
                <a:gd name="connsiteY59" fmla="*/ 3169 h 9887"/>
                <a:gd name="connsiteX60" fmla="*/ 6783 w 10000"/>
                <a:gd name="connsiteY60" fmla="*/ 3106 h 9887"/>
                <a:gd name="connsiteX61" fmla="*/ 6812 w 10000"/>
                <a:gd name="connsiteY61" fmla="*/ 3032 h 9887"/>
                <a:gd name="connsiteX62" fmla="*/ 6842 w 10000"/>
                <a:gd name="connsiteY62" fmla="*/ 2956 h 9887"/>
                <a:gd name="connsiteX63" fmla="*/ 6879 w 10000"/>
                <a:gd name="connsiteY63" fmla="*/ 2887 h 9887"/>
                <a:gd name="connsiteX64" fmla="*/ 6909 w 10000"/>
                <a:gd name="connsiteY64" fmla="*/ 2819 h 9887"/>
                <a:gd name="connsiteX65" fmla="*/ 6946 w 10000"/>
                <a:gd name="connsiteY65" fmla="*/ 2744 h 9887"/>
                <a:gd name="connsiteX66" fmla="*/ 6990 w 10000"/>
                <a:gd name="connsiteY66" fmla="*/ 2682 h 9887"/>
                <a:gd name="connsiteX67" fmla="*/ 7027 w 10000"/>
                <a:gd name="connsiteY67" fmla="*/ 2612 h 9887"/>
                <a:gd name="connsiteX68" fmla="*/ 7072 w 10000"/>
                <a:gd name="connsiteY68" fmla="*/ 2549 h 9887"/>
                <a:gd name="connsiteX69" fmla="*/ 7109 w 10000"/>
                <a:gd name="connsiteY69" fmla="*/ 2477 h 9887"/>
                <a:gd name="connsiteX70" fmla="*/ 7161 w 10000"/>
                <a:gd name="connsiteY70" fmla="*/ 2420 h 9887"/>
                <a:gd name="connsiteX71" fmla="*/ 7213 w 10000"/>
                <a:gd name="connsiteY71" fmla="*/ 2350 h 9887"/>
                <a:gd name="connsiteX72" fmla="*/ 7257 w 10000"/>
                <a:gd name="connsiteY72" fmla="*/ 2288 h 9887"/>
                <a:gd name="connsiteX73" fmla="*/ 7309 w 10000"/>
                <a:gd name="connsiteY73" fmla="*/ 2225 h 9887"/>
                <a:gd name="connsiteX74" fmla="*/ 7361 w 10000"/>
                <a:gd name="connsiteY74" fmla="*/ 2158 h 9887"/>
                <a:gd name="connsiteX75" fmla="*/ 7413 w 10000"/>
                <a:gd name="connsiteY75" fmla="*/ 2101 h 9887"/>
                <a:gd name="connsiteX76" fmla="*/ 7472 w 10000"/>
                <a:gd name="connsiteY76" fmla="*/ 2039 h 9887"/>
                <a:gd name="connsiteX77" fmla="*/ 7524 w 10000"/>
                <a:gd name="connsiteY77" fmla="*/ 1985 h 9887"/>
                <a:gd name="connsiteX78" fmla="*/ 7583 w 10000"/>
                <a:gd name="connsiteY78" fmla="*/ 1924 h 9887"/>
                <a:gd name="connsiteX79" fmla="*/ 7610 w 10000"/>
                <a:gd name="connsiteY79" fmla="*/ 1890 h 9887"/>
                <a:gd name="connsiteX80" fmla="*/ 5390 w 10000"/>
                <a:gd name="connsiteY80" fmla="*/ 6 h 9887"/>
                <a:gd name="connsiteX81" fmla="*/ 1401 w 10000"/>
                <a:gd name="connsiteY81" fmla="*/ 0 h 9887"/>
                <a:gd name="connsiteX82" fmla="*/ 1305 w 10000"/>
                <a:gd name="connsiteY82" fmla="*/ 141 h 9887"/>
                <a:gd name="connsiteX83" fmla="*/ 1223 w 10000"/>
                <a:gd name="connsiteY83" fmla="*/ 250 h 9887"/>
                <a:gd name="connsiteX84" fmla="*/ 1149 w 10000"/>
                <a:gd name="connsiteY84" fmla="*/ 366 h 9887"/>
                <a:gd name="connsiteX85" fmla="*/ 1067 w 10000"/>
                <a:gd name="connsiteY85" fmla="*/ 484 h 9887"/>
                <a:gd name="connsiteX86" fmla="*/ 1001 w 10000"/>
                <a:gd name="connsiteY86" fmla="*/ 601 h 9887"/>
                <a:gd name="connsiteX87" fmla="*/ 927 w 10000"/>
                <a:gd name="connsiteY87" fmla="*/ 718 h 9887"/>
                <a:gd name="connsiteX88" fmla="*/ 860 w 10000"/>
                <a:gd name="connsiteY88" fmla="*/ 841 h 9887"/>
                <a:gd name="connsiteX89" fmla="*/ 793 w 10000"/>
                <a:gd name="connsiteY89" fmla="*/ 966 h 9887"/>
                <a:gd name="connsiteX90" fmla="*/ 734 w 10000"/>
                <a:gd name="connsiteY90" fmla="*/ 1079 h 9887"/>
                <a:gd name="connsiteX91" fmla="*/ 675 w 10000"/>
                <a:gd name="connsiteY91" fmla="*/ 1206 h 9887"/>
                <a:gd name="connsiteX92" fmla="*/ 615 w 10000"/>
                <a:gd name="connsiteY92" fmla="*/ 1325 h 9887"/>
                <a:gd name="connsiteX93" fmla="*/ 556 w 10000"/>
                <a:gd name="connsiteY93" fmla="*/ 1455 h 9887"/>
                <a:gd name="connsiteX94" fmla="*/ 504 w 10000"/>
                <a:gd name="connsiteY94" fmla="*/ 1573 h 9887"/>
                <a:gd name="connsiteX95" fmla="*/ 452 w 10000"/>
                <a:gd name="connsiteY95" fmla="*/ 1698 h 9887"/>
                <a:gd name="connsiteX96" fmla="*/ 408 w 10000"/>
                <a:gd name="connsiteY96" fmla="*/ 1822 h 9887"/>
                <a:gd name="connsiteX97" fmla="*/ 363 w 10000"/>
                <a:gd name="connsiteY97" fmla="*/ 1948 h 9887"/>
                <a:gd name="connsiteX98" fmla="*/ 319 w 10000"/>
                <a:gd name="connsiteY98" fmla="*/ 2081 h 9887"/>
                <a:gd name="connsiteX99" fmla="*/ 282 w 10000"/>
                <a:gd name="connsiteY99" fmla="*/ 2208 h 9887"/>
                <a:gd name="connsiteX100" fmla="*/ 237 w 10000"/>
                <a:gd name="connsiteY100" fmla="*/ 2339 h 9887"/>
                <a:gd name="connsiteX101" fmla="*/ 208 w 10000"/>
                <a:gd name="connsiteY101" fmla="*/ 2468 h 9887"/>
                <a:gd name="connsiteX102" fmla="*/ 170 w 10000"/>
                <a:gd name="connsiteY102" fmla="*/ 2600 h 9887"/>
                <a:gd name="connsiteX103" fmla="*/ 148 w 10000"/>
                <a:gd name="connsiteY103" fmla="*/ 2734 h 9887"/>
                <a:gd name="connsiteX104" fmla="*/ 119 w 10000"/>
                <a:gd name="connsiteY104" fmla="*/ 2865 h 9887"/>
                <a:gd name="connsiteX105" fmla="*/ 96 w 10000"/>
                <a:gd name="connsiteY105" fmla="*/ 2994 h 9887"/>
                <a:gd name="connsiteX106" fmla="*/ 74 w 10000"/>
                <a:gd name="connsiteY106" fmla="*/ 3132 h 9887"/>
                <a:gd name="connsiteX107" fmla="*/ 52 w 10000"/>
                <a:gd name="connsiteY107" fmla="*/ 3272 h 9887"/>
                <a:gd name="connsiteX108" fmla="*/ 37 w 10000"/>
                <a:gd name="connsiteY108" fmla="*/ 3404 h 9887"/>
                <a:gd name="connsiteX109" fmla="*/ 22 w 10000"/>
                <a:gd name="connsiteY109" fmla="*/ 3538 h 9887"/>
                <a:gd name="connsiteX110" fmla="*/ 15 w 10000"/>
                <a:gd name="connsiteY110" fmla="*/ 3672 h 9887"/>
                <a:gd name="connsiteX111" fmla="*/ 7 w 10000"/>
                <a:gd name="connsiteY111" fmla="*/ 3811 h 9887"/>
                <a:gd name="connsiteX112" fmla="*/ 0 w 10000"/>
                <a:gd name="connsiteY112" fmla="*/ 3944 h 9887"/>
                <a:gd name="connsiteX113" fmla="*/ 0 w 10000"/>
                <a:gd name="connsiteY113" fmla="*/ 4086 h 9887"/>
                <a:gd name="connsiteX114" fmla="*/ 7 w 10000"/>
                <a:gd name="connsiteY114" fmla="*/ 4264 h 9887"/>
                <a:gd name="connsiteX115" fmla="*/ 7 w 10000"/>
                <a:gd name="connsiteY115" fmla="*/ 4441 h 9887"/>
                <a:gd name="connsiteX116" fmla="*/ 22 w 10000"/>
                <a:gd name="connsiteY116" fmla="*/ 4607 h 9887"/>
                <a:gd name="connsiteX117" fmla="*/ 37 w 10000"/>
                <a:gd name="connsiteY117" fmla="*/ 4782 h 9887"/>
                <a:gd name="connsiteX118" fmla="*/ 59 w 10000"/>
                <a:gd name="connsiteY118" fmla="*/ 4955 h 9887"/>
                <a:gd name="connsiteX119" fmla="*/ 89 w 10000"/>
                <a:gd name="connsiteY119" fmla="*/ 5128 h 9887"/>
                <a:gd name="connsiteX120" fmla="*/ 119 w 10000"/>
                <a:gd name="connsiteY120" fmla="*/ 5299 h 9887"/>
                <a:gd name="connsiteX121" fmla="*/ 148 w 10000"/>
                <a:gd name="connsiteY121" fmla="*/ 5471 h 9887"/>
                <a:gd name="connsiteX122" fmla="*/ 193 w 10000"/>
                <a:gd name="connsiteY122" fmla="*/ 5641 h 9887"/>
                <a:gd name="connsiteX123" fmla="*/ 237 w 10000"/>
                <a:gd name="connsiteY123" fmla="*/ 5807 h 9887"/>
                <a:gd name="connsiteX124" fmla="*/ 282 w 10000"/>
                <a:gd name="connsiteY124" fmla="*/ 5976 h 9887"/>
                <a:gd name="connsiteX125" fmla="*/ 334 w 10000"/>
                <a:gd name="connsiteY125" fmla="*/ 6141 h 9887"/>
                <a:gd name="connsiteX126" fmla="*/ 393 w 10000"/>
                <a:gd name="connsiteY126" fmla="*/ 6300 h 9887"/>
                <a:gd name="connsiteX127" fmla="*/ 452 w 10000"/>
                <a:gd name="connsiteY127" fmla="*/ 6465 h 9887"/>
                <a:gd name="connsiteX128" fmla="*/ 519 w 10000"/>
                <a:gd name="connsiteY128" fmla="*/ 6625 h 9887"/>
                <a:gd name="connsiteX129" fmla="*/ 586 w 10000"/>
                <a:gd name="connsiteY129" fmla="*/ 6791 h 9887"/>
                <a:gd name="connsiteX130" fmla="*/ 660 w 10000"/>
                <a:gd name="connsiteY130" fmla="*/ 6945 h 9887"/>
                <a:gd name="connsiteX131" fmla="*/ 741 w 10000"/>
                <a:gd name="connsiteY131" fmla="*/ 7098 h 9887"/>
                <a:gd name="connsiteX132" fmla="*/ 823 w 10000"/>
                <a:gd name="connsiteY132" fmla="*/ 7262 h 9887"/>
                <a:gd name="connsiteX133" fmla="*/ 904 w 10000"/>
                <a:gd name="connsiteY133" fmla="*/ 7412 h 9887"/>
                <a:gd name="connsiteX134" fmla="*/ 993 w 10000"/>
                <a:gd name="connsiteY134" fmla="*/ 7562 h 9887"/>
                <a:gd name="connsiteX135" fmla="*/ 1090 w 10000"/>
                <a:gd name="connsiteY135" fmla="*/ 7705 h 9887"/>
                <a:gd name="connsiteX136" fmla="*/ 1186 w 10000"/>
                <a:gd name="connsiteY136" fmla="*/ 7859 h 9887"/>
                <a:gd name="connsiteX137" fmla="*/ 1290 w 10000"/>
                <a:gd name="connsiteY137" fmla="*/ 8008 h 9887"/>
                <a:gd name="connsiteX138" fmla="*/ 1386 w 10000"/>
                <a:gd name="connsiteY138" fmla="*/ 8154 h 9887"/>
                <a:gd name="connsiteX139" fmla="*/ 1497 w 10000"/>
                <a:gd name="connsiteY139" fmla="*/ 8300 h 9887"/>
                <a:gd name="connsiteX140" fmla="*/ 1609 w 10000"/>
                <a:gd name="connsiteY140" fmla="*/ 8438 h 9887"/>
                <a:gd name="connsiteX141" fmla="*/ 1727 w 10000"/>
                <a:gd name="connsiteY141" fmla="*/ 8585 h 9887"/>
                <a:gd name="connsiteX142" fmla="*/ 1846 w 10000"/>
                <a:gd name="connsiteY142" fmla="*/ 8721 h 9887"/>
                <a:gd name="connsiteX143" fmla="*/ 1964 w 10000"/>
                <a:gd name="connsiteY143" fmla="*/ 8855 h 9887"/>
                <a:gd name="connsiteX144" fmla="*/ 2090 w 10000"/>
                <a:gd name="connsiteY144" fmla="*/ 8986 h 9887"/>
                <a:gd name="connsiteX145" fmla="*/ 2224 w 10000"/>
                <a:gd name="connsiteY145" fmla="*/ 9123 h 9887"/>
                <a:gd name="connsiteX146" fmla="*/ 2350 w 10000"/>
                <a:gd name="connsiteY146" fmla="*/ 9256 h 9887"/>
                <a:gd name="connsiteX147" fmla="*/ 2491 w 10000"/>
                <a:gd name="connsiteY147" fmla="*/ 9385 h 9887"/>
                <a:gd name="connsiteX148" fmla="*/ 2617 w 10000"/>
                <a:gd name="connsiteY148" fmla="*/ 9513 h 9887"/>
                <a:gd name="connsiteX149" fmla="*/ 2765 w 10000"/>
                <a:gd name="connsiteY149" fmla="*/ 9639 h 9887"/>
                <a:gd name="connsiteX150" fmla="*/ 2906 w 10000"/>
                <a:gd name="connsiteY150" fmla="*/ 9759 h 9887"/>
                <a:gd name="connsiteX151" fmla="*/ 3054 w 10000"/>
                <a:gd name="connsiteY151" fmla="*/ 9881 h 9887"/>
                <a:gd name="connsiteX152" fmla="*/ 3108 w 10000"/>
                <a:gd name="connsiteY152" fmla="*/ 9887 h 9887"/>
                <a:gd name="connsiteX153" fmla="*/ 7539 w 10000"/>
                <a:gd name="connsiteY153" fmla="*/ 9413 h 9887"/>
                <a:gd name="connsiteX154" fmla="*/ 10000 w 10000"/>
                <a:gd name="connsiteY154" fmla="*/ 7450 h 9887"/>
                <a:gd name="connsiteX0" fmla="*/ 10000 w 10000"/>
                <a:gd name="connsiteY0" fmla="*/ 7535 h 9994"/>
                <a:gd name="connsiteX1" fmla="*/ 10000 w 10000"/>
                <a:gd name="connsiteY1" fmla="*/ 7535 h 9994"/>
                <a:gd name="connsiteX2" fmla="*/ 9911 w 10000"/>
                <a:gd name="connsiteY2" fmla="*/ 7517 h 9994"/>
                <a:gd name="connsiteX3" fmla="*/ 9815 w 10000"/>
                <a:gd name="connsiteY3" fmla="*/ 7497 h 9994"/>
                <a:gd name="connsiteX4" fmla="*/ 9726 w 10000"/>
                <a:gd name="connsiteY4" fmla="*/ 7476 h 9994"/>
                <a:gd name="connsiteX5" fmla="*/ 9637 w 10000"/>
                <a:gd name="connsiteY5" fmla="*/ 7444 h 9994"/>
                <a:gd name="connsiteX6" fmla="*/ 9548 w 10000"/>
                <a:gd name="connsiteY6" fmla="*/ 7422 h 9994"/>
                <a:gd name="connsiteX7" fmla="*/ 9466 w 10000"/>
                <a:gd name="connsiteY7" fmla="*/ 7395 h 9994"/>
                <a:gd name="connsiteX8" fmla="*/ 9377 w 10000"/>
                <a:gd name="connsiteY8" fmla="*/ 7368 h 9994"/>
                <a:gd name="connsiteX9" fmla="*/ 9288 w 10000"/>
                <a:gd name="connsiteY9" fmla="*/ 7339 h 9994"/>
                <a:gd name="connsiteX10" fmla="*/ 9118 w 10000"/>
                <a:gd name="connsiteY10" fmla="*/ 7276 h 9994"/>
                <a:gd name="connsiteX11" fmla="*/ 8955 w 10000"/>
                <a:gd name="connsiteY11" fmla="*/ 7208 h 9994"/>
                <a:gd name="connsiteX12" fmla="*/ 8792 w 10000"/>
                <a:gd name="connsiteY12" fmla="*/ 7138 h 9994"/>
                <a:gd name="connsiteX13" fmla="*/ 8636 w 10000"/>
                <a:gd name="connsiteY13" fmla="*/ 7056 h 9994"/>
                <a:gd name="connsiteX14" fmla="*/ 8480 w 10000"/>
                <a:gd name="connsiteY14" fmla="*/ 6974 h 9994"/>
                <a:gd name="connsiteX15" fmla="*/ 8340 w 10000"/>
                <a:gd name="connsiteY15" fmla="*/ 6896 h 9994"/>
                <a:gd name="connsiteX16" fmla="*/ 8199 w 10000"/>
                <a:gd name="connsiteY16" fmla="*/ 6802 h 9994"/>
                <a:gd name="connsiteX17" fmla="*/ 8058 w 10000"/>
                <a:gd name="connsiteY17" fmla="*/ 6705 h 9994"/>
                <a:gd name="connsiteX18" fmla="*/ 7924 w 10000"/>
                <a:gd name="connsiteY18" fmla="*/ 6607 h 9994"/>
                <a:gd name="connsiteX19" fmla="*/ 7798 w 10000"/>
                <a:gd name="connsiteY19" fmla="*/ 6500 h 9994"/>
                <a:gd name="connsiteX20" fmla="*/ 7672 w 10000"/>
                <a:gd name="connsiteY20" fmla="*/ 6398 h 9994"/>
                <a:gd name="connsiteX21" fmla="*/ 7554 w 10000"/>
                <a:gd name="connsiteY21" fmla="*/ 6290 h 9994"/>
                <a:gd name="connsiteX22" fmla="*/ 7450 w 10000"/>
                <a:gd name="connsiteY22" fmla="*/ 6173 h 9994"/>
                <a:gd name="connsiteX23" fmla="*/ 7346 w 10000"/>
                <a:gd name="connsiteY23" fmla="*/ 6055 h 9994"/>
                <a:gd name="connsiteX24" fmla="*/ 7250 w 10000"/>
                <a:gd name="connsiteY24" fmla="*/ 5935 h 9994"/>
                <a:gd name="connsiteX25" fmla="*/ 7161 w 10000"/>
                <a:gd name="connsiteY25" fmla="*/ 5814 h 9994"/>
                <a:gd name="connsiteX26" fmla="*/ 7072 w 10000"/>
                <a:gd name="connsiteY26" fmla="*/ 5687 h 9994"/>
                <a:gd name="connsiteX27" fmla="*/ 6990 w 10000"/>
                <a:gd name="connsiteY27" fmla="*/ 5551 h 9994"/>
                <a:gd name="connsiteX28" fmla="*/ 6953 w 10000"/>
                <a:gd name="connsiteY28" fmla="*/ 5493 h 9994"/>
                <a:gd name="connsiteX29" fmla="*/ 6916 w 10000"/>
                <a:gd name="connsiteY29" fmla="*/ 5420 h 9994"/>
                <a:gd name="connsiteX30" fmla="*/ 6887 w 10000"/>
                <a:gd name="connsiteY30" fmla="*/ 5356 h 9994"/>
                <a:gd name="connsiteX31" fmla="*/ 6850 w 10000"/>
                <a:gd name="connsiteY31" fmla="*/ 5287 h 9994"/>
                <a:gd name="connsiteX32" fmla="*/ 6820 w 10000"/>
                <a:gd name="connsiteY32" fmla="*/ 5220 h 9994"/>
                <a:gd name="connsiteX33" fmla="*/ 6790 w 10000"/>
                <a:gd name="connsiteY33" fmla="*/ 5151 h 9994"/>
                <a:gd name="connsiteX34" fmla="*/ 6768 w 10000"/>
                <a:gd name="connsiteY34" fmla="*/ 5079 h 9994"/>
                <a:gd name="connsiteX35" fmla="*/ 6738 w 10000"/>
                <a:gd name="connsiteY35" fmla="*/ 5012 h 9994"/>
                <a:gd name="connsiteX36" fmla="*/ 6723 w 10000"/>
                <a:gd name="connsiteY36" fmla="*/ 4937 h 9994"/>
                <a:gd name="connsiteX37" fmla="*/ 6694 w 10000"/>
                <a:gd name="connsiteY37" fmla="*/ 4868 h 9994"/>
                <a:gd name="connsiteX38" fmla="*/ 6679 w 10000"/>
                <a:gd name="connsiteY38" fmla="*/ 4796 h 9994"/>
                <a:gd name="connsiteX39" fmla="*/ 6664 w 10000"/>
                <a:gd name="connsiteY39" fmla="*/ 4726 h 9994"/>
                <a:gd name="connsiteX40" fmla="*/ 6649 w 10000"/>
                <a:gd name="connsiteY40" fmla="*/ 4650 h 9994"/>
                <a:gd name="connsiteX41" fmla="*/ 6635 w 10000"/>
                <a:gd name="connsiteY41" fmla="*/ 4582 h 9994"/>
                <a:gd name="connsiteX42" fmla="*/ 6620 w 10000"/>
                <a:gd name="connsiteY42" fmla="*/ 4509 h 9994"/>
                <a:gd name="connsiteX43" fmla="*/ 6612 w 10000"/>
                <a:gd name="connsiteY43" fmla="*/ 4437 h 9994"/>
                <a:gd name="connsiteX44" fmla="*/ 6605 w 10000"/>
                <a:gd name="connsiteY44" fmla="*/ 4361 h 9994"/>
                <a:gd name="connsiteX45" fmla="*/ 6597 w 10000"/>
                <a:gd name="connsiteY45" fmla="*/ 4282 h 9994"/>
                <a:gd name="connsiteX46" fmla="*/ 6597 w 10000"/>
                <a:gd name="connsiteY46" fmla="*/ 4210 h 9994"/>
                <a:gd name="connsiteX47" fmla="*/ 6590 w 10000"/>
                <a:gd name="connsiteY47" fmla="*/ 4133 h 9994"/>
                <a:gd name="connsiteX48" fmla="*/ 6597 w 10000"/>
                <a:gd name="connsiteY48" fmla="*/ 4058 h 9994"/>
                <a:gd name="connsiteX49" fmla="*/ 6605 w 10000"/>
                <a:gd name="connsiteY49" fmla="*/ 3976 h 9994"/>
                <a:gd name="connsiteX50" fmla="*/ 6605 w 10000"/>
                <a:gd name="connsiteY50" fmla="*/ 3895 h 9994"/>
                <a:gd name="connsiteX51" fmla="*/ 6612 w 10000"/>
                <a:gd name="connsiteY51" fmla="*/ 3815 h 9994"/>
                <a:gd name="connsiteX52" fmla="*/ 6620 w 10000"/>
                <a:gd name="connsiteY52" fmla="*/ 3735 h 9994"/>
                <a:gd name="connsiteX53" fmla="*/ 6635 w 10000"/>
                <a:gd name="connsiteY53" fmla="*/ 3666 h 9994"/>
                <a:gd name="connsiteX54" fmla="*/ 6649 w 10000"/>
                <a:gd name="connsiteY54" fmla="*/ 3585 h 9994"/>
                <a:gd name="connsiteX55" fmla="*/ 6664 w 10000"/>
                <a:gd name="connsiteY55" fmla="*/ 3511 h 9994"/>
                <a:gd name="connsiteX56" fmla="*/ 6686 w 10000"/>
                <a:gd name="connsiteY56" fmla="*/ 3431 h 9994"/>
                <a:gd name="connsiteX57" fmla="*/ 6709 w 10000"/>
                <a:gd name="connsiteY57" fmla="*/ 3360 h 9994"/>
                <a:gd name="connsiteX58" fmla="*/ 6731 w 10000"/>
                <a:gd name="connsiteY58" fmla="*/ 3284 h 9994"/>
                <a:gd name="connsiteX59" fmla="*/ 6753 w 10000"/>
                <a:gd name="connsiteY59" fmla="*/ 3205 h 9994"/>
                <a:gd name="connsiteX60" fmla="*/ 6783 w 10000"/>
                <a:gd name="connsiteY60" fmla="*/ 3141 h 9994"/>
                <a:gd name="connsiteX61" fmla="*/ 6812 w 10000"/>
                <a:gd name="connsiteY61" fmla="*/ 3067 h 9994"/>
                <a:gd name="connsiteX62" fmla="*/ 6842 w 10000"/>
                <a:gd name="connsiteY62" fmla="*/ 2990 h 9994"/>
                <a:gd name="connsiteX63" fmla="*/ 6879 w 10000"/>
                <a:gd name="connsiteY63" fmla="*/ 2920 h 9994"/>
                <a:gd name="connsiteX64" fmla="*/ 6909 w 10000"/>
                <a:gd name="connsiteY64" fmla="*/ 2851 h 9994"/>
                <a:gd name="connsiteX65" fmla="*/ 6946 w 10000"/>
                <a:gd name="connsiteY65" fmla="*/ 2775 h 9994"/>
                <a:gd name="connsiteX66" fmla="*/ 6990 w 10000"/>
                <a:gd name="connsiteY66" fmla="*/ 2713 h 9994"/>
                <a:gd name="connsiteX67" fmla="*/ 7027 w 10000"/>
                <a:gd name="connsiteY67" fmla="*/ 2642 h 9994"/>
                <a:gd name="connsiteX68" fmla="*/ 7072 w 10000"/>
                <a:gd name="connsiteY68" fmla="*/ 2578 h 9994"/>
                <a:gd name="connsiteX69" fmla="*/ 7109 w 10000"/>
                <a:gd name="connsiteY69" fmla="*/ 2505 h 9994"/>
                <a:gd name="connsiteX70" fmla="*/ 7161 w 10000"/>
                <a:gd name="connsiteY70" fmla="*/ 2448 h 9994"/>
                <a:gd name="connsiteX71" fmla="*/ 7213 w 10000"/>
                <a:gd name="connsiteY71" fmla="*/ 2377 h 9994"/>
                <a:gd name="connsiteX72" fmla="*/ 7257 w 10000"/>
                <a:gd name="connsiteY72" fmla="*/ 2314 h 9994"/>
                <a:gd name="connsiteX73" fmla="*/ 7309 w 10000"/>
                <a:gd name="connsiteY73" fmla="*/ 2250 h 9994"/>
                <a:gd name="connsiteX74" fmla="*/ 7361 w 10000"/>
                <a:gd name="connsiteY74" fmla="*/ 2183 h 9994"/>
                <a:gd name="connsiteX75" fmla="*/ 7413 w 10000"/>
                <a:gd name="connsiteY75" fmla="*/ 2125 h 9994"/>
                <a:gd name="connsiteX76" fmla="*/ 7472 w 10000"/>
                <a:gd name="connsiteY76" fmla="*/ 2062 h 9994"/>
                <a:gd name="connsiteX77" fmla="*/ 7524 w 10000"/>
                <a:gd name="connsiteY77" fmla="*/ 2008 h 9994"/>
                <a:gd name="connsiteX78" fmla="*/ 7583 w 10000"/>
                <a:gd name="connsiteY78" fmla="*/ 1946 h 9994"/>
                <a:gd name="connsiteX79" fmla="*/ 7610 w 10000"/>
                <a:gd name="connsiteY79" fmla="*/ 1912 h 9994"/>
                <a:gd name="connsiteX80" fmla="*/ 5390 w 10000"/>
                <a:gd name="connsiteY80" fmla="*/ 6 h 9994"/>
                <a:gd name="connsiteX81" fmla="*/ 1401 w 10000"/>
                <a:gd name="connsiteY81" fmla="*/ 0 h 9994"/>
                <a:gd name="connsiteX82" fmla="*/ 1305 w 10000"/>
                <a:gd name="connsiteY82" fmla="*/ 143 h 9994"/>
                <a:gd name="connsiteX83" fmla="*/ 1223 w 10000"/>
                <a:gd name="connsiteY83" fmla="*/ 253 h 9994"/>
                <a:gd name="connsiteX84" fmla="*/ 1149 w 10000"/>
                <a:gd name="connsiteY84" fmla="*/ 370 h 9994"/>
                <a:gd name="connsiteX85" fmla="*/ 1067 w 10000"/>
                <a:gd name="connsiteY85" fmla="*/ 490 h 9994"/>
                <a:gd name="connsiteX86" fmla="*/ 1001 w 10000"/>
                <a:gd name="connsiteY86" fmla="*/ 608 h 9994"/>
                <a:gd name="connsiteX87" fmla="*/ 927 w 10000"/>
                <a:gd name="connsiteY87" fmla="*/ 726 h 9994"/>
                <a:gd name="connsiteX88" fmla="*/ 860 w 10000"/>
                <a:gd name="connsiteY88" fmla="*/ 851 h 9994"/>
                <a:gd name="connsiteX89" fmla="*/ 793 w 10000"/>
                <a:gd name="connsiteY89" fmla="*/ 977 h 9994"/>
                <a:gd name="connsiteX90" fmla="*/ 734 w 10000"/>
                <a:gd name="connsiteY90" fmla="*/ 1091 h 9994"/>
                <a:gd name="connsiteX91" fmla="*/ 675 w 10000"/>
                <a:gd name="connsiteY91" fmla="*/ 1220 h 9994"/>
                <a:gd name="connsiteX92" fmla="*/ 615 w 10000"/>
                <a:gd name="connsiteY92" fmla="*/ 1340 h 9994"/>
                <a:gd name="connsiteX93" fmla="*/ 556 w 10000"/>
                <a:gd name="connsiteY93" fmla="*/ 1472 h 9994"/>
                <a:gd name="connsiteX94" fmla="*/ 504 w 10000"/>
                <a:gd name="connsiteY94" fmla="*/ 1591 h 9994"/>
                <a:gd name="connsiteX95" fmla="*/ 452 w 10000"/>
                <a:gd name="connsiteY95" fmla="*/ 1717 h 9994"/>
                <a:gd name="connsiteX96" fmla="*/ 408 w 10000"/>
                <a:gd name="connsiteY96" fmla="*/ 1843 h 9994"/>
                <a:gd name="connsiteX97" fmla="*/ 363 w 10000"/>
                <a:gd name="connsiteY97" fmla="*/ 1970 h 9994"/>
                <a:gd name="connsiteX98" fmla="*/ 319 w 10000"/>
                <a:gd name="connsiteY98" fmla="*/ 2105 h 9994"/>
                <a:gd name="connsiteX99" fmla="*/ 282 w 10000"/>
                <a:gd name="connsiteY99" fmla="*/ 2233 h 9994"/>
                <a:gd name="connsiteX100" fmla="*/ 237 w 10000"/>
                <a:gd name="connsiteY100" fmla="*/ 2366 h 9994"/>
                <a:gd name="connsiteX101" fmla="*/ 208 w 10000"/>
                <a:gd name="connsiteY101" fmla="*/ 2496 h 9994"/>
                <a:gd name="connsiteX102" fmla="*/ 170 w 10000"/>
                <a:gd name="connsiteY102" fmla="*/ 2630 h 9994"/>
                <a:gd name="connsiteX103" fmla="*/ 148 w 10000"/>
                <a:gd name="connsiteY103" fmla="*/ 2765 h 9994"/>
                <a:gd name="connsiteX104" fmla="*/ 119 w 10000"/>
                <a:gd name="connsiteY104" fmla="*/ 2898 h 9994"/>
                <a:gd name="connsiteX105" fmla="*/ 96 w 10000"/>
                <a:gd name="connsiteY105" fmla="*/ 3028 h 9994"/>
                <a:gd name="connsiteX106" fmla="*/ 74 w 10000"/>
                <a:gd name="connsiteY106" fmla="*/ 3168 h 9994"/>
                <a:gd name="connsiteX107" fmla="*/ 52 w 10000"/>
                <a:gd name="connsiteY107" fmla="*/ 3309 h 9994"/>
                <a:gd name="connsiteX108" fmla="*/ 37 w 10000"/>
                <a:gd name="connsiteY108" fmla="*/ 3443 h 9994"/>
                <a:gd name="connsiteX109" fmla="*/ 22 w 10000"/>
                <a:gd name="connsiteY109" fmla="*/ 3578 h 9994"/>
                <a:gd name="connsiteX110" fmla="*/ 15 w 10000"/>
                <a:gd name="connsiteY110" fmla="*/ 3714 h 9994"/>
                <a:gd name="connsiteX111" fmla="*/ 7 w 10000"/>
                <a:gd name="connsiteY111" fmla="*/ 3855 h 9994"/>
                <a:gd name="connsiteX112" fmla="*/ 0 w 10000"/>
                <a:gd name="connsiteY112" fmla="*/ 3989 h 9994"/>
                <a:gd name="connsiteX113" fmla="*/ 0 w 10000"/>
                <a:gd name="connsiteY113" fmla="*/ 4133 h 9994"/>
                <a:gd name="connsiteX114" fmla="*/ 7 w 10000"/>
                <a:gd name="connsiteY114" fmla="*/ 4313 h 9994"/>
                <a:gd name="connsiteX115" fmla="*/ 7 w 10000"/>
                <a:gd name="connsiteY115" fmla="*/ 4492 h 9994"/>
                <a:gd name="connsiteX116" fmla="*/ 22 w 10000"/>
                <a:gd name="connsiteY116" fmla="*/ 4660 h 9994"/>
                <a:gd name="connsiteX117" fmla="*/ 37 w 10000"/>
                <a:gd name="connsiteY117" fmla="*/ 4837 h 9994"/>
                <a:gd name="connsiteX118" fmla="*/ 59 w 10000"/>
                <a:gd name="connsiteY118" fmla="*/ 5012 h 9994"/>
                <a:gd name="connsiteX119" fmla="*/ 89 w 10000"/>
                <a:gd name="connsiteY119" fmla="*/ 5187 h 9994"/>
                <a:gd name="connsiteX120" fmla="*/ 119 w 10000"/>
                <a:gd name="connsiteY120" fmla="*/ 5360 h 9994"/>
                <a:gd name="connsiteX121" fmla="*/ 148 w 10000"/>
                <a:gd name="connsiteY121" fmla="*/ 5534 h 9994"/>
                <a:gd name="connsiteX122" fmla="*/ 193 w 10000"/>
                <a:gd name="connsiteY122" fmla="*/ 5705 h 9994"/>
                <a:gd name="connsiteX123" fmla="*/ 237 w 10000"/>
                <a:gd name="connsiteY123" fmla="*/ 5873 h 9994"/>
                <a:gd name="connsiteX124" fmla="*/ 282 w 10000"/>
                <a:gd name="connsiteY124" fmla="*/ 6044 h 9994"/>
                <a:gd name="connsiteX125" fmla="*/ 334 w 10000"/>
                <a:gd name="connsiteY125" fmla="*/ 6211 h 9994"/>
                <a:gd name="connsiteX126" fmla="*/ 393 w 10000"/>
                <a:gd name="connsiteY126" fmla="*/ 6372 h 9994"/>
                <a:gd name="connsiteX127" fmla="*/ 452 w 10000"/>
                <a:gd name="connsiteY127" fmla="*/ 6539 h 9994"/>
                <a:gd name="connsiteX128" fmla="*/ 519 w 10000"/>
                <a:gd name="connsiteY128" fmla="*/ 6701 h 9994"/>
                <a:gd name="connsiteX129" fmla="*/ 586 w 10000"/>
                <a:gd name="connsiteY129" fmla="*/ 6869 h 9994"/>
                <a:gd name="connsiteX130" fmla="*/ 660 w 10000"/>
                <a:gd name="connsiteY130" fmla="*/ 7024 h 9994"/>
                <a:gd name="connsiteX131" fmla="*/ 741 w 10000"/>
                <a:gd name="connsiteY131" fmla="*/ 7179 h 9994"/>
                <a:gd name="connsiteX132" fmla="*/ 823 w 10000"/>
                <a:gd name="connsiteY132" fmla="*/ 7345 h 9994"/>
                <a:gd name="connsiteX133" fmla="*/ 904 w 10000"/>
                <a:gd name="connsiteY133" fmla="*/ 7497 h 9994"/>
                <a:gd name="connsiteX134" fmla="*/ 993 w 10000"/>
                <a:gd name="connsiteY134" fmla="*/ 7648 h 9994"/>
                <a:gd name="connsiteX135" fmla="*/ 1090 w 10000"/>
                <a:gd name="connsiteY135" fmla="*/ 7793 h 9994"/>
                <a:gd name="connsiteX136" fmla="*/ 1186 w 10000"/>
                <a:gd name="connsiteY136" fmla="*/ 7949 h 9994"/>
                <a:gd name="connsiteX137" fmla="*/ 1290 w 10000"/>
                <a:gd name="connsiteY137" fmla="*/ 8100 h 9994"/>
                <a:gd name="connsiteX138" fmla="*/ 1386 w 10000"/>
                <a:gd name="connsiteY138" fmla="*/ 8247 h 9994"/>
                <a:gd name="connsiteX139" fmla="*/ 1497 w 10000"/>
                <a:gd name="connsiteY139" fmla="*/ 8395 h 9994"/>
                <a:gd name="connsiteX140" fmla="*/ 1609 w 10000"/>
                <a:gd name="connsiteY140" fmla="*/ 8534 h 9994"/>
                <a:gd name="connsiteX141" fmla="*/ 1727 w 10000"/>
                <a:gd name="connsiteY141" fmla="*/ 8683 h 9994"/>
                <a:gd name="connsiteX142" fmla="*/ 1846 w 10000"/>
                <a:gd name="connsiteY142" fmla="*/ 8821 h 9994"/>
                <a:gd name="connsiteX143" fmla="*/ 1964 w 10000"/>
                <a:gd name="connsiteY143" fmla="*/ 8956 h 9994"/>
                <a:gd name="connsiteX144" fmla="*/ 2090 w 10000"/>
                <a:gd name="connsiteY144" fmla="*/ 9089 h 9994"/>
                <a:gd name="connsiteX145" fmla="*/ 2224 w 10000"/>
                <a:gd name="connsiteY145" fmla="*/ 9227 h 9994"/>
                <a:gd name="connsiteX146" fmla="*/ 2350 w 10000"/>
                <a:gd name="connsiteY146" fmla="*/ 9362 h 9994"/>
                <a:gd name="connsiteX147" fmla="*/ 2491 w 10000"/>
                <a:gd name="connsiteY147" fmla="*/ 9492 h 9994"/>
                <a:gd name="connsiteX148" fmla="*/ 2617 w 10000"/>
                <a:gd name="connsiteY148" fmla="*/ 9622 h 9994"/>
                <a:gd name="connsiteX149" fmla="*/ 2765 w 10000"/>
                <a:gd name="connsiteY149" fmla="*/ 9749 h 9994"/>
                <a:gd name="connsiteX150" fmla="*/ 2906 w 10000"/>
                <a:gd name="connsiteY150" fmla="*/ 9871 h 9994"/>
                <a:gd name="connsiteX151" fmla="*/ 3054 w 10000"/>
                <a:gd name="connsiteY151" fmla="*/ 9994 h 9994"/>
                <a:gd name="connsiteX152" fmla="*/ 7539 w 10000"/>
                <a:gd name="connsiteY152" fmla="*/ 9521 h 9994"/>
                <a:gd name="connsiteX153" fmla="*/ 10000 w 10000"/>
                <a:gd name="connsiteY153" fmla="*/ 7535 h 9994"/>
                <a:gd name="connsiteX0" fmla="*/ 10000 w 10000"/>
                <a:gd name="connsiteY0" fmla="*/ 7540 h 9877"/>
                <a:gd name="connsiteX1" fmla="*/ 10000 w 10000"/>
                <a:gd name="connsiteY1" fmla="*/ 7540 h 9877"/>
                <a:gd name="connsiteX2" fmla="*/ 9911 w 10000"/>
                <a:gd name="connsiteY2" fmla="*/ 7522 h 9877"/>
                <a:gd name="connsiteX3" fmla="*/ 9815 w 10000"/>
                <a:gd name="connsiteY3" fmla="*/ 7502 h 9877"/>
                <a:gd name="connsiteX4" fmla="*/ 9726 w 10000"/>
                <a:gd name="connsiteY4" fmla="*/ 7480 h 9877"/>
                <a:gd name="connsiteX5" fmla="*/ 9637 w 10000"/>
                <a:gd name="connsiteY5" fmla="*/ 7448 h 9877"/>
                <a:gd name="connsiteX6" fmla="*/ 9548 w 10000"/>
                <a:gd name="connsiteY6" fmla="*/ 7426 h 9877"/>
                <a:gd name="connsiteX7" fmla="*/ 9466 w 10000"/>
                <a:gd name="connsiteY7" fmla="*/ 7399 h 9877"/>
                <a:gd name="connsiteX8" fmla="*/ 9377 w 10000"/>
                <a:gd name="connsiteY8" fmla="*/ 7372 h 9877"/>
                <a:gd name="connsiteX9" fmla="*/ 9288 w 10000"/>
                <a:gd name="connsiteY9" fmla="*/ 7343 h 9877"/>
                <a:gd name="connsiteX10" fmla="*/ 9118 w 10000"/>
                <a:gd name="connsiteY10" fmla="*/ 7280 h 9877"/>
                <a:gd name="connsiteX11" fmla="*/ 8955 w 10000"/>
                <a:gd name="connsiteY11" fmla="*/ 7212 h 9877"/>
                <a:gd name="connsiteX12" fmla="*/ 8792 w 10000"/>
                <a:gd name="connsiteY12" fmla="*/ 7142 h 9877"/>
                <a:gd name="connsiteX13" fmla="*/ 8636 w 10000"/>
                <a:gd name="connsiteY13" fmla="*/ 7060 h 9877"/>
                <a:gd name="connsiteX14" fmla="*/ 8480 w 10000"/>
                <a:gd name="connsiteY14" fmla="*/ 6978 h 9877"/>
                <a:gd name="connsiteX15" fmla="*/ 8340 w 10000"/>
                <a:gd name="connsiteY15" fmla="*/ 6900 h 9877"/>
                <a:gd name="connsiteX16" fmla="*/ 8199 w 10000"/>
                <a:gd name="connsiteY16" fmla="*/ 6806 h 9877"/>
                <a:gd name="connsiteX17" fmla="*/ 8058 w 10000"/>
                <a:gd name="connsiteY17" fmla="*/ 6709 h 9877"/>
                <a:gd name="connsiteX18" fmla="*/ 7924 w 10000"/>
                <a:gd name="connsiteY18" fmla="*/ 6611 h 9877"/>
                <a:gd name="connsiteX19" fmla="*/ 7798 w 10000"/>
                <a:gd name="connsiteY19" fmla="*/ 6504 h 9877"/>
                <a:gd name="connsiteX20" fmla="*/ 7672 w 10000"/>
                <a:gd name="connsiteY20" fmla="*/ 6402 h 9877"/>
                <a:gd name="connsiteX21" fmla="*/ 7554 w 10000"/>
                <a:gd name="connsiteY21" fmla="*/ 6294 h 9877"/>
                <a:gd name="connsiteX22" fmla="*/ 7450 w 10000"/>
                <a:gd name="connsiteY22" fmla="*/ 6177 h 9877"/>
                <a:gd name="connsiteX23" fmla="*/ 7346 w 10000"/>
                <a:gd name="connsiteY23" fmla="*/ 6059 h 9877"/>
                <a:gd name="connsiteX24" fmla="*/ 7250 w 10000"/>
                <a:gd name="connsiteY24" fmla="*/ 5939 h 9877"/>
                <a:gd name="connsiteX25" fmla="*/ 7161 w 10000"/>
                <a:gd name="connsiteY25" fmla="*/ 5817 h 9877"/>
                <a:gd name="connsiteX26" fmla="*/ 7072 w 10000"/>
                <a:gd name="connsiteY26" fmla="*/ 5690 h 9877"/>
                <a:gd name="connsiteX27" fmla="*/ 6990 w 10000"/>
                <a:gd name="connsiteY27" fmla="*/ 5554 h 9877"/>
                <a:gd name="connsiteX28" fmla="*/ 6953 w 10000"/>
                <a:gd name="connsiteY28" fmla="*/ 5496 h 9877"/>
                <a:gd name="connsiteX29" fmla="*/ 6916 w 10000"/>
                <a:gd name="connsiteY29" fmla="*/ 5423 h 9877"/>
                <a:gd name="connsiteX30" fmla="*/ 6887 w 10000"/>
                <a:gd name="connsiteY30" fmla="*/ 5359 h 9877"/>
                <a:gd name="connsiteX31" fmla="*/ 6850 w 10000"/>
                <a:gd name="connsiteY31" fmla="*/ 5290 h 9877"/>
                <a:gd name="connsiteX32" fmla="*/ 6820 w 10000"/>
                <a:gd name="connsiteY32" fmla="*/ 5223 h 9877"/>
                <a:gd name="connsiteX33" fmla="*/ 6790 w 10000"/>
                <a:gd name="connsiteY33" fmla="*/ 5154 h 9877"/>
                <a:gd name="connsiteX34" fmla="*/ 6768 w 10000"/>
                <a:gd name="connsiteY34" fmla="*/ 5082 h 9877"/>
                <a:gd name="connsiteX35" fmla="*/ 6738 w 10000"/>
                <a:gd name="connsiteY35" fmla="*/ 5015 h 9877"/>
                <a:gd name="connsiteX36" fmla="*/ 6723 w 10000"/>
                <a:gd name="connsiteY36" fmla="*/ 4940 h 9877"/>
                <a:gd name="connsiteX37" fmla="*/ 6694 w 10000"/>
                <a:gd name="connsiteY37" fmla="*/ 4871 h 9877"/>
                <a:gd name="connsiteX38" fmla="*/ 6679 w 10000"/>
                <a:gd name="connsiteY38" fmla="*/ 4799 h 9877"/>
                <a:gd name="connsiteX39" fmla="*/ 6664 w 10000"/>
                <a:gd name="connsiteY39" fmla="*/ 4729 h 9877"/>
                <a:gd name="connsiteX40" fmla="*/ 6649 w 10000"/>
                <a:gd name="connsiteY40" fmla="*/ 4653 h 9877"/>
                <a:gd name="connsiteX41" fmla="*/ 6635 w 10000"/>
                <a:gd name="connsiteY41" fmla="*/ 4585 h 9877"/>
                <a:gd name="connsiteX42" fmla="*/ 6620 w 10000"/>
                <a:gd name="connsiteY42" fmla="*/ 4512 h 9877"/>
                <a:gd name="connsiteX43" fmla="*/ 6612 w 10000"/>
                <a:gd name="connsiteY43" fmla="*/ 4440 h 9877"/>
                <a:gd name="connsiteX44" fmla="*/ 6605 w 10000"/>
                <a:gd name="connsiteY44" fmla="*/ 4364 h 9877"/>
                <a:gd name="connsiteX45" fmla="*/ 6597 w 10000"/>
                <a:gd name="connsiteY45" fmla="*/ 4285 h 9877"/>
                <a:gd name="connsiteX46" fmla="*/ 6597 w 10000"/>
                <a:gd name="connsiteY46" fmla="*/ 4213 h 9877"/>
                <a:gd name="connsiteX47" fmla="*/ 6590 w 10000"/>
                <a:gd name="connsiteY47" fmla="*/ 4135 h 9877"/>
                <a:gd name="connsiteX48" fmla="*/ 6597 w 10000"/>
                <a:gd name="connsiteY48" fmla="*/ 4060 h 9877"/>
                <a:gd name="connsiteX49" fmla="*/ 6605 w 10000"/>
                <a:gd name="connsiteY49" fmla="*/ 3978 h 9877"/>
                <a:gd name="connsiteX50" fmla="*/ 6605 w 10000"/>
                <a:gd name="connsiteY50" fmla="*/ 3897 h 9877"/>
                <a:gd name="connsiteX51" fmla="*/ 6612 w 10000"/>
                <a:gd name="connsiteY51" fmla="*/ 3817 h 9877"/>
                <a:gd name="connsiteX52" fmla="*/ 6620 w 10000"/>
                <a:gd name="connsiteY52" fmla="*/ 3737 h 9877"/>
                <a:gd name="connsiteX53" fmla="*/ 6635 w 10000"/>
                <a:gd name="connsiteY53" fmla="*/ 3668 h 9877"/>
                <a:gd name="connsiteX54" fmla="*/ 6649 w 10000"/>
                <a:gd name="connsiteY54" fmla="*/ 3587 h 9877"/>
                <a:gd name="connsiteX55" fmla="*/ 6664 w 10000"/>
                <a:gd name="connsiteY55" fmla="*/ 3513 h 9877"/>
                <a:gd name="connsiteX56" fmla="*/ 6686 w 10000"/>
                <a:gd name="connsiteY56" fmla="*/ 3433 h 9877"/>
                <a:gd name="connsiteX57" fmla="*/ 6709 w 10000"/>
                <a:gd name="connsiteY57" fmla="*/ 3362 h 9877"/>
                <a:gd name="connsiteX58" fmla="*/ 6731 w 10000"/>
                <a:gd name="connsiteY58" fmla="*/ 3286 h 9877"/>
                <a:gd name="connsiteX59" fmla="*/ 6753 w 10000"/>
                <a:gd name="connsiteY59" fmla="*/ 3207 h 9877"/>
                <a:gd name="connsiteX60" fmla="*/ 6783 w 10000"/>
                <a:gd name="connsiteY60" fmla="*/ 3143 h 9877"/>
                <a:gd name="connsiteX61" fmla="*/ 6812 w 10000"/>
                <a:gd name="connsiteY61" fmla="*/ 3069 h 9877"/>
                <a:gd name="connsiteX62" fmla="*/ 6842 w 10000"/>
                <a:gd name="connsiteY62" fmla="*/ 2992 h 9877"/>
                <a:gd name="connsiteX63" fmla="*/ 6879 w 10000"/>
                <a:gd name="connsiteY63" fmla="*/ 2922 h 9877"/>
                <a:gd name="connsiteX64" fmla="*/ 6909 w 10000"/>
                <a:gd name="connsiteY64" fmla="*/ 2853 h 9877"/>
                <a:gd name="connsiteX65" fmla="*/ 6946 w 10000"/>
                <a:gd name="connsiteY65" fmla="*/ 2777 h 9877"/>
                <a:gd name="connsiteX66" fmla="*/ 6990 w 10000"/>
                <a:gd name="connsiteY66" fmla="*/ 2715 h 9877"/>
                <a:gd name="connsiteX67" fmla="*/ 7027 w 10000"/>
                <a:gd name="connsiteY67" fmla="*/ 2644 h 9877"/>
                <a:gd name="connsiteX68" fmla="*/ 7072 w 10000"/>
                <a:gd name="connsiteY68" fmla="*/ 2580 h 9877"/>
                <a:gd name="connsiteX69" fmla="*/ 7109 w 10000"/>
                <a:gd name="connsiteY69" fmla="*/ 2507 h 9877"/>
                <a:gd name="connsiteX70" fmla="*/ 7161 w 10000"/>
                <a:gd name="connsiteY70" fmla="*/ 2449 h 9877"/>
                <a:gd name="connsiteX71" fmla="*/ 7213 w 10000"/>
                <a:gd name="connsiteY71" fmla="*/ 2378 h 9877"/>
                <a:gd name="connsiteX72" fmla="*/ 7257 w 10000"/>
                <a:gd name="connsiteY72" fmla="*/ 2315 h 9877"/>
                <a:gd name="connsiteX73" fmla="*/ 7309 w 10000"/>
                <a:gd name="connsiteY73" fmla="*/ 2251 h 9877"/>
                <a:gd name="connsiteX74" fmla="*/ 7361 w 10000"/>
                <a:gd name="connsiteY74" fmla="*/ 2184 h 9877"/>
                <a:gd name="connsiteX75" fmla="*/ 7413 w 10000"/>
                <a:gd name="connsiteY75" fmla="*/ 2126 h 9877"/>
                <a:gd name="connsiteX76" fmla="*/ 7472 w 10000"/>
                <a:gd name="connsiteY76" fmla="*/ 2063 h 9877"/>
                <a:gd name="connsiteX77" fmla="*/ 7524 w 10000"/>
                <a:gd name="connsiteY77" fmla="*/ 2009 h 9877"/>
                <a:gd name="connsiteX78" fmla="*/ 7583 w 10000"/>
                <a:gd name="connsiteY78" fmla="*/ 1947 h 9877"/>
                <a:gd name="connsiteX79" fmla="*/ 7610 w 10000"/>
                <a:gd name="connsiteY79" fmla="*/ 1913 h 9877"/>
                <a:gd name="connsiteX80" fmla="*/ 5390 w 10000"/>
                <a:gd name="connsiteY80" fmla="*/ 6 h 9877"/>
                <a:gd name="connsiteX81" fmla="*/ 1401 w 10000"/>
                <a:gd name="connsiteY81" fmla="*/ 0 h 9877"/>
                <a:gd name="connsiteX82" fmla="*/ 1305 w 10000"/>
                <a:gd name="connsiteY82" fmla="*/ 143 h 9877"/>
                <a:gd name="connsiteX83" fmla="*/ 1223 w 10000"/>
                <a:gd name="connsiteY83" fmla="*/ 253 h 9877"/>
                <a:gd name="connsiteX84" fmla="*/ 1149 w 10000"/>
                <a:gd name="connsiteY84" fmla="*/ 370 h 9877"/>
                <a:gd name="connsiteX85" fmla="*/ 1067 w 10000"/>
                <a:gd name="connsiteY85" fmla="*/ 490 h 9877"/>
                <a:gd name="connsiteX86" fmla="*/ 1001 w 10000"/>
                <a:gd name="connsiteY86" fmla="*/ 608 h 9877"/>
                <a:gd name="connsiteX87" fmla="*/ 927 w 10000"/>
                <a:gd name="connsiteY87" fmla="*/ 726 h 9877"/>
                <a:gd name="connsiteX88" fmla="*/ 860 w 10000"/>
                <a:gd name="connsiteY88" fmla="*/ 852 h 9877"/>
                <a:gd name="connsiteX89" fmla="*/ 793 w 10000"/>
                <a:gd name="connsiteY89" fmla="*/ 978 h 9877"/>
                <a:gd name="connsiteX90" fmla="*/ 734 w 10000"/>
                <a:gd name="connsiteY90" fmla="*/ 1092 h 9877"/>
                <a:gd name="connsiteX91" fmla="*/ 675 w 10000"/>
                <a:gd name="connsiteY91" fmla="*/ 1221 h 9877"/>
                <a:gd name="connsiteX92" fmla="*/ 615 w 10000"/>
                <a:gd name="connsiteY92" fmla="*/ 1341 h 9877"/>
                <a:gd name="connsiteX93" fmla="*/ 556 w 10000"/>
                <a:gd name="connsiteY93" fmla="*/ 1473 h 9877"/>
                <a:gd name="connsiteX94" fmla="*/ 504 w 10000"/>
                <a:gd name="connsiteY94" fmla="*/ 1592 h 9877"/>
                <a:gd name="connsiteX95" fmla="*/ 452 w 10000"/>
                <a:gd name="connsiteY95" fmla="*/ 1718 h 9877"/>
                <a:gd name="connsiteX96" fmla="*/ 408 w 10000"/>
                <a:gd name="connsiteY96" fmla="*/ 1844 h 9877"/>
                <a:gd name="connsiteX97" fmla="*/ 363 w 10000"/>
                <a:gd name="connsiteY97" fmla="*/ 1971 h 9877"/>
                <a:gd name="connsiteX98" fmla="*/ 319 w 10000"/>
                <a:gd name="connsiteY98" fmla="*/ 2106 h 9877"/>
                <a:gd name="connsiteX99" fmla="*/ 282 w 10000"/>
                <a:gd name="connsiteY99" fmla="*/ 2234 h 9877"/>
                <a:gd name="connsiteX100" fmla="*/ 237 w 10000"/>
                <a:gd name="connsiteY100" fmla="*/ 2367 h 9877"/>
                <a:gd name="connsiteX101" fmla="*/ 208 w 10000"/>
                <a:gd name="connsiteY101" fmla="*/ 2497 h 9877"/>
                <a:gd name="connsiteX102" fmla="*/ 170 w 10000"/>
                <a:gd name="connsiteY102" fmla="*/ 2632 h 9877"/>
                <a:gd name="connsiteX103" fmla="*/ 148 w 10000"/>
                <a:gd name="connsiteY103" fmla="*/ 2767 h 9877"/>
                <a:gd name="connsiteX104" fmla="*/ 119 w 10000"/>
                <a:gd name="connsiteY104" fmla="*/ 2900 h 9877"/>
                <a:gd name="connsiteX105" fmla="*/ 96 w 10000"/>
                <a:gd name="connsiteY105" fmla="*/ 3030 h 9877"/>
                <a:gd name="connsiteX106" fmla="*/ 74 w 10000"/>
                <a:gd name="connsiteY106" fmla="*/ 3170 h 9877"/>
                <a:gd name="connsiteX107" fmla="*/ 52 w 10000"/>
                <a:gd name="connsiteY107" fmla="*/ 3311 h 9877"/>
                <a:gd name="connsiteX108" fmla="*/ 37 w 10000"/>
                <a:gd name="connsiteY108" fmla="*/ 3445 h 9877"/>
                <a:gd name="connsiteX109" fmla="*/ 22 w 10000"/>
                <a:gd name="connsiteY109" fmla="*/ 3580 h 9877"/>
                <a:gd name="connsiteX110" fmla="*/ 15 w 10000"/>
                <a:gd name="connsiteY110" fmla="*/ 3716 h 9877"/>
                <a:gd name="connsiteX111" fmla="*/ 7 w 10000"/>
                <a:gd name="connsiteY111" fmla="*/ 3857 h 9877"/>
                <a:gd name="connsiteX112" fmla="*/ 0 w 10000"/>
                <a:gd name="connsiteY112" fmla="*/ 3991 h 9877"/>
                <a:gd name="connsiteX113" fmla="*/ 0 w 10000"/>
                <a:gd name="connsiteY113" fmla="*/ 4135 h 9877"/>
                <a:gd name="connsiteX114" fmla="*/ 7 w 10000"/>
                <a:gd name="connsiteY114" fmla="*/ 4316 h 9877"/>
                <a:gd name="connsiteX115" fmla="*/ 7 w 10000"/>
                <a:gd name="connsiteY115" fmla="*/ 4495 h 9877"/>
                <a:gd name="connsiteX116" fmla="*/ 22 w 10000"/>
                <a:gd name="connsiteY116" fmla="*/ 4663 h 9877"/>
                <a:gd name="connsiteX117" fmla="*/ 37 w 10000"/>
                <a:gd name="connsiteY117" fmla="*/ 4840 h 9877"/>
                <a:gd name="connsiteX118" fmla="*/ 59 w 10000"/>
                <a:gd name="connsiteY118" fmla="*/ 5015 h 9877"/>
                <a:gd name="connsiteX119" fmla="*/ 89 w 10000"/>
                <a:gd name="connsiteY119" fmla="*/ 5190 h 9877"/>
                <a:gd name="connsiteX120" fmla="*/ 119 w 10000"/>
                <a:gd name="connsiteY120" fmla="*/ 5363 h 9877"/>
                <a:gd name="connsiteX121" fmla="*/ 148 w 10000"/>
                <a:gd name="connsiteY121" fmla="*/ 5537 h 9877"/>
                <a:gd name="connsiteX122" fmla="*/ 193 w 10000"/>
                <a:gd name="connsiteY122" fmla="*/ 5708 h 9877"/>
                <a:gd name="connsiteX123" fmla="*/ 237 w 10000"/>
                <a:gd name="connsiteY123" fmla="*/ 5877 h 9877"/>
                <a:gd name="connsiteX124" fmla="*/ 282 w 10000"/>
                <a:gd name="connsiteY124" fmla="*/ 6048 h 9877"/>
                <a:gd name="connsiteX125" fmla="*/ 334 w 10000"/>
                <a:gd name="connsiteY125" fmla="*/ 6215 h 9877"/>
                <a:gd name="connsiteX126" fmla="*/ 393 w 10000"/>
                <a:gd name="connsiteY126" fmla="*/ 6376 h 9877"/>
                <a:gd name="connsiteX127" fmla="*/ 452 w 10000"/>
                <a:gd name="connsiteY127" fmla="*/ 6543 h 9877"/>
                <a:gd name="connsiteX128" fmla="*/ 519 w 10000"/>
                <a:gd name="connsiteY128" fmla="*/ 6705 h 9877"/>
                <a:gd name="connsiteX129" fmla="*/ 586 w 10000"/>
                <a:gd name="connsiteY129" fmla="*/ 6873 h 9877"/>
                <a:gd name="connsiteX130" fmla="*/ 660 w 10000"/>
                <a:gd name="connsiteY130" fmla="*/ 7028 h 9877"/>
                <a:gd name="connsiteX131" fmla="*/ 741 w 10000"/>
                <a:gd name="connsiteY131" fmla="*/ 7183 h 9877"/>
                <a:gd name="connsiteX132" fmla="*/ 823 w 10000"/>
                <a:gd name="connsiteY132" fmla="*/ 7349 h 9877"/>
                <a:gd name="connsiteX133" fmla="*/ 904 w 10000"/>
                <a:gd name="connsiteY133" fmla="*/ 7502 h 9877"/>
                <a:gd name="connsiteX134" fmla="*/ 993 w 10000"/>
                <a:gd name="connsiteY134" fmla="*/ 7653 h 9877"/>
                <a:gd name="connsiteX135" fmla="*/ 1090 w 10000"/>
                <a:gd name="connsiteY135" fmla="*/ 7798 h 9877"/>
                <a:gd name="connsiteX136" fmla="*/ 1186 w 10000"/>
                <a:gd name="connsiteY136" fmla="*/ 7954 h 9877"/>
                <a:gd name="connsiteX137" fmla="*/ 1290 w 10000"/>
                <a:gd name="connsiteY137" fmla="*/ 8105 h 9877"/>
                <a:gd name="connsiteX138" fmla="*/ 1386 w 10000"/>
                <a:gd name="connsiteY138" fmla="*/ 8252 h 9877"/>
                <a:gd name="connsiteX139" fmla="*/ 1497 w 10000"/>
                <a:gd name="connsiteY139" fmla="*/ 8400 h 9877"/>
                <a:gd name="connsiteX140" fmla="*/ 1609 w 10000"/>
                <a:gd name="connsiteY140" fmla="*/ 8539 h 9877"/>
                <a:gd name="connsiteX141" fmla="*/ 1727 w 10000"/>
                <a:gd name="connsiteY141" fmla="*/ 8688 h 9877"/>
                <a:gd name="connsiteX142" fmla="*/ 1846 w 10000"/>
                <a:gd name="connsiteY142" fmla="*/ 8826 h 9877"/>
                <a:gd name="connsiteX143" fmla="*/ 1964 w 10000"/>
                <a:gd name="connsiteY143" fmla="*/ 8961 h 9877"/>
                <a:gd name="connsiteX144" fmla="*/ 2090 w 10000"/>
                <a:gd name="connsiteY144" fmla="*/ 9094 h 9877"/>
                <a:gd name="connsiteX145" fmla="*/ 2224 w 10000"/>
                <a:gd name="connsiteY145" fmla="*/ 9233 h 9877"/>
                <a:gd name="connsiteX146" fmla="*/ 2350 w 10000"/>
                <a:gd name="connsiteY146" fmla="*/ 9368 h 9877"/>
                <a:gd name="connsiteX147" fmla="*/ 2491 w 10000"/>
                <a:gd name="connsiteY147" fmla="*/ 9498 h 9877"/>
                <a:gd name="connsiteX148" fmla="*/ 2617 w 10000"/>
                <a:gd name="connsiteY148" fmla="*/ 9628 h 9877"/>
                <a:gd name="connsiteX149" fmla="*/ 2765 w 10000"/>
                <a:gd name="connsiteY149" fmla="*/ 9755 h 9877"/>
                <a:gd name="connsiteX150" fmla="*/ 2906 w 10000"/>
                <a:gd name="connsiteY150" fmla="*/ 9877 h 9877"/>
                <a:gd name="connsiteX151" fmla="*/ 7539 w 10000"/>
                <a:gd name="connsiteY151" fmla="*/ 9527 h 9877"/>
                <a:gd name="connsiteX152" fmla="*/ 10000 w 10000"/>
                <a:gd name="connsiteY152" fmla="*/ 7540 h 9877"/>
                <a:gd name="connsiteX0" fmla="*/ 10000 w 10000"/>
                <a:gd name="connsiteY0" fmla="*/ 7634 h 9876"/>
                <a:gd name="connsiteX1" fmla="*/ 10000 w 10000"/>
                <a:gd name="connsiteY1" fmla="*/ 7634 h 9876"/>
                <a:gd name="connsiteX2" fmla="*/ 9911 w 10000"/>
                <a:gd name="connsiteY2" fmla="*/ 7616 h 9876"/>
                <a:gd name="connsiteX3" fmla="*/ 9815 w 10000"/>
                <a:gd name="connsiteY3" fmla="*/ 7595 h 9876"/>
                <a:gd name="connsiteX4" fmla="*/ 9726 w 10000"/>
                <a:gd name="connsiteY4" fmla="*/ 7573 h 9876"/>
                <a:gd name="connsiteX5" fmla="*/ 9637 w 10000"/>
                <a:gd name="connsiteY5" fmla="*/ 7541 h 9876"/>
                <a:gd name="connsiteX6" fmla="*/ 9548 w 10000"/>
                <a:gd name="connsiteY6" fmla="*/ 7518 h 9876"/>
                <a:gd name="connsiteX7" fmla="*/ 9466 w 10000"/>
                <a:gd name="connsiteY7" fmla="*/ 7491 h 9876"/>
                <a:gd name="connsiteX8" fmla="*/ 9377 w 10000"/>
                <a:gd name="connsiteY8" fmla="*/ 7464 h 9876"/>
                <a:gd name="connsiteX9" fmla="*/ 9288 w 10000"/>
                <a:gd name="connsiteY9" fmla="*/ 7434 h 9876"/>
                <a:gd name="connsiteX10" fmla="*/ 9118 w 10000"/>
                <a:gd name="connsiteY10" fmla="*/ 7371 h 9876"/>
                <a:gd name="connsiteX11" fmla="*/ 8955 w 10000"/>
                <a:gd name="connsiteY11" fmla="*/ 7302 h 9876"/>
                <a:gd name="connsiteX12" fmla="*/ 8792 w 10000"/>
                <a:gd name="connsiteY12" fmla="*/ 7231 h 9876"/>
                <a:gd name="connsiteX13" fmla="*/ 8636 w 10000"/>
                <a:gd name="connsiteY13" fmla="*/ 7148 h 9876"/>
                <a:gd name="connsiteX14" fmla="*/ 8480 w 10000"/>
                <a:gd name="connsiteY14" fmla="*/ 7065 h 9876"/>
                <a:gd name="connsiteX15" fmla="*/ 8340 w 10000"/>
                <a:gd name="connsiteY15" fmla="*/ 6986 h 9876"/>
                <a:gd name="connsiteX16" fmla="*/ 8199 w 10000"/>
                <a:gd name="connsiteY16" fmla="*/ 6891 h 9876"/>
                <a:gd name="connsiteX17" fmla="*/ 8058 w 10000"/>
                <a:gd name="connsiteY17" fmla="*/ 6793 h 9876"/>
                <a:gd name="connsiteX18" fmla="*/ 7924 w 10000"/>
                <a:gd name="connsiteY18" fmla="*/ 6693 h 9876"/>
                <a:gd name="connsiteX19" fmla="*/ 7798 w 10000"/>
                <a:gd name="connsiteY19" fmla="*/ 6585 h 9876"/>
                <a:gd name="connsiteX20" fmla="*/ 7672 w 10000"/>
                <a:gd name="connsiteY20" fmla="*/ 6482 h 9876"/>
                <a:gd name="connsiteX21" fmla="*/ 7554 w 10000"/>
                <a:gd name="connsiteY21" fmla="*/ 6372 h 9876"/>
                <a:gd name="connsiteX22" fmla="*/ 7450 w 10000"/>
                <a:gd name="connsiteY22" fmla="*/ 6254 h 9876"/>
                <a:gd name="connsiteX23" fmla="*/ 7346 w 10000"/>
                <a:gd name="connsiteY23" fmla="*/ 6134 h 9876"/>
                <a:gd name="connsiteX24" fmla="*/ 7250 w 10000"/>
                <a:gd name="connsiteY24" fmla="*/ 6013 h 9876"/>
                <a:gd name="connsiteX25" fmla="*/ 7161 w 10000"/>
                <a:gd name="connsiteY25" fmla="*/ 5889 h 9876"/>
                <a:gd name="connsiteX26" fmla="*/ 7072 w 10000"/>
                <a:gd name="connsiteY26" fmla="*/ 5761 h 9876"/>
                <a:gd name="connsiteX27" fmla="*/ 6990 w 10000"/>
                <a:gd name="connsiteY27" fmla="*/ 5623 h 9876"/>
                <a:gd name="connsiteX28" fmla="*/ 6953 w 10000"/>
                <a:gd name="connsiteY28" fmla="*/ 5564 h 9876"/>
                <a:gd name="connsiteX29" fmla="*/ 6916 w 10000"/>
                <a:gd name="connsiteY29" fmla="*/ 5491 h 9876"/>
                <a:gd name="connsiteX30" fmla="*/ 6887 w 10000"/>
                <a:gd name="connsiteY30" fmla="*/ 5426 h 9876"/>
                <a:gd name="connsiteX31" fmla="*/ 6850 w 10000"/>
                <a:gd name="connsiteY31" fmla="*/ 5356 h 9876"/>
                <a:gd name="connsiteX32" fmla="*/ 6820 w 10000"/>
                <a:gd name="connsiteY32" fmla="*/ 5288 h 9876"/>
                <a:gd name="connsiteX33" fmla="*/ 6790 w 10000"/>
                <a:gd name="connsiteY33" fmla="*/ 5218 h 9876"/>
                <a:gd name="connsiteX34" fmla="*/ 6768 w 10000"/>
                <a:gd name="connsiteY34" fmla="*/ 5145 h 9876"/>
                <a:gd name="connsiteX35" fmla="*/ 6738 w 10000"/>
                <a:gd name="connsiteY35" fmla="*/ 5077 h 9876"/>
                <a:gd name="connsiteX36" fmla="*/ 6723 w 10000"/>
                <a:gd name="connsiteY36" fmla="*/ 5002 h 9876"/>
                <a:gd name="connsiteX37" fmla="*/ 6694 w 10000"/>
                <a:gd name="connsiteY37" fmla="*/ 4932 h 9876"/>
                <a:gd name="connsiteX38" fmla="*/ 6679 w 10000"/>
                <a:gd name="connsiteY38" fmla="*/ 4859 h 9876"/>
                <a:gd name="connsiteX39" fmla="*/ 6664 w 10000"/>
                <a:gd name="connsiteY39" fmla="*/ 4788 h 9876"/>
                <a:gd name="connsiteX40" fmla="*/ 6649 w 10000"/>
                <a:gd name="connsiteY40" fmla="*/ 4711 h 9876"/>
                <a:gd name="connsiteX41" fmla="*/ 6635 w 10000"/>
                <a:gd name="connsiteY41" fmla="*/ 4642 h 9876"/>
                <a:gd name="connsiteX42" fmla="*/ 6620 w 10000"/>
                <a:gd name="connsiteY42" fmla="*/ 4568 h 9876"/>
                <a:gd name="connsiteX43" fmla="*/ 6612 w 10000"/>
                <a:gd name="connsiteY43" fmla="*/ 4495 h 9876"/>
                <a:gd name="connsiteX44" fmla="*/ 6605 w 10000"/>
                <a:gd name="connsiteY44" fmla="*/ 4418 h 9876"/>
                <a:gd name="connsiteX45" fmla="*/ 6597 w 10000"/>
                <a:gd name="connsiteY45" fmla="*/ 4338 h 9876"/>
                <a:gd name="connsiteX46" fmla="*/ 6597 w 10000"/>
                <a:gd name="connsiteY46" fmla="*/ 4265 h 9876"/>
                <a:gd name="connsiteX47" fmla="*/ 6590 w 10000"/>
                <a:gd name="connsiteY47" fmla="*/ 4186 h 9876"/>
                <a:gd name="connsiteX48" fmla="*/ 6597 w 10000"/>
                <a:gd name="connsiteY48" fmla="*/ 4111 h 9876"/>
                <a:gd name="connsiteX49" fmla="*/ 6605 w 10000"/>
                <a:gd name="connsiteY49" fmla="*/ 4028 h 9876"/>
                <a:gd name="connsiteX50" fmla="*/ 6605 w 10000"/>
                <a:gd name="connsiteY50" fmla="*/ 3946 h 9876"/>
                <a:gd name="connsiteX51" fmla="*/ 6612 w 10000"/>
                <a:gd name="connsiteY51" fmla="*/ 3865 h 9876"/>
                <a:gd name="connsiteX52" fmla="*/ 6620 w 10000"/>
                <a:gd name="connsiteY52" fmla="*/ 3784 h 9876"/>
                <a:gd name="connsiteX53" fmla="*/ 6635 w 10000"/>
                <a:gd name="connsiteY53" fmla="*/ 3714 h 9876"/>
                <a:gd name="connsiteX54" fmla="*/ 6649 w 10000"/>
                <a:gd name="connsiteY54" fmla="*/ 3632 h 9876"/>
                <a:gd name="connsiteX55" fmla="*/ 6664 w 10000"/>
                <a:gd name="connsiteY55" fmla="*/ 3557 h 9876"/>
                <a:gd name="connsiteX56" fmla="*/ 6686 w 10000"/>
                <a:gd name="connsiteY56" fmla="*/ 3476 h 9876"/>
                <a:gd name="connsiteX57" fmla="*/ 6709 w 10000"/>
                <a:gd name="connsiteY57" fmla="*/ 3404 h 9876"/>
                <a:gd name="connsiteX58" fmla="*/ 6731 w 10000"/>
                <a:gd name="connsiteY58" fmla="*/ 3327 h 9876"/>
                <a:gd name="connsiteX59" fmla="*/ 6753 w 10000"/>
                <a:gd name="connsiteY59" fmla="*/ 3247 h 9876"/>
                <a:gd name="connsiteX60" fmla="*/ 6783 w 10000"/>
                <a:gd name="connsiteY60" fmla="*/ 3182 h 9876"/>
                <a:gd name="connsiteX61" fmla="*/ 6812 w 10000"/>
                <a:gd name="connsiteY61" fmla="*/ 3107 h 9876"/>
                <a:gd name="connsiteX62" fmla="*/ 6842 w 10000"/>
                <a:gd name="connsiteY62" fmla="*/ 3029 h 9876"/>
                <a:gd name="connsiteX63" fmla="*/ 6879 w 10000"/>
                <a:gd name="connsiteY63" fmla="*/ 2958 h 9876"/>
                <a:gd name="connsiteX64" fmla="*/ 6909 w 10000"/>
                <a:gd name="connsiteY64" fmla="*/ 2889 h 9876"/>
                <a:gd name="connsiteX65" fmla="*/ 6946 w 10000"/>
                <a:gd name="connsiteY65" fmla="*/ 2812 h 9876"/>
                <a:gd name="connsiteX66" fmla="*/ 6990 w 10000"/>
                <a:gd name="connsiteY66" fmla="*/ 2749 h 9876"/>
                <a:gd name="connsiteX67" fmla="*/ 7027 w 10000"/>
                <a:gd name="connsiteY67" fmla="*/ 2677 h 9876"/>
                <a:gd name="connsiteX68" fmla="*/ 7072 w 10000"/>
                <a:gd name="connsiteY68" fmla="*/ 2612 h 9876"/>
                <a:gd name="connsiteX69" fmla="*/ 7109 w 10000"/>
                <a:gd name="connsiteY69" fmla="*/ 2538 h 9876"/>
                <a:gd name="connsiteX70" fmla="*/ 7161 w 10000"/>
                <a:gd name="connsiteY70" fmla="*/ 2479 h 9876"/>
                <a:gd name="connsiteX71" fmla="*/ 7213 w 10000"/>
                <a:gd name="connsiteY71" fmla="*/ 2408 h 9876"/>
                <a:gd name="connsiteX72" fmla="*/ 7257 w 10000"/>
                <a:gd name="connsiteY72" fmla="*/ 2344 h 9876"/>
                <a:gd name="connsiteX73" fmla="*/ 7309 w 10000"/>
                <a:gd name="connsiteY73" fmla="*/ 2279 h 9876"/>
                <a:gd name="connsiteX74" fmla="*/ 7361 w 10000"/>
                <a:gd name="connsiteY74" fmla="*/ 2211 h 9876"/>
                <a:gd name="connsiteX75" fmla="*/ 7413 w 10000"/>
                <a:gd name="connsiteY75" fmla="*/ 2152 h 9876"/>
                <a:gd name="connsiteX76" fmla="*/ 7472 w 10000"/>
                <a:gd name="connsiteY76" fmla="*/ 2089 h 9876"/>
                <a:gd name="connsiteX77" fmla="*/ 7524 w 10000"/>
                <a:gd name="connsiteY77" fmla="*/ 2034 h 9876"/>
                <a:gd name="connsiteX78" fmla="*/ 7583 w 10000"/>
                <a:gd name="connsiteY78" fmla="*/ 1971 h 9876"/>
                <a:gd name="connsiteX79" fmla="*/ 7610 w 10000"/>
                <a:gd name="connsiteY79" fmla="*/ 1937 h 9876"/>
                <a:gd name="connsiteX80" fmla="*/ 5390 w 10000"/>
                <a:gd name="connsiteY80" fmla="*/ 6 h 9876"/>
                <a:gd name="connsiteX81" fmla="*/ 1401 w 10000"/>
                <a:gd name="connsiteY81" fmla="*/ 0 h 9876"/>
                <a:gd name="connsiteX82" fmla="*/ 1305 w 10000"/>
                <a:gd name="connsiteY82" fmla="*/ 145 h 9876"/>
                <a:gd name="connsiteX83" fmla="*/ 1223 w 10000"/>
                <a:gd name="connsiteY83" fmla="*/ 256 h 9876"/>
                <a:gd name="connsiteX84" fmla="*/ 1149 w 10000"/>
                <a:gd name="connsiteY84" fmla="*/ 375 h 9876"/>
                <a:gd name="connsiteX85" fmla="*/ 1067 w 10000"/>
                <a:gd name="connsiteY85" fmla="*/ 496 h 9876"/>
                <a:gd name="connsiteX86" fmla="*/ 1001 w 10000"/>
                <a:gd name="connsiteY86" fmla="*/ 616 h 9876"/>
                <a:gd name="connsiteX87" fmla="*/ 927 w 10000"/>
                <a:gd name="connsiteY87" fmla="*/ 735 h 9876"/>
                <a:gd name="connsiteX88" fmla="*/ 860 w 10000"/>
                <a:gd name="connsiteY88" fmla="*/ 863 h 9876"/>
                <a:gd name="connsiteX89" fmla="*/ 793 w 10000"/>
                <a:gd name="connsiteY89" fmla="*/ 990 h 9876"/>
                <a:gd name="connsiteX90" fmla="*/ 734 w 10000"/>
                <a:gd name="connsiteY90" fmla="*/ 1106 h 9876"/>
                <a:gd name="connsiteX91" fmla="*/ 675 w 10000"/>
                <a:gd name="connsiteY91" fmla="*/ 1236 h 9876"/>
                <a:gd name="connsiteX92" fmla="*/ 615 w 10000"/>
                <a:gd name="connsiteY92" fmla="*/ 1358 h 9876"/>
                <a:gd name="connsiteX93" fmla="*/ 556 w 10000"/>
                <a:gd name="connsiteY93" fmla="*/ 1491 h 9876"/>
                <a:gd name="connsiteX94" fmla="*/ 504 w 10000"/>
                <a:gd name="connsiteY94" fmla="*/ 1612 h 9876"/>
                <a:gd name="connsiteX95" fmla="*/ 452 w 10000"/>
                <a:gd name="connsiteY95" fmla="*/ 1739 h 9876"/>
                <a:gd name="connsiteX96" fmla="*/ 408 w 10000"/>
                <a:gd name="connsiteY96" fmla="*/ 1867 h 9876"/>
                <a:gd name="connsiteX97" fmla="*/ 363 w 10000"/>
                <a:gd name="connsiteY97" fmla="*/ 1996 h 9876"/>
                <a:gd name="connsiteX98" fmla="*/ 319 w 10000"/>
                <a:gd name="connsiteY98" fmla="*/ 2132 h 9876"/>
                <a:gd name="connsiteX99" fmla="*/ 282 w 10000"/>
                <a:gd name="connsiteY99" fmla="*/ 2262 h 9876"/>
                <a:gd name="connsiteX100" fmla="*/ 237 w 10000"/>
                <a:gd name="connsiteY100" fmla="*/ 2396 h 9876"/>
                <a:gd name="connsiteX101" fmla="*/ 208 w 10000"/>
                <a:gd name="connsiteY101" fmla="*/ 2528 h 9876"/>
                <a:gd name="connsiteX102" fmla="*/ 170 w 10000"/>
                <a:gd name="connsiteY102" fmla="*/ 2665 h 9876"/>
                <a:gd name="connsiteX103" fmla="*/ 148 w 10000"/>
                <a:gd name="connsiteY103" fmla="*/ 2801 h 9876"/>
                <a:gd name="connsiteX104" fmla="*/ 119 w 10000"/>
                <a:gd name="connsiteY104" fmla="*/ 2936 h 9876"/>
                <a:gd name="connsiteX105" fmla="*/ 96 w 10000"/>
                <a:gd name="connsiteY105" fmla="*/ 3068 h 9876"/>
                <a:gd name="connsiteX106" fmla="*/ 74 w 10000"/>
                <a:gd name="connsiteY106" fmla="*/ 3209 h 9876"/>
                <a:gd name="connsiteX107" fmla="*/ 52 w 10000"/>
                <a:gd name="connsiteY107" fmla="*/ 3352 h 9876"/>
                <a:gd name="connsiteX108" fmla="*/ 37 w 10000"/>
                <a:gd name="connsiteY108" fmla="*/ 3488 h 9876"/>
                <a:gd name="connsiteX109" fmla="*/ 22 w 10000"/>
                <a:gd name="connsiteY109" fmla="*/ 3625 h 9876"/>
                <a:gd name="connsiteX110" fmla="*/ 15 w 10000"/>
                <a:gd name="connsiteY110" fmla="*/ 3762 h 9876"/>
                <a:gd name="connsiteX111" fmla="*/ 7 w 10000"/>
                <a:gd name="connsiteY111" fmla="*/ 3905 h 9876"/>
                <a:gd name="connsiteX112" fmla="*/ 0 w 10000"/>
                <a:gd name="connsiteY112" fmla="*/ 4041 h 9876"/>
                <a:gd name="connsiteX113" fmla="*/ 0 w 10000"/>
                <a:gd name="connsiteY113" fmla="*/ 4186 h 9876"/>
                <a:gd name="connsiteX114" fmla="*/ 7 w 10000"/>
                <a:gd name="connsiteY114" fmla="*/ 4370 h 9876"/>
                <a:gd name="connsiteX115" fmla="*/ 7 w 10000"/>
                <a:gd name="connsiteY115" fmla="*/ 4551 h 9876"/>
                <a:gd name="connsiteX116" fmla="*/ 22 w 10000"/>
                <a:gd name="connsiteY116" fmla="*/ 4721 h 9876"/>
                <a:gd name="connsiteX117" fmla="*/ 37 w 10000"/>
                <a:gd name="connsiteY117" fmla="*/ 4900 h 9876"/>
                <a:gd name="connsiteX118" fmla="*/ 59 w 10000"/>
                <a:gd name="connsiteY118" fmla="*/ 5077 h 9876"/>
                <a:gd name="connsiteX119" fmla="*/ 89 w 10000"/>
                <a:gd name="connsiteY119" fmla="*/ 5255 h 9876"/>
                <a:gd name="connsiteX120" fmla="*/ 119 w 10000"/>
                <a:gd name="connsiteY120" fmla="*/ 5430 h 9876"/>
                <a:gd name="connsiteX121" fmla="*/ 148 w 10000"/>
                <a:gd name="connsiteY121" fmla="*/ 5606 h 9876"/>
                <a:gd name="connsiteX122" fmla="*/ 193 w 10000"/>
                <a:gd name="connsiteY122" fmla="*/ 5779 h 9876"/>
                <a:gd name="connsiteX123" fmla="*/ 237 w 10000"/>
                <a:gd name="connsiteY123" fmla="*/ 5950 h 9876"/>
                <a:gd name="connsiteX124" fmla="*/ 282 w 10000"/>
                <a:gd name="connsiteY124" fmla="*/ 6123 h 9876"/>
                <a:gd name="connsiteX125" fmla="*/ 334 w 10000"/>
                <a:gd name="connsiteY125" fmla="*/ 6292 h 9876"/>
                <a:gd name="connsiteX126" fmla="*/ 393 w 10000"/>
                <a:gd name="connsiteY126" fmla="*/ 6455 h 9876"/>
                <a:gd name="connsiteX127" fmla="*/ 452 w 10000"/>
                <a:gd name="connsiteY127" fmla="*/ 6624 h 9876"/>
                <a:gd name="connsiteX128" fmla="*/ 519 w 10000"/>
                <a:gd name="connsiteY128" fmla="*/ 6788 h 9876"/>
                <a:gd name="connsiteX129" fmla="*/ 586 w 10000"/>
                <a:gd name="connsiteY129" fmla="*/ 6959 h 9876"/>
                <a:gd name="connsiteX130" fmla="*/ 660 w 10000"/>
                <a:gd name="connsiteY130" fmla="*/ 7116 h 9876"/>
                <a:gd name="connsiteX131" fmla="*/ 741 w 10000"/>
                <a:gd name="connsiteY131" fmla="*/ 7272 h 9876"/>
                <a:gd name="connsiteX132" fmla="*/ 823 w 10000"/>
                <a:gd name="connsiteY132" fmla="*/ 7441 h 9876"/>
                <a:gd name="connsiteX133" fmla="*/ 904 w 10000"/>
                <a:gd name="connsiteY133" fmla="*/ 7595 h 9876"/>
                <a:gd name="connsiteX134" fmla="*/ 993 w 10000"/>
                <a:gd name="connsiteY134" fmla="*/ 7748 h 9876"/>
                <a:gd name="connsiteX135" fmla="*/ 1090 w 10000"/>
                <a:gd name="connsiteY135" fmla="*/ 7895 h 9876"/>
                <a:gd name="connsiteX136" fmla="*/ 1186 w 10000"/>
                <a:gd name="connsiteY136" fmla="*/ 8053 h 9876"/>
                <a:gd name="connsiteX137" fmla="*/ 1290 w 10000"/>
                <a:gd name="connsiteY137" fmla="*/ 8206 h 9876"/>
                <a:gd name="connsiteX138" fmla="*/ 1386 w 10000"/>
                <a:gd name="connsiteY138" fmla="*/ 8355 h 9876"/>
                <a:gd name="connsiteX139" fmla="*/ 1497 w 10000"/>
                <a:gd name="connsiteY139" fmla="*/ 8505 h 9876"/>
                <a:gd name="connsiteX140" fmla="*/ 1609 w 10000"/>
                <a:gd name="connsiteY140" fmla="*/ 8645 h 9876"/>
                <a:gd name="connsiteX141" fmla="*/ 1727 w 10000"/>
                <a:gd name="connsiteY141" fmla="*/ 8796 h 9876"/>
                <a:gd name="connsiteX142" fmla="*/ 1846 w 10000"/>
                <a:gd name="connsiteY142" fmla="*/ 8936 h 9876"/>
                <a:gd name="connsiteX143" fmla="*/ 1964 w 10000"/>
                <a:gd name="connsiteY143" fmla="*/ 9073 h 9876"/>
                <a:gd name="connsiteX144" fmla="*/ 2090 w 10000"/>
                <a:gd name="connsiteY144" fmla="*/ 9207 h 9876"/>
                <a:gd name="connsiteX145" fmla="*/ 2224 w 10000"/>
                <a:gd name="connsiteY145" fmla="*/ 9348 h 9876"/>
                <a:gd name="connsiteX146" fmla="*/ 2350 w 10000"/>
                <a:gd name="connsiteY146" fmla="*/ 9485 h 9876"/>
                <a:gd name="connsiteX147" fmla="*/ 2491 w 10000"/>
                <a:gd name="connsiteY147" fmla="*/ 9616 h 9876"/>
                <a:gd name="connsiteX148" fmla="*/ 2617 w 10000"/>
                <a:gd name="connsiteY148" fmla="*/ 9748 h 9876"/>
                <a:gd name="connsiteX149" fmla="*/ 2765 w 10000"/>
                <a:gd name="connsiteY149" fmla="*/ 9876 h 9876"/>
                <a:gd name="connsiteX150" fmla="*/ 7539 w 10000"/>
                <a:gd name="connsiteY150" fmla="*/ 9646 h 9876"/>
                <a:gd name="connsiteX151" fmla="*/ 10000 w 10000"/>
                <a:gd name="connsiteY151" fmla="*/ 7634 h 9876"/>
                <a:gd name="connsiteX0" fmla="*/ 10000 w 10000"/>
                <a:gd name="connsiteY0" fmla="*/ 7730 h 9959"/>
                <a:gd name="connsiteX1" fmla="*/ 10000 w 10000"/>
                <a:gd name="connsiteY1" fmla="*/ 7730 h 9959"/>
                <a:gd name="connsiteX2" fmla="*/ 9911 w 10000"/>
                <a:gd name="connsiteY2" fmla="*/ 7712 h 9959"/>
                <a:gd name="connsiteX3" fmla="*/ 9815 w 10000"/>
                <a:gd name="connsiteY3" fmla="*/ 7690 h 9959"/>
                <a:gd name="connsiteX4" fmla="*/ 9726 w 10000"/>
                <a:gd name="connsiteY4" fmla="*/ 7668 h 9959"/>
                <a:gd name="connsiteX5" fmla="*/ 9637 w 10000"/>
                <a:gd name="connsiteY5" fmla="*/ 7636 h 9959"/>
                <a:gd name="connsiteX6" fmla="*/ 9548 w 10000"/>
                <a:gd name="connsiteY6" fmla="*/ 7612 h 9959"/>
                <a:gd name="connsiteX7" fmla="*/ 9466 w 10000"/>
                <a:gd name="connsiteY7" fmla="*/ 7585 h 9959"/>
                <a:gd name="connsiteX8" fmla="*/ 9377 w 10000"/>
                <a:gd name="connsiteY8" fmla="*/ 7558 h 9959"/>
                <a:gd name="connsiteX9" fmla="*/ 9288 w 10000"/>
                <a:gd name="connsiteY9" fmla="*/ 7527 h 9959"/>
                <a:gd name="connsiteX10" fmla="*/ 9118 w 10000"/>
                <a:gd name="connsiteY10" fmla="*/ 7464 h 9959"/>
                <a:gd name="connsiteX11" fmla="*/ 8955 w 10000"/>
                <a:gd name="connsiteY11" fmla="*/ 7394 h 9959"/>
                <a:gd name="connsiteX12" fmla="*/ 8792 w 10000"/>
                <a:gd name="connsiteY12" fmla="*/ 7322 h 9959"/>
                <a:gd name="connsiteX13" fmla="*/ 8636 w 10000"/>
                <a:gd name="connsiteY13" fmla="*/ 7238 h 9959"/>
                <a:gd name="connsiteX14" fmla="*/ 8480 w 10000"/>
                <a:gd name="connsiteY14" fmla="*/ 7154 h 9959"/>
                <a:gd name="connsiteX15" fmla="*/ 8340 w 10000"/>
                <a:gd name="connsiteY15" fmla="*/ 7074 h 9959"/>
                <a:gd name="connsiteX16" fmla="*/ 8199 w 10000"/>
                <a:gd name="connsiteY16" fmla="*/ 6978 h 9959"/>
                <a:gd name="connsiteX17" fmla="*/ 8058 w 10000"/>
                <a:gd name="connsiteY17" fmla="*/ 6878 h 9959"/>
                <a:gd name="connsiteX18" fmla="*/ 7924 w 10000"/>
                <a:gd name="connsiteY18" fmla="*/ 6777 h 9959"/>
                <a:gd name="connsiteX19" fmla="*/ 7798 w 10000"/>
                <a:gd name="connsiteY19" fmla="*/ 6668 h 9959"/>
                <a:gd name="connsiteX20" fmla="*/ 7672 w 10000"/>
                <a:gd name="connsiteY20" fmla="*/ 6563 h 9959"/>
                <a:gd name="connsiteX21" fmla="*/ 7554 w 10000"/>
                <a:gd name="connsiteY21" fmla="*/ 6452 h 9959"/>
                <a:gd name="connsiteX22" fmla="*/ 7450 w 10000"/>
                <a:gd name="connsiteY22" fmla="*/ 6333 h 9959"/>
                <a:gd name="connsiteX23" fmla="*/ 7346 w 10000"/>
                <a:gd name="connsiteY23" fmla="*/ 6211 h 9959"/>
                <a:gd name="connsiteX24" fmla="*/ 7250 w 10000"/>
                <a:gd name="connsiteY24" fmla="*/ 6088 h 9959"/>
                <a:gd name="connsiteX25" fmla="*/ 7161 w 10000"/>
                <a:gd name="connsiteY25" fmla="*/ 5963 h 9959"/>
                <a:gd name="connsiteX26" fmla="*/ 7072 w 10000"/>
                <a:gd name="connsiteY26" fmla="*/ 5833 h 9959"/>
                <a:gd name="connsiteX27" fmla="*/ 6990 w 10000"/>
                <a:gd name="connsiteY27" fmla="*/ 5694 h 9959"/>
                <a:gd name="connsiteX28" fmla="*/ 6953 w 10000"/>
                <a:gd name="connsiteY28" fmla="*/ 5634 h 9959"/>
                <a:gd name="connsiteX29" fmla="*/ 6916 w 10000"/>
                <a:gd name="connsiteY29" fmla="*/ 5560 h 9959"/>
                <a:gd name="connsiteX30" fmla="*/ 6887 w 10000"/>
                <a:gd name="connsiteY30" fmla="*/ 5494 h 9959"/>
                <a:gd name="connsiteX31" fmla="*/ 6850 w 10000"/>
                <a:gd name="connsiteY31" fmla="*/ 5423 h 9959"/>
                <a:gd name="connsiteX32" fmla="*/ 6820 w 10000"/>
                <a:gd name="connsiteY32" fmla="*/ 5354 h 9959"/>
                <a:gd name="connsiteX33" fmla="*/ 6790 w 10000"/>
                <a:gd name="connsiteY33" fmla="*/ 5284 h 9959"/>
                <a:gd name="connsiteX34" fmla="*/ 6768 w 10000"/>
                <a:gd name="connsiteY34" fmla="*/ 5210 h 9959"/>
                <a:gd name="connsiteX35" fmla="*/ 6738 w 10000"/>
                <a:gd name="connsiteY35" fmla="*/ 5141 h 9959"/>
                <a:gd name="connsiteX36" fmla="*/ 6723 w 10000"/>
                <a:gd name="connsiteY36" fmla="*/ 5065 h 9959"/>
                <a:gd name="connsiteX37" fmla="*/ 6694 w 10000"/>
                <a:gd name="connsiteY37" fmla="*/ 4994 h 9959"/>
                <a:gd name="connsiteX38" fmla="*/ 6679 w 10000"/>
                <a:gd name="connsiteY38" fmla="*/ 4920 h 9959"/>
                <a:gd name="connsiteX39" fmla="*/ 6664 w 10000"/>
                <a:gd name="connsiteY39" fmla="*/ 4848 h 9959"/>
                <a:gd name="connsiteX40" fmla="*/ 6649 w 10000"/>
                <a:gd name="connsiteY40" fmla="*/ 4770 h 9959"/>
                <a:gd name="connsiteX41" fmla="*/ 6635 w 10000"/>
                <a:gd name="connsiteY41" fmla="*/ 4700 h 9959"/>
                <a:gd name="connsiteX42" fmla="*/ 6620 w 10000"/>
                <a:gd name="connsiteY42" fmla="*/ 4625 h 9959"/>
                <a:gd name="connsiteX43" fmla="*/ 6612 w 10000"/>
                <a:gd name="connsiteY43" fmla="*/ 4551 h 9959"/>
                <a:gd name="connsiteX44" fmla="*/ 6605 w 10000"/>
                <a:gd name="connsiteY44" fmla="*/ 4473 h 9959"/>
                <a:gd name="connsiteX45" fmla="*/ 6597 w 10000"/>
                <a:gd name="connsiteY45" fmla="*/ 4392 h 9959"/>
                <a:gd name="connsiteX46" fmla="*/ 6597 w 10000"/>
                <a:gd name="connsiteY46" fmla="*/ 4319 h 9959"/>
                <a:gd name="connsiteX47" fmla="*/ 6590 w 10000"/>
                <a:gd name="connsiteY47" fmla="*/ 4239 h 9959"/>
                <a:gd name="connsiteX48" fmla="*/ 6597 w 10000"/>
                <a:gd name="connsiteY48" fmla="*/ 4163 h 9959"/>
                <a:gd name="connsiteX49" fmla="*/ 6605 w 10000"/>
                <a:gd name="connsiteY49" fmla="*/ 4079 h 9959"/>
                <a:gd name="connsiteX50" fmla="*/ 6605 w 10000"/>
                <a:gd name="connsiteY50" fmla="*/ 3996 h 9959"/>
                <a:gd name="connsiteX51" fmla="*/ 6612 w 10000"/>
                <a:gd name="connsiteY51" fmla="*/ 3914 h 9959"/>
                <a:gd name="connsiteX52" fmla="*/ 6620 w 10000"/>
                <a:gd name="connsiteY52" fmla="*/ 3832 h 9959"/>
                <a:gd name="connsiteX53" fmla="*/ 6635 w 10000"/>
                <a:gd name="connsiteY53" fmla="*/ 3761 h 9959"/>
                <a:gd name="connsiteX54" fmla="*/ 6649 w 10000"/>
                <a:gd name="connsiteY54" fmla="*/ 3678 h 9959"/>
                <a:gd name="connsiteX55" fmla="*/ 6664 w 10000"/>
                <a:gd name="connsiteY55" fmla="*/ 3602 h 9959"/>
                <a:gd name="connsiteX56" fmla="*/ 6686 w 10000"/>
                <a:gd name="connsiteY56" fmla="*/ 3520 h 9959"/>
                <a:gd name="connsiteX57" fmla="*/ 6709 w 10000"/>
                <a:gd name="connsiteY57" fmla="*/ 3447 h 9959"/>
                <a:gd name="connsiteX58" fmla="*/ 6731 w 10000"/>
                <a:gd name="connsiteY58" fmla="*/ 3369 h 9959"/>
                <a:gd name="connsiteX59" fmla="*/ 6753 w 10000"/>
                <a:gd name="connsiteY59" fmla="*/ 3288 h 9959"/>
                <a:gd name="connsiteX60" fmla="*/ 6783 w 10000"/>
                <a:gd name="connsiteY60" fmla="*/ 3222 h 9959"/>
                <a:gd name="connsiteX61" fmla="*/ 6812 w 10000"/>
                <a:gd name="connsiteY61" fmla="*/ 3146 h 9959"/>
                <a:gd name="connsiteX62" fmla="*/ 6842 w 10000"/>
                <a:gd name="connsiteY62" fmla="*/ 3067 h 9959"/>
                <a:gd name="connsiteX63" fmla="*/ 6879 w 10000"/>
                <a:gd name="connsiteY63" fmla="*/ 2995 h 9959"/>
                <a:gd name="connsiteX64" fmla="*/ 6909 w 10000"/>
                <a:gd name="connsiteY64" fmla="*/ 2925 h 9959"/>
                <a:gd name="connsiteX65" fmla="*/ 6946 w 10000"/>
                <a:gd name="connsiteY65" fmla="*/ 2847 h 9959"/>
                <a:gd name="connsiteX66" fmla="*/ 6990 w 10000"/>
                <a:gd name="connsiteY66" fmla="*/ 2784 h 9959"/>
                <a:gd name="connsiteX67" fmla="*/ 7027 w 10000"/>
                <a:gd name="connsiteY67" fmla="*/ 2711 h 9959"/>
                <a:gd name="connsiteX68" fmla="*/ 7072 w 10000"/>
                <a:gd name="connsiteY68" fmla="*/ 2645 h 9959"/>
                <a:gd name="connsiteX69" fmla="*/ 7109 w 10000"/>
                <a:gd name="connsiteY69" fmla="*/ 2570 h 9959"/>
                <a:gd name="connsiteX70" fmla="*/ 7161 w 10000"/>
                <a:gd name="connsiteY70" fmla="*/ 2510 h 9959"/>
                <a:gd name="connsiteX71" fmla="*/ 7213 w 10000"/>
                <a:gd name="connsiteY71" fmla="*/ 2438 h 9959"/>
                <a:gd name="connsiteX72" fmla="*/ 7257 w 10000"/>
                <a:gd name="connsiteY72" fmla="*/ 2373 h 9959"/>
                <a:gd name="connsiteX73" fmla="*/ 7309 w 10000"/>
                <a:gd name="connsiteY73" fmla="*/ 2308 h 9959"/>
                <a:gd name="connsiteX74" fmla="*/ 7361 w 10000"/>
                <a:gd name="connsiteY74" fmla="*/ 2239 h 9959"/>
                <a:gd name="connsiteX75" fmla="*/ 7413 w 10000"/>
                <a:gd name="connsiteY75" fmla="*/ 2179 h 9959"/>
                <a:gd name="connsiteX76" fmla="*/ 7472 w 10000"/>
                <a:gd name="connsiteY76" fmla="*/ 2115 h 9959"/>
                <a:gd name="connsiteX77" fmla="*/ 7524 w 10000"/>
                <a:gd name="connsiteY77" fmla="*/ 2060 h 9959"/>
                <a:gd name="connsiteX78" fmla="*/ 7583 w 10000"/>
                <a:gd name="connsiteY78" fmla="*/ 1996 h 9959"/>
                <a:gd name="connsiteX79" fmla="*/ 7610 w 10000"/>
                <a:gd name="connsiteY79" fmla="*/ 1961 h 9959"/>
                <a:gd name="connsiteX80" fmla="*/ 5390 w 10000"/>
                <a:gd name="connsiteY80" fmla="*/ 6 h 9959"/>
                <a:gd name="connsiteX81" fmla="*/ 1401 w 10000"/>
                <a:gd name="connsiteY81" fmla="*/ 0 h 9959"/>
                <a:gd name="connsiteX82" fmla="*/ 1305 w 10000"/>
                <a:gd name="connsiteY82" fmla="*/ 147 h 9959"/>
                <a:gd name="connsiteX83" fmla="*/ 1223 w 10000"/>
                <a:gd name="connsiteY83" fmla="*/ 259 h 9959"/>
                <a:gd name="connsiteX84" fmla="*/ 1149 w 10000"/>
                <a:gd name="connsiteY84" fmla="*/ 380 h 9959"/>
                <a:gd name="connsiteX85" fmla="*/ 1067 w 10000"/>
                <a:gd name="connsiteY85" fmla="*/ 502 h 9959"/>
                <a:gd name="connsiteX86" fmla="*/ 1001 w 10000"/>
                <a:gd name="connsiteY86" fmla="*/ 624 h 9959"/>
                <a:gd name="connsiteX87" fmla="*/ 927 w 10000"/>
                <a:gd name="connsiteY87" fmla="*/ 744 h 9959"/>
                <a:gd name="connsiteX88" fmla="*/ 860 w 10000"/>
                <a:gd name="connsiteY88" fmla="*/ 874 h 9959"/>
                <a:gd name="connsiteX89" fmla="*/ 793 w 10000"/>
                <a:gd name="connsiteY89" fmla="*/ 1002 h 9959"/>
                <a:gd name="connsiteX90" fmla="*/ 734 w 10000"/>
                <a:gd name="connsiteY90" fmla="*/ 1120 h 9959"/>
                <a:gd name="connsiteX91" fmla="*/ 675 w 10000"/>
                <a:gd name="connsiteY91" fmla="*/ 1252 h 9959"/>
                <a:gd name="connsiteX92" fmla="*/ 615 w 10000"/>
                <a:gd name="connsiteY92" fmla="*/ 1375 h 9959"/>
                <a:gd name="connsiteX93" fmla="*/ 556 w 10000"/>
                <a:gd name="connsiteY93" fmla="*/ 1510 h 9959"/>
                <a:gd name="connsiteX94" fmla="*/ 504 w 10000"/>
                <a:gd name="connsiteY94" fmla="*/ 1632 h 9959"/>
                <a:gd name="connsiteX95" fmla="*/ 452 w 10000"/>
                <a:gd name="connsiteY95" fmla="*/ 1761 h 9959"/>
                <a:gd name="connsiteX96" fmla="*/ 408 w 10000"/>
                <a:gd name="connsiteY96" fmla="*/ 1890 h 9959"/>
                <a:gd name="connsiteX97" fmla="*/ 363 w 10000"/>
                <a:gd name="connsiteY97" fmla="*/ 2021 h 9959"/>
                <a:gd name="connsiteX98" fmla="*/ 319 w 10000"/>
                <a:gd name="connsiteY98" fmla="*/ 2159 h 9959"/>
                <a:gd name="connsiteX99" fmla="*/ 282 w 10000"/>
                <a:gd name="connsiteY99" fmla="*/ 2290 h 9959"/>
                <a:gd name="connsiteX100" fmla="*/ 237 w 10000"/>
                <a:gd name="connsiteY100" fmla="*/ 2426 h 9959"/>
                <a:gd name="connsiteX101" fmla="*/ 208 w 10000"/>
                <a:gd name="connsiteY101" fmla="*/ 2560 h 9959"/>
                <a:gd name="connsiteX102" fmla="*/ 170 w 10000"/>
                <a:gd name="connsiteY102" fmla="*/ 2698 h 9959"/>
                <a:gd name="connsiteX103" fmla="*/ 148 w 10000"/>
                <a:gd name="connsiteY103" fmla="*/ 2836 h 9959"/>
                <a:gd name="connsiteX104" fmla="*/ 119 w 10000"/>
                <a:gd name="connsiteY104" fmla="*/ 2973 h 9959"/>
                <a:gd name="connsiteX105" fmla="*/ 96 w 10000"/>
                <a:gd name="connsiteY105" fmla="*/ 3107 h 9959"/>
                <a:gd name="connsiteX106" fmla="*/ 74 w 10000"/>
                <a:gd name="connsiteY106" fmla="*/ 3249 h 9959"/>
                <a:gd name="connsiteX107" fmla="*/ 52 w 10000"/>
                <a:gd name="connsiteY107" fmla="*/ 3394 h 9959"/>
                <a:gd name="connsiteX108" fmla="*/ 37 w 10000"/>
                <a:gd name="connsiteY108" fmla="*/ 3532 h 9959"/>
                <a:gd name="connsiteX109" fmla="*/ 22 w 10000"/>
                <a:gd name="connsiteY109" fmla="*/ 3671 h 9959"/>
                <a:gd name="connsiteX110" fmla="*/ 15 w 10000"/>
                <a:gd name="connsiteY110" fmla="*/ 3809 h 9959"/>
                <a:gd name="connsiteX111" fmla="*/ 7 w 10000"/>
                <a:gd name="connsiteY111" fmla="*/ 3954 h 9959"/>
                <a:gd name="connsiteX112" fmla="*/ 0 w 10000"/>
                <a:gd name="connsiteY112" fmla="*/ 4092 h 9959"/>
                <a:gd name="connsiteX113" fmla="*/ 0 w 10000"/>
                <a:gd name="connsiteY113" fmla="*/ 4239 h 9959"/>
                <a:gd name="connsiteX114" fmla="*/ 7 w 10000"/>
                <a:gd name="connsiteY114" fmla="*/ 4425 h 9959"/>
                <a:gd name="connsiteX115" fmla="*/ 7 w 10000"/>
                <a:gd name="connsiteY115" fmla="*/ 4608 h 9959"/>
                <a:gd name="connsiteX116" fmla="*/ 22 w 10000"/>
                <a:gd name="connsiteY116" fmla="*/ 4780 h 9959"/>
                <a:gd name="connsiteX117" fmla="*/ 37 w 10000"/>
                <a:gd name="connsiteY117" fmla="*/ 4962 h 9959"/>
                <a:gd name="connsiteX118" fmla="*/ 59 w 10000"/>
                <a:gd name="connsiteY118" fmla="*/ 5141 h 9959"/>
                <a:gd name="connsiteX119" fmla="*/ 89 w 10000"/>
                <a:gd name="connsiteY119" fmla="*/ 5321 h 9959"/>
                <a:gd name="connsiteX120" fmla="*/ 119 w 10000"/>
                <a:gd name="connsiteY120" fmla="*/ 5498 h 9959"/>
                <a:gd name="connsiteX121" fmla="*/ 148 w 10000"/>
                <a:gd name="connsiteY121" fmla="*/ 5676 h 9959"/>
                <a:gd name="connsiteX122" fmla="*/ 193 w 10000"/>
                <a:gd name="connsiteY122" fmla="*/ 5852 h 9959"/>
                <a:gd name="connsiteX123" fmla="*/ 237 w 10000"/>
                <a:gd name="connsiteY123" fmla="*/ 6025 h 9959"/>
                <a:gd name="connsiteX124" fmla="*/ 282 w 10000"/>
                <a:gd name="connsiteY124" fmla="*/ 6200 h 9959"/>
                <a:gd name="connsiteX125" fmla="*/ 334 w 10000"/>
                <a:gd name="connsiteY125" fmla="*/ 6371 h 9959"/>
                <a:gd name="connsiteX126" fmla="*/ 393 w 10000"/>
                <a:gd name="connsiteY126" fmla="*/ 6536 h 9959"/>
                <a:gd name="connsiteX127" fmla="*/ 452 w 10000"/>
                <a:gd name="connsiteY127" fmla="*/ 6707 h 9959"/>
                <a:gd name="connsiteX128" fmla="*/ 519 w 10000"/>
                <a:gd name="connsiteY128" fmla="*/ 6873 h 9959"/>
                <a:gd name="connsiteX129" fmla="*/ 586 w 10000"/>
                <a:gd name="connsiteY129" fmla="*/ 7046 h 9959"/>
                <a:gd name="connsiteX130" fmla="*/ 660 w 10000"/>
                <a:gd name="connsiteY130" fmla="*/ 7205 h 9959"/>
                <a:gd name="connsiteX131" fmla="*/ 741 w 10000"/>
                <a:gd name="connsiteY131" fmla="*/ 7363 h 9959"/>
                <a:gd name="connsiteX132" fmla="*/ 823 w 10000"/>
                <a:gd name="connsiteY132" fmla="*/ 7534 h 9959"/>
                <a:gd name="connsiteX133" fmla="*/ 904 w 10000"/>
                <a:gd name="connsiteY133" fmla="*/ 7690 h 9959"/>
                <a:gd name="connsiteX134" fmla="*/ 993 w 10000"/>
                <a:gd name="connsiteY134" fmla="*/ 7845 h 9959"/>
                <a:gd name="connsiteX135" fmla="*/ 1090 w 10000"/>
                <a:gd name="connsiteY135" fmla="*/ 7994 h 9959"/>
                <a:gd name="connsiteX136" fmla="*/ 1186 w 10000"/>
                <a:gd name="connsiteY136" fmla="*/ 8154 h 9959"/>
                <a:gd name="connsiteX137" fmla="*/ 1290 w 10000"/>
                <a:gd name="connsiteY137" fmla="*/ 8309 h 9959"/>
                <a:gd name="connsiteX138" fmla="*/ 1386 w 10000"/>
                <a:gd name="connsiteY138" fmla="*/ 8460 h 9959"/>
                <a:gd name="connsiteX139" fmla="*/ 1497 w 10000"/>
                <a:gd name="connsiteY139" fmla="*/ 8612 h 9959"/>
                <a:gd name="connsiteX140" fmla="*/ 1609 w 10000"/>
                <a:gd name="connsiteY140" fmla="*/ 8754 h 9959"/>
                <a:gd name="connsiteX141" fmla="*/ 1727 w 10000"/>
                <a:gd name="connsiteY141" fmla="*/ 8906 h 9959"/>
                <a:gd name="connsiteX142" fmla="*/ 1846 w 10000"/>
                <a:gd name="connsiteY142" fmla="*/ 9048 h 9959"/>
                <a:gd name="connsiteX143" fmla="*/ 1964 w 10000"/>
                <a:gd name="connsiteY143" fmla="*/ 9187 h 9959"/>
                <a:gd name="connsiteX144" fmla="*/ 2090 w 10000"/>
                <a:gd name="connsiteY144" fmla="*/ 9323 h 9959"/>
                <a:gd name="connsiteX145" fmla="*/ 2224 w 10000"/>
                <a:gd name="connsiteY145" fmla="*/ 9465 h 9959"/>
                <a:gd name="connsiteX146" fmla="*/ 2350 w 10000"/>
                <a:gd name="connsiteY146" fmla="*/ 9604 h 9959"/>
                <a:gd name="connsiteX147" fmla="*/ 2491 w 10000"/>
                <a:gd name="connsiteY147" fmla="*/ 9737 h 9959"/>
                <a:gd name="connsiteX148" fmla="*/ 2617 w 10000"/>
                <a:gd name="connsiteY148" fmla="*/ 9870 h 9959"/>
                <a:gd name="connsiteX149" fmla="*/ 7539 w 10000"/>
                <a:gd name="connsiteY149" fmla="*/ 9767 h 9959"/>
                <a:gd name="connsiteX150" fmla="*/ 10000 w 10000"/>
                <a:gd name="connsiteY150" fmla="*/ 7730 h 9959"/>
                <a:gd name="connsiteX0" fmla="*/ 10000 w 10000"/>
                <a:gd name="connsiteY0" fmla="*/ 7762 h 9807"/>
                <a:gd name="connsiteX1" fmla="*/ 10000 w 10000"/>
                <a:gd name="connsiteY1" fmla="*/ 7762 h 9807"/>
                <a:gd name="connsiteX2" fmla="*/ 9911 w 10000"/>
                <a:gd name="connsiteY2" fmla="*/ 7744 h 9807"/>
                <a:gd name="connsiteX3" fmla="*/ 9815 w 10000"/>
                <a:gd name="connsiteY3" fmla="*/ 7722 h 9807"/>
                <a:gd name="connsiteX4" fmla="*/ 9726 w 10000"/>
                <a:gd name="connsiteY4" fmla="*/ 7700 h 9807"/>
                <a:gd name="connsiteX5" fmla="*/ 9637 w 10000"/>
                <a:gd name="connsiteY5" fmla="*/ 7667 h 9807"/>
                <a:gd name="connsiteX6" fmla="*/ 9548 w 10000"/>
                <a:gd name="connsiteY6" fmla="*/ 7643 h 9807"/>
                <a:gd name="connsiteX7" fmla="*/ 9466 w 10000"/>
                <a:gd name="connsiteY7" fmla="*/ 7616 h 9807"/>
                <a:gd name="connsiteX8" fmla="*/ 9377 w 10000"/>
                <a:gd name="connsiteY8" fmla="*/ 7589 h 9807"/>
                <a:gd name="connsiteX9" fmla="*/ 9288 w 10000"/>
                <a:gd name="connsiteY9" fmla="*/ 7558 h 9807"/>
                <a:gd name="connsiteX10" fmla="*/ 9118 w 10000"/>
                <a:gd name="connsiteY10" fmla="*/ 7495 h 9807"/>
                <a:gd name="connsiteX11" fmla="*/ 8955 w 10000"/>
                <a:gd name="connsiteY11" fmla="*/ 7424 h 9807"/>
                <a:gd name="connsiteX12" fmla="*/ 8792 w 10000"/>
                <a:gd name="connsiteY12" fmla="*/ 7352 h 9807"/>
                <a:gd name="connsiteX13" fmla="*/ 8636 w 10000"/>
                <a:gd name="connsiteY13" fmla="*/ 7268 h 9807"/>
                <a:gd name="connsiteX14" fmla="*/ 8480 w 10000"/>
                <a:gd name="connsiteY14" fmla="*/ 7183 h 9807"/>
                <a:gd name="connsiteX15" fmla="*/ 8340 w 10000"/>
                <a:gd name="connsiteY15" fmla="*/ 7103 h 9807"/>
                <a:gd name="connsiteX16" fmla="*/ 8199 w 10000"/>
                <a:gd name="connsiteY16" fmla="*/ 7007 h 9807"/>
                <a:gd name="connsiteX17" fmla="*/ 8058 w 10000"/>
                <a:gd name="connsiteY17" fmla="*/ 6906 h 9807"/>
                <a:gd name="connsiteX18" fmla="*/ 7924 w 10000"/>
                <a:gd name="connsiteY18" fmla="*/ 6805 h 9807"/>
                <a:gd name="connsiteX19" fmla="*/ 7798 w 10000"/>
                <a:gd name="connsiteY19" fmla="*/ 6695 h 9807"/>
                <a:gd name="connsiteX20" fmla="*/ 7672 w 10000"/>
                <a:gd name="connsiteY20" fmla="*/ 6590 h 9807"/>
                <a:gd name="connsiteX21" fmla="*/ 7554 w 10000"/>
                <a:gd name="connsiteY21" fmla="*/ 6479 h 9807"/>
                <a:gd name="connsiteX22" fmla="*/ 7450 w 10000"/>
                <a:gd name="connsiteY22" fmla="*/ 6359 h 9807"/>
                <a:gd name="connsiteX23" fmla="*/ 7346 w 10000"/>
                <a:gd name="connsiteY23" fmla="*/ 6237 h 9807"/>
                <a:gd name="connsiteX24" fmla="*/ 7250 w 10000"/>
                <a:gd name="connsiteY24" fmla="*/ 6113 h 9807"/>
                <a:gd name="connsiteX25" fmla="*/ 7161 w 10000"/>
                <a:gd name="connsiteY25" fmla="*/ 5988 h 9807"/>
                <a:gd name="connsiteX26" fmla="*/ 7072 w 10000"/>
                <a:gd name="connsiteY26" fmla="*/ 5857 h 9807"/>
                <a:gd name="connsiteX27" fmla="*/ 6990 w 10000"/>
                <a:gd name="connsiteY27" fmla="*/ 5717 h 9807"/>
                <a:gd name="connsiteX28" fmla="*/ 6953 w 10000"/>
                <a:gd name="connsiteY28" fmla="*/ 5657 h 9807"/>
                <a:gd name="connsiteX29" fmla="*/ 6916 w 10000"/>
                <a:gd name="connsiteY29" fmla="*/ 5583 h 9807"/>
                <a:gd name="connsiteX30" fmla="*/ 6887 w 10000"/>
                <a:gd name="connsiteY30" fmla="*/ 5517 h 9807"/>
                <a:gd name="connsiteX31" fmla="*/ 6850 w 10000"/>
                <a:gd name="connsiteY31" fmla="*/ 5445 h 9807"/>
                <a:gd name="connsiteX32" fmla="*/ 6820 w 10000"/>
                <a:gd name="connsiteY32" fmla="*/ 5376 h 9807"/>
                <a:gd name="connsiteX33" fmla="*/ 6790 w 10000"/>
                <a:gd name="connsiteY33" fmla="*/ 5306 h 9807"/>
                <a:gd name="connsiteX34" fmla="*/ 6768 w 10000"/>
                <a:gd name="connsiteY34" fmla="*/ 5231 h 9807"/>
                <a:gd name="connsiteX35" fmla="*/ 6738 w 10000"/>
                <a:gd name="connsiteY35" fmla="*/ 5162 h 9807"/>
                <a:gd name="connsiteX36" fmla="*/ 6723 w 10000"/>
                <a:gd name="connsiteY36" fmla="*/ 5086 h 9807"/>
                <a:gd name="connsiteX37" fmla="*/ 6694 w 10000"/>
                <a:gd name="connsiteY37" fmla="*/ 5015 h 9807"/>
                <a:gd name="connsiteX38" fmla="*/ 6679 w 10000"/>
                <a:gd name="connsiteY38" fmla="*/ 4940 h 9807"/>
                <a:gd name="connsiteX39" fmla="*/ 6664 w 10000"/>
                <a:gd name="connsiteY39" fmla="*/ 4868 h 9807"/>
                <a:gd name="connsiteX40" fmla="*/ 6649 w 10000"/>
                <a:gd name="connsiteY40" fmla="*/ 4790 h 9807"/>
                <a:gd name="connsiteX41" fmla="*/ 6635 w 10000"/>
                <a:gd name="connsiteY41" fmla="*/ 4719 h 9807"/>
                <a:gd name="connsiteX42" fmla="*/ 6620 w 10000"/>
                <a:gd name="connsiteY42" fmla="*/ 4644 h 9807"/>
                <a:gd name="connsiteX43" fmla="*/ 6612 w 10000"/>
                <a:gd name="connsiteY43" fmla="*/ 4570 h 9807"/>
                <a:gd name="connsiteX44" fmla="*/ 6605 w 10000"/>
                <a:gd name="connsiteY44" fmla="*/ 4491 h 9807"/>
                <a:gd name="connsiteX45" fmla="*/ 6597 w 10000"/>
                <a:gd name="connsiteY45" fmla="*/ 4410 h 9807"/>
                <a:gd name="connsiteX46" fmla="*/ 6597 w 10000"/>
                <a:gd name="connsiteY46" fmla="*/ 4337 h 9807"/>
                <a:gd name="connsiteX47" fmla="*/ 6590 w 10000"/>
                <a:gd name="connsiteY47" fmla="*/ 4256 h 9807"/>
                <a:gd name="connsiteX48" fmla="*/ 6597 w 10000"/>
                <a:gd name="connsiteY48" fmla="*/ 4180 h 9807"/>
                <a:gd name="connsiteX49" fmla="*/ 6605 w 10000"/>
                <a:gd name="connsiteY49" fmla="*/ 4096 h 9807"/>
                <a:gd name="connsiteX50" fmla="*/ 6605 w 10000"/>
                <a:gd name="connsiteY50" fmla="*/ 4012 h 9807"/>
                <a:gd name="connsiteX51" fmla="*/ 6612 w 10000"/>
                <a:gd name="connsiteY51" fmla="*/ 3930 h 9807"/>
                <a:gd name="connsiteX52" fmla="*/ 6620 w 10000"/>
                <a:gd name="connsiteY52" fmla="*/ 3848 h 9807"/>
                <a:gd name="connsiteX53" fmla="*/ 6635 w 10000"/>
                <a:gd name="connsiteY53" fmla="*/ 3776 h 9807"/>
                <a:gd name="connsiteX54" fmla="*/ 6649 w 10000"/>
                <a:gd name="connsiteY54" fmla="*/ 3693 h 9807"/>
                <a:gd name="connsiteX55" fmla="*/ 6664 w 10000"/>
                <a:gd name="connsiteY55" fmla="*/ 3617 h 9807"/>
                <a:gd name="connsiteX56" fmla="*/ 6686 w 10000"/>
                <a:gd name="connsiteY56" fmla="*/ 3534 h 9807"/>
                <a:gd name="connsiteX57" fmla="*/ 6709 w 10000"/>
                <a:gd name="connsiteY57" fmla="*/ 3461 h 9807"/>
                <a:gd name="connsiteX58" fmla="*/ 6731 w 10000"/>
                <a:gd name="connsiteY58" fmla="*/ 3383 h 9807"/>
                <a:gd name="connsiteX59" fmla="*/ 6753 w 10000"/>
                <a:gd name="connsiteY59" fmla="*/ 3302 h 9807"/>
                <a:gd name="connsiteX60" fmla="*/ 6783 w 10000"/>
                <a:gd name="connsiteY60" fmla="*/ 3235 h 9807"/>
                <a:gd name="connsiteX61" fmla="*/ 6812 w 10000"/>
                <a:gd name="connsiteY61" fmla="*/ 3159 h 9807"/>
                <a:gd name="connsiteX62" fmla="*/ 6842 w 10000"/>
                <a:gd name="connsiteY62" fmla="*/ 3080 h 9807"/>
                <a:gd name="connsiteX63" fmla="*/ 6879 w 10000"/>
                <a:gd name="connsiteY63" fmla="*/ 3007 h 9807"/>
                <a:gd name="connsiteX64" fmla="*/ 6909 w 10000"/>
                <a:gd name="connsiteY64" fmla="*/ 2937 h 9807"/>
                <a:gd name="connsiteX65" fmla="*/ 6946 w 10000"/>
                <a:gd name="connsiteY65" fmla="*/ 2859 h 9807"/>
                <a:gd name="connsiteX66" fmla="*/ 6990 w 10000"/>
                <a:gd name="connsiteY66" fmla="*/ 2795 h 9807"/>
                <a:gd name="connsiteX67" fmla="*/ 7027 w 10000"/>
                <a:gd name="connsiteY67" fmla="*/ 2722 h 9807"/>
                <a:gd name="connsiteX68" fmla="*/ 7072 w 10000"/>
                <a:gd name="connsiteY68" fmla="*/ 2656 h 9807"/>
                <a:gd name="connsiteX69" fmla="*/ 7109 w 10000"/>
                <a:gd name="connsiteY69" fmla="*/ 2581 h 9807"/>
                <a:gd name="connsiteX70" fmla="*/ 7161 w 10000"/>
                <a:gd name="connsiteY70" fmla="*/ 2520 h 9807"/>
                <a:gd name="connsiteX71" fmla="*/ 7213 w 10000"/>
                <a:gd name="connsiteY71" fmla="*/ 2448 h 9807"/>
                <a:gd name="connsiteX72" fmla="*/ 7257 w 10000"/>
                <a:gd name="connsiteY72" fmla="*/ 2383 h 9807"/>
                <a:gd name="connsiteX73" fmla="*/ 7309 w 10000"/>
                <a:gd name="connsiteY73" fmla="*/ 2318 h 9807"/>
                <a:gd name="connsiteX74" fmla="*/ 7361 w 10000"/>
                <a:gd name="connsiteY74" fmla="*/ 2248 h 9807"/>
                <a:gd name="connsiteX75" fmla="*/ 7413 w 10000"/>
                <a:gd name="connsiteY75" fmla="*/ 2188 h 9807"/>
                <a:gd name="connsiteX76" fmla="*/ 7472 w 10000"/>
                <a:gd name="connsiteY76" fmla="*/ 2124 h 9807"/>
                <a:gd name="connsiteX77" fmla="*/ 7524 w 10000"/>
                <a:gd name="connsiteY77" fmla="*/ 2068 h 9807"/>
                <a:gd name="connsiteX78" fmla="*/ 7583 w 10000"/>
                <a:gd name="connsiteY78" fmla="*/ 2004 h 9807"/>
                <a:gd name="connsiteX79" fmla="*/ 7610 w 10000"/>
                <a:gd name="connsiteY79" fmla="*/ 1969 h 9807"/>
                <a:gd name="connsiteX80" fmla="*/ 5390 w 10000"/>
                <a:gd name="connsiteY80" fmla="*/ 6 h 9807"/>
                <a:gd name="connsiteX81" fmla="*/ 1401 w 10000"/>
                <a:gd name="connsiteY81" fmla="*/ 0 h 9807"/>
                <a:gd name="connsiteX82" fmla="*/ 1305 w 10000"/>
                <a:gd name="connsiteY82" fmla="*/ 148 h 9807"/>
                <a:gd name="connsiteX83" fmla="*/ 1223 w 10000"/>
                <a:gd name="connsiteY83" fmla="*/ 260 h 9807"/>
                <a:gd name="connsiteX84" fmla="*/ 1149 w 10000"/>
                <a:gd name="connsiteY84" fmla="*/ 382 h 9807"/>
                <a:gd name="connsiteX85" fmla="*/ 1067 w 10000"/>
                <a:gd name="connsiteY85" fmla="*/ 504 h 9807"/>
                <a:gd name="connsiteX86" fmla="*/ 1001 w 10000"/>
                <a:gd name="connsiteY86" fmla="*/ 627 h 9807"/>
                <a:gd name="connsiteX87" fmla="*/ 927 w 10000"/>
                <a:gd name="connsiteY87" fmla="*/ 747 h 9807"/>
                <a:gd name="connsiteX88" fmla="*/ 860 w 10000"/>
                <a:gd name="connsiteY88" fmla="*/ 878 h 9807"/>
                <a:gd name="connsiteX89" fmla="*/ 793 w 10000"/>
                <a:gd name="connsiteY89" fmla="*/ 1006 h 9807"/>
                <a:gd name="connsiteX90" fmla="*/ 734 w 10000"/>
                <a:gd name="connsiteY90" fmla="*/ 1125 h 9807"/>
                <a:gd name="connsiteX91" fmla="*/ 675 w 10000"/>
                <a:gd name="connsiteY91" fmla="*/ 1257 h 9807"/>
                <a:gd name="connsiteX92" fmla="*/ 615 w 10000"/>
                <a:gd name="connsiteY92" fmla="*/ 1381 h 9807"/>
                <a:gd name="connsiteX93" fmla="*/ 556 w 10000"/>
                <a:gd name="connsiteY93" fmla="*/ 1516 h 9807"/>
                <a:gd name="connsiteX94" fmla="*/ 504 w 10000"/>
                <a:gd name="connsiteY94" fmla="*/ 1639 h 9807"/>
                <a:gd name="connsiteX95" fmla="*/ 452 w 10000"/>
                <a:gd name="connsiteY95" fmla="*/ 1768 h 9807"/>
                <a:gd name="connsiteX96" fmla="*/ 408 w 10000"/>
                <a:gd name="connsiteY96" fmla="*/ 1898 h 9807"/>
                <a:gd name="connsiteX97" fmla="*/ 363 w 10000"/>
                <a:gd name="connsiteY97" fmla="*/ 2029 h 9807"/>
                <a:gd name="connsiteX98" fmla="*/ 319 w 10000"/>
                <a:gd name="connsiteY98" fmla="*/ 2168 h 9807"/>
                <a:gd name="connsiteX99" fmla="*/ 282 w 10000"/>
                <a:gd name="connsiteY99" fmla="*/ 2299 h 9807"/>
                <a:gd name="connsiteX100" fmla="*/ 237 w 10000"/>
                <a:gd name="connsiteY100" fmla="*/ 2436 h 9807"/>
                <a:gd name="connsiteX101" fmla="*/ 208 w 10000"/>
                <a:gd name="connsiteY101" fmla="*/ 2571 h 9807"/>
                <a:gd name="connsiteX102" fmla="*/ 170 w 10000"/>
                <a:gd name="connsiteY102" fmla="*/ 2709 h 9807"/>
                <a:gd name="connsiteX103" fmla="*/ 148 w 10000"/>
                <a:gd name="connsiteY103" fmla="*/ 2848 h 9807"/>
                <a:gd name="connsiteX104" fmla="*/ 119 w 10000"/>
                <a:gd name="connsiteY104" fmla="*/ 2985 h 9807"/>
                <a:gd name="connsiteX105" fmla="*/ 96 w 10000"/>
                <a:gd name="connsiteY105" fmla="*/ 3120 h 9807"/>
                <a:gd name="connsiteX106" fmla="*/ 74 w 10000"/>
                <a:gd name="connsiteY106" fmla="*/ 3262 h 9807"/>
                <a:gd name="connsiteX107" fmla="*/ 52 w 10000"/>
                <a:gd name="connsiteY107" fmla="*/ 3408 h 9807"/>
                <a:gd name="connsiteX108" fmla="*/ 37 w 10000"/>
                <a:gd name="connsiteY108" fmla="*/ 3547 h 9807"/>
                <a:gd name="connsiteX109" fmla="*/ 22 w 10000"/>
                <a:gd name="connsiteY109" fmla="*/ 3686 h 9807"/>
                <a:gd name="connsiteX110" fmla="*/ 15 w 10000"/>
                <a:gd name="connsiteY110" fmla="*/ 3825 h 9807"/>
                <a:gd name="connsiteX111" fmla="*/ 7 w 10000"/>
                <a:gd name="connsiteY111" fmla="*/ 3970 h 9807"/>
                <a:gd name="connsiteX112" fmla="*/ 0 w 10000"/>
                <a:gd name="connsiteY112" fmla="*/ 4109 h 9807"/>
                <a:gd name="connsiteX113" fmla="*/ 0 w 10000"/>
                <a:gd name="connsiteY113" fmla="*/ 4256 h 9807"/>
                <a:gd name="connsiteX114" fmla="*/ 7 w 10000"/>
                <a:gd name="connsiteY114" fmla="*/ 4443 h 9807"/>
                <a:gd name="connsiteX115" fmla="*/ 7 w 10000"/>
                <a:gd name="connsiteY115" fmla="*/ 4627 h 9807"/>
                <a:gd name="connsiteX116" fmla="*/ 22 w 10000"/>
                <a:gd name="connsiteY116" fmla="*/ 4800 h 9807"/>
                <a:gd name="connsiteX117" fmla="*/ 37 w 10000"/>
                <a:gd name="connsiteY117" fmla="*/ 4982 h 9807"/>
                <a:gd name="connsiteX118" fmla="*/ 59 w 10000"/>
                <a:gd name="connsiteY118" fmla="*/ 5162 h 9807"/>
                <a:gd name="connsiteX119" fmla="*/ 89 w 10000"/>
                <a:gd name="connsiteY119" fmla="*/ 5343 h 9807"/>
                <a:gd name="connsiteX120" fmla="*/ 119 w 10000"/>
                <a:gd name="connsiteY120" fmla="*/ 5521 h 9807"/>
                <a:gd name="connsiteX121" fmla="*/ 148 w 10000"/>
                <a:gd name="connsiteY121" fmla="*/ 5699 h 9807"/>
                <a:gd name="connsiteX122" fmla="*/ 193 w 10000"/>
                <a:gd name="connsiteY122" fmla="*/ 5876 h 9807"/>
                <a:gd name="connsiteX123" fmla="*/ 237 w 10000"/>
                <a:gd name="connsiteY123" fmla="*/ 6050 h 9807"/>
                <a:gd name="connsiteX124" fmla="*/ 282 w 10000"/>
                <a:gd name="connsiteY124" fmla="*/ 6226 h 9807"/>
                <a:gd name="connsiteX125" fmla="*/ 334 w 10000"/>
                <a:gd name="connsiteY125" fmla="*/ 6397 h 9807"/>
                <a:gd name="connsiteX126" fmla="*/ 393 w 10000"/>
                <a:gd name="connsiteY126" fmla="*/ 6563 h 9807"/>
                <a:gd name="connsiteX127" fmla="*/ 452 w 10000"/>
                <a:gd name="connsiteY127" fmla="*/ 6735 h 9807"/>
                <a:gd name="connsiteX128" fmla="*/ 519 w 10000"/>
                <a:gd name="connsiteY128" fmla="*/ 6901 h 9807"/>
                <a:gd name="connsiteX129" fmla="*/ 586 w 10000"/>
                <a:gd name="connsiteY129" fmla="*/ 7075 h 9807"/>
                <a:gd name="connsiteX130" fmla="*/ 660 w 10000"/>
                <a:gd name="connsiteY130" fmla="*/ 7235 h 9807"/>
                <a:gd name="connsiteX131" fmla="*/ 741 w 10000"/>
                <a:gd name="connsiteY131" fmla="*/ 7393 h 9807"/>
                <a:gd name="connsiteX132" fmla="*/ 823 w 10000"/>
                <a:gd name="connsiteY132" fmla="*/ 7565 h 9807"/>
                <a:gd name="connsiteX133" fmla="*/ 904 w 10000"/>
                <a:gd name="connsiteY133" fmla="*/ 7722 h 9807"/>
                <a:gd name="connsiteX134" fmla="*/ 993 w 10000"/>
                <a:gd name="connsiteY134" fmla="*/ 7877 h 9807"/>
                <a:gd name="connsiteX135" fmla="*/ 1090 w 10000"/>
                <a:gd name="connsiteY135" fmla="*/ 8027 h 9807"/>
                <a:gd name="connsiteX136" fmla="*/ 1186 w 10000"/>
                <a:gd name="connsiteY136" fmla="*/ 8188 h 9807"/>
                <a:gd name="connsiteX137" fmla="*/ 1290 w 10000"/>
                <a:gd name="connsiteY137" fmla="*/ 8343 h 9807"/>
                <a:gd name="connsiteX138" fmla="*/ 1386 w 10000"/>
                <a:gd name="connsiteY138" fmla="*/ 8495 h 9807"/>
                <a:gd name="connsiteX139" fmla="*/ 1497 w 10000"/>
                <a:gd name="connsiteY139" fmla="*/ 8647 h 9807"/>
                <a:gd name="connsiteX140" fmla="*/ 1609 w 10000"/>
                <a:gd name="connsiteY140" fmla="*/ 8790 h 9807"/>
                <a:gd name="connsiteX141" fmla="*/ 1727 w 10000"/>
                <a:gd name="connsiteY141" fmla="*/ 8943 h 9807"/>
                <a:gd name="connsiteX142" fmla="*/ 1846 w 10000"/>
                <a:gd name="connsiteY142" fmla="*/ 9085 h 9807"/>
                <a:gd name="connsiteX143" fmla="*/ 1964 w 10000"/>
                <a:gd name="connsiteY143" fmla="*/ 9225 h 9807"/>
                <a:gd name="connsiteX144" fmla="*/ 2090 w 10000"/>
                <a:gd name="connsiteY144" fmla="*/ 9361 h 9807"/>
                <a:gd name="connsiteX145" fmla="*/ 2224 w 10000"/>
                <a:gd name="connsiteY145" fmla="*/ 9504 h 9807"/>
                <a:gd name="connsiteX146" fmla="*/ 2350 w 10000"/>
                <a:gd name="connsiteY146" fmla="*/ 9644 h 9807"/>
                <a:gd name="connsiteX147" fmla="*/ 2491 w 10000"/>
                <a:gd name="connsiteY147" fmla="*/ 9777 h 9807"/>
                <a:gd name="connsiteX148" fmla="*/ 7539 w 10000"/>
                <a:gd name="connsiteY148" fmla="*/ 9807 h 9807"/>
                <a:gd name="connsiteX149" fmla="*/ 10000 w 10000"/>
                <a:gd name="connsiteY149" fmla="*/ 7762 h 9807"/>
                <a:gd name="connsiteX0" fmla="*/ 10000 w 10000"/>
                <a:gd name="connsiteY0" fmla="*/ 7915 h 10000"/>
                <a:gd name="connsiteX1" fmla="*/ 10000 w 10000"/>
                <a:gd name="connsiteY1" fmla="*/ 7915 h 10000"/>
                <a:gd name="connsiteX2" fmla="*/ 9911 w 10000"/>
                <a:gd name="connsiteY2" fmla="*/ 7896 h 10000"/>
                <a:gd name="connsiteX3" fmla="*/ 9815 w 10000"/>
                <a:gd name="connsiteY3" fmla="*/ 7874 h 10000"/>
                <a:gd name="connsiteX4" fmla="*/ 9726 w 10000"/>
                <a:gd name="connsiteY4" fmla="*/ 7852 h 10000"/>
                <a:gd name="connsiteX5" fmla="*/ 9637 w 10000"/>
                <a:gd name="connsiteY5" fmla="*/ 7818 h 10000"/>
                <a:gd name="connsiteX6" fmla="*/ 9548 w 10000"/>
                <a:gd name="connsiteY6" fmla="*/ 7793 h 10000"/>
                <a:gd name="connsiteX7" fmla="*/ 9466 w 10000"/>
                <a:gd name="connsiteY7" fmla="*/ 7766 h 10000"/>
                <a:gd name="connsiteX8" fmla="*/ 9377 w 10000"/>
                <a:gd name="connsiteY8" fmla="*/ 7738 h 10000"/>
                <a:gd name="connsiteX9" fmla="*/ 9288 w 10000"/>
                <a:gd name="connsiteY9" fmla="*/ 7707 h 10000"/>
                <a:gd name="connsiteX10" fmla="*/ 9118 w 10000"/>
                <a:gd name="connsiteY10" fmla="*/ 7643 h 10000"/>
                <a:gd name="connsiteX11" fmla="*/ 8955 w 10000"/>
                <a:gd name="connsiteY11" fmla="*/ 7570 h 10000"/>
                <a:gd name="connsiteX12" fmla="*/ 8792 w 10000"/>
                <a:gd name="connsiteY12" fmla="*/ 7497 h 10000"/>
                <a:gd name="connsiteX13" fmla="*/ 8636 w 10000"/>
                <a:gd name="connsiteY13" fmla="*/ 7411 h 10000"/>
                <a:gd name="connsiteX14" fmla="*/ 8480 w 10000"/>
                <a:gd name="connsiteY14" fmla="*/ 7324 h 10000"/>
                <a:gd name="connsiteX15" fmla="*/ 8340 w 10000"/>
                <a:gd name="connsiteY15" fmla="*/ 7243 h 10000"/>
                <a:gd name="connsiteX16" fmla="*/ 8199 w 10000"/>
                <a:gd name="connsiteY16" fmla="*/ 7145 h 10000"/>
                <a:gd name="connsiteX17" fmla="*/ 8058 w 10000"/>
                <a:gd name="connsiteY17" fmla="*/ 7042 h 10000"/>
                <a:gd name="connsiteX18" fmla="*/ 7924 w 10000"/>
                <a:gd name="connsiteY18" fmla="*/ 6939 h 10000"/>
                <a:gd name="connsiteX19" fmla="*/ 7798 w 10000"/>
                <a:gd name="connsiteY19" fmla="*/ 6827 h 10000"/>
                <a:gd name="connsiteX20" fmla="*/ 7672 w 10000"/>
                <a:gd name="connsiteY20" fmla="*/ 6720 h 10000"/>
                <a:gd name="connsiteX21" fmla="*/ 7554 w 10000"/>
                <a:gd name="connsiteY21" fmla="*/ 6607 h 10000"/>
                <a:gd name="connsiteX22" fmla="*/ 7450 w 10000"/>
                <a:gd name="connsiteY22" fmla="*/ 6484 h 10000"/>
                <a:gd name="connsiteX23" fmla="*/ 7346 w 10000"/>
                <a:gd name="connsiteY23" fmla="*/ 6360 h 10000"/>
                <a:gd name="connsiteX24" fmla="*/ 7250 w 10000"/>
                <a:gd name="connsiteY24" fmla="*/ 6233 h 10000"/>
                <a:gd name="connsiteX25" fmla="*/ 7161 w 10000"/>
                <a:gd name="connsiteY25" fmla="*/ 6106 h 10000"/>
                <a:gd name="connsiteX26" fmla="*/ 7072 w 10000"/>
                <a:gd name="connsiteY26" fmla="*/ 5972 h 10000"/>
                <a:gd name="connsiteX27" fmla="*/ 6990 w 10000"/>
                <a:gd name="connsiteY27" fmla="*/ 5830 h 10000"/>
                <a:gd name="connsiteX28" fmla="*/ 6953 w 10000"/>
                <a:gd name="connsiteY28" fmla="*/ 5768 h 10000"/>
                <a:gd name="connsiteX29" fmla="*/ 6916 w 10000"/>
                <a:gd name="connsiteY29" fmla="*/ 5693 h 10000"/>
                <a:gd name="connsiteX30" fmla="*/ 6887 w 10000"/>
                <a:gd name="connsiteY30" fmla="*/ 5626 h 10000"/>
                <a:gd name="connsiteX31" fmla="*/ 6850 w 10000"/>
                <a:gd name="connsiteY31" fmla="*/ 5552 h 10000"/>
                <a:gd name="connsiteX32" fmla="*/ 6820 w 10000"/>
                <a:gd name="connsiteY32" fmla="*/ 5482 h 10000"/>
                <a:gd name="connsiteX33" fmla="*/ 6790 w 10000"/>
                <a:gd name="connsiteY33" fmla="*/ 5410 h 10000"/>
                <a:gd name="connsiteX34" fmla="*/ 6768 w 10000"/>
                <a:gd name="connsiteY34" fmla="*/ 5334 h 10000"/>
                <a:gd name="connsiteX35" fmla="*/ 6738 w 10000"/>
                <a:gd name="connsiteY35" fmla="*/ 5264 h 10000"/>
                <a:gd name="connsiteX36" fmla="*/ 6723 w 10000"/>
                <a:gd name="connsiteY36" fmla="*/ 5186 h 10000"/>
                <a:gd name="connsiteX37" fmla="*/ 6694 w 10000"/>
                <a:gd name="connsiteY37" fmla="*/ 5114 h 10000"/>
                <a:gd name="connsiteX38" fmla="*/ 6679 w 10000"/>
                <a:gd name="connsiteY38" fmla="*/ 5037 h 10000"/>
                <a:gd name="connsiteX39" fmla="*/ 6664 w 10000"/>
                <a:gd name="connsiteY39" fmla="*/ 4964 h 10000"/>
                <a:gd name="connsiteX40" fmla="*/ 6649 w 10000"/>
                <a:gd name="connsiteY40" fmla="*/ 4884 h 10000"/>
                <a:gd name="connsiteX41" fmla="*/ 6635 w 10000"/>
                <a:gd name="connsiteY41" fmla="*/ 4812 h 10000"/>
                <a:gd name="connsiteX42" fmla="*/ 6620 w 10000"/>
                <a:gd name="connsiteY42" fmla="*/ 4735 h 10000"/>
                <a:gd name="connsiteX43" fmla="*/ 6612 w 10000"/>
                <a:gd name="connsiteY43" fmla="*/ 4660 h 10000"/>
                <a:gd name="connsiteX44" fmla="*/ 6605 w 10000"/>
                <a:gd name="connsiteY44" fmla="*/ 4579 h 10000"/>
                <a:gd name="connsiteX45" fmla="*/ 6597 w 10000"/>
                <a:gd name="connsiteY45" fmla="*/ 4497 h 10000"/>
                <a:gd name="connsiteX46" fmla="*/ 6597 w 10000"/>
                <a:gd name="connsiteY46" fmla="*/ 4422 h 10000"/>
                <a:gd name="connsiteX47" fmla="*/ 6590 w 10000"/>
                <a:gd name="connsiteY47" fmla="*/ 4340 h 10000"/>
                <a:gd name="connsiteX48" fmla="*/ 6597 w 10000"/>
                <a:gd name="connsiteY48" fmla="*/ 4262 h 10000"/>
                <a:gd name="connsiteX49" fmla="*/ 6605 w 10000"/>
                <a:gd name="connsiteY49" fmla="*/ 4177 h 10000"/>
                <a:gd name="connsiteX50" fmla="*/ 6605 w 10000"/>
                <a:gd name="connsiteY50" fmla="*/ 4091 h 10000"/>
                <a:gd name="connsiteX51" fmla="*/ 6612 w 10000"/>
                <a:gd name="connsiteY51" fmla="*/ 4007 h 10000"/>
                <a:gd name="connsiteX52" fmla="*/ 6620 w 10000"/>
                <a:gd name="connsiteY52" fmla="*/ 3924 h 10000"/>
                <a:gd name="connsiteX53" fmla="*/ 6635 w 10000"/>
                <a:gd name="connsiteY53" fmla="*/ 3850 h 10000"/>
                <a:gd name="connsiteX54" fmla="*/ 6649 w 10000"/>
                <a:gd name="connsiteY54" fmla="*/ 3766 h 10000"/>
                <a:gd name="connsiteX55" fmla="*/ 6664 w 10000"/>
                <a:gd name="connsiteY55" fmla="*/ 3688 h 10000"/>
                <a:gd name="connsiteX56" fmla="*/ 6686 w 10000"/>
                <a:gd name="connsiteY56" fmla="*/ 3604 h 10000"/>
                <a:gd name="connsiteX57" fmla="*/ 6709 w 10000"/>
                <a:gd name="connsiteY57" fmla="*/ 3529 h 10000"/>
                <a:gd name="connsiteX58" fmla="*/ 6731 w 10000"/>
                <a:gd name="connsiteY58" fmla="*/ 3450 h 10000"/>
                <a:gd name="connsiteX59" fmla="*/ 6753 w 10000"/>
                <a:gd name="connsiteY59" fmla="*/ 3367 h 10000"/>
                <a:gd name="connsiteX60" fmla="*/ 6783 w 10000"/>
                <a:gd name="connsiteY60" fmla="*/ 3299 h 10000"/>
                <a:gd name="connsiteX61" fmla="*/ 6812 w 10000"/>
                <a:gd name="connsiteY61" fmla="*/ 3221 h 10000"/>
                <a:gd name="connsiteX62" fmla="*/ 6842 w 10000"/>
                <a:gd name="connsiteY62" fmla="*/ 3141 h 10000"/>
                <a:gd name="connsiteX63" fmla="*/ 6879 w 10000"/>
                <a:gd name="connsiteY63" fmla="*/ 3066 h 10000"/>
                <a:gd name="connsiteX64" fmla="*/ 6909 w 10000"/>
                <a:gd name="connsiteY64" fmla="*/ 2995 h 10000"/>
                <a:gd name="connsiteX65" fmla="*/ 6946 w 10000"/>
                <a:gd name="connsiteY65" fmla="*/ 2915 h 10000"/>
                <a:gd name="connsiteX66" fmla="*/ 6990 w 10000"/>
                <a:gd name="connsiteY66" fmla="*/ 2850 h 10000"/>
                <a:gd name="connsiteX67" fmla="*/ 7027 w 10000"/>
                <a:gd name="connsiteY67" fmla="*/ 2776 h 10000"/>
                <a:gd name="connsiteX68" fmla="*/ 7072 w 10000"/>
                <a:gd name="connsiteY68" fmla="*/ 2708 h 10000"/>
                <a:gd name="connsiteX69" fmla="*/ 7109 w 10000"/>
                <a:gd name="connsiteY69" fmla="*/ 2632 h 10000"/>
                <a:gd name="connsiteX70" fmla="*/ 7161 w 10000"/>
                <a:gd name="connsiteY70" fmla="*/ 2570 h 10000"/>
                <a:gd name="connsiteX71" fmla="*/ 7213 w 10000"/>
                <a:gd name="connsiteY71" fmla="*/ 2496 h 10000"/>
                <a:gd name="connsiteX72" fmla="*/ 7257 w 10000"/>
                <a:gd name="connsiteY72" fmla="*/ 2430 h 10000"/>
                <a:gd name="connsiteX73" fmla="*/ 7309 w 10000"/>
                <a:gd name="connsiteY73" fmla="*/ 2364 h 10000"/>
                <a:gd name="connsiteX74" fmla="*/ 7361 w 10000"/>
                <a:gd name="connsiteY74" fmla="*/ 2292 h 10000"/>
                <a:gd name="connsiteX75" fmla="*/ 7413 w 10000"/>
                <a:gd name="connsiteY75" fmla="*/ 2231 h 10000"/>
                <a:gd name="connsiteX76" fmla="*/ 7472 w 10000"/>
                <a:gd name="connsiteY76" fmla="*/ 2166 h 10000"/>
                <a:gd name="connsiteX77" fmla="*/ 7524 w 10000"/>
                <a:gd name="connsiteY77" fmla="*/ 2109 h 10000"/>
                <a:gd name="connsiteX78" fmla="*/ 7583 w 10000"/>
                <a:gd name="connsiteY78" fmla="*/ 2043 h 10000"/>
                <a:gd name="connsiteX79" fmla="*/ 7610 w 10000"/>
                <a:gd name="connsiteY79" fmla="*/ 2008 h 10000"/>
                <a:gd name="connsiteX80" fmla="*/ 5390 w 10000"/>
                <a:gd name="connsiteY80" fmla="*/ 6 h 10000"/>
                <a:gd name="connsiteX81" fmla="*/ 1401 w 10000"/>
                <a:gd name="connsiteY81" fmla="*/ 0 h 10000"/>
                <a:gd name="connsiteX82" fmla="*/ 1305 w 10000"/>
                <a:gd name="connsiteY82" fmla="*/ 151 h 10000"/>
                <a:gd name="connsiteX83" fmla="*/ 1223 w 10000"/>
                <a:gd name="connsiteY83" fmla="*/ 265 h 10000"/>
                <a:gd name="connsiteX84" fmla="*/ 1149 w 10000"/>
                <a:gd name="connsiteY84" fmla="*/ 390 h 10000"/>
                <a:gd name="connsiteX85" fmla="*/ 1067 w 10000"/>
                <a:gd name="connsiteY85" fmla="*/ 514 h 10000"/>
                <a:gd name="connsiteX86" fmla="*/ 1001 w 10000"/>
                <a:gd name="connsiteY86" fmla="*/ 639 h 10000"/>
                <a:gd name="connsiteX87" fmla="*/ 927 w 10000"/>
                <a:gd name="connsiteY87" fmla="*/ 762 h 10000"/>
                <a:gd name="connsiteX88" fmla="*/ 860 w 10000"/>
                <a:gd name="connsiteY88" fmla="*/ 895 h 10000"/>
                <a:gd name="connsiteX89" fmla="*/ 793 w 10000"/>
                <a:gd name="connsiteY89" fmla="*/ 1026 h 10000"/>
                <a:gd name="connsiteX90" fmla="*/ 734 w 10000"/>
                <a:gd name="connsiteY90" fmla="*/ 1147 h 10000"/>
                <a:gd name="connsiteX91" fmla="*/ 675 w 10000"/>
                <a:gd name="connsiteY91" fmla="*/ 1282 h 10000"/>
                <a:gd name="connsiteX92" fmla="*/ 615 w 10000"/>
                <a:gd name="connsiteY92" fmla="*/ 1408 h 10000"/>
                <a:gd name="connsiteX93" fmla="*/ 556 w 10000"/>
                <a:gd name="connsiteY93" fmla="*/ 1546 h 10000"/>
                <a:gd name="connsiteX94" fmla="*/ 504 w 10000"/>
                <a:gd name="connsiteY94" fmla="*/ 1671 h 10000"/>
                <a:gd name="connsiteX95" fmla="*/ 452 w 10000"/>
                <a:gd name="connsiteY95" fmla="*/ 1803 h 10000"/>
                <a:gd name="connsiteX96" fmla="*/ 408 w 10000"/>
                <a:gd name="connsiteY96" fmla="*/ 1935 h 10000"/>
                <a:gd name="connsiteX97" fmla="*/ 363 w 10000"/>
                <a:gd name="connsiteY97" fmla="*/ 2069 h 10000"/>
                <a:gd name="connsiteX98" fmla="*/ 319 w 10000"/>
                <a:gd name="connsiteY98" fmla="*/ 2211 h 10000"/>
                <a:gd name="connsiteX99" fmla="*/ 282 w 10000"/>
                <a:gd name="connsiteY99" fmla="*/ 2344 h 10000"/>
                <a:gd name="connsiteX100" fmla="*/ 237 w 10000"/>
                <a:gd name="connsiteY100" fmla="*/ 2484 h 10000"/>
                <a:gd name="connsiteX101" fmla="*/ 208 w 10000"/>
                <a:gd name="connsiteY101" fmla="*/ 2622 h 10000"/>
                <a:gd name="connsiteX102" fmla="*/ 170 w 10000"/>
                <a:gd name="connsiteY102" fmla="*/ 2762 h 10000"/>
                <a:gd name="connsiteX103" fmla="*/ 148 w 10000"/>
                <a:gd name="connsiteY103" fmla="*/ 2904 h 10000"/>
                <a:gd name="connsiteX104" fmla="*/ 119 w 10000"/>
                <a:gd name="connsiteY104" fmla="*/ 3044 h 10000"/>
                <a:gd name="connsiteX105" fmla="*/ 96 w 10000"/>
                <a:gd name="connsiteY105" fmla="*/ 3181 h 10000"/>
                <a:gd name="connsiteX106" fmla="*/ 74 w 10000"/>
                <a:gd name="connsiteY106" fmla="*/ 3326 h 10000"/>
                <a:gd name="connsiteX107" fmla="*/ 52 w 10000"/>
                <a:gd name="connsiteY107" fmla="*/ 3475 h 10000"/>
                <a:gd name="connsiteX108" fmla="*/ 37 w 10000"/>
                <a:gd name="connsiteY108" fmla="*/ 3617 h 10000"/>
                <a:gd name="connsiteX109" fmla="*/ 22 w 10000"/>
                <a:gd name="connsiteY109" fmla="*/ 3759 h 10000"/>
                <a:gd name="connsiteX110" fmla="*/ 15 w 10000"/>
                <a:gd name="connsiteY110" fmla="*/ 3900 h 10000"/>
                <a:gd name="connsiteX111" fmla="*/ 7 w 10000"/>
                <a:gd name="connsiteY111" fmla="*/ 4048 h 10000"/>
                <a:gd name="connsiteX112" fmla="*/ 0 w 10000"/>
                <a:gd name="connsiteY112" fmla="*/ 4190 h 10000"/>
                <a:gd name="connsiteX113" fmla="*/ 0 w 10000"/>
                <a:gd name="connsiteY113" fmla="*/ 4340 h 10000"/>
                <a:gd name="connsiteX114" fmla="*/ 7 w 10000"/>
                <a:gd name="connsiteY114" fmla="*/ 4530 h 10000"/>
                <a:gd name="connsiteX115" fmla="*/ 7 w 10000"/>
                <a:gd name="connsiteY115" fmla="*/ 4718 h 10000"/>
                <a:gd name="connsiteX116" fmla="*/ 22 w 10000"/>
                <a:gd name="connsiteY116" fmla="*/ 4894 h 10000"/>
                <a:gd name="connsiteX117" fmla="*/ 37 w 10000"/>
                <a:gd name="connsiteY117" fmla="*/ 5080 h 10000"/>
                <a:gd name="connsiteX118" fmla="*/ 59 w 10000"/>
                <a:gd name="connsiteY118" fmla="*/ 5264 h 10000"/>
                <a:gd name="connsiteX119" fmla="*/ 89 w 10000"/>
                <a:gd name="connsiteY119" fmla="*/ 5448 h 10000"/>
                <a:gd name="connsiteX120" fmla="*/ 119 w 10000"/>
                <a:gd name="connsiteY120" fmla="*/ 5630 h 10000"/>
                <a:gd name="connsiteX121" fmla="*/ 148 w 10000"/>
                <a:gd name="connsiteY121" fmla="*/ 5811 h 10000"/>
                <a:gd name="connsiteX122" fmla="*/ 193 w 10000"/>
                <a:gd name="connsiteY122" fmla="*/ 5992 h 10000"/>
                <a:gd name="connsiteX123" fmla="*/ 237 w 10000"/>
                <a:gd name="connsiteY123" fmla="*/ 6169 h 10000"/>
                <a:gd name="connsiteX124" fmla="*/ 282 w 10000"/>
                <a:gd name="connsiteY124" fmla="*/ 6349 h 10000"/>
                <a:gd name="connsiteX125" fmla="*/ 334 w 10000"/>
                <a:gd name="connsiteY125" fmla="*/ 6523 h 10000"/>
                <a:gd name="connsiteX126" fmla="*/ 393 w 10000"/>
                <a:gd name="connsiteY126" fmla="*/ 6692 h 10000"/>
                <a:gd name="connsiteX127" fmla="*/ 452 w 10000"/>
                <a:gd name="connsiteY127" fmla="*/ 6868 h 10000"/>
                <a:gd name="connsiteX128" fmla="*/ 519 w 10000"/>
                <a:gd name="connsiteY128" fmla="*/ 7037 h 10000"/>
                <a:gd name="connsiteX129" fmla="*/ 586 w 10000"/>
                <a:gd name="connsiteY129" fmla="*/ 7214 h 10000"/>
                <a:gd name="connsiteX130" fmla="*/ 660 w 10000"/>
                <a:gd name="connsiteY130" fmla="*/ 7377 h 10000"/>
                <a:gd name="connsiteX131" fmla="*/ 741 w 10000"/>
                <a:gd name="connsiteY131" fmla="*/ 7538 h 10000"/>
                <a:gd name="connsiteX132" fmla="*/ 823 w 10000"/>
                <a:gd name="connsiteY132" fmla="*/ 7714 h 10000"/>
                <a:gd name="connsiteX133" fmla="*/ 904 w 10000"/>
                <a:gd name="connsiteY133" fmla="*/ 7874 h 10000"/>
                <a:gd name="connsiteX134" fmla="*/ 993 w 10000"/>
                <a:gd name="connsiteY134" fmla="*/ 8032 h 10000"/>
                <a:gd name="connsiteX135" fmla="*/ 1090 w 10000"/>
                <a:gd name="connsiteY135" fmla="*/ 8185 h 10000"/>
                <a:gd name="connsiteX136" fmla="*/ 1186 w 10000"/>
                <a:gd name="connsiteY136" fmla="*/ 8349 h 10000"/>
                <a:gd name="connsiteX137" fmla="*/ 1290 w 10000"/>
                <a:gd name="connsiteY137" fmla="*/ 8507 h 10000"/>
                <a:gd name="connsiteX138" fmla="*/ 1386 w 10000"/>
                <a:gd name="connsiteY138" fmla="*/ 8662 h 10000"/>
                <a:gd name="connsiteX139" fmla="*/ 1497 w 10000"/>
                <a:gd name="connsiteY139" fmla="*/ 8817 h 10000"/>
                <a:gd name="connsiteX140" fmla="*/ 1609 w 10000"/>
                <a:gd name="connsiteY140" fmla="*/ 8963 h 10000"/>
                <a:gd name="connsiteX141" fmla="*/ 1727 w 10000"/>
                <a:gd name="connsiteY141" fmla="*/ 9119 h 10000"/>
                <a:gd name="connsiteX142" fmla="*/ 1846 w 10000"/>
                <a:gd name="connsiteY142" fmla="*/ 9264 h 10000"/>
                <a:gd name="connsiteX143" fmla="*/ 1964 w 10000"/>
                <a:gd name="connsiteY143" fmla="*/ 9407 h 10000"/>
                <a:gd name="connsiteX144" fmla="*/ 2090 w 10000"/>
                <a:gd name="connsiteY144" fmla="*/ 9545 h 10000"/>
                <a:gd name="connsiteX145" fmla="*/ 2224 w 10000"/>
                <a:gd name="connsiteY145" fmla="*/ 9691 h 10000"/>
                <a:gd name="connsiteX146" fmla="*/ 2350 w 10000"/>
                <a:gd name="connsiteY146" fmla="*/ 9834 h 10000"/>
                <a:gd name="connsiteX147" fmla="*/ 7539 w 10000"/>
                <a:gd name="connsiteY147" fmla="*/ 10000 h 10000"/>
                <a:gd name="connsiteX148" fmla="*/ 10000 w 10000"/>
                <a:gd name="connsiteY148" fmla="*/ 7915 h 10000"/>
                <a:gd name="connsiteX0" fmla="*/ 10000 w 10000"/>
                <a:gd name="connsiteY0" fmla="*/ 7915 h 9834"/>
                <a:gd name="connsiteX1" fmla="*/ 10000 w 10000"/>
                <a:gd name="connsiteY1" fmla="*/ 7915 h 9834"/>
                <a:gd name="connsiteX2" fmla="*/ 9911 w 10000"/>
                <a:gd name="connsiteY2" fmla="*/ 7896 h 9834"/>
                <a:gd name="connsiteX3" fmla="*/ 9815 w 10000"/>
                <a:gd name="connsiteY3" fmla="*/ 7874 h 9834"/>
                <a:gd name="connsiteX4" fmla="*/ 9726 w 10000"/>
                <a:gd name="connsiteY4" fmla="*/ 7852 h 9834"/>
                <a:gd name="connsiteX5" fmla="*/ 9637 w 10000"/>
                <a:gd name="connsiteY5" fmla="*/ 7818 h 9834"/>
                <a:gd name="connsiteX6" fmla="*/ 9548 w 10000"/>
                <a:gd name="connsiteY6" fmla="*/ 7793 h 9834"/>
                <a:gd name="connsiteX7" fmla="*/ 9466 w 10000"/>
                <a:gd name="connsiteY7" fmla="*/ 7766 h 9834"/>
                <a:gd name="connsiteX8" fmla="*/ 9377 w 10000"/>
                <a:gd name="connsiteY8" fmla="*/ 7738 h 9834"/>
                <a:gd name="connsiteX9" fmla="*/ 9288 w 10000"/>
                <a:gd name="connsiteY9" fmla="*/ 7707 h 9834"/>
                <a:gd name="connsiteX10" fmla="*/ 9118 w 10000"/>
                <a:gd name="connsiteY10" fmla="*/ 7643 h 9834"/>
                <a:gd name="connsiteX11" fmla="*/ 8955 w 10000"/>
                <a:gd name="connsiteY11" fmla="*/ 7570 h 9834"/>
                <a:gd name="connsiteX12" fmla="*/ 8792 w 10000"/>
                <a:gd name="connsiteY12" fmla="*/ 7497 h 9834"/>
                <a:gd name="connsiteX13" fmla="*/ 8636 w 10000"/>
                <a:gd name="connsiteY13" fmla="*/ 7411 h 9834"/>
                <a:gd name="connsiteX14" fmla="*/ 8480 w 10000"/>
                <a:gd name="connsiteY14" fmla="*/ 7324 h 9834"/>
                <a:gd name="connsiteX15" fmla="*/ 8340 w 10000"/>
                <a:gd name="connsiteY15" fmla="*/ 7243 h 9834"/>
                <a:gd name="connsiteX16" fmla="*/ 8199 w 10000"/>
                <a:gd name="connsiteY16" fmla="*/ 7145 h 9834"/>
                <a:gd name="connsiteX17" fmla="*/ 8058 w 10000"/>
                <a:gd name="connsiteY17" fmla="*/ 7042 h 9834"/>
                <a:gd name="connsiteX18" fmla="*/ 7924 w 10000"/>
                <a:gd name="connsiteY18" fmla="*/ 6939 h 9834"/>
                <a:gd name="connsiteX19" fmla="*/ 7798 w 10000"/>
                <a:gd name="connsiteY19" fmla="*/ 6827 h 9834"/>
                <a:gd name="connsiteX20" fmla="*/ 7672 w 10000"/>
                <a:gd name="connsiteY20" fmla="*/ 6720 h 9834"/>
                <a:gd name="connsiteX21" fmla="*/ 7554 w 10000"/>
                <a:gd name="connsiteY21" fmla="*/ 6607 h 9834"/>
                <a:gd name="connsiteX22" fmla="*/ 7450 w 10000"/>
                <a:gd name="connsiteY22" fmla="*/ 6484 h 9834"/>
                <a:gd name="connsiteX23" fmla="*/ 7346 w 10000"/>
                <a:gd name="connsiteY23" fmla="*/ 6360 h 9834"/>
                <a:gd name="connsiteX24" fmla="*/ 7250 w 10000"/>
                <a:gd name="connsiteY24" fmla="*/ 6233 h 9834"/>
                <a:gd name="connsiteX25" fmla="*/ 7161 w 10000"/>
                <a:gd name="connsiteY25" fmla="*/ 6106 h 9834"/>
                <a:gd name="connsiteX26" fmla="*/ 7072 w 10000"/>
                <a:gd name="connsiteY26" fmla="*/ 5972 h 9834"/>
                <a:gd name="connsiteX27" fmla="*/ 6990 w 10000"/>
                <a:gd name="connsiteY27" fmla="*/ 5830 h 9834"/>
                <a:gd name="connsiteX28" fmla="*/ 6953 w 10000"/>
                <a:gd name="connsiteY28" fmla="*/ 5768 h 9834"/>
                <a:gd name="connsiteX29" fmla="*/ 6916 w 10000"/>
                <a:gd name="connsiteY29" fmla="*/ 5693 h 9834"/>
                <a:gd name="connsiteX30" fmla="*/ 6887 w 10000"/>
                <a:gd name="connsiteY30" fmla="*/ 5626 h 9834"/>
                <a:gd name="connsiteX31" fmla="*/ 6850 w 10000"/>
                <a:gd name="connsiteY31" fmla="*/ 5552 h 9834"/>
                <a:gd name="connsiteX32" fmla="*/ 6820 w 10000"/>
                <a:gd name="connsiteY32" fmla="*/ 5482 h 9834"/>
                <a:gd name="connsiteX33" fmla="*/ 6790 w 10000"/>
                <a:gd name="connsiteY33" fmla="*/ 5410 h 9834"/>
                <a:gd name="connsiteX34" fmla="*/ 6768 w 10000"/>
                <a:gd name="connsiteY34" fmla="*/ 5334 h 9834"/>
                <a:gd name="connsiteX35" fmla="*/ 6738 w 10000"/>
                <a:gd name="connsiteY35" fmla="*/ 5264 h 9834"/>
                <a:gd name="connsiteX36" fmla="*/ 6723 w 10000"/>
                <a:gd name="connsiteY36" fmla="*/ 5186 h 9834"/>
                <a:gd name="connsiteX37" fmla="*/ 6694 w 10000"/>
                <a:gd name="connsiteY37" fmla="*/ 5114 h 9834"/>
                <a:gd name="connsiteX38" fmla="*/ 6679 w 10000"/>
                <a:gd name="connsiteY38" fmla="*/ 5037 h 9834"/>
                <a:gd name="connsiteX39" fmla="*/ 6664 w 10000"/>
                <a:gd name="connsiteY39" fmla="*/ 4964 h 9834"/>
                <a:gd name="connsiteX40" fmla="*/ 6649 w 10000"/>
                <a:gd name="connsiteY40" fmla="*/ 4884 h 9834"/>
                <a:gd name="connsiteX41" fmla="*/ 6635 w 10000"/>
                <a:gd name="connsiteY41" fmla="*/ 4812 h 9834"/>
                <a:gd name="connsiteX42" fmla="*/ 6620 w 10000"/>
                <a:gd name="connsiteY42" fmla="*/ 4735 h 9834"/>
                <a:gd name="connsiteX43" fmla="*/ 6612 w 10000"/>
                <a:gd name="connsiteY43" fmla="*/ 4660 h 9834"/>
                <a:gd name="connsiteX44" fmla="*/ 6605 w 10000"/>
                <a:gd name="connsiteY44" fmla="*/ 4579 h 9834"/>
                <a:gd name="connsiteX45" fmla="*/ 6597 w 10000"/>
                <a:gd name="connsiteY45" fmla="*/ 4497 h 9834"/>
                <a:gd name="connsiteX46" fmla="*/ 6597 w 10000"/>
                <a:gd name="connsiteY46" fmla="*/ 4422 h 9834"/>
                <a:gd name="connsiteX47" fmla="*/ 6590 w 10000"/>
                <a:gd name="connsiteY47" fmla="*/ 4340 h 9834"/>
                <a:gd name="connsiteX48" fmla="*/ 6597 w 10000"/>
                <a:gd name="connsiteY48" fmla="*/ 4262 h 9834"/>
                <a:gd name="connsiteX49" fmla="*/ 6605 w 10000"/>
                <a:gd name="connsiteY49" fmla="*/ 4177 h 9834"/>
                <a:gd name="connsiteX50" fmla="*/ 6605 w 10000"/>
                <a:gd name="connsiteY50" fmla="*/ 4091 h 9834"/>
                <a:gd name="connsiteX51" fmla="*/ 6612 w 10000"/>
                <a:gd name="connsiteY51" fmla="*/ 4007 h 9834"/>
                <a:gd name="connsiteX52" fmla="*/ 6620 w 10000"/>
                <a:gd name="connsiteY52" fmla="*/ 3924 h 9834"/>
                <a:gd name="connsiteX53" fmla="*/ 6635 w 10000"/>
                <a:gd name="connsiteY53" fmla="*/ 3850 h 9834"/>
                <a:gd name="connsiteX54" fmla="*/ 6649 w 10000"/>
                <a:gd name="connsiteY54" fmla="*/ 3766 h 9834"/>
                <a:gd name="connsiteX55" fmla="*/ 6664 w 10000"/>
                <a:gd name="connsiteY55" fmla="*/ 3688 h 9834"/>
                <a:gd name="connsiteX56" fmla="*/ 6686 w 10000"/>
                <a:gd name="connsiteY56" fmla="*/ 3604 h 9834"/>
                <a:gd name="connsiteX57" fmla="*/ 6709 w 10000"/>
                <a:gd name="connsiteY57" fmla="*/ 3529 h 9834"/>
                <a:gd name="connsiteX58" fmla="*/ 6731 w 10000"/>
                <a:gd name="connsiteY58" fmla="*/ 3450 h 9834"/>
                <a:gd name="connsiteX59" fmla="*/ 6753 w 10000"/>
                <a:gd name="connsiteY59" fmla="*/ 3367 h 9834"/>
                <a:gd name="connsiteX60" fmla="*/ 6783 w 10000"/>
                <a:gd name="connsiteY60" fmla="*/ 3299 h 9834"/>
                <a:gd name="connsiteX61" fmla="*/ 6812 w 10000"/>
                <a:gd name="connsiteY61" fmla="*/ 3221 h 9834"/>
                <a:gd name="connsiteX62" fmla="*/ 6842 w 10000"/>
                <a:gd name="connsiteY62" fmla="*/ 3141 h 9834"/>
                <a:gd name="connsiteX63" fmla="*/ 6879 w 10000"/>
                <a:gd name="connsiteY63" fmla="*/ 3066 h 9834"/>
                <a:gd name="connsiteX64" fmla="*/ 6909 w 10000"/>
                <a:gd name="connsiteY64" fmla="*/ 2995 h 9834"/>
                <a:gd name="connsiteX65" fmla="*/ 6946 w 10000"/>
                <a:gd name="connsiteY65" fmla="*/ 2915 h 9834"/>
                <a:gd name="connsiteX66" fmla="*/ 6990 w 10000"/>
                <a:gd name="connsiteY66" fmla="*/ 2850 h 9834"/>
                <a:gd name="connsiteX67" fmla="*/ 7027 w 10000"/>
                <a:gd name="connsiteY67" fmla="*/ 2776 h 9834"/>
                <a:gd name="connsiteX68" fmla="*/ 7072 w 10000"/>
                <a:gd name="connsiteY68" fmla="*/ 2708 h 9834"/>
                <a:gd name="connsiteX69" fmla="*/ 7109 w 10000"/>
                <a:gd name="connsiteY69" fmla="*/ 2632 h 9834"/>
                <a:gd name="connsiteX70" fmla="*/ 7161 w 10000"/>
                <a:gd name="connsiteY70" fmla="*/ 2570 h 9834"/>
                <a:gd name="connsiteX71" fmla="*/ 7213 w 10000"/>
                <a:gd name="connsiteY71" fmla="*/ 2496 h 9834"/>
                <a:gd name="connsiteX72" fmla="*/ 7257 w 10000"/>
                <a:gd name="connsiteY72" fmla="*/ 2430 h 9834"/>
                <a:gd name="connsiteX73" fmla="*/ 7309 w 10000"/>
                <a:gd name="connsiteY73" fmla="*/ 2364 h 9834"/>
                <a:gd name="connsiteX74" fmla="*/ 7361 w 10000"/>
                <a:gd name="connsiteY74" fmla="*/ 2292 h 9834"/>
                <a:gd name="connsiteX75" fmla="*/ 7413 w 10000"/>
                <a:gd name="connsiteY75" fmla="*/ 2231 h 9834"/>
                <a:gd name="connsiteX76" fmla="*/ 7472 w 10000"/>
                <a:gd name="connsiteY76" fmla="*/ 2166 h 9834"/>
                <a:gd name="connsiteX77" fmla="*/ 7524 w 10000"/>
                <a:gd name="connsiteY77" fmla="*/ 2109 h 9834"/>
                <a:gd name="connsiteX78" fmla="*/ 7583 w 10000"/>
                <a:gd name="connsiteY78" fmla="*/ 2043 h 9834"/>
                <a:gd name="connsiteX79" fmla="*/ 7610 w 10000"/>
                <a:gd name="connsiteY79" fmla="*/ 2008 h 9834"/>
                <a:gd name="connsiteX80" fmla="*/ 5390 w 10000"/>
                <a:gd name="connsiteY80" fmla="*/ 6 h 9834"/>
                <a:gd name="connsiteX81" fmla="*/ 1401 w 10000"/>
                <a:gd name="connsiteY81" fmla="*/ 0 h 9834"/>
                <a:gd name="connsiteX82" fmla="*/ 1305 w 10000"/>
                <a:gd name="connsiteY82" fmla="*/ 151 h 9834"/>
                <a:gd name="connsiteX83" fmla="*/ 1223 w 10000"/>
                <a:gd name="connsiteY83" fmla="*/ 265 h 9834"/>
                <a:gd name="connsiteX84" fmla="*/ 1149 w 10000"/>
                <a:gd name="connsiteY84" fmla="*/ 390 h 9834"/>
                <a:gd name="connsiteX85" fmla="*/ 1067 w 10000"/>
                <a:gd name="connsiteY85" fmla="*/ 514 h 9834"/>
                <a:gd name="connsiteX86" fmla="*/ 1001 w 10000"/>
                <a:gd name="connsiteY86" fmla="*/ 639 h 9834"/>
                <a:gd name="connsiteX87" fmla="*/ 927 w 10000"/>
                <a:gd name="connsiteY87" fmla="*/ 762 h 9834"/>
                <a:gd name="connsiteX88" fmla="*/ 860 w 10000"/>
                <a:gd name="connsiteY88" fmla="*/ 895 h 9834"/>
                <a:gd name="connsiteX89" fmla="*/ 793 w 10000"/>
                <a:gd name="connsiteY89" fmla="*/ 1026 h 9834"/>
                <a:gd name="connsiteX90" fmla="*/ 734 w 10000"/>
                <a:gd name="connsiteY90" fmla="*/ 1147 h 9834"/>
                <a:gd name="connsiteX91" fmla="*/ 675 w 10000"/>
                <a:gd name="connsiteY91" fmla="*/ 1282 h 9834"/>
                <a:gd name="connsiteX92" fmla="*/ 615 w 10000"/>
                <a:gd name="connsiteY92" fmla="*/ 1408 h 9834"/>
                <a:gd name="connsiteX93" fmla="*/ 556 w 10000"/>
                <a:gd name="connsiteY93" fmla="*/ 1546 h 9834"/>
                <a:gd name="connsiteX94" fmla="*/ 504 w 10000"/>
                <a:gd name="connsiteY94" fmla="*/ 1671 h 9834"/>
                <a:gd name="connsiteX95" fmla="*/ 452 w 10000"/>
                <a:gd name="connsiteY95" fmla="*/ 1803 h 9834"/>
                <a:gd name="connsiteX96" fmla="*/ 408 w 10000"/>
                <a:gd name="connsiteY96" fmla="*/ 1935 h 9834"/>
                <a:gd name="connsiteX97" fmla="*/ 363 w 10000"/>
                <a:gd name="connsiteY97" fmla="*/ 2069 h 9834"/>
                <a:gd name="connsiteX98" fmla="*/ 319 w 10000"/>
                <a:gd name="connsiteY98" fmla="*/ 2211 h 9834"/>
                <a:gd name="connsiteX99" fmla="*/ 282 w 10000"/>
                <a:gd name="connsiteY99" fmla="*/ 2344 h 9834"/>
                <a:gd name="connsiteX100" fmla="*/ 237 w 10000"/>
                <a:gd name="connsiteY100" fmla="*/ 2484 h 9834"/>
                <a:gd name="connsiteX101" fmla="*/ 208 w 10000"/>
                <a:gd name="connsiteY101" fmla="*/ 2622 h 9834"/>
                <a:gd name="connsiteX102" fmla="*/ 170 w 10000"/>
                <a:gd name="connsiteY102" fmla="*/ 2762 h 9834"/>
                <a:gd name="connsiteX103" fmla="*/ 148 w 10000"/>
                <a:gd name="connsiteY103" fmla="*/ 2904 h 9834"/>
                <a:gd name="connsiteX104" fmla="*/ 119 w 10000"/>
                <a:gd name="connsiteY104" fmla="*/ 3044 h 9834"/>
                <a:gd name="connsiteX105" fmla="*/ 96 w 10000"/>
                <a:gd name="connsiteY105" fmla="*/ 3181 h 9834"/>
                <a:gd name="connsiteX106" fmla="*/ 74 w 10000"/>
                <a:gd name="connsiteY106" fmla="*/ 3326 h 9834"/>
                <a:gd name="connsiteX107" fmla="*/ 52 w 10000"/>
                <a:gd name="connsiteY107" fmla="*/ 3475 h 9834"/>
                <a:gd name="connsiteX108" fmla="*/ 37 w 10000"/>
                <a:gd name="connsiteY108" fmla="*/ 3617 h 9834"/>
                <a:gd name="connsiteX109" fmla="*/ 22 w 10000"/>
                <a:gd name="connsiteY109" fmla="*/ 3759 h 9834"/>
                <a:gd name="connsiteX110" fmla="*/ 15 w 10000"/>
                <a:gd name="connsiteY110" fmla="*/ 3900 h 9834"/>
                <a:gd name="connsiteX111" fmla="*/ 7 w 10000"/>
                <a:gd name="connsiteY111" fmla="*/ 4048 h 9834"/>
                <a:gd name="connsiteX112" fmla="*/ 0 w 10000"/>
                <a:gd name="connsiteY112" fmla="*/ 4190 h 9834"/>
                <a:gd name="connsiteX113" fmla="*/ 0 w 10000"/>
                <a:gd name="connsiteY113" fmla="*/ 4340 h 9834"/>
                <a:gd name="connsiteX114" fmla="*/ 7 w 10000"/>
                <a:gd name="connsiteY114" fmla="*/ 4530 h 9834"/>
                <a:gd name="connsiteX115" fmla="*/ 7 w 10000"/>
                <a:gd name="connsiteY115" fmla="*/ 4718 h 9834"/>
                <a:gd name="connsiteX116" fmla="*/ 22 w 10000"/>
                <a:gd name="connsiteY116" fmla="*/ 4894 h 9834"/>
                <a:gd name="connsiteX117" fmla="*/ 37 w 10000"/>
                <a:gd name="connsiteY117" fmla="*/ 5080 h 9834"/>
                <a:gd name="connsiteX118" fmla="*/ 59 w 10000"/>
                <a:gd name="connsiteY118" fmla="*/ 5264 h 9834"/>
                <a:gd name="connsiteX119" fmla="*/ 89 w 10000"/>
                <a:gd name="connsiteY119" fmla="*/ 5448 h 9834"/>
                <a:gd name="connsiteX120" fmla="*/ 119 w 10000"/>
                <a:gd name="connsiteY120" fmla="*/ 5630 h 9834"/>
                <a:gd name="connsiteX121" fmla="*/ 148 w 10000"/>
                <a:gd name="connsiteY121" fmla="*/ 5811 h 9834"/>
                <a:gd name="connsiteX122" fmla="*/ 193 w 10000"/>
                <a:gd name="connsiteY122" fmla="*/ 5992 h 9834"/>
                <a:gd name="connsiteX123" fmla="*/ 237 w 10000"/>
                <a:gd name="connsiteY123" fmla="*/ 6169 h 9834"/>
                <a:gd name="connsiteX124" fmla="*/ 282 w 10000"/>
                <a:gd name="connsiteY124" fmla="*/ 6349 h 9834"/>
                <a:gd name="connsiteX125" fmla="*/ 334 w 10000"/>
                <a:gd name="connsiteY125" fmla="*/ 6523 h 9834"/>
                <a:gd name="connsiteX126" fmla="*/ 393 w 10000"/>
                <a:gd name="connsiteY126" fmla="*/ 6692 h 9834"/>
                <a:gd name="connsiteX127" fmla="*/ 452 w 10000"/>
                <a:gd name="connsiteY127" fmla="*/ 6868 h 9834"/>
                <a:gd name="connsiteX128" fmla="*/ 519 w 10000"/>
                <a:gd name="connsiteY128" fmla="*/ 7037 h 9834"/>
                <a:gd name="connsiteX129" fmla="*/ 586 w 10000"/>
                <a:gd name="connsiteY129" fmla="*/ 7214 h 9834"/>
                <a:gd name="connsiteX130" fmla="*/ 660 w 10000"/>
                <a:gd name="connsiteY130" fmla="*/ 7377 h 9834"/>
                <a:gd name="connsiteX131" fmla="*/ 741 w 10000"/>
                <a:gd name="connsiteY131" fmla="*/ 7538 h 9834"/>
                <a:gd name="connsiteX132" fmla="*/ 823 w 10000"/>
                <a:gd name="connsiteY132" fmla="*/ 7714 h 9834"/>
                <a:gd name="connsiteX133" fmla="*/ 904 w 10000"/>
                <a:gd name="connsiteY133" fmla="*/ 7874 h 9834"/>
                <a:gd name="connsiteX134" fmla="*/ 993 w 10000"/>
                <a:gd name="connsiteY134" fmla="*/ 8032 h 9834"/>
                <a:gd name="connsiteX135" fmla="*/ 1090 w 10000"/>
                <a:gd name="connsiteY135" fmla="*/ 8185 h 9834"/>
                <a:gd name="connsiteX136" fmla="*/ 1186 w 10000"/>
                <a:gd name="connsiteY136" fmla="*/ 8349 h 9834"/>
                <a:gd name="connsiteX137" fmla="*/ 1290 w 10000"/>
                <a:gd name="connsiteY137" fmla="*/ 8507 h 9834"/>
                <a:gd name="connsiteX138" fmla="*/ 1386 w 10000"/>
                <a:gd name="connsiteY138" fmla="*/ 8662 h 9834"/>
                <a:gd name="connsiteX139" fmla="*/ 1497 w 10000"/>
                <a:gd name="connsiteY139" fmla="*/ 8817 h 9834"/>
                <a:gd name="connsiteX140" fmla="*/ 1609 w 10000"/>
                <a:gd name="connsiteY140" fmla="*/ 8963 h 9834"/>
                <a:gd name="connsiteX141" fmla="*/ 1727 w 10000"/>
                <a:gd name="connsiteY141" fmla="*/ 9119 h 9834"/>
                <a:gd name="connsiteX142" fmla="*/ 1846 w 10000"/>
                <a:gd name="connsiteY142" fmla="*/ 9264 h 9834"/>
                <a:gd name="connsiteX143" fmla="*/ 1964 w 10000"/>
                <a:gd name="connsiteY143" fmla="*/ 9407 h 9834"/>
                <a:gd name="connsiteX144" fmla="*/ 2090 w 10000"/>
                <a:gd name="connsiteY144" fmla="*/ 9545 h 9834"/>
                <a:gd name="connsiteX145" fmla="*/ 2224 w 10000"/>
                <a:gd name="connsiteY145" fmla="*/ 9691 h 9834"/>
                <a:gd name="connsiteX146" fmla="*/ 2350 w 10000"/>
                <a:gd name="connsiteY146" fmla="*/ 9834 h 9834"/>
                <a:gd name="connsiteX147" fmla="*/ 4348 w 10000"/>
                <a:gd name="connsiteY147" fmla="*/ 7345 h 9834"/>
                <a:gd name="connsiteX148" fmla="*/ 10000 w 10000"/>
                <a:gd name="connsiteY148" fmla="*/ 7915 h 9834"/>
                <a:gd name="connsiteX0" fmla="*/ 4348 w 10000"/>
                <a:gd name="connsiteY0" fmla="*/ 7469 h 10000"/>
                <a:gd name="connsiteX1" fmla="*/ 10000 w 10000"/>
                <a:gd name="connsiteY1" fmla="*/ 8049 h 10000"/>
                <a:gd name="connsiteX2" fmla="*/ 9911 w 10000"/>
                <a:gd name="connsiteY2" fmla="*/ 8029 h 10000"/>
                <a:gd name="connsiteX3" fmla="*/ 9815 w 10000"/>
                <a:gd name="connsiteY3" fmla="*/ 8007 h 10000"/>
                <a:gd name="connsiteX4" fmla="*/ 9726 w 10000"/>
                <a:gd name="connsiteY4" fmla="*/ 7985 h 10000"/>
                <a:gd name="connsiteX5" fmla="*/ 9637 w 10000"/>
                <a:gd name="connsiteY5" fmla="*/ 7950 h 10000"/>
                <a:gd name="connsiteX6" fmla="*/ 9548 w 10000"/>
                <a:gd name="connsiteY6" fmla="*/ 7925 h 10000"/>
                <a:gd name="connsiteX7" fmla="*/ 9466 w 10000"/>
                <a:gd name="connsiteY7" fmla="*/ 7897 h 10000"/>
                <a:gd name="connsiteX8" fmla="*/ 9377 w 10000"/>
                <a:gd name="connsiteY8" fmla="*/ 7869 h 10000"/>
                <a:gd name="connsiteX9" fmla="*/ 9288 w 10000"/>
                <a:gd name="connsiteY9" fmla="*/ 7837 h 10000"/>
                <a:gd name="connsiteX10" fmla="*/ 9118 w 10000"/>
                <a:gd name="connsiteY10" fmla="*/ 7772 h 10000"/>
                <a:gd name="connsiteX11" fmla="*/ 8955 w 10000"/>
                <a:gd name="connsiteY11" fmla="*/ 7698 h 10000"/>
                <a:gd name="connsiteX12" fmla="*/ 8792 w 10000"/>
                <a:gd name="connsiteY12" fmla="*/ 7624 h 10000"/>
                <a:gd name="connsiteX13" fmla="*/ 8636 w 10000"/>
                <a:gd name="connsiteY13" fmla="*/ 7536 h 10000"/>
                <a:gd name="connsiteX14" fmla="*/ 8480 w 10000"/>
                <a:gd name="connsiteY14" fmla="*/ 7448 h 10000"/>
                <a:gd name="connsiteX15" fmla="*/ 8340 w 10000"/>
                <a:gd name="connsiteY15" fmla="*/ 7365 h 10000"/>
                <a:gd name="connsiteX16" fmla="*/ 8199 w 10000"/>
                <a:gd name="connsiteY16" fmla="*/ 7266 h 10000"/>
                <a:gd name="connsiteX17" fmla="*/ 8058 w 10000"/>
                <a:gd name="connsiteY17" fmla="*/ 7161 h 10000"/>
                <a:gd name="connsiteX18" fmla="*/ 7924 w 10000"/>
                <a:gd name="connsiteY18" fmla="*/ 7056 h 10000"/>
                <a:gd name="connsiteX19" fmla="*/ 7798 w 10000"/>
                <a:gd name="connsiteY19" fmla="*/ 6942 h 10000"/>
                <a:gd name="connsiteX20" fmla="*/ 7672 w 10000"/>
                <a:gd name="connsiteY20" fmla="*/ 6833 h 10000"/>
                <a:gd name="connsiteX21" fmla="*/ 7554 w 10000"/>
                <a:gd name="connsiteY21" fmla="*/ 6719 h 10000"/>
                <a:gd name="connsiteX22" fmla="*/ 7450 w 10000"/>
                <a:gd name="connsiteY22" fmla="*/ 6593 h 10000"/>
                <a:gd name="connsiteX23" fmla="*/ 7346 w 10000"/>
                <a:gd name="connsiteY23" fmla="*/ 6467 h 10000"/>
                <a:gd name="connsiteX24" fmla="*/ 7250 w 10000"/>
                <a:gd name="connsiteY24" fmla="*/ 6338 h 10000"/>
                <a:gd name="connsiteX25" fmla="*/ 7161 w 10000"/>
                <a:gd name="connsiteY25" fmla="*/ 6209 h 10000"/>
                <a:gd name="connsiteX26" fmla="*/ 7072 w 10000"/>
                <a:gd name="connsiteY26" fmla="*/ 6073 h 10000"/>
                <a:gd name="connsiteX27" fmla="*/ 6990 w 10000"/>
                <a:gd name="connsiteY27" fmla="*/ 5928 h 10000"/>
                <a:gd name="connsiteX28" fmla="*/ 6953 w 10000"/>
                <a:gd name="connsiteY28" fmla="*/ 5865 h 10000"/>
                <a:gd name="connsiteX29" fmla="*/ 6916 w 10000"/>
                <a:gd name="connsiteY29" fmla="*/ 5789 h 10000"/>
                <a:gd name="connsiteX30" fmla="*/ 6887 w 10000"/>
                <a:gd name="connsiteY30" fmla="*/ 5721 h 10000"/>
                <a:gd name="connsiteX31" fmla="*/ 6850 w 10000"/>
                <a:gd name="connsiteY31" fmla="*/ 5646 h 10000"/>
                <a:gd name="connsiteX32" fmla="*/ 6820 w 10000"/>
                <a:gd name="connsiteY32" fmla="*/ 5575 h 10000"/>
                <a:gd name="connsiteX33" fmla="*/ 6790 w 10000"/>
                <a:gd name="connsiteY33" fmla="*/ 5501 h 10000"/>
                <a:gd name="connsiteX34" fmla="*/ 6768 w 10000"/>
                <a:gd name="connsiteY34" fmla="*/ 5424 h 10000"/>
                <a:gd name="connsiteX35" fmla="*/ 6738 w 10000"/>
                <a:gd name="connsiteY35" fmla="*/ 5353 h 10000"/>
                <a:gd name="connsiteX36" fmla="*/ 6723 w 10000"/>
                <a:gd name="connsiteY36" fmla="*/ 5274 h 10000"/>
                <a:gd name="connsiteX37" fmla="*/ 6694 w 10000"/>
                <a:gd name="connsiteY37" fmla="*/ 5200 h 10000"/>
                <a:gd name="connsiteX38" fmla="*/ 6679 w 10000"/>
                <a:gd name="connsiteY38" fmla="*/ 5122 h 10000"/>
                <a:gd name="connsiteX39" fmla="*/ 6664 w 10000"/>
                <a:gd name="connsiteY39" fmla="*/ 5048 h 10000"/>
                <a:gd name="connsiteX40" fmla="*/ 6649 w 10000"/>
                <a:gd name="connsiteY40" fmla="*/ 4966 h 10000"/>
                <a:gd name="connsiteX41" fmla="*/ 6635 w 10000"/>
                <a:gd name="connsiteY41" fmla="*/ 4893 h 10000"/>
                <a:gd name="connsiteX42" fmla="*/ 6620 w 10000"/>
                <a:gd name="connsiteY42" fmla="*/ 4815 h 10000"/>
                <a:gd name="connsiteX43" fmla="*/ 6612 w 10000"/>
                <a:gd name="connsiteY43" fmla="*/ 4739 h 10000"/>
                <a:gd name="connsiteX44" fmla="*/ 6605 w 10000"/>
                <a:gd name="connsiteY44" fmla="*/ 4656 h 10000"/>
                <a:gd name="connsiteX45" fmla="*/ 6597 w 10000"/>
                <a:gd name="connsiteY45" fmla="*/ 4573 h 10000"/>
                <a:gd name="connsiteX46" fmla="*/ 6597 w 10000"/>
                <a:gd name="connsiteY46" fmla="*/ 4497 h 10000"/>
                <a:gd name="connsiteX47" fmla="*/ 6590 w 10000"/>
                <a:gd name="connsiteY47" fmla="*/ 4413 h 10000"/>
                <a:gd name="connsiteX48" fmla="*/ 6597 w 10000"/>
                <a:gd name="connsiteY48" fmla="*/ 4334 h 10000"/>
                <a:gd name="connsiteX49" fmla="*/ 6605 w 10000"/>
                <a:gd name="connsiteY49" fmla="*/ 4248 h 10000"/>
                <a:gd name="connsiteX50" fmla="*/ 6605 w 10000"/>
                <a:gd name="connsiteY50" fmla="*/ 4160 h 10000"/>
                <a:gd name="connsiteX51" fmla="*/ 6612 w 10000"/>
                <a:gd name="connsiteY51" fmla="*/ 4075 h 10000"/>
                <a:gd name="connsiteX52" fmla="*/ 6620 w 10000"/>
                <a:gd name="connsiteY52" fmla="*/ 3990 h 10000"/>
                <a:gd name="connsiteX53" fmla="*/ 6635 w 10000"/>
                <a:gd name="connsiteY53" fmla="*/ 3915 h 10000"/>
                <a:gd name="connsiteX54" fmla="*/ 6649 w 10000"/>
                <a:gd name="connsiteY54" fmla="*/ 3830 h 10000"/>
                <a:gd name="connsiteX55" fmla="*/ 6664 w 10000"/>
                <a:gd name="connsiteY55" fmla="*/ 3750 h 10000"/>
                <a:gd name="connsiteX56" fmla="*/ 6686 w 10000"/>
                <a:gd name="connsiteY56" fmla="*/ 3665 h 10000"/>
                <a:gd name="connsiteX57" fmla="*/ 6709 w 10000"/>
                <a:gd name="connsiteY57" fmla="*/ 3589 h 10000"/>
                <a:gd name="connsiteX58" fmla="*/ 6731 w 10000"/>
                <a:gd name="connsiteY58" fmla="*/ 3508 h 10000"/>
                <a:gd name="connsiteX59" fmla="*/ 6753 w 10000"/>
                <a:gd name="connsiteY59" fmla="*/ 3424 h 10000"/>
                <a:gd name="connsiteX60" fmla="*/ 6783 w 10000"/>
                <a:gd name="connsiteY60" fmla="*/ 3355 h 10000"/>
                <a:gd name="connsiteX61" fmla="*/ 6812 w 10000"/>
                <a:gd name="connsiteY61" fmla="*/ 3275 h 10000"/>
                <a:gd name="connsiteX62" fmla="*/ 6842 w 10000"/>
                <a:gd name="connsiteY62" fmla="*/ 3194 h 10000"/>
                <a:gd name="connsiteX63" fmla="*/ 6879 w 10000"/>
                <a:gd name="connsiteY63" fmla="*/ 3118 h 10000"/>
                <a:gd name="connsiteX64" fmla="*/ 6909 w 10000"/>
                <a:gd name="connsiteY64" fmla="*/ 3046 h 10000"/>
                <a:gd name="connsiteX65" fmla="*/ 6946 w 10000"/>
                <a:gd name="connsiteY65" fmla="*/ 2964 h 10000"/>
                <a:gd name="connsiteX66" fmla="*/ 6990 w 10000"/>
                <a:gd name="connsiteY66" fmla="*/ 2898 h 10000"/>
                <a:gd name="connsiteX67" fmla="*/ 7027 w 10000"/>
                <a:gd name="connsiteY67" fmla="*/ 2823 h 10000"/>
                <a:gd name="connsiteX68" fmla="*/ 7072 w 10000"/>
                <a:gd name="connsiteY68" fmla="*/ 2754 h 10000"/>
                <a:gd name="connsiteX69" fmla="*/ 7109 w 10000"/>
                <a:gd name="connsiteY69" fmla="*/ 2676 h 10000"/>
                <a:gd name="connsiteX70" fmla="*/ 7161 w 10000"/>
                <a:gd name="connsiteY70" fmla="*/ 2613 h 10000"/>
                <a:gd name="connsiteX71" fmla="*/ 7213 w 10000"/>
                <a:gd name="connsiteY71" fmla="*/ 2538 h 10000"/>
                <a:gd name="connsiteX72" fmla="*/ 7257 w 10000"/>
                <a:gd name="connsiteY72" fmla="*/ 2471 h 10000"/>
                <a:gd name="connsiteX73" fmla="*/ 7309 w 10000"/>
                <a:gd name="connsiteY73" fmla="*/ 2404 h 10000"/>
                <a:gd name="connsiteX74" fmla="*/ 7361 w 10000"/>
                <a:gd name="connsiteY74" fmla="*/ 2331 h 10000"/>
                <a:gd name="connsiteX75" fmla="*/ 7413 w 10000"/>
                <a:gd name="connsiteY75" fmla="*/ 2269 h 10000"/>
                <a:gd name="connsiteX76" fmla="*/ 7472 w 10000"/>
                <a:gd name="connsiteY76" fmla="*/ 2203 h 10000"/>
                <a:gd name="connsiteX77" fmla="*/ 7524 w 10000"/>
                <a:gd name="connsiteY77" fmla="*/ 2145 h 10000"/>
                <a:gd name="connsiteX78" fmla="*/ 7583 w 10000"/>
                <a:gd name="connsiteY78" fmla="*/ 2077 h 10000"/>
                <a:gd name="connsiteX79" fmla="*/ 7610 w 10000"/>
                <a:gd name="connsiteY79" fmla="*/ 2042 h 10000"/>
                <a:gd name="connsiteX80" fmla="*/ 5390 w 10000"/>
                <a:gd name="connsiteY80" fmla="*/ 6 h 10000"/>
                <a:gd name="connsiteX81" fmla="*/ 1401 w 10000"/>
                <a:gd name="connsiteY81" fmla="*/ 0 h 10000"/>
                <a:gd name="connsiteX82" fmla="*/ 1305 w 10000"/>
                <a:gd name="connsiteY82" fmla="*/ 154 h 10000"/>
                <a:gd name="connsiteX83" fmla="*/ 1223 w 10000"/>
                <a:gd name="connsiteY83" fmla="*/ 269 h 10000"/>
                <a:gd name="connsiteX84" fmla="*/ 1149 w 10000"/>
                <a:gd name="connsiteY84" fmla="*/ 397 h 10000"/>
                <a:gd name="connsiteX85" fmla="*/ 1067 w 10000"/>
                <a:gd name="connsiteY85" fmla="*/ 523 h 10000"/>
                <a:gd name="connsiteX86" fmla="*/ 1001 w 10000"/>
                <a:gd name="connsiteY86" fmla="*/ 650 h 10000"/>
                <a:gd name="connsiteX87" fmla="*/ 927 w 10000"/>
                <a:gd name="connsiteY87" fmla="*/ 775 h 10000"/>
                <a:gd name="connsiteX88" fmla="*/ 860 w 10000"/>
                <a:gd name="connsiteY88" fmla="*/ 910 h 10000"/>
                <a:gd name="connsiteX89" fmla="*/ 793 w 10000"/>
                <a:gd name="connsiteY89" fmla="*/ 1043 h 10000"/>
                <a:gd name="connsiteX90" fmla="*/ 734 w 10000"/>
                <a:gd name="connsiteY90" fmla="*/ 1166 h 10000"/>
                <a:gd name="connsiteX91" fmla="*/ 675 w 10000"/>
                <a:gd name="connsiteY91" fmla="*/ 1304 h 10000"/>
                <a:gd name="connsiteX92" fmla="*/ 615 w 10000"/>
                <a:gd name="connsiteY92" fmla="*/ 1432 h 10000"/>
                <a:gd name="connsiteX93" fmla="*/ 556 w 10000"/>
                <a:gd name="connsiteY93" fmla="*/ 1572 h 10000"/>
                <a:gd name="connsiteX94" fmla="*/ 504 w 10000"/>
                <a:gd name="connsiteY94" fmla="*/ 1699 h 10000"/>
                <a:gd name="connsiteX95" fmla="*/ 452 w 10000"/>
                <a:gd name="connsiteY95" fmla="*/ 1833 h 10000"/>
                <a:gd name="connsiteX96" fmla="*/ 408 w 10000"/>
                <a:gd name="connsiteY96" fmla="*/ 1968 h 10000"/>
                <a:gd name="connsiteX97" fmla="*/ 363 w 10000"/>
                <a:gd name="connsiteY97" fmla="*/ 2104 h 10000"/>
                <a:gd name="connsiteX98" fmla="*/ 319 w 10000"/>
                <a:gd name="connsiteY98" fmla="*/ 2248 h 10000"/>
                <a:gd name="connsiteX99" fmla="*/ 282 w 10000"/>
                <a:gd name="connsiteY99" fmla="*/ 2384 h 10000"/>
                <a:gd name="connsiteX100" fmla="*/ 237 w 10000"/>
                <a:gd name="connsiteY100" fmla="*/ 2526 h 10000"/>
                <a:gd name="connsiteX101" fmla="*/ 208 w 10000"/>
                <a:gd name="connsiteY101" fmla="*/ 2666 h 10000"/>
                <a:gd name="connsiteX102" fmla="*/ 170 w 10000"/>
                <a:gd name="connsiteY102" fmla="*/ 2809 h 10000"/>
                <a:gd name="connsiteX103" fmla="*/ 148 w 10000"/>
                <a:gd name="connsiteY103" fmla="*/ 2953 h 10000"/>
                <a:gd name="connsiteX104" fmla="*/ 119 w 10000"/>
                <a:gd name="connsiteY104" fmla="*/ 3095 h 10000"/>
                <a:gd name="connsiteX105" fmla="*/ 96 w 10000"/>
                <a:gd name="connsiteY105" fmla="*/ 3235 h 10000"/>
                <a:gd name="connsiteX106" fmla="*/ 74 w 10000"/>
                <a:gd name="connsiteY106" fmla="*/ 3382 h 10000"/>
                <a:gd name="connsiteX107" fmla="*/ 52 w 10000"/>
                <a:gd name="connsiteY107" fmla="*/ 3534 h 10000"/>
                <a:gd name="connsiteX108" fmla="*/ 37 w 10000"/>
                <a:gd name="connsiteY108" fmla="*/ 3678 h 10000"/>
                <a:gd name="connsiteX109" fmla="*/ 22 w 10000"/>
                <a:gd name="connsiteY109" fmla="*/ 3822 h 10000"/>
                <a:gd name="connsiteX110" fmla="*/ 15 w 10000"/>
                <a:gd name="connsiteY110" fmla="*/ 3966 h 10000"/>
                <a:gd name="connsiteX111" fmla="*/ 7 w 10000"/>
                <a:gd name="connsiteY111" fmla="*/ 4116 h 10000"/>
                <a:gd name="connsiteX112" fmla="*/ 0 w 10000"/>
                <a:gd name="connsiteY112" fmla="*/ 4261 h 10000"/>
                <a:gd name="connsiteX113" fmla="*/ 0 w 10000"/>
                <a:gd name="connsiteY113" fmla="*/ 4413 h 10000"/>
                <a:gd name="connsiteX114" fmla="*/ 7 w 10000"/>
                <a:gd name="connsiteY114" fmla="*/ 4606 h 10000"/>
                <a:gd name="connsiteX115" fmla="*/ 7 w 10000"/>
                <a:gd name="connsiteY115" fmla="*/ 4798 h 10000"/>
                <a:gd name="connsiteX116" fmla="*/ 22 w 10000"/>
                <a:gd name="connsiteY116" fmla="*/ 4977 h 10000"/>
                <a:gd name="connsiteX117" fmla="*/ 37 w 10000"/>
                <a:gd name="connsiteY117" fmla="*/ 5166 h 10000"/>
                <a:gd name="connsiteX118" fmla="*/ 59 w 10000"/>
                <a:gd name="connsiteY118" fmla="*/ 5353 h 10000"/>
                <a:gd name="connsiteX119" fmla="*/ 89 w 10000"/>
                <a:gd name="connsiteY119" fmla="*/ 5540 h 10000"/>
                <a:gd name="connsiteX120" fmla="*/ 119 w 10000"/>
                <a:gd name="connsiteY120" fmla="*/ 5725 h 10000"/>
                <a:gd name="connsiteX121" fmla="*/ 148 w 10000"/>
                <a:gd name="connsiteY121" fmla="*/ 5909 h 10000"/>
                <a:gd name="connsiteX122" fmla="*/ 193 w 10000"/>
                <a:gd name="connsiteY122" fmla="*/ 6093 h 10000"/>
                <a:gd name="connsiteX123" fmla="*/ 237 w 10000"/>
                <a:gd name="connsiteY123" fmla="*/ 6273 h 10000"/>
                <a:gd name="connsiteX124" fmla="*/ 282 w 10000"/>
                <a:gd name="connsiteY124" fmla="*/ 6456 h 10000"/>
                <a:gd name="connsiteX125" fmla="*/ 334 w 10000"/>
                <a:gd name="connsiteY125" fmla="*/ 6633 h 10000"/>
                <a:gd name="connsiteX126" fmla="*/ 393 w 10000"/>
                <a:gd name="connsiteY126" fmla="*/ 6805 h 10000"/>
                <a:gd name="connsiteX127" fmla="*/ 452 w 10000"/>
                <a:gd name="connsiteY127" fmla="*/ 6984 h 10000"/>
                <a:gd name="connsiteX128" fmla="*/ 519 w 10000"/>
                <a:gd name="connsiteY128" fmla="*/ 7156 h 10000"/>
                <a:gd name="connsiteX129" fmla="*/ 586 w 10000"/>
                <a:gd name="connsiteY129" fmla="*/ 7336 h 10000"/>
                <a:gd name="connsiteX130" fmla="*/ 660 w 10000"/>
                <a:gd name="connsiteY130" fmla="*/ 7502 h 10000"/>
                <a:gd name="connsiteX131" fmla="*/ 741 w 10000"/>
                <a:gd name="connsiteY131" fmla="*/ 7665 h 10000"/>
                <a:gd name="connsiteX132" fmla="*/ 823 w 10000"/>
                <a:gd name="connsiteY132" fmla="*/ 7844 h 10000"/>
                <a:gd name="connsiteX133" fmla="*/ 904 w 10000"/>
                <a:gd name="connsiteY133" fmla="*/ 8007 h 10000"/>
                <a:gd name="connsiteX134" fmla="*/ 993 w 10000"/>
                <a:gd name="connsiteY134" fmla="*/ 8168 h 10000"/>
                <a:gd name="connsiteX135" fmla="*/ 1090 w 10000"/>
                <a:gd name="connsiteY135" fmla="*/ 8323 h 10000"/>
                <a:gd name="connsiteX136" fmla="*/ 1186 w 10000"/>
                <a:gd name="connsiteY136" fmla="*/ 8490 h 10000"/>
                <a:gd name="connsiteX137" fmla="*/ 1290 w 10000"/>
                <a:gd name="connsiteY137" fmla="*/ 8651 h 10000"/>
                <a:gd name="connsiteX138" fmla="*/ 1386 w 10000"/>
                <a:gd name="connsiteY138" fmla="*/ 8808 h 10000"/>
                <a:gd name="connsiteX139" fmla="*/ 1497 w 10000"/>
                <a:gd name="connsiteY139" fmla="*/ 8966 h 10000"/>
                <a:gd name="connsiteX140" fmla="*/ 1609 w 10000"/>
                <a:gd name="connsiteY140" fmla="*/ 9114 h 10000"/>
                <a:gd name="connsiteX141" fmla="*/ 1727 w 10000"/>
                <a:gd name="connsiteY141" fmla="*/ 9273 h 10000"/>
                <a:gd name="connsiteX142" fmla="*/ 1846 w 10000"/>
                <a:gd name="connsiteY142" fmla="*/ 9420 h 10000"/>
                <a:gd name="connsiteX143" fmla="*/ 1964 w 10000"/>
                <a:gd name="connsiteY143" fmla="*/ 9566 h 10000"/>
                <a:gd name="connsiteX144" fmla="*/ 2090 w 10000"/>
                <a:gd name="connsiteY144" fmla="*/ 9706 h 10000"/>
                <a:gd name="connsiteX145" fmla="*/ 2224 w 10000"/>
                <a:gd name="connsiteY145" fmla="*/ 9855 h 10000"/>
                <a:gd name="connsiteX146" fmla="*/ 2350 w 10000"/>
                <a:gd name="connsiteY146" fmla="*/ 10000 h 10000"/>
                <a:gd name="connsiteX147" fmla="*/ 4348 w 10000"/>
                <a:gd name="connsiteY147" fmla="*/ 7469 h 10000"/>
                <a:gd name="connsiteX0" fmla="*/ 4348 w 10370"/>
                <a:gd name="connsiteY0" fmla="*/ 7469 h 10000"/>
                <a:gd name="connsiteX1" fmla="*/ 10000 w 10370"/>
                <a:gd name="connsiteY1" fmla="*/ 8049 h 10000"/>
                <a:gd name="connsiteX2" fmla="*/ 9815 w 10370"/>
                <a:gd name="connsiteY2" fmla="*/ 8007 h 10000"/>
                <a:gd name="connsiteX3" fmla="*/ 9726 w 10370"/>
                <a:gd name="connsiteY3" fmla="*/ 7985 h 10000"/>
                <a:gd name="connsiteX4" fmla="*/ 9637 w 10370"/>
                <a:gd name="connsiteY4" fmla="*/ 7950 h 10000"/>
                <a:gd name="connsiteX5" fmla="*/ 9548 w 10370"/>
                <a:gd name="connsiteY5" fmla="*/ 7925 h 10000"/>
                <a:gd name="connsiteX6" fmla="*/ 9466 w 10370"/>
                <a:gd name="connsiteY6" fmla="*/ 7897 h 10000"/>
                <a:gd name="connsiteX7" fmla="*/ 9377 w 10370"/>
                <a:gd name="connsiteY7" fmla="*/ 7869 h 10000"/>
                <a:gd name="connsiteX8" fmla="*/ 9288 w 10370"/>
                <a:gd name="connsiteY8" fmla="*/ 7837 h 10000"/>
                <a:gd name="connsiteX9" fmla="*/ 9118 w 10370"/>
                <a:gd name="connsiteY9" fmla="*/ 7772 h 10000"/>
                <a:gd name="connsiteX10" fmla="*/ 8955 w 10370"/>
                <a:gd name="connsiteY10" fmla="*/ 7698 h 10000"/>
                <a:gd name="connsiteX11" fmla="*/ 8792 w 10370"/>
                <a:gd name="connsiteY11" fmla="*/ 7624 h 10000"/>
                <a:gd name="connsiteX12" fmla="*/ 8636 w 10370"/>
                <a:gd name="connsiteY12" fmla="*/ 7536 h 10000"/>
                <a:gd name="connsiteX13" fmla="*/ 8480 w 10370"/>
                <a:gd name="connsiteY13" fmla="*/ 7448 h 10000"/>
                <a:gd name="connsiteX14" fmla="*/ 8340 w 10370"/>
                <a:gd name="connsiteY14" fmla="*/ 7365 h 10000"/>
                <a:gd name="connsiteX15" fmla="*/ 8199 w 10370"/>
                <a:gd name="connsiteY15" fmla="*/ 7266 h 10000"/>
                <a:gd name="connsiteX16" fmla="*/ 8058 w 10370"/>
                <a:gd name="connsiteY16" fmla="*/ 7161 h 10000"/>
                <a:gd name="connsiteX17" fmla="*/ 7924 w 10370"/>
                <a:gd name="connsiteY17" fmla="*/ 7056 h 10000"/>
                <a:gd name="connsiteX18" fmla="*/ 7798 w 10370"/>
                <a:gd name="connsiteY18" fmla="*/ 6942 h 10000"/>
                <a:gd name="connsiteX19" fmla="*/ 7672 w 10370"/>
                <a:gd name="connsiteY19" fmla="*/ 6833 h 10000"/>
                <a:gd name="connsiteX20" fmla="*/ 7554 w 10370"/>
                <a:gd name="connsiteY20" fmla="*/ 6719 h 10000"/>
                <a:gd name="connsiteX21" fmla="*/ 7450 w 10370"/>
                <a:gd name="connsiteY21" fmla="*/ 6593 h 10000"/>
                <a:gd name="connsiteX22" fmla="*/ 7346 w 10370"/>
                <a:gd name="connsiteY22" fmla="*/ 6467 h 10000"/>
                <a:gd name="connsiteX23" fmla="*/ 7250 w 10370"/>
                <a:gd name="connsiteY23" fmla="*/ 6338 h 10000"/>
                <a:gd name="connsiteX24" fmla="*/ 7161 w 10370"/>
                <a:gd name="connsiteY24" fmla="*/ 6209 h 10000"/>
                <a:gd name="connsiteX25" fmla="*/ 7072 w 10370"/>
                <a:gd name="connsiteY25" fmla="*/ 6073 h 10000"/>
                <a:gd name="connsiteX26" fmla="*/ 6990 w 10370"/>
                <a:gd name="connsiteY26" fmla="*/ 5928 h 10000"/>
                <a:gd name="connsiteX27" fmla="*/ 6953 w 10370"/>
                <a:gd name="connsiteY27" fmla="*/ 5865 h 10000"/>
                <a:gd name="connsiteX28" fmla="*/ 6916 w 10370"/>
                <a:gd name="connsiteY28" fmla="*/ 5789 h 10000"/>
                <a:gd name="connsiteX29" fmla="*/ 6887 w 10370"/>
                <a:gd name="connsiteY29" fmla="*/ 5721 h 10000"/>
                <a:gd name="connsiteX30" fmla="*/ 6850 w 10370"/>
                <a:gd name="connsiteY30" fmla="*/ 5646 h 10000"/>
                <a:gd name="connsiteX31" fmla="*/ 6820 w 10370"/>
                <a:gd name="connsiteY31" fmla="*/ 5575 h 10000"/>
                <a:gd name="connsiteX32" fmla="*/ 6790 w 10370"/>
                <a:gd name="connsiteY32" fmla="*/ 5501 h 10000"/>
                <a:gd name="connsiteX33" fmla="*/ 6768 w 10370"/>
                <a:gd name="connsiteY33" fmla="*/ 5424 h 10000"/>
                <a:gd name="connsiteX34" fmla="*/ 6738 w 10370"/>
                <a:gd name="connsiteY34" fmla="*/ 5353 h 10000"/>
                <a:gd name="connsiteX35" fmla="*/ 6723 w 10370"/>
                <a:gd name="connsiteY35" fmla="*/ 5274 h 10000"/>
                <a:gd name="connsiteX36" fmla="*/ 6694 w 10370"/>
                <a:gd name="connsiteY36" fmla="*/ 5200 h 10000"/>
                <a:gd name="connsiteX37" fmla="*/ 6679 w 10370"/>
                <a:gd name="connsiteY37" fmla="*/ 5122 h 10000"/>
                <a:gd name="connsiteX38" fmla="*/ 6664 w 10370"/>
                <a:gd name="connsiteY38" fmla="*/ 5048 h 10000"/>
                <a:gd name="connsiteX39" fmla="*/ 6649 w 10370"/>
                <a:gd name="connsiteY39" fmla="*/ 4966 h 10000"/>
                <a:gd name="connsiteX40" fmla="*/ 6635 w 10370"/>
                <a:gd name="connsiteY40" fmla="*/ 4893 h 10000"/>
                <a:gd name="connsiteX41" fmla="*/ 6620 w 10370"/>
                <a:gd name="connsiteY41" fmla="*/ 4815 h 10000"/>
                <a:gd name="connsiteX42" fmla="*/ 6612 w 10370"/>
                <a:gd name="connsiteY42" fmla="*/ 4739 h 10000"/>
                <a:gd name="connsiteX43" fmla="*/ 6605 w 10370"/>
                <a:gd name="connsiteY43" fmla="*/ 4656 h 10000"/>
                <a:gd name="connsiteX44" fmla="*/ 6597 w 10370"/>
                <a:gd name="connsiteY44" fmla="*/ 4573 h 10000"/>
                <a:gd name="connsiteX45" fmla="*/ 6597 w 10370"/>
                <a:gd name="connsiteY45" fmla="*/ 4497 h 10000"/>
                <a:gd name="connsiteX46" fmla="*/ 6590 w 10370"/>
                <a:gd name="connsiteY46" fmla="*/ 4413 h 10000"/>
                <a:gd name="connsiteX47" fmla="*/ 6597 w 10370"/>
                <a:gd name="connsiteY47" fmla="*/ 4334 h 10000"/>
                <a:gd name="connsiteX48" fmla="*/ 6605 w 10370"/>
                <a:gd name="connsiteY48" fmla="*/ 4248 h 10000"/>
                <a:gd name="connsiteX49" fmla="*/ 6605 w 10370"/>
                <a:gd name="connsiteY49" fmla="*/ 4160 h 10000"/>
                <a:gd name="connsiteX50" fmla="*/ 6612 w 10370"/>
                <a:gd name="connsiteY50" fmla="*/ 4075 h 10000"/>
                <a:gd name="connsiteX51" fmla="*/ 6620 w 10370"/>
                <a:gd name="connsiteY51" fmla="*/ 3990 h 10000"/>
                <a:gd name="connsiteX52" fmla="*/ 6635 w 10370"/>
                <a:gd name="connsiteY52" fmla="*/ 3915 h 10000"/>
                <a:gd name="connsiteX53" fmla="*/ 6649 w 10370"/>
                <a:gd name="connsiteY53" fmla="*/ 3830 h 10000"/>
                <a:gd name="connsiteX54" fmla="*/ 6664 w 10370"/>
                <a:gd name="connsiteY54" fmla="*/ 3750 h 10000"/>
                <a:gd name="connsiteX55" fmla="*/ 6686 w 10370"/>
                <a:gd name="connsiteY55" fmla="*/ 3665 h 10000"/>
                <a:gd name="connsiteX56" fmla="*/ 6709 w 10370"/>
                <a:gd name="connsiteY56" fmla="*/ 3589 h 10000"/>
                <a:gd name="connsiteX57" fmla="*/ 6731 w 10370"/>
                <a:gd name="connsiteY57" fmla="*/ 3508 h 10000"/>
                <a:gd name="connsiteX58" fmla="*/ 6753 w 10370"/>
                <a:gd name="connsiteY58" fmla="*/ 3424 h 10000"/>
                <a:gd name="connsiteX59" fmla="*/ 6783 w 10370"/>
                <a:gd name="connsiteY59" fmla="*/ 3355 h 10000"/>
                <a:gd name="connsiteX60" fmla="*/ 6812 w 10370"/>
                <a:gd name="connsiteY60" fmla="*/ 3275 h 10000"/>
                <a:gd name="connsiteX61" fmla="*/ 6842 w 10370"/>
                <a:gd name="connsiteY61" fmla="*/ 3194 h 10000"/>
                <a:gd name="connsiteX62" fmla="*/ 6879 w 10370"/>
                <a:gd name="connsiteY62" fmla="*/ 3118 h 10000"/>
                <a:gd name="connsiteX63" fmla="*/ 6909 w 10370"/>
                <a:gd name="connsiteY63" fmla="*/ 3046 h 10000"/>
                <a:gd name="connsiteX64" fmla="*/ 6946 w 10370"/>
                <a:gd name="connsiteY64" fmla="*/ 2964 h 10000"/>
                <a:gd name="connsiteX65" fmla="*/ 6990 w 10370"/>
                <a:gd name="connsiteY65" fmla="*/ 2898 h 10000"/>
                <a:gd name="connsiteX66" fmla="*/ 7027 w 10370"/>
                <a:gd name="connsiteY66" fmla="*/ 2823 h 10000"/>
                <a:gd name="connsiteX67" fmla="*/ 7072 w 10370"/>
                <a:gd name="connsiteY67" fmla="*/ 2754 h 10000"/>
                <a:gd name="connsiteX68" fmla="*/ 7109 w 10370"/>
                <a:gd name="connsiteY68" fmla="*/ 2676 h 10000"/>
                <a:gd name="connsiteX69" fmla="*/ 7161 w 10370"/>
                <a:gd name="connsiteY69" fmla="*/ 2613 h 10000"/>
                <a:gd name="connsiteX70" fmla="*/ 7213 w 10370"/>
                <a:gd name="connsiteY70" fmla="*/ 2538 h 10000"/>
                <a:gd name="connsiteX71" fmla="*/ 7257 w 10370"/>
                <a:gd name="connsiteY71" fmla="*/ 2471 h 10000"/>
                <a:gd name="connsiteX72" fmla="*/ 7309 w 10370"/>
                <a:gd name="connsiteY72" fmla="*/ 2404 h 10000"/>
                <a:gd name="connsiteX73" fmla="*/ 7361 w 10370"/>
                <a:gd name="connsiteY73" fmla="*/ 2331 h 10000"/>
                <a:gd name="connsiteX74" fmla="*/ 7413 w 10370"/>
                <a:gd name="connsiteY74" fmla="*/ 2269 h 10000"/>
                <a:gd name="connsiteX75" fmla="*/ 7472 w 10370"/>
                <a:gd name="connsiteY75" fmla="*/ 2203 h 10000"/>
                <a:gd name="connsiteX76" fmla="*/ 7524 w 10370"/>
                <a:gd name="connsiteY76" fmla="*/ 2145 h 10000"/>
                <a:gd name="connsiteX77" fmla="*/ 7583 w 10370"/>
                <a:gd name="connsiteY77" fmla="*/ 2077 h 10000"/>
                <a:gd name="connsiteX78" fmla="*/ 7610 w 10370"/>
                <a:gd name="connsiteY78" fmla="*/ 2042 h 10000"/>
                <a:gd name="connsiteX79" fmla="*/ 5390 w 10370"/>
                <a:gd name="connsiteY79" fmla="*/ 6 h 10000"/>
                <a:gd name="connsiteX80" fmla="*/ 1401 w 10370"/>
                <a:gd name="connsiteY80" fmla="*/ 0 h 10000"/>
                <a:gd name="connsiteX81" fmla="*/ 1305 w 10370"/>
                <a:gd name="connsiteY81" fmla="*/ 154 h 10000"/>
                <a:gd name="connsiteX82" fmla="*/ 1223 w 10370"/>
                <a:gd name="connsiteY82" fmla="*/ 269 h 10000"/>
                <a:gd name="connsiteX83" fmla="*/ 1149 w 10370"/>
                <a:gd name="connsiteY83" fmla="*/ 397 h 10000"/>
                <a:gd name="connsiteX84" fmla="*/ 1067 w 10370"/>
                <a:gd name="connsiteY84" fmla="*/ 523 h 10000"/>
                <a:gd name="connsiteX85" fmla="*/ 1001 w 10370"/>
                <a:gd name="connsiteY85" fmla="*/ 650 h 10000"/>
                <a:gd name="connsiteX86" fmla="*/ 927 w 10370"/>
                <a:gd name="connsiteY86" fmla="*/ 775 h 10000"/>
                <a:gd name="connsiteX87" fmla="*/ 860 w 10370"/>
                <a:gd name="connsiteY87" fmla="*/ 910 h 10000"/>
                <a:gd name="connsiteX88" fmla="*/ 793 w 10370"/>
                <a:gd name="connsiteY88" fmla="*/ 1043 h 10000"/>
                <a:gd name="connsiteX89" fmla="*/ 734 w 10370"/>
                <a:gd name="connsiteY89" fmla="*/ 1166 h 10000"/>
                <a:gd name="connsiteX90" fmla="*/ 675 w 10370"/>
                <a:gd name="connsiteY90" fmla="*/ 1304 h 10000"/>
                <a:gd name="connsiteX91" fmla="*/ 615 w 10370"/>
                <a:gd name="connsiteY91" fmla="*/ 1432 h 10000"/>
                <a:gd name="connsiteX92" fmla="*/ 556 w 10370"/>
                <a:gd name="connsiteY92" fmla="*/ 1572 h 10000"/>
                <a:gd name="connsiteX93" fmla="*/ 504 w 10370"/>
                <a:gd name="connsiteY93" fmla="*/ 1699 h 10000"/>
                <a:gd name="connsiteX94" fmla="*/ 452 w 10370"/>
                <a:gd name="connsiteY94" fmla="*/ 1833 h 10000"/>
                <a:gd name="connsiteX95" fmla="*/ 408 w 10370"/>
                <a:gd name="connsiteY95" fmla="*/ 1968 h 10000"/>
                <a:gd name="connsiteX96" fmla="*/ 363 w 10370"/>
                <a:gd name="connsiteY96" fmla="*/ 2104 h 10000"/>
                <a:gd name="connsiteX97" fmla="*/ 319 w 10370"/>
                <a:gd name="connsiteY97" fmla="*/ 2248 h 10000"/>
                <a:gd name="connsiteX98" fmla="*/ 282 w 10370"/>
                <a:gd name="connsiteY98" fmla="*/ 2384 h 10000"/>
                <a:gd name="connsiteX99" fmla="*/ 237 w 10370"/>
                <a:gd name="connsiteY99" fmla="*/ 2526 h 10000"/>
                <a:gd name="connsiteX100" fmla="*/ 208 w 10370"/>
                <a:gd name="connsiteY100" fmla="*/ 2666 h 10000"/>
                <a:gd name="connsiteX101" fmla="*/ 170 w 10370"/>
                <a:gd name="connsiteY101" fmla="*/ 2809 h 10000"/>
                <a:gd name="connsiteX102" fmla="*/ 148 w 10370"/>
                <a:gd name="connsiteY102" fmla="*/ 2953 h 10000"/>
                <a:gd name="connsiteX103" fmla="*/ 119 w 10370"/>
                <a:gd name="connsiteY103" fmla="*/ 3095 h 10000"/>
                <a:gd name="connsiteX104" fmla="*/ 96 w 10370"/>
                <a:gd name="connsiteY104" fmla="*/ 3235 h 10000"/>
                <a:gd name="connsiteX105" fmla="*/ 74 w 10370"/>
                <a:gd name="connsiteY105" fmla="*/ 3382 h 10000"/>
                <a:gd name="connsiteX106" fmla="*/ 52 w 10370"/>
                <a:gd name="connsiteY106" fmla="*/ 3534 h 10000"/>
                <a:gd name="connsiteX107" fmla="*/ 37 w 10370"/>
                <a:gd name="connsiteY107" fmla="*/ 3678 h 10000"/>
                <a:gd name="connsiteX108" fmla="*/ 22 w 10370"/>
                <a:gd name="connsiteY108" fmla="*/ 3822 h 10000"/>
                <a:gd name="connsiteX109" fmla="*/ 15 w 10370"/>
                <a:gd name="connsiteY109" fmla="*/ 3966 h 10000"/>
                <a:gd name="connsiteX110" fmla="*/ 7 w 10370"/>
                <a:gd name="connsiteY110" fmla="*/ 4116 h 10000"/>
                <a:gd name="connsiteX111" fmla="*/ 0 w 10370"/>
                <a:gd name="connsiteY111" fmla="*/ 4261 h 10000"/>
                <a:gd name="connsiteX112" fmla="*/ 0 w 10370"/>
                <a:gd name="connsiteY112" fmla="*/ 4413 h 10000"/>
                <a:gd name="connsiteX113" fmla="*/ 7 w 10370"/>
                <a:gd name="connsiteY113" fmla="*/ 4606 h 10000"/>
                <a:gd name="connsiteX114" fmla="*/ 7 w 10370"/>
                <a:gd name="connsiteY114" fmla="*/ 4798 h 10000"/>
                <a:gd name="connsiteX115" fmla="*/ 22 w 10370"/>
                <a:gd name="connsiteY115" fmla="*/ 4977 h 10000"/>
                <a:gd name="connsiteX116" fmla="*/ 37 w 10370"/>
                <a:gd name="connsiteY116" fmla="*/ 5166 h 10000"/>
                <a:gd name="connsiteX117" fmla="*/ 59 w 10370"/>
                <a:gd name="connsiteY117" fmla="*/ 5353 h 10000"/>
                <a:gd name="connsiteX118" fmla="*/ 89 w 10370"/>
                <a:gd name="connsiteY118" fmla="*/ 5540 h 10000"/>
                <a:gd name="connsiteX119" fmla="*/ 119 w 10370"/>
                <a:gd name="connsiteY119" fmla="*/ 5725 h 10000"/>
                <a:gd name="connsiteX120" fmla="*/ 148 w 10370"/>
                <a:gd name="connsiteY120" fmla="*/ 5909 h 10000"/>
                <a:gd name="connsiteX121" fmla="*/ 193 w 10370"/>
                <a:gd name="connsiteY121" fmla="*/ 6093 h 10000"/>
                <a:gd name="connsiteX122" fmla="*/ 237 w 10370"/>
                <a:gd name="connsiteY122" fmla="*/ 6273 h 10000"/>
                <a:gd name="connsiteX123" fmla="*/ 282 w 10370"/>
                <a:gd name="connsiteY123" fmla="*/ 6456 h 10000"/>
                <a:gd name="connsiteX124" fmla="*/ 334 w 10370"/>
                <a:gd name="connsiteY124" fmla="*/ 6633 h 10000"/>
                <a:gd name="connsiteX125" fmla="*/ 393 w 10370"/>
                <a:gd name="connsiteY125" fmla="*/ 6805 h 10000"/>
                <a:gd name="connsiteX126" fmla="*/ 452 w 10370"/>
                <a:gd name="connsiteY126" fmla="*/ 6984 h 10000"/>
                <a:gd name="connsiteX127" fmla="*/ 519 w 10370"/>
                <a:gd name="connsiteY127" fmla="*/ 7156 h 10000"/>
                <a:gd name="connsiteX128" fmla="*/ 586 w 10370"/>
                <a:gd name="connsiteY128" fmla="*/ 7336 h 10000"/>
                <a:gd name="connsiteX129" fmla="*/ 660 w 10370"/>
                <a:gd name="connsiteY129" fmla="*/ 7502 h 10000"/>
                <a:gd name="connsiteX130" fmla="*/ 741 w 10370"/>
                <a:gd name="connsiteY130" fmla="*/ 7665 h 10000"/>
                <a:gd name="connsiteX131" fmla="*/ 823 w 10370"/>
                <a:gd name="connsiteY131" fmla="*/ 7844 h 10000"/>
                <a:gd name="connsiteX132" fmla="*/ 904 w 10370"/>
                <a:gd name="connsiteY132" fmla="*/ 8007 h 10000"/>
                <a:gd name="connsiteX133" fmla="*/ 993 w 10370"/>
                <a:gd name="connsiteY133" fmla="*/ 8168 h 10000"/>
                <a:gd name="connsiteX134" fmla="*/ 1090 w 10370"/>
                <a:gd name="connsiteY134" fmla="*/ 8323 h 10000"/>
                <a:gd name="connsiteX135" fmla="*/ 1186 w 10370"/>
                <a:gd name="connsiteY135" fmla="*/ 8490 h 10000"/>
                <a:gd name="connsiteX136" fmla="*/ 1290 w 10370"/>
                <a:gd name="connsiteY136" fmla="*/ 8651 h 10000"/>
                <a:gd name="connsiteX137" fmla="*/ 1386 w 10370"/>
                <a:gd name="connsiteY137" fmla="*/ 8808 h 10000"/>
                <a:gd name="connsiteX138" fmla="*/ 1497 w 10370"/>
                <a:gd name="connsiteY138" fmla="*/ 8966 h 10000"/>
                <a:gd name="connsiteX139" fmla="*/ 1609 w 10370"/>
                <a:gd name="connsiteY139" fmla="*/ 9114 h 10000"/>
                <a:gd name="connsiteX140" fmla="*/ 1727 w 10370"/>
                <a:gd name="connsiteY140" fmla="*/ 9273 h 10000"/>
                <a:gd name="connsiteX141" fmla="*/ 1846 w 10370"/>
                <a:gd name="connsiteY141" fmla="*/ 9420 h 10000"/>
                <a:gd name="connsiteX142" fmla="*/ 1964 w 10370"/>
                <a:gd name="connsiteY142" fmla="*/ 9566 h 10000"/>
                <a:gd name="connsiteX143" fmla="*/ 2090 w 10370"/>
                <a:gd name="connsiteY143" fmla="*/ 9706 h 10000"/>
                <a:gd name="connsiteX144" fmla="*/ 2224 w 10370"/>
                <a:gd name="connsiteY144" fmla="*/ 9855 h 10000"/>
                <a:gd name="connsiteX145" fmla="*/ 2350 w 10370"/>
                <a:gd name="connsiteY145" fmla="*/ 10000 h 10000"/>
                <a:gd name="connsiteX146" fmla="*/ 4348 w 10370"/>
                <a:gd name="connsiteY146" fmla="*/ 7469 h 10000"/>
                <a:gd name="connsiteX0" fmla="*/ 4348 w 10409"/>
                <a:gd name="connsiteY0" fmla="*/ 7469 h 10000"/>
                <a:gd name="connsiteX1" fmla="*/ 10000 w 10409"/>
                <a:gd name="connsiteY1" fmla="*/ 8049 h 10000"/>
                <a:gd name="connsiteX2" fmla="*/ 9953 w 10409"/>
                <a:gd name="connsiteY2" fmla="*/ 8025 h 10000"/>
                <a:gd name="connsiteX3" fmla="*/ 9815 w 10409"/>
                <a:gd name="connsiteY3" fmla="*/ 8007 h 10000"/>
                <a:gd name="connsiteX4" fmla="*/ 9726 w 10409"/>
                <a:gd name="connsiteY4" fmla="*/ 7985 h 10000"/>
                <a:gd name="connsiteX5" fmla="*/ 9637 w 10409"/>
                <a:gd name="connsiteY5" fmla="*/ 7950 h 10000"/>
                <a:gd name="connsiteX6" fmla="*/ 9548 w 10409"/>
                <a:gd name="connsiteY6" fmla="*/ 7925 h 10000"/>
                <a:gd name="connsiteX7" fmla="*/ 9466 w 10409"/>
                <a:gd name="connsiteY7" fmla="*/ 7897 h 10000"/>
                <a:gd name="connsiteX8" fmla="*/ 9377 w 10409"/>
                <a:gd name="connsiteY8" fmla="*/ 7869 h 10000"/>
                <a:gd name="connsiteX9" fmla="*/ 9288 w 10409"/>
                <a:gd name="connsiteY9" fmla="*/ 7837 h 10000"/>
                <a:gd name="connsiteX10" fmla="*/ 9118 w 10409"/>
                <a:gd name="connsiteY10" fmla="*/ 7772 h 10000"/>
                <a:gd name="connsiteX11" fmla="*/ 8955 w 10409"/>
                <a:gd name="connsiteY11" fmla="*/ 7698 h 10000"/>
                <a:gd name="connsiteX12" fmla="*/ 8792 w 10409"/>
                <a:gd name="connsiteY12" fmla="*/ 7624 h 10000"/>
                <a:gd name="connsiteX13" fmla="*/ 8636 w 10409"/>
                <a:gd name="connsiteY13" fmla="*/ 7536 h 10000"/>
                <a:gd name="connsiteX14" fmla="*/ 8480 w 10409"/>
                <a:gd name="connsiteY14" fmla="*/ 7448 h 10000"/>
                <a:gd name="connsiteX15" fmla="*/ 8340 w 10409"/>
                <a:gd name="connsiteY15" fmla="*/ 7365 h 10000"/>
                <a:gd name="connsiteX16" fmla="*/ 8199 w 10409"/>
                <a:gd name="connsiteY16" fmla="*/ 7266 h 10000"/>
                <a:gd name="connsiteX17" fmla="*/ 8058 w 10409"/>
                <a:gd name="connsiteY17" fmla="*/ 7161 h 10000"/>
                <a:gd name="connsiteX18" fmla="*/ 7924 w 10409"/>
                <a:gd name="connsiteY18" fmla="*/ 7056 h 10000"/>
                <a:gd name="connsiteX19" fmla="*/ 7798 w 10409"/>
                <a:gd name="connsiteY19" fmla="*/ 6942 h 10000"/>
                <a:gd name="connsiteX20" fmla="*/ 7672 w 10409"/>
                <a:gd name="connsiteY20" fmla="*/ 6833 h 10000"/>
                <a:gd name="connsiteX21" fmla="*/ 7554 w 10409"/>
                <a:gd name="connsiteY21" fmla="*/ 6719 h 10000"/>
                <a:gd name="connsiteX22" fmla="*/ 7450 w 10409"/>
                <a:gd name="connsiteY22" fmla="*/ 6593 h 10000"/>
                <a:gd name="connsiteX23" fmla="*/ 7346 w 10409"/>
                <a:gd name="connsiteY23" fmla="*/ 6467 h 10000"/>
                <a:gd name="connsiteX24" fmla="*/ 7250 w 10409"/>
                <a:gd name="connsiteY24" fmla="*/ 6338 h 10000"/>
                <a:gd name="connsiteX25" fmla="*/ 7161 w 10409"/>
                <a:gd name="connsiteY25" fmla="*/ 6209 h 10000"/>
                <a:gd name="connsiteX26" fmla="*/ 7072 w 10409"/>
                <a:gd name="connsiteY26" fmla="*/ 6073 h 10000"/>
                <a:gd name="connsiteX27" fmla="*/ 6990 w 10409"/>
                <a:gd name="connsiteY27" fmla="*/ 5928 h 10000"/>
                <a:gd name="connsiteX28" fmla="*/ 6953 w 10409"/>
                <a:gd name="connsiteY28" fmla="*/ 5865 h 10000"/>
                <a:gd name="connsiteX29" fmla="*/ 6916 w 10409"/>
                <a:gd name="connsiteY29" fmla="*/ 5789 h 10000"/>
                <a:gd name="connsiteX30" fmla="*/ 6887 w 10409"/>
                <a:gd name="connsiteY30" fmla="*/ 5721 h 10000"/>
                <a:gd name="connsiteX31" fmla="*/ 6850 w 10409"/>
                <a:gd name="connsiteY31" fmla="*/ 5646 h 10000"/>
                <a:gd name="connsiteX32" fmla="*/ 6820 w 10409"/>
                <a:gd name="connsiteY32" fmla="*/ 5575 h 10000"/>
                <a:gd name="connsiteX33" fmla="*/ 6790 w 10409"/>
                <a:gd name="connsiteY33" fmla="*/ 5501 h 10000"/>
                <a:gd name="connsiteX34" fmla="*/ 6768 w 10409"/>
                <a:gd name="connsiteY34" fmla="*/ 5424 h 10000"/>
                <a:gd name="connsiteX35" fmla="*/ 6738 w 10409"/>
                <a:gd name="connsiteY35" fmla="*/ 5353 h 10000"/>
                <a:gd name="connsiteX36" fmla="*/ 6723 w 10409"/>
                <a:gd name="connsiteY36" fmla="*/ 5274 h 10000"/>
                <a:gd name="connsiteX37" fmla="*/ 6694 w 10409"/>
                <a:gd name="connsiteY37" fmla="*/ 5200 h 10000"/>
                <a:gd name="connsiteX38" fmla="*/ 6679 w 10409"/>
                <a:gd name="connsiteY38" fmla="*/ 5122 h 10000"/>
                <a:gd name="connsiteX39" fmla="*/ 6664 w 10409"/>
                <a:gd name="connsiteY39" fmla="*/ 5048 h 10000"/>
                <a:gd name="connsiteX40" fmla="*/ 6649 w 10409"/>
                <a:gd name="connsiteY40" fmla="*/ 4966 h 10000"/>
                <a:gd name="connsiteX41" fmla="*/ 6635 w 10409"/>
                <a:gd name="connsiteY41" fmla="*/ 4893 h 10000"/>
                <a:gd name="connsiteX42" fmla="*/ 6620 w 10409"/>
                <a:gd name="connsiteY42" fmla="*/ 4815 h 10000"/>
                <a:gd name="connsiteX43" fmla="*/ 6612 w 10409"/>
                <a:gd name="connsiteY43" fmla="*/ 4739 h 10000"/>
                <a:gd name="connsiteX44" fmla="*/ 6605 w 10409"/>
                <a:gd name="connsiteY44" fmla="*/ 4656 h 10000"/>
                <a:gd name="connsiteX45" fmla="*/ 6597 w 10409"/>
                <a:gd name="connsiteY45" fmla="*/ 4573 h 10000"/>
                <a:gd name="connsiteX46" fmla="*/ 6597 w 10409"/>
                <a:gd name="connsiteY46" fmla="*/ 4497 h 10000"/>
                <a:gd name="connsiteX47" fmla="*/ 6590 w 10409"/>
                <a:gd name="connsiteY47" fmla="*/ 4413 h 10000"/>
                <a:gd name="connsiteX48" fmla="*/ 6597 w 10409"/>
                <a:gd name="connsiteY48" fmla="*/ 4334 h 10000"/>
                <a:gd name="connsiteX49" fmla="*/ 6605 w 10409"/>
                <a:gd name="connsiteY49" fmla="*/ 4248 h 10000"/>
                <a:gd name="connsiteX50" fmla="*/ 6605 w 10409"/>
                <a:gd name="connsiteY50" fmla="*/ 4160 h 10000"/>
                <a:gd name="connsiteX51" fmla="*/ 6612 w 10409"/>
                <a:gd name="connsiteY51" fmla="*/ 4075 h 10000"/>
                <a:gd name="connsiteX52" fmla="*/ 6620 w 10409"/>
                <a:gd name="connsiteY52" fmla="*/ 3990 h 10000"/>
                <a:gd name="connsiteX53" fmla="*/ 6635 w 10409"/>
                <a:gd name="connsiteY53" fmla="*/ 3915 h 10000"/>
                <a:gd name="connsiteX54" fmla="*/ 6649 w 10409"/>
                <a:gd name="connsiteY54" fmla="*/ 3830 h 10000"/>
                <a:gd name="connsiteX55" fmla="*/ 6664 w 10409"/>
                <a:gd name="connsiteY55" fmla="*/ 3750 h 10000"/>
                <a:gd name="connsiteX56" fmla="*/ 6686 w 10409"/>
                <a:gd name="connsiteY56" fmla="*/ 3665 h 10000"/>
                <a:gd name="connsiteX57" fmla="*/ 6709 w 10409"/>
                <a:gd name="connsiteY57" fmla="*/ 3589 h 10000"/>
                <a:gd name="connsiteX58" fmla="*/ 6731 w 10409"/>
                <a:gd name="connsiteY58" fmla="*/ 3508 h 10000"/>
                <a:gd name="connsiteX59" fmla="*/ 6753 w 10409"/>
                <a:gd name="connsiteY59" fmla="*/ 3424 h 10000"/>
                <a:gd name="connsiteX60" fmla="*/ 6783 w 10409"/>
                <a:gd name="connsiteY60" fmla="*/ 3355 h 10000"/>
                <a:gd name="connsiteX61" fmla="*/ 6812 w 10409"/>
                <a:gd name="connsiteY61" fmla="*/ 3275 h 10000"/>
                <a:gd name="connsiteX62" fmla="*/ 6842 w 10409"/>
                <a:gd name="connsiteY62" fmla="*/ 3194 h 10000"/>
                <a:gd name="connsiteX63" fmla="*/ 6879 w 10409"/>
                <a:gd name="connsiteY63" fmla="*/ 3118 h 10000"/>
                <a:gd name="connsiteX64" fmla="*/ 6909 w 10409"/>
                <a:gd name="connsiteY64" fmla="*/ 3046 h 10000"/>
                <a:gd name="connsiteX65" fmla="*/ 6946 w 10409"/>
                <a:gd name="connsiteY65" fmla="*/ 2964 h 10000"/>
                <a:gd name="connsiteX66" fmla="*/ 6990 w 10409"/>
                <a:gd name="connsiteY66" fmla="*/ 2898 h 10000"/>
                <a:gd name="connsiteX67" fmla="*/ 7027 w 10409"/>
                <a:gd name="connsiteY67" fmla="*/ 2823 h 10000"/>
                <a:gd name="connsiteX68" fmla="*/ 7072 w 10409"/>
                <a:gd name="connsiteY68" fmla="*/ 2754 h 10000"/>
                <a:gd name="connsiteX69" fmla="*/ 7109 w 10409"/>
                <a:gd name="connsiteY69" fmla="*/ 2676 h 10000"/>
                <a:gd name="connsiteX70" fmla="*/ 7161 w 10409"/>
                <a:gd name="connsiteY70" fmla="*/ 2613 h 10000"/>
                <a:gd name="connsiteX71" fmla="*/ 7213 w 10409"/>
                <a:gd name="connsiteY71" fmla="*/ 2538 h 10000"/>
                <a:gd name="connsiteX72" fmla="*/ 7257 w 10409"/>
                <a:gd name="connsiteY72" fmla="*/ 2471 h 10000"/>
                <a:gd name="connsiteX73" fmla="*/ 7309 w 10409"/>
                <a:gd name="connsiteY73" fmla="*/ 2404 h 10000"/>
                <a:gd name="connsiteX74" fmla="*/ 7361 w 10409"/>
                <a:gd name="connsiteY74" fmla="*/ 2331 h 10000"/>
                <a:gd name="connsiteX75" fmla="*/ 7413 w 10409"/>
                <a:gd name="connsiteY75" fmla="*/ 2269 h 10000"/>
                <a:gd name="connsiteX76" fmla="*/ 7472 w 10409"/>
                <a:gd name="connsiteY76" fmla="*/ 2203 h 10000"/>
                <a:gd name="connsiteX77" fmla="*/ 7524 w 10409"/>
                <a:gd name="connsiteY77" fmla="*/ 2145 h 10000"/>
                <a:gd name="connsiteX78" fmla="*/ 7583 w 10409"/>
                <a:gd name="connsiteY78" fmla="*/ 2077 h 10000"/>
                <a:gd name="connsiteX79" fmla="*/ 7610 w 10409"/>
                <a:gd name="connsiteY79" fmla="*/ 2042 h 10000"/>
                <a:gd name="connsiteX80" fmla="*/ 5390 w 10409"/>
                <a:gd name="connsiteY80" fmla="*/ 6 h 10000"/>
                <a:gd name="connsiteX81" fmla="*/ 1401 w 10409"/>
                <a:gd name="connsiteY81" fmla="*/ 0 h 10000"/>
                <a:gd name="connsiteX82" fmla="*/ 1305 w 10409"/>
                <a:gd name="connsiteY82" fmla="*/ 154 h 10000"/>
                <a:gd name="connsiteX83" fmla="*/ 1223 w 10409"/>
                <a:gd name="connsiteY83" fmla="*/ 269 h 10000"/>
                <a:gd name="connsiteX84" fmla="*/ 1149 w 10409"/>
                <a:gd name="connsiteY84" fmla="*/ 397 h 10000"/>
                <a:gd name="connsiteX85" fmla="*/ 1067 w 10409"/>
                <a:gd name="connsiteY85" fmla="*/ 523 h 10000"/>
                <a:gd name="connsiteX86" fmla="*/ 1001 w 10409"/>
                <a:gd name="connsiteY86" fmla="*/ 650 h 10000"/>
                <a:gd name="connsiteX87" fmla="*/ 927 w 10409"/>
                <a:gd name="connsiteY87" fmla="*/ 775 h 10000"/>
                <a:gd name="connsiteX88" fmla="*/ 860 w 10409"/>
                <a:gd name="connsiteY88" fmla="*/ 910 h 10000"/>
                <a:gd name="connsiteX89" fmla="*/ 793 w 10409"/>
                <a:gd name="connsiteY89" fmla="*/ 1043 h 10000"/>
                <a:gd name="connsiteX90" fmla="*/ 734 w 10409"/>
                <a:gd name="connsiteY90" fmla="*/ 1166 h 10000"/>
                <a:gd name="connsiteX91" fmla="*/ 675 w 10409"/>
                <a:gd name="connsiteY91" fmla="*/ 1304 h 10000"/>
                <a:gd name="connsiteX92" fmla="*/ 615 w 10409"/>
                <a:gd name="connsiteY92" fmla="*/ 1432 h 10000"/>
                <a:gd name="connsiteX93" fmla="*/ 556 w 10409"/>
                <a:gd name="connsiteY93" fmla="*/ 1572 h 10000"/>
                <a:gd name="connsiteX94" fmla="*/ 504 w 10409"/>
                <a:gd name="connsiteY94" fmla="*/ 1699 h 10000"/>
                <a:gd name="connsiteX95" fmla="*/ 452 w 10409"/>
                <a:gd name="connsiteY95" fmla="*/ 1833 h 10000"/>
                <a:gd name="connsiteX96" fmla="*/ 408 w 10409"/>
                <a:gd name="connsiteY96" fmla="*/ 1968 h 10000"/>
                <a:gd name="connsiteX97" fmla="*/ 363 w 10409"/>
                <a:gd name="connsiteY97" fmla="*/ 2104 h 10000"/>
                <a:gd name="connsiteX98" fmla="*/ 319 w 10409"/>
                <a:gd name="connsiteY98" fmla="*/ 2248 h 10000"/>
                <a:gd name="connsiteX99" fmla="*/ 282 w 10409"/>
                <a:gd name="connsiteY99" fmla="*/ 2384 h 10000"/>
                <a:gd name="connsiteX100" fmla="*/ 237 w 10409"/>
                <a:gd name="connsiteY100" fmla="*/ 2526 h 10000"/>
                <a:gd name="connsiteX101" fmla="*/ 208 w 10409"/>
                <a:gd name="connsiteY101" fmla="*/ 2666 h 10000"/>
                <a:gd name="connsiteX102" fmla="*/ 170 w 10409"/>
                <a:gd name="connsiteY102" fmla="*/ 2809 h 10000"/>
                <a:gd name="connsiteX103" fmla="*/ 148 w 10409"/>
                <a:gd name="connsiteY103" fmla="*/ 2953 h 10000"/>
                <a:gd name="connsiteX104" fmla="*/ 119 w 10409"/>
                <a:gd name="connsiteY104" fmla="*/ 3095 h 10000"/>
                <a:gd name="connsiteX105" fmla="*/ 96 w 10409"/>
                <a:gd name="connsiteY105" fmla="*/ 3235 h 10000"/>
                <a:gd name="connsiteX106" fmla="*/ 74 w 10409"/>
                <a:gd name="connsiteY106" fmla="*/ 3382 h 10000"/>
                <a:gd name="connsiteX107" fmla="*/ 52 w 10409"/>
                <a:gd name="connsiteY107" fmla="*/ 3534 h 10000"/>
                <a:gd name="connsiteX108" fmla="*/ 37 w 10409"/>
                <a:gd name="connsiteY108" fmla="*/ 3678 h 10000"/>
                <a:gd name="connsiteX109" fmla="*/ 22 w 10409"/>
                <a:gd name="connsiteY109" fmla="*/ 3822 h 10000"/>
                <a:gd name="connsiteX110" fmla="*/ 15 w 10409"/>
                <a:gd name="connsiteY110" fmla="*/ 3966 h 10000"/>
                <a:gd name="connsiteX111" fmla="*/ 7 w 10409"/>
                <a:gd name="connsiteY111" fmla="*/ 4116 h 10000"/>
                <a:gd name="connsiteX112" fmla="*/ 0 w 10409"/>
                <a:gd name="connsiteY112" fmla="*/ 4261 h 10000"/>
                <a:gd name="connsiteX113" fmla="*/ 0 w 10409"/>
                <a:gd name="connsiteY113" fmla="*/ 4413 h 10000"/>
                <a:gd name="connsiteX114" fmla="*/ 7 w 10409"/>
                <a:gd name="connsiteY114" fmla="*/ 4606 h 10000"/>
                <a:gd name="connsiteX115" fmla="*/ 7 w 10409"/>
                <a:gd name="connsiteY115" fmla="*/ 4798 h 10000"/>
                <a:gd name="connsiteX116" fmla="*/ 22 w 10409"/>
                <a:gd name="connsiteY116" fmla="*/ 4977 h 10000"/>
                <a:gd name="connsiteX117" fmla="*/ 37 w 10409"/>
                <a:gd name="connsiteY117" fmla="*/ 5166 h 10000"/>
                <a:gd name="connsiteX118" fmla="*/ 59 w 10409"/>
                <a:gd name="connsiteY118" fmla="*/ 5353 h 10000"/>
                <a:gd name="connsiteX119" fmla="*/ 89 w 10409"/>
                <a:gd name="connsiteY119" fmla="*/ 5540 h 10000"/>
                <a:gd name="connsiteX120" fmla="*/ 119 w 10409"/>
                <a:gd name="connsiteY120" fmla="*/ 5725 h 10000"/>
                <a:gd name="connsiteX121" fmla="*/ 148 w 10409"/>
                <a:gd name="connsiteY121" fmla="*/ 5909 h 10000"/>
                <a:gd name="connsiteX122" fmla="*/ 193 w 10409"/>
                <a:gd name="connsiteY122" fmla="*/ 6093 h 10000"/>
                <a:gd name="connsiteX123" fmla="*/ 237 w 10409"/>
                <a:gd name="connsiteY123" fmla="*/ 6273 h 10000"/>
                <a:gd name="connsiteX124" fmla="*/ 282 w 10409"/>
                <a:gd name="connsiteY124" fmla="*/ 6456 h 10000"/>
                <a:gd name="connsiteX125" fmla="*/ 334 w 10409"/>
                <a:gd name="connsiteY125" fmla="*/ 6633 h 10000"/>
                <a:gd name="connsiteX126" fmla="*/ 393 w 10409"/>
                <a:gd name="connsiteY126" fmla="*/ 6805 h 10000"/>
                <a:gd name="connsiteX127" fmla="*/ 452 w 10409"/>
                <a:gd name="connsiteY127" fmla="*/ 6984 h 10000"/>
                <a:gd name="connsiteX128" fmla="*/ 519 w 10409"/>
                <a:gd name="connsiteY128" fmla="*/ 7156 h 10000"/>
                <a:gd name="connsiteX129" fmla="*/ 586 w 10409"/>
                <a:gd name="connsiteY129" fmla="*/ 7336 h 10000"/>
                <a:gd name="connsiteX130" fmla="*/ 660 w 10409"/>
                <a:gd name="connsiteY130" fmla="*/ 7502 h 10000"/>
                <a:gd name="connsiteX131" fmla="*/ 741 w 10409"/>
                <a:gd name="connsiteY131" fmla="*/ 7665 h 10000"/>
                <a:gd name="connsiteX132" fmla="*/ 823 w 10409"/>
                <a:gd name="connsiteY132" fmla="*/ 7844 h 10000"/>
                <a:gd name="connsiteX133" fmla="*/ 904 w 10409"/>
                <a:gd name="connsiteY133" fmla="*/ 8007 h 10000"/>
                <a:gd name="connsiteX134" fmla="*/ 993 w 10409"/>
                <a:gd name="connsiteY134" fmla="*/ 8168 h 10000"/>
                <a:gd name="connsiteX135" fmla="*/ 1090 w 10409"/>
                <a:gd name="connsiteY135" fmla="*/ 8323 h 10000"/>
                <a:gd name="connsiteX136" fmla="*/ 1186 w 10409"/>
                <a:gd name="connsiteY136" fmla="*/ 8490 h 10000"/>
                <a:gd name="connsiteX137" fmla="*/ 1290 w 10409"/>
                <a:gd name="connsiteY137" fmla="*/ 8651 h 10000"/>
                <a:gd name="connsiteX138" fmla="*/ 1386 w 10409"/>
                <a:gd name="connsiteY138" fmla="*/ 8808 h 10000"/>
                <a:gd name="connsiteX139" fmla="*/ 1497 w 10409"/>
                <a:gd name="connsiteY139" fmla="*/ 8966 h 10000"/>
                <a:gd name="connsiteX140" fmla="*/ 1609 w 10409"/>
                <a:gd name="connsiteY140" fmla="*/ 9114 h 10000"/>
                <a:gd name="connsiteX141" fmla="*/ 1727 w 10409"/>
                <a:gd name="connsiteY141" fmla="*/ 9273 h 10000"/>
                <a:gd name="connsiteX142" fmla="*/ 1846 w 10409"/>
                <a:gd name="connsiteY142" fmla="*/ 9420 h 10000"/>
                <a:gd name="connsiteX143" fmla="*/ 1964 w 10409"/>
                <a:gd name="connsiteY143" fmla="*/ 9566 h 10000"/>
                <a:gd name="connsiteX144" fmla="*/ 2090 w 10409"/>
                <a:gd name="connsiteY144" fmla="*/ 9706 h 10000"/>
                <a:gd name="connsiteX145" fmla="*/ 2224 w 10409"/>
                <a:gd name="connsiteY145" fmla="*/ 9855 h 10000"/>
                <a:gd name="connsiteX146" fmla="*/ 2350 w 10409"/>
                <a:gd name="connsiteY146" fmla="*/ 10000 h 10000"/>
                <a:gd name="connsiteX147" fmla="*/ 4348 w 10409"/>
                <a:gd name="connsiteY147" fmla="*/ 7469 h 10000"/>
                <a:gd name="connsiteX0" fmla="*/ 4348 w 10370"/>
                <a:gd name="connsiteY0" fmla="*/ 7469 h 10000"/>
                <a:gd name="connsiteX1" fmla="*/ 10000 w 10370"/>
                <a:gd name="connsiteY1" fmla="*/ 8049 h 10000"/>
                <a:gd name="connsiteX2" fmla="*/ 9815 w 10370"/>
                <a:gd name="connsiteY2" fmla="*/ 8007 h 10000"/>
                <a:gd name="connsiteX3" fmla="*/ 9726 w 10370"/>
                <a:gd name="connsiteY3" fmla="*/ 7985 h 10000"/>
                <a:gd name="connsiteX4" fmla="*/ 9637 w 10370"/>
                <a:gd name="connsiteY4" fmla="*/ 7950 h 10000"/>
                <a:gd name="connsiteX5" fmla="*/ 9548 w 10370"/>
                <a:gd name="connsiteY5" fmla="*/ 7925 h 10000"/>
                <a:gd name="connsiteX6" fmla="*/ 9466 w 10370"/>
                <a:gd name="connsiteY6" fmla="*/ 7897 h 10000"/>
                <a:gd name="connsiteX7" fmla="*/ 9377 w 10370"/>
                <a:gd name="connsiteY7" fmla="*/ 7869 h 10000"/>
                <a:gd name="connsiteX8" fmla="*/ 9288 w 10370"/>
                <a:gd name="connsiteY8" fmla="*/ 7837 h 10000"/>
                <a:gd name="connsiteX9" fmla="*/ 9118 w 10370"/>
                <a:gd name="connsiteY9" fmla="*/ 7772 h 10000"/>
                <a:gd name="connsiteX10" fmla="*/ 8955 w 10370"/>
                <a:gd name="connsiteY10" fmla="*/ 7698 h 10000"/>
                <a:gd name="connsiteX11" fmla="*/ 8792 w 10370"/>
                <a:gd name="connsiteY11" fmla="*/ 7624 h 10000"/>
                <a:gd name="connsiteX12" fmla="*/ 8636 w 10370"/>
                <a:gd name="connsiteY12" fmla="*/ 7536 h 10000"/>
                <a:gd name="connsiteX13" fmla="*/ 8480 w 10370"/>
                <a:gd name="connsiteY13" fmla="*/ 7448 h 10000"/>
                <a:gd name="connsiteX14" fmla="*/ 8340 w 10370"/>
                <a:gd name="connsiteY14" fmla="*/ 7365 h 10000"/>
                <a:gd name="connsiteX15" fmla="*/ 8199 w 10370"/>
                <a:gd name="connsiteY15" fmla="*/ 7266 h 10000"/>
                <a:gd name="connsiteX16" fmla="*/ 8058 w 10370"/>
                <a:gd name="connsiteY16" fmla="*/ 7161 h 10000"/>
                <a:gd name="connsiteX17" fmla="*/ 7924 w 10370"/>
                <a:gd name="connsiteY17" fmla="*/ 7056 h 10000"/>
                <a:gd name="connsiteX18" fmla="*/ 7798 w 10370"/>
                <a:gd name="connsiteY18" fmla="*/ 6942 h 10000"/>
                <a:gd name="connsiteX19" fmla="*/ 7672 w 10370"/>
                <a:gd name="connsiteY19" fmla="*/ 6833 h 10000"/>
                <a:gd name="connsiteX20" fmla="*/ 7554 w 10370"/>
                <a:gd name="connsiteY20" fmla="*/ 6719 h 10000"/>
                <a:gd name="connsiteX21" fmla="*/ 7450 w 10370"/>
                <a:gd name="connsiteY21" fmla="*/ 6593 h 10000"/>
                <a:gd name="connsiteX22" fmla="*/ 7346 w 10370"/>
                <a:gd name="connsiteY22" fmla="*/ 6467 h 10000"/>
                <a:gd name="connsiteX23" fmla="*/ 7250 w 10370"/>
                <a:gd name="connsiteY23" fmla="*/ 6338 h 10000"/>
                <a:gd name="connsiteX24" fmla="*/ 7161 w 10370"/>
                <a:gd name="connsiteY24" fmla="*/ 6209 h 10000"/>
                <a:gd name="connsiteX25" fmla="*/ 7072 w 10370"/>
                <a:gd name="connsiteY25" fmla="*/ 6073 h 10000"/>
                <a:gd name="connsiteX26" fmla="*/ 6990 w 10370"/>
                <a:gd name="connsiteY26" fmla="*/ 5928 h 10000"/>
                <a:gd name="connsiteX27" fmla="*/ 6953 w 10370"/>
                <a:gd name="connsiteY27" fmla="*/ 5865 h 10000"/>
                <a:gd name="connsiteX28" fmla="*/ 6916 w 10370"/>
                <a:gd name="connsiteY28" fmla="*/ 5789 h 10000"/>
                <a:gd name="connsiteX29" fmla="*/ 6887 w 10370"/>
                <a:gd name="connsiteY29" fmla="*/ 5721 h 10000"/>
                <a:gd name="connsiteX30" fmla="*/ 6850 w 10370"/>
                <a:gd name="connsiteY30" fmla="*/ 5646 h 10000"/>
                <a:gd name="connsiteX31" fmla="*/ 6820 w 10370"/>
                <a:gd name="connsiteY31" fmla="*/ 5575 h 10000"/>
                <a:gd name="connsiteX32" fmla="*/ 6790 w 10370"/>
                <a:gd name="connsiteY32" fmla="*/ 5501 h 10000"/>
                <a:gd name="connsiteX33" fmla="*/ 6768 w 10370"/>
                <a:gd name="connsiteY33" fmla="*/ 5424 h 10000"/>
                <a:gd name="connsiteX34" fmla="*/ 6738 w 10370"/>
                <a:gd name="connsiteY34" fmla="*/ 5353 h 10000"/>
                <a:gd name="connsiteX35" fmla="*/ 6723 w 10370"/>
                <a:gd name="connsiteY35" fmla="*/ 5274 h 10000"/>
                <a:gd name="connsiteX36" fmla="*/ 6694 w 10370"/>
                <a:gd name="connsiteY36" fmla="*/ 5200 h 10000"/>
                <a:gd name="connsiteX37" fmla="*/ 6679 w 10370"/>
                <a:gd name="connsiteY37" fmla="*/ 5122 h 10000"/>
                <a:gd name="connsiteX38" fmla="*/ 6664 w 10370"/>
                <a:gd name="connsiteY38" fmla="*/ 5048 h 10000"/>
                <a:gd name="connsiteX39" fmla="*/ 6649 w 10370"/>
                <a:gd name="connsiteY39" fmla="*/ 4966 h 10000"/>
                <a:gd name="connsiteX40" fmla="*/ 6635 w 10370"/>
                <a:gd name="connsiteY40" fmla="*/ 4893 h 10000"/>
                <a:gd name="connsiteX41" fmla="*/ 6620 w 10370"/>
                <a:gd name="connsiteY41" fmla="*/ 4815 h 10000"/>
                <a:gd name="connsiteX42" fmla="*/ 6612 w 10370"/>
                <a:gd name="connsiteY42" fmla="*/ 4739 h 10000"/>
                <a:gd name="connsiteX43" fmla="*/ 6605 w 10370"/>
                <a:gd name="connsiteY43" fmla="*/ 4656 h 10000"/>
                <a:gd name="connsiteX44" fmla="*/ 6597 w 10370"/>
                <a:gd name="connsiteY44" fmla="*/ 4573 h 10000"/>
                <a:gd name="connsiteX45" fmla="*/ 6597 w 10370"/>
                <a:gd name="connsiteY45" fmla="*/ 4497 h 10000"/>
                <a:gd name="connsiteX46" fmla="*/ 6590 w 10370"/>
                <a:gd name="connsiteY46" fmla="*/ 4413 h 10000"/>
                <a:gd name="connsiteX47" fmla="*/ 6597 w 10370"/>
                <a:gd name="connsiteY47" fmla="*/ 4334 h 10000"/>
                <a:gd name="connsiteX48" fmla="*/ 6605 w 10370"/>
                <a:gd name="connsiteY48" fmla="*/ 4248 h 10000"/>
                <a:gd name="connsiteX49" fmla="*/ 6605 w 10370"/>
                <a:gd name="connsiteY49" fmla="*/ 4160 h 10000"/>
                <a:gd name="connsiteX50" fmla="*/ 6612 w 10370"/>
                <a:gd name="connsiteY50" fmla="*/ 4075 h 10000"/>
                <a:gd name="connsiteX51" fmla="*/ 6620 w 10370"/>
                <a:gd name="connsiteY51" fmla="*/ 3990 h 10000"/>
                <a:gd name="connsiteX52" fmla="*/ 6635 w 10370"/>
                <a:gd name="connsiteY52" fmla="*/ 3915 h 10000"/>
                <a:gd name="connsiteX53" fmla="*/ 6649 w 10370"/>
                <a:gd name="connsiteY53" fmla="*/ 3830 h 10000"/>
                <a:gd name="connsiteX54" fmla="*/ 6664 w 10370"/>
                <a:gd name="connsiteY54" fmla="*/ 3750 h 10000"/>
                <a:gd name="connsiteX55" fmla="*/ 6686 w 10370"/>
                <a:gd name="connsiteY55" fmla="*/ 3665 h 10000"/>
                <a:gd name="connsiteX56" fmla="*/ 6709 w 10370"/>
                <a:gd name="connsiteY56" fmla="*/ 3589 h 10000"/>
                <a:gd name="connsiteX57" fmla="*/ 6731 w 10370"/>
                <a:gd name="connsiteY57" fmla="*/ 3508 h 10000"/>
                <a:gd name="connsiteX58" fmla="*/ 6753 w 10370"/>
                <a:gd name="connsiteY58" fmla="*/ 3424 h 10000"/>
                <a:gd name="connsiteX59" fmla="*/ 6783 w 10370"/>
                <a:gd name="connsiteY59" fmla="*/ 3355 h 10000"/>
                <a:gd name="connsiteX60" fmla="*/ 6812 w 10370"/>
                <a:gd name="connsiteY60" fmla="*/ 3275 h 10000"/>
                <a:gd name="connsiteX61" fmla="*/ 6842 w 10370"/>
                <a:gd name="connsiteY61" fmla="*/ 3194 h 10000"/>
                <a:gd name="connsiteX62" fmla="*/ 6879 w 10370"/>
                <a:gd name="connsiteY62" fmla="*/ 3118 h 10000"/>
                <a:gd name="connsiteX63" fmla="*/ 6909 w 10370"/>
                <a:gd name="connsiteY63" fmla="*/ 3046 h 10000"/>
                <a:gd name="connsiteX64" fmla="*/ 6946 w 10370"/>
                <a:gd name="connsiteY64" fmla="*/ 2964 h 10000"/>
                <a:gd name="connsiteX65" fmla="*/ 6990 w 10370"/>
                <a:gd name="connsiteY65" fmla="*/ 2898 h 10000"/>
                <a:gd name="connsiteX66" fmla="*/ 7027 w 10370"/>
                <a:gd name="connsiteY66" fmla="*/ 2823 h 10000"/>
                <a:gd name="connsiteX67" fmla="*/ 7072 w 10370"/>
                <a:gd name="connsiteY67" fmla="*/ 2754 h 10000"/>
                <a:gd name="connsiteX68" fmla="*/ 7109 w 10370"/>
                <a:gd name="connsiteY68" fmla="*/ 2676 h 10000"/>
                <a:gd name="connsiteX69" fmla="*/ 7161 w 10370"/>
                <a:gd name="connsiteY69" fmla="*/ 2613 h 10000"/>
                <a:gd name="connsiteX70" fmla="*/ 7213 w 10370"/>
                <a:gd name="connsiteY70" fmla="*/ 2538 h 10000"/>
                <a:gd name="connsiteX71" fmla="*/ 7257 w 10370"/>
                <a:gd name="connsiteY71" fmla="*/ 2471 h 10000"/>
                <a:gd name="connsiteX72" fmla="*/ 7309 w 10370"/>
                <a:gd name="connsiteY72" fmla="*/ 2404 h 10000"/>
                <a:gd name="connsiteX73" fmla="*/ 7361 w 10370"/>
                <a:gd name="connsiteY73" fmla="*/ 2331 h 10000"/>
                <a:gd name="connsiteX74" fmla="*/ 7413 w 10370"/>
                <a:gd name="connsiteY74" fmla="*/ 2269 h 10000"/>
                <a:gd name="connsiteX75" fmla="*/ 7472 w 10370"/>
                <a:gd name="connsiteY75" fmla="*/ 2203 h 10000"/>
                <a:gd name="connsiteX76" fmla="*/ 7524 w 10370"/>
                <a:gd name="connsiteY76" fmla="*/ 2145 h 10000"/>
                <a:gd name="connsiteX77" fmla="*/ 7583 w 10370"/>
                <a:gd name="connsiteY77" fmla="*/ 2077 h 10000"/>
                <a:gd name="connsiteX78" fmla="*/ 7610 w 10370"/>
                <a:gd name="connsiteY78" fmla="*/ 2042 h 10000"/>
                <a:gd name="connsiteX79" fmla="*/ 5390 w 10370"/>
                <a:gd name="connsiteY79" fmla="*/ 6 h 10000"/>
                <a:gd name="connsiteX80" fmla="*/ 1401 w 10370"/>
                <a:gd name="connsiteY80" fmla="*/ 0 h 10000"/>
                <a:gd name="connsiteX81" fmla="*/ 1305 w 10370"/>
                <a:gd name="connsiteY81" fmla="*/ 154 h 10000"/>
                <a:gd name="connsiteX82" fmla="*/ 1223 w 10370"/>
                <a:gd name="connsiteY82" fmla="*/ 269 h 10000"/>
                <a:gd name="connsiteX83" fmla="*/ 1149 w 10370"/>
                <a:gd name="connsiteY83" fmla="*/ 397 h 10000"/>
                <a:gd name="connsiteX84" fmla="*/ 1067 w 10370"/>
                <a:gd name="connsiteY84" fmla="*/ 523 h 10000"/>
                <a:gd name="connsiteX85" fmla="*/ 1001 w 10370"/>
                <a:gd name="connsiteY85" fmla="*/ 650 h 10000"/>
                <a:gd name="connsiteX86" fmla="*/ 927 w 10370"/>
                <a:gd name="connsiteY86" fmla="*/ 775 h 10000"/>
                <a:gd name="connsiteX87" fmla="*/ 860 w 10370"/>
                <a:gd name="connsiteY87" fmla="*/ 910 h 10000"/>
                <a:gd name="connsiteX88" fmla="*/ 793 w 10370"/>
                <a:gd name="connsiteY88" fmla="*/ 1043 h 10000"/>
                <a:gd name="connsiteX89" fmla="*/ 734 w 10370"/>
                <a:gd name="connsiteY89" fmla="*/ 1166 h 10000"/>
                <a:gd name="connsiteX90" fmla="*/ 675 w 10370"/>
                <a:gd name="connsiteY90" fmla="*/ 1304 h 10000"/>
                <a:gd name="connsiteX91" fmla="*/ 615 w 10370"/>
                <a:gd name="connsiteY91" fmla="*/ 1432 h 10000"/>
                <a:gd name="connsiteX92" fmla="*/ 556 w 10370"/>
                <a:gd name="connsiteY92" fmla="*/ 1572 h 10000"/>
                <a:gd name="connsiteX93" fmla="*/ 504 w 10370"/>
                <a:gd name="connsiteY93" fmla="*/ 1699 h 10000"/>
                <a:gd name="connsiteX94" fmla="*/ 452 w 10370"/>
                <a:gd name="connsiteY94" fmla="*/ 1833 h 10000"/>
                <a:gd name="connsiteX95" fmla="*/ 408 w 10370"/>
                <a:gd name="connsiteY95" fmla="*/ 1968 h 10000"/>
                <a:gd name="connsiteX96" fmla="*/ 363 w 10370"/>
                <a:gd name="connsiteY96" fmla="*/ 2104 h 10000"/>
                <a:gd name="connsiteX97" fmla="*/ 319 w 10370"/>
                <a:gd name="connsiteY97" fmla="*/ 2248 h 10000"/>
                <a:gd name="connsiteX98" fmla="*/ 282 w 10370"/>
                <a:gd name="connsiteY98" fmla="*/ 2384 h 10000"/>
                <a:gd name="connsiteX99" fmla="*/ 237 w 10370"/>
                <a:gd name="connsiteY99" fmla="*/ 2526 h 10000"/>
                <a:gd name="connsiteX100" fmla="*/ 208 w 10370"/>
                <a:gd name="connsiteY100" fmla="*/ 2666 h 10000"/>
                <a:gd name="connsiteX101" fmla="*/ 170 w 10370"/>
                <a:gd name="connsiteY101" fmla="*/ 2809 h 10000"/>
                <a:gd name="connsiteX102" fmla="*/ 148 w 10370"/>
                <a:gd name="connsiteY102" fmla="*/ 2953 h 10000"/>
                <a:gd name="connsiteX103" fmla="*/ 119 w 10370"/>
                <a:gd name="connsiteY103" fmla="*/ 3095 h 10000"/>
                <a:gd name="connsiteX104" fmla="*/ 96 w 10370"/>
                <a:gd name="connsiteY104" fmla="*/ 3235 h 10000"/>
                <a:gd name="connsiteX105" fmla="*/ 74 w 10370"/>
                <a:gd name="connsiteY105" fmla="*/ 3382 h 10000"/>
                <a:gd name="connsiteX106" fmla="*/ 52 w 10370"/>
                <a:gd name="connsiteY106" fmla="*/ 3534 h 10000"/>
                <a:gd name="connsiteX107" fmla="*/ 37 w 10370"/>
                <a:gd name="connsiteY107" fmla="*/ 3678 h 10000"/>
                <a:gd name="connsiteX108" fmla="*/ 22 w 10370"/>
                <a:gd name="connsiteY108" fmla="*/ 3822 h 10000"/>
                <a:gd name="connsiteX109" fmla="*/ 15 w 10370"/>
                <a:gd name="connsiteY109" fmla="*/ 3966 h 10000"/>
                <a:gd name="connsiteX110" fmla="*/ 7 w 10370"/>
                <a:gd name="connsiteY110" fmla="*/ 4116 h 10000"/>
                <a:gd name="connsiteX111" fmla="*/ 0 w 10370"/>
                <a:gd name="connsiteY111" fmla="*/ 4261 h 10000"/>
                <a:gd name="connsiteX112" fmla="*/ 0 w 10370"/>
                <a:gd name="connsiteY112" fmla="*/ 4413 h 10000"/>
                <a:gd name="connsiteX113" fmla="*/ 7 w 10370"/>
                <a:gd name="connsiteY113" fmla="*/ 4606 h 10000"/>
                <a:gd name="connsiteX114" fmla="*/ 7 w 10370"/>
                <a:gd name="connsiteY114" fmla="*/ 4798 h 10000"/>
                <a:gd name="connsiteX115" fmla="*/ 22 w 10370"/>
                <a:gd name="connsiteY115" fmla="*/ 4977 h 10000"/>
                <a:gd name="connsiteX116" fmla="*/ 37 w 10370"/>
                <a:gd name="connsiteY116" fmla="*/ 5166 h 10000"/>
                <a:gd name="connsiteX117" fmla="*/ 59 w 10370"/>
                <a:gd name="connsiteY117" fmla="*/ 5353 h 10000"/>
                <a:gd name="connsiteX118" fmla="*/ 89 w 10370"/>
                <a:gd name="connsiteY118" fmla="*/ 5540 h 10000"/>
                <a:gd name="connsiteX119" fmla="*/ 119 w 10370"/>
                <a:gd name="connsiteY119" fmla="*/ 5725 h 10000"/>
                <a:gd name="connsiteX120" fmla="*/ 148 w 10370"/>
                <a:gd name="connsiteY120" fmla="*/ 5909 h 10000"/>
                <a:gd name="connsiteX121" fmla="*/ 193 w 10370"/>
                <a:gd name="connsiteY121" fmla="*/ 6093 h 10000"/>
                <a:gd name="connsiteX122" fmla="*/ 237 w 10370"/>
                <a:gd name="connsiteY122" fmla="*/ 6273 h 10000"/>
                <a:gd name="connsiteX123" fmla="*/ 282 w 10370"/>
                <a:gd name="connsiteY123" fmla="*/ 6456 h 10000"/>
                <a:gd name="connsiteX124" fmla="*/ 334 w 10370"/>
                <a:gd name="connsiteY124" fmla="*/ 6633 h 10000"/>
                <a:gd name="connsiteX125" fmla="*/ 393 w 10370"/>
                <a:gd name="connsiteY125" fmla="*/ 6805 h 10000"/>
                <a:gd name="connsiteX126" fmla="*/ 452 w 10370"/>
                <a:gd name="connsiteY126" fmla="*/ 6984 h 10000"/>
                <a:gd name="connsiteX127" fmla="*/ 519 w 10370"/>
                <a:gd name="connsiteY127" fmla="*/ 7156 h 10000"/>
                <a:gd name="connsiteX128" fmla="*/ 586 w 10370"/>
                <a:gd name="connsiteY128" fmla="*/ 7336 h 10000"/>
                <a:gd name="connsiteX129" fmla="*/ 660 w 10370"/>
                <a:gd name="connsiteY129" fmla="*/ 7502 h 10000"/>
                <a:gd name="connsiteX130" fmla="*/ 741 w 10370"/>
                <a:gd name="connsiteY130" fmla="*/ 7665 h 10000"/>
                <a:gd name="connsiteX131" fmla="*/ 823 w 10370"/>
                <a:gd name="connsiteY131" fmla="*/ 7844 h 10000"/>
                <a:gd name="connsiteX132" fmla="*/ 904 w 10370"/>
                <a:gd name="connsiteY132" fmla="*/ 8007 h 10000"/>
                <a:gd name="connsiteX133" fmla="*/ 993 w 10370"/>
                <a:gd name="connsiteY133" fmla="*/ 8168 h 10000"/>
                <a:gd name="connsiteX134" fmla="*/ 1090 w 10370"/>
                <a:gd name="connsiteY134" fmla="*/ 8323 h 10000"/>
                <a:gd name="connsiteX135" fmla="*/ 1186 w 10370"/>
                <a:gd name="connsiteY135" fmla="*/ 8490 h 10000"/>
                <a:gd name="connsiteX136" fmla="*/ 1290 w 10370"/>
                <a:gd name="connsiteY136" fmla="*/ 8651 h 10000"/>
                <a:gd name="connsiteX137" fmla="*/ 1386 w 10370"/>
                <a:gd name="connsiteY137" fmla="*/ 8808 h 10000"/>
                <a:gd name="connsiteX138" fmla="*/ 1497 w 10370"/>
                <a:gd name="connsiteY138" fmla="*/ 8966 h 10000"/>
                <a:gd name="connsiteX139" fmla="*/ 1609 w 10370"/>
                <a:gd name="connsiteY139" fmla="*/ 9114 h 10000"/>
                <a:gd name="connsiteX140" fmla="*/ 1727 w 10370"/>
                <a:gd name="connsiteY140" fmla="*/ 9273 h 10000"/>
                <a:gd name="connsiteX141" fmla="*/ 1846 w 10370"/>
                <a:gd name="connsiteY141" fmla="*/ 9420 h 10000"/>
                <a:gd name="connsiteX142" fmla="*/ 1964 w 10370"/>
                <a:gd name="connsiteY142" fmla="*/ 9566 h 10000"/>
                <a:gd name="connsiteX143" fmla="*/ 2090 w 10370"/>
                <a:gd name="connsiteY143" fmla="*/ 9706 h 10000"/>
                <a:gd name="connsiteX144" fmla="*/ 2224 w 10370"/>
                <a:gd name="connsiteY144" fmla="*/ 9855 h 10000"/>
                <a:gd name="connsiteX145" fmla="*/ 2350 w 10370"/>
                <a:gd name="connsiteY145" fmla="*/ 10000 h 10000"/>
                <a:gd name="connsiteX146" fmla="*/ 4348 w 10370"/>
                <a:gd name="connsiteY146" fmla="*/ 7469 h 10000"/>
                <a:gd name="connsiteX0" fmla="*/ 4348 w 9815"/>
                <a:gd name="connsiteY0" fmla="*/ 7469 h 10000"/>
                <a:gd name="connsiteX1" fmla="*/ 9815 w 9815"/>
                <a:gd name="connsiteY1" fmla="*/ 8007 h 10000"/>
                <a:gd name="connsiteX2" fmla="*/ 9726 w 9815"/>
                <a:gd name="connsiteY2" fmla="*/ 7985 h 10000"/>
                <a:gd name="connsiteX3" fmla="*/ 9637 w 9815"/>
                <a:gd name="connsiteY3" fmla="*/ 7950 h 10000"/>
                <a:gd name="connsiteX4" fmla="*/ 9548 w 9815"/>
                <a:gd name="connsiteY4" fmla="*/ 7925 h 10000"/>
                <a:gd name="connsiteX5" fmla="*/ 9466 w 9815"/>
                <a:gd name="connsiteY5" fmla="*/ 7897 h 10000"/>
                <a:gd name="connsiteX6" fmla="*/ 9377 w 9815"/>
                <a:gd name="connsiteY6" fmla="*/ 7869 h 10000"/>
                <a:gd name="connsiteX7" fmla="*/ 9288 w 9815"/>
                <a:gd name="connsiteY7" fmla="*/ 7837 h 10000"/>
                <a:gd name="connsiteX8" fmla="*/ 9118 w 9815"/>
                <a:gd name="connsiteY8" fmla="*/ 7772 h 10000"/>
                <a:gd name="connsiteX9" fmla="*/ 8955 w 9815"/>
                <a:gd name="connsiteY9" fmla="*/ 7698 h 10000"/>
                <a:gd name="connsiteX10" fmla="*/ 8792 w 9815"/>
                <a:gd name="connsiteY10" fmla="*/ 7624 h 10000"/>
                <a:gd name="connsiteX11" fmla="*/ 8636 w 9815"/>
                <a:gd name="connsiteY11" fmla="*/ 7536 h 10000"/>
                <a:gd name="connsiteX12" fmla="*/ 8480 w 9815"/>
                <a:gd name="connsiteY12" fmla="*/ 7448 h 10000"/>
                <a:gd name="connsiteX13" fmla="*/ 8340 w 9815"/>
                <a:gd name="connsiteY13" fmla="*/ 7365 h 10000"/>
                <a:gd name="connsiteX14" fmla="*/ 8199 w 9815"/>
                <a:gd name="connsiteY14" fmla="*/ 7266 h 10000"/>
                <a:gd name="connsiteX15" fmla="*/ 8058 w 9815"/>
                <a:gd name="connsiteY15" fmla="*/ 7161 h 10000"/>
                <a:gd name="connsiteX16" fmla="*/ 7924 w 9815"/>
                <a:gd name="connsiteY16" fmla="*/ 7056 h 10000"/>
                <a:gd name="connsiteX17" fmla="*/ 7798 w 9815"/>
                <a:gd name="connsiteY17" fmla="*/ 6942 h 10000"/>
                <a:gd name="connsiteX18" fmla="*/ 7672 w 9815"/>
                <a:gd name="connsiteY18" fmla="*/ 6833 h 10000"/>
                <a:gd name="connsiteX19" fmla="*/ 7554 w 9815"/>
                <a:gd name="connsiteY19" fmla="*/ 6719 h 10000"/>
                <a:gd name="connsiteX20" fmla="*/ 7450 w 9815"/>
                <a:gd name="connsiteY20" fmla="*/ 6593 h 10000"/>
                <a:gd name="connsiteX21" fmla="*/ 7346 w 9815"/>
                <a:gd name="connsiteY21" fmla="*/ 6467 h 10000"/>
                <a:gd name="connsiteX22" fmla="*/ 7250 w 9815"/>
                <a:gd name="connsiteY22" fmla="*/ 6338 h 10000"/>
                <a:gd name="connsiteX23" fmla="*/ 7161 w 9815"/>
                <a:gd name="connsiteY23" fmla="*/ 6209 h 10000"/>
                <a:gd name="connsiteX24" fmla="*/ 7072 w 9815"/>
                <a:gd name="connsiteY24" fmla="*/ 6073 h 10000"/>
                <a:gd name="connsiteX25" fmla="*/ 6990 w 9815"/>
                <a:gd name="connsiteY25" fmla="*/ 5928 h 10000"/>
                <a:gd name="connsiteX26" fmla="*/ 6953 w 9815"/>
                <a:gd name="connsiteY26" fmla="*/ 5865 h 10000"/>
                <a:gd name="connsiteX27" fmla="*/ 6916 w 9815"/>
                <a:gd name="connsiteY27" fmla="*/ 5789 h 10000"/>
                <a:gd name="connsiteX28" fmla="*/ 6887 w 9815"/>
                <a:gd name="connsiteY28" fmla="*/ 5721 h 10000"/>
                <a:gd name="connsiteX29" fmla="*/ 6850 w 9815"/>
                <a:gd name="connsiteY29" fmla="*/ 5646 h 10000"/>
                <a:gd name="connsiteX30" fmla="*/ 6820 w 9815"/>
                <a:gd name="connsiteY30" fmla="*/ 5575 h 10000"/>
                <a:gd name="connsiteX31" fmla="*/ 6790 w 9815"/>
                <a:gd name="connsiteY31" fmla="*/ 5501 h 10000"/>
                <a:gd name="connsiteX32" fmla="*/ 6768 w 9815"/>
                <a:gd name="connsiteY32" fmla="*/ 5424 h 10000"/>
                <a:gd name="connsiteX33" fmla="*/ 6738 w 9815"/>
                <a:gd name="connsiteY33" fmla="*/ 5353 h 10000"/>
                <a:gd name="connsiteX34" fmla="*/ 6723 w 9815"/>
                <a:gd name="connsiteY34" fmla="*/ 5274 h 10000"/>
                <a:gd name="connsiteX35" fmla="*/ 6694 w 9815"/>
                <a:gd name="connsiteY35" fmla="*/ 5200 h 10000"/>
                <a:gd name="connsiteX36" fmla="*/ 6679 w 9815"/>
                <a:gd name="connsiteY36" fmla="*/ 5122 h 10000"/>
                <a:gd name="connsiteX37" fmla="*/ 6664 w 9815"/>
                <a:gd name="connsiteY37" fmla="*/ 5048 h 10000"/>
                <a:gd name="connsiteX38" fmla="*/ 6649 w 9815"/>
                <a:gd name="connsiteY38" fmla="*/ 4966 h 10000"/>
                <a:gd name="connsiteX39" fmla="*/ 6635 w 9815"/>
                <a:gd name="connsiteY39" fmla="*/ 4893 h 10000"/>
                <a:gd name="connsiteX40" fmla="*/ 6620 w 9815"/>
                <a:gd name="connsiteY40" fmla="*/ 4815 h 10000"/>
                <a:gd name="connsiteX41" fmla="*/ 6612 w 9815"/>
                <a:gd name="connsiteY41" fmla="*/ 4739 h 10000"/>
                <a:gd name="connsiteX42" fmla="*/ 6605 w 9815"/>
                <a:gd name="connsiteY42" fmla="*/ 4656 h 10000"/>
                <a:gd name="connsiteX43" fmla="*/ 6597 w 9815"/>
                <a:gd name="connsiteY43" fmla="*/ 4573 h 10000"/>
                <a:gd name="connsiteX44" fmla="*/ 6597 w 9815"/>
                <a:gd name="connsiteY44" fmla="*/ 4497 h 10000"/>
                <a:gd name="connsiteX45" fmla="*/ 6590 w 9815"/>
                <a:gd name="connsiteY45" fmla="*/ 4413 h 10000"/>
                <a:gd name="connsiteX46" fmla="*/ 6597 w 9815"/>
                <a:gd name="connsiteY46" fmla="*/ 4334 h 10000"/>
                <a:gd name="connsiteX47" fmla="*/ 6605 w 9815"/>
                <a:gd name="connsiteY47" fmla="*/ 4248 h 10000"/>
                <a:gd name="connsiteX48" fmla="*/ 6605 w 9815"/>
                <a:gd name="connsiteY48" fmla="*/ 4160 h 10000"/>
                <a:gd name="connsiteX49" fmla="*/ 6612 w 9815"/>
                <a:gd name="connsiteY49" fmla="*/ 4075 h 10000"/>
                <a:gd name="connsiteX50" fmla="*/ 6620 w 9815"/>
                <a:gd name="connsiteY50" fmla="*/ 3990 h 10000"/>
                <a:gd name="connsiteX51" fmla="*/ 6635 w 9815"/>
                <a:gd name="connsiteY51" fmla="*/ 3915 h 10000"/>
                <a:gd name="connsiteX52" fmla="*/ 6649 w 9815"/>
                <a:gd name="connsiteY52" fmla="*/ 3830 h 10000"/>
                <a:gd name="connsiteX53" fmla="*/ 6664 w 9815"/>
                <a:gd name="connsiteY53" fmla="*/ 3750 h 10000"/>
                <a:gd name="connsiteX54" fmla="*/ 6686 w 9815"/>
                <a:gd name="connsiteY54" fmla="*/ 3665 h 10000"/>
                <a:gd name="connsiteX55" fmla="*/ 6709 w 9815"/>
                <a:gd name="connsiteY55" fmla="*/ 3589 h 10000"/>
                <a:gd name="connsiteX56" fmla="*/ 6731 w 9815"/>
                <a:gd name="connsiteY56" fmla="*/ 3508 h 10000"/>
                <a:gd name="connsiteX57" fmla="*/ 6753 w 9815"/>
                <a:gd name="connsiteY57" fmla="*/ 3424 h 10000"/>
                <a:gd name="connsiteX58" fmla="*/ 6783 w 9815"/>
                <a:gd name="connsiteY58" fmla="*/ 3355 h 10000"/>
                <a:gd name="connsiteX59" fmla="*/ 6812 w 9815"/>
                <a:gd name="connsiteY59" fmla="*/ 3275 h 10000"/>
                <a:gd name="connsiteX60" fmla="*/ 6842 w 9815"/>
                <a:gd name="connsiteY60" fmla="*/ 3194 h 10000"/>
                <a:gd name="connsiteX61" fmla="*/ 6879 w 9815"/>
                <a:gd name="connsiteY61" fmla="*/ 3118 h 10000"/>
                <a:gd name="connsiteX62" fmla="*/ 6909 w 9815"/>
                <a:gd name="connsiteY62" fmla="*/ 3046 h 10000"/>
                <a:gd name="connsiteX63" fmla="*/ 6946 w 9815"/>
                <a:gd name="connsiteY63" fmla="*/ 2964 h 10000"/>
                <a:gd name="connsiteX64" fmla="*/ 6990 w 9815"/>
                <a:gd name="connsiteY64" fmla="*/ 2898 h 10000"/>
                <a:gd name="connsiteX65" fmla="*/ 7027 w 9815"/>
                <a:gd name="connsiteY65" fmla="*/ 2823 h 10000"/>
                <a:gd name="connsiteX66" fmla="*/ 7072 w 9815"/>
                <a:gd name="connsiteY66" fmla="*/ 2754 h 10000"/>
                <a:gd name="connsiteX67" fmla="*/ 7109 w 9815"/>
                <a:gd name="connsiteY67" fmla="*/ 2676 h 10000"/>
                <a:gd name="connsiteX68" fmla="*/ 7161 w 9815"/>
                <a:gd name="connsiteY68" fmla="*/ 2613 h 10000"/>
                <a:gd name="connsiteX69" fmla="*/ 7213 w 9815"/>
                <a:gd name="connsiteY69" fmla="*/ 2538 h 10000"/>
                <a:gd name="connsiteX70" fmla="*/ 7257 w 9815"/>
                <a:gd name="connsiteY70" fmla="*/ 2471 h 10000"/>
                <a:gd name="connsiteX71" fmla="*/ 7309 w 9815"/>
                <a:gd name="connsiteY71" fmla="*/ 2404 h 10000"/>
                <a:gd name="connsiteX72" fmla="*/ 7361 w 9815"/>
                <a:gd name="connsiteY72" fmla="*/ 2331 h 10000"/>
                <a:gd name="connsiteX73" fmla="*/ 7413 w 9815"/>
                <a:gd name="connsiteY73" fmla="*/ 2269 h 10000"/>
                <a:gd name="connsiteX74" fmla="*/ 7472 w 9815"/>
                <a:gd name="connsiteY74" fmla="*/ 2203 h 10000"/>
                <a:gd name="connsiteX75" fmla="*/ 7524 w 9815"/>
                <a:gd name="connsiteY75" fmla="*/ 2145 h 10000"/>
                <a:gd name="connsiteX76" fmla="*/ 7583 w 9815"/>
                <a:gd name="connsiteY76" fmla="*/ 2077 h 10000"/>
                <a:gd name="connsiteX77" fmla="*/ 7610 w 9815"/>
                <a:gd name="connsiteY77" fmla="*/ 2042 h 10000"/>
                <a:gd name="connsiteX78" fmla="*/ 5390 w 9815"/>
                <a:gd name="connsiteY78" fmla="*/ 6 h 10000"/>
                <a:gd name="connsiteX79" fmla="*/ 1401 w 9815"/>
                <a:gd name="connsiteY79" fmla="*/ 0 h 10000"/>
                <a:gd name="connsiteX80" fmla="*/ 1305 w 9815"/>
                <a:gd name="connsiteY80" fmla="*/ 154 h 10000"/>
                <a:gd name="connsiteX81" fmla="*/ 1223 w 9815"/>
                <a:gd name="connsiteY81" fmla="*/ 269 h 10000"/>
                <a:gd name="connsiteX82" fmla="*/ 1149 w 9815"/>
                <a:gd name="connsiteY82" fmla="*/ 397 h 10000"/>
                <a:gd name="connsiteX83" fmla="*/ 1067 w 9815"/>
                <a:gd name="connsiteY83" fmla="*/ 523 h 10000"/>
                <a:gd name="connsiteX84" fmla="*/ 1001 w 9815"/>
                <a:gd name="connsiteY84" fmla="*/ 650 h 10000"/>
                <a:gd name="connsiteX85" fmla="*/ 927 w 9815"/>
                <a:gd name="connsiteY85" fmla="*/ 775 h 10000"/>
                <a:gd name="connsiteX86" fmla="*/ 860 w 9815"/>
                <a:gd name="connsiteY86" fmla="*/ 910 h 10000"/>
                <a:gd name="connsiteX87" fmla="*/ 793 w 9815"/>
                <a:gd name="connsiteY87" fmla="*/ 1043 h 10000"/>
                <a:gd name="connsiteX88" fmla="*/ 734 w 9815"/>
                <a:gd name="connsiteY88" fmla="*/ 1166 h 10000"/>
                <a:gd name="connsiteX89" fmla="*/ 675 w 9815"/>
                <a:gd name="connsiteY89" fmla="*/ 1304 h 10000"/>
                <a:gd name="connsiteX90" fmla="*/ 615 w 9815"/>
                <a:gd name="connsiteY90" fmla="*/ 1432 h 10000"/>
                <a:gd name="connsiteX91" fmla="*/ 556 w 9815"/>
                <a:gd name="connsiteY91" fmla="*/ 1572 h 10000"/>
                <a:gd name="connsiteX92" fmla="*/ 504 w 9815"/>
                <a:gd name="connsiteY92" fmla="*/ 1699 h 10000"/>
                <a:gd name="connsiteX93" fmla="*/ 452 w 9815"/>
                <a:gd name="connsiteY93" fmla="*/ 1833 h 10000"/>
                <a:gd name="connsiteX94" fmla="*/ 408 w 9815"/>
                <a:gd name="connsiteY94" fmla="*/ 1968 h 10000"/>
                <a:gd name="connsiteX95" fmla="*/ 363 w 9815"/>
                <a:gd name="connsiteY95" fmla="*/ 2104 h 10000"/>
                <a:gd name="connsiteX96" fmla="*/ 319 w 9815"/>
                <a:gd name="connsiteY96" fmla="*/ 2248 h 10000"/>
                <a:gd name="connsiteX97" fmla="*/ 282 w 9815"/>
                <a:gd name="connsiteY97" fmla="*/ 2384 h 10000"/>
                <a:gd name="connsiteX98" fmla="*/ 237 w 9815"/>
                <a:gd name="connsiteY98" fmla="*/ 2526 h 10000"/>
                <a:gd name="connsiteX99" fmla="*/ 208 w 9815"/>
                <a:gd name="connsiteY99" fmla="*/ 2666 h 10000"/>
                <a:gd name="connsiteX100" fmla="*/ 170 w 9815"/>
                <a:gd name="connsiteY100" fmla="*/ 2809 h 10000"/>
                <a:gd name="connsiteX101" fmla="*/ 148 w 9815"/>
                <a:gd name="connsiteY101" fmla="*/ 2953 h 10000"/>
                <a:gd name="connsiteX102" fmla="*/ 119 w 9815"/>
                <a:gd name="connsiteY102" fmla="*/ 3095 h 10000"/>
                <a:gd name="connsiteX103" fmla="*/ 96 w 9815"/>
                <a:gd name="connsiteY103" fmla="*/ 3235 h 10000"/>
                <a:gd name="connsiteX104" fmla="*/ 74 w 9815"/>
                <a:gd name="connsiteY104" fmla="*/ 3382 h 10000"/>
                <a:gd name="connsiteX105" fmla="*/ 52 w 9815"/>
                <a:gd name="connsiteY105" fmla="*/ 3534 h 10000"/>
                <a:gd name="connsiteX106" fmla="*/ 37 w 9815"/>
                <a:gd name="connsiteY106" fmla="*/ 3678 h 10000"/>
                <a:gd name="connsiteX107" fmla="*/ 22 w 9815"/>
                <a:gd name="connsiteY107" fmla="*/ 3822 h 10000"/>
                <a:gd name="connsiteX108" fmla="*/ 15 w 9815"/>
                <a:gd name="connsiteY108" fmla="*/ 3966 h 10000"/>
                <a:gd name="connsiteX109" fmla="*/ 7 w 9815"/>
                <a:gd name="connsiteY109" fmla="*/ 4116 h 10000"/>
                <a:gd name="connsiteX110" fmla="*/ 0 w 9815"/>
                <a:gd name="connsiteY110" fmla="*/ 4261 h 10000"/>
                <a:gd name="connsiteX111" fmla="*/ 0 w 9815"/>
                <a:gd name="connsiteY111" fmla="*/ 4413 h 10000"/>
                <a:gd name="connsiteX112" fmla="*/ 7 w 9815"/>
                <a:gd name="connsiteY112" fmla="*/ 4606 h 10000"/>
                <a:gd name="connsiteX113" fmla="*/ 7 w 9815"/>
                <a:gd name="connsiteY113" fmla="*/ 4798 h 10000"/>
                <a:gd name="connsiteX114" fmla="*/ 22 w 9815"/>
                <a:gd name="connsiteY114" fmla="*/ 4977 h 10000"/>
                <a:gd name="connsiteX115" fmla="*/ 37 w 9815"/>
                <a:gd name="connsiteY115" fmla="*/ 5166 h 10000"/>
                <a:gd name="connsiteX116" fmla="*/ 59 w 9815"/>
                <a:gd name="connsiteY116" fmla="*/ 5353 h 10000"/>
                <a:gd name="connsiteX117" fmla="*/ 89 w 9815"/>
                <a:gd name="connsiteY117" fmla="*/ 5540 h 10000"/>
                <a:gd name="connsiteX118" fmla="*/ 119 w 9815"/>
                <a:gd name="connsiteY118" fmla="*/ 5725 h 10000"/>
                <a:gd name="connsiteX119" fmla="*/ 148 w 9815"/>
                <a:gd name="connsiteY119" fmla="*/ 5909 h 10000"/>
                <a:gd name="connsiteX120" fmla="*/ 193 w 9815"/>
                <a:gd name="connsiteY120" fmla="*/ 6093 h 10000"/>
                <a:gd name="connsiteX121" fmla="*/ 237 w 9815"/>
                <a:gd name="connsiteY121" fmla="*/ 6273 h 10000"/>
                <a:gd name="connsiteX122" fmla="*/ 282 w 9815"/>
                <a:gd name="connsiteY122" fmla="*/ 6456 h 10000"/>
                <a:gd name="connsiteX123" fmla="*/ 334 w 9815"/>
                <a:gd name="connsiteY123" fmla="*/ 6633 h 10000"/>
                <a:gd name="connsiteX124" fmla="*/ 393 w 9815"/>
                <a:gd name="connsiteY124" fmla="*/ 6805 h 10000"/>
                <a:gd name="connsiteX125" fmla="*/ 452 w 9815"/>
                <a:gd name="connsiteY125" fmla="*/ 6984 h 10000"/>
                <a:gd name="connsiteX126" fmla="*/ 519 w 9815"/>
                <a:gd name="connsiteY126" fmla="*/ 7156 h 10000"/>
                <a:gd name="connsiteX127" fmla="*/ 586 w 9815"/>
                <a:gd name="connsiteY127" fmla="*/ 7336 h 10000"/>
                <a:gd name="connsiteX128" fmla="*/ 660 w 9815"/>
                <a:gd name="connsiteY128" fmla="*/ 7502 h 10000"/>
                <a:gd name="connsiteX129" fmla="*/ 741 w 9815"/>
                <a:gd name="connsiteY129" fmla="*/ 7665 h 10000"/>
                <a:gd name="connsiteX130" fmla="*/ 823 w 9815"/>
                <a:gd name="connsiteY130" fmla="*/ 7844 h 10000"/>
                <a:gd name="connsiteX131" fmla="*/ 904 w 9815"/>
                <a:gd name="connsiteY131" fmla="*/ 8007 h 10000"/>
                <a:gd name="connsiteX132" fmla="*/ 993 w 9815"/>
                <a:gd name="connsiteY132" fmla="*/ 8168 h 10000"/>
                <a:gd name="connsiteX133" fmla="*/ 1090 w 9815"/>
                <a:gd name="connsiteY133" fmla="*/ 8323 h 10000"/>
                <a:gd name="connsiteX134" fmla="*/ 1186 w 9815"/>
                <a:gd name="connsiteY134" fmla="*/ 8490 h 10000"/>
                <a:gd name="connsiteX135" fmla="*/ 1290 w 9815"/>
                <a:gd name="connsiteY135" fmla="*/ 8651 h 10000"/>
                <a:gd name="connsiteX136" fmla="*/ 1386 w 9815"/>
                <a:gd name="connsiteY136" fmla="*/ 8808 h 10000"/>
                <a:gd name="connsiteX137" fmla="*/ 1497 w 9815"/>
                <a:gd name="connsiteY137" fmla="*/ 8966 h 10000"/>
                <a:gd name="connsiteX138" fmla="*/ 1609 w 9815"/>
                <a:gd name="connsiteY138" fmla="*/ 9114 h 10000"/>
                <a:gd name="connsiteX139" fmla="*/ 1727 w 9815"/>
                <a:gd name="connsiteY139" fmla="*/ 9273 h 10000"/>
                <a:gd name="connsiteX140" fmla="*/ 1846 w 9815"/>
                <a:gd name="connsiteY140" fmla="*/ 9420 h 10000"/>
                <a:gd name="connsiteX141" fmla="*/ 1964 w 9815"/>
                <a:gd name="connsiteY141" fmla="*/ 9566 h 10000"/>
                <a:gd name="connsiteX142" fmla="*/ 2090 w 9815"/>
                <a:gd name="connsiteY142" fmla="*/ 9706 h 10000"/>
                <a:gd name="connsiteX143" fmla="*/ 2224 w 9815"/>
                <a:gd name="connsiteY143" fmla="*/ 9855 h 10000"/>
                <a:gd name="connsiteX144" fmla="*/ 2350 w 9815"/>
                <a:gd name="connsiteY144" fmla="*/ 10000 h 10000"/>
                <a:gd name="connsiteX145" fmla="*/ 4348 w 9815"/>
                <a:gd name="connsiteY145" fmla="*/ 7469 h 10000"/>
                <a:gd name="connsiteX0" fmla="*/ 4430 w 9909"/>
                <a:gd name="connsiteY0" fmla="*/ 7469 h 10000"/>
                <a:gd name="connsiteX1" fmla="*/ 9909 w 9909"/>
                <a:gd name="connsiteY1" fmla="*/ 7985 h 10000"/>
                <a:gd name="connsiteX2" fmla="*/ 9819 w 9909"/>
                <a:gd name="connsiteY2" fmla="*/ 7950 h 10000"/>
                <a:gd name="connsiteX3" fmla="*/ 9728 w 9909"/>
                <a:gd name="connsiteY3" fmla="*/ 7925 h 10000"/>
                <a:gd name="connsiteX4" fmla="*/ 9644 w 9909"/>
                <a:gd name="connsiteY4" fmla="*/ 7897 h 10000"/>
                <a:gd name="connsiteX5" fmla="*/ 9554 w 9909"/>
                <a:gd name="connsiteY5" fmla="*/ 7869 h 10000"/>
                <a:gd name="connsiteX6" fmla="*/ 9463 w 9909"/>
                <a:gd name="connsiteY6" fmla="*/ 7837 h 10000"/>
                <a:gd name="connsiteX7" fmla="*/ 9290 w 9909"/>
                <a:gd name="connsiteY7" fmla="*/ 7772 h 10000"/>
                <a:gd name="connsiteX8" fmla="*/ 9124 w 9909"/>
                <a:gd name="connsiteY8" fmla="*/ 7698 h 10000"/>
                <a:gd name="connsiteX9" fmla="*/ 8958 w 9909"/>
                <a:gd name="connsiteY9" fmla="*/ 7624 h 10000"/>
                <a:gd name="connsiteX10" fmla="*/ 8799 w 9909"/>
                <a:gd name="connsiteY10" fmla="*/ 7536 h 10000"/>
                <a:gd name="connsiteX11" fmla="*/ 8640 w 9909"/>
                <a:gd name="connsiteY11" fmla="*/ 7448 h 10000"/>
                <a:gd name="connsiteX12" fmla="*/ 8497 w 9909"/>
                <a:gd name="connsiteY12" fmla="*/ 7365 h 10000"/>
                <a:gd name="connsiteX13" fmla="*/ 8354 w 9909"/>
                <a:gd name="connsiteY13" fmla="*/ 7266 h 10000"/>
                <a:gd name="connsiteX14" fmla="*/ 8210 w 9909"/>
                <a:gd name="connsiteY14" fmla="*/ 7161 h 10000"/>
                <a:gd name="connsiteX15" fmla="*/ 8073 w 9909"/>
                <a:gd name="connsiteY15" fmla="*/ 7056 h 10000"/>
                <a:gd name="connsiteX16" fmla="*/ 7945 w 9909"/>
                <a:gd name="connsiteY16" fmla="*/ 6942 h 10000"/>
                <a:gd name="connsiteX17" fmla="*/ 7817 w 9909"/>
                <a:gd name="connsiteY17" fmla="*/ 6833 h 10000"/>
                <a:gd name="connsiteX18" fmla="*/ 7696 w 9909"/>
                <a:gd name="connsiteY18" fmla="*/ 6719 h 10000"/>
                <a:gd name="connsiteX19" fmla="*/ 7590 w 9909"/>
                <a:gd name="connsiteY19" fmla="*/ 6593 h 10000"/>
                <a:gd name="connsiteX20" fmla="*/ 7484 w 9909"/>
                <a:gd name="connsiteY20" fmla="*/ 6467 h 10000"/>
                <a:gd name="connsiteX21" fmla="*/ 7387 w 9909"/>
                <a:gd name="connsiteY21" fmla="*/ 6338 h 10000"/>
                <a:gd name="connsiteX22" fmla="*/ 7296 w 9909"/>
                <a:gd name="connsiteY22" fmla="*/ 6209 h 10000"/>
                <a:gd name="connsiteX23" fmla="*/ 7205 w 9909"/>
                <a:gd name="connsiteY23" fmla="*/ 6073 h 10000"/>
                <a:gd name="connsiteX24" fmla="*/ 7122 w 9909"/>
                <a:gd name="connsiteY24" fmla="*/ 5928 h 10000"/>
                <a:gd name="connsiteX25" fmla="*/ 7084 w 9909"/>
                <a:gd name="connsiteY25" fmla="*/ 5865 h 10000"/>
                <a:gd name="connsiteX26" fmla="*/ 7046 w 9909"/>
                <a:gd name="connsiteY26" fmla="*/ 5789 h 10000"/>
                <a:gd name="connsiteX27" fmla="*/ 7017 w 9909"/>
                <a:gd name="connsiteY27" fmla="*/ 5721 h 10000"/>
                <a:gd name="connsiteX28" fmla="*/ 6979 w 9909"/>
                <a:gd name="connsiteY28" fmla="*/ 5646 h 10000"/>
                <a:gd name="connsiteX29" fmla="*/ 6949 w 9909"/>
                <a:gd name="connsiteY29" fmla="*/ 5575 h 10000"/>
                <a:gd name="connsiteX30" fmla="*/ 6918 w 9909"/>
                <a:gd name="connsiteY30" fmla="*/ 5501 h 10000"/>
                <a:gd name="connsiteX31" fmla="*/ 6896 w 9909"/>
                <a:gd name="connsiteY31" fmla="*/ 5424 h 10000"/>
                <a:gd name="connsiteX32" fmla="*/ 6865 w 9909"/>
                <a:gd name="connsiteY32" fmla="*/ 5353 h 10000"/>
                <a:gd name="connsiteX33" fmla="*/ 6850 w 9909"/>
                <a:gd name="connsiteY33" fmla="*/ 5274 h 10000"/>
                <a:gd name="connsiteX34" fmla="*/ 6820 w 9909"/>
                <a:gd name="connsiteY34" fmla="*/ 5200 h 10000"/>
                <a:gd name="connsiteX35" fmla="*/ 6805 w 9909"/>
                <a:gd name="connsiteY35" fmla="*/ 5122 h 10000"/>
                <a:gd name="connsiteX36" fmla="*/ 6790 w 9909"/>
                <a:gd name="connsiteY36" fmla="*/ 5048 h 10000"/>
                <a:gd name="connsiteX37" fmla="*/ 6774 w 9909"/>
                <a:gd name="connsiteY37" fmla="*/ 4966 h 10000"/>
                <a:gd name="connsiteX38" fmla="*/ 6760 w 9909"/>
                <a:gd name="connsiteY38" fmla="*/ 4893 h 10000"/>
                <a:gd name="connsiteX39" fmla="*/ 6745 w 9909"/>
                <a:gd name="connsiteY39" fmla="*/ 4815 h 10000"/>
                <a:gd name="connsiteX40" fmla="*/ 6737 w 9909"/>
                <a:gd name="connsiteY40" fmla="*/ 4739 h 10000"/>
                <a:gd name="connsiteX41" fmla="*/ 6729 w 9909"/>
                <a:gd name="connsiteY41" fmla="*/ 4656 h 10000"/>
                <a:gd name="connsiteX42" fmla="*/ 6721 w 9909"/>
                <a:gd name="connsiteY42" fmla="*/ 4573 h 10000"/>
                <a:gd name="connsiteX43" fmla="*/ 6721 w 9909"/>
                <a:gd name="connsiteY43" fmla="*/ 4497 h 10000"/>
                <a:gd name="connsiteX44" fmla="*/ 6714 w 9909"/>
                <a:gd name="connsiteY44" fmla="*/ 4413 h 10000"/>
                <a:gd name="connsiteX45" fmla="*/ 6721 w 9909"/>
                <a:gd name="connsiteY45" fmla="*/ 4334 h 10000"/>
                <a:gd name="connsiteX46" fmla="*/ 6729 w 9909"/>
                <a:gd name="connsiteY46" fmla="*/ 4248 h 10000"/>
                <a:gd name="connsiteX47" fmla="*/ 6729 w 9909"/>
                <a:gd name="connsiteY47" fmla="*/ 4160 h 10000"/>
                <a:gd name="connsiteX48" fmla="*/ 6737 w 9909"/>
                <a:gd name="connsiteY48" fmla="*/ 4075 h 10000"/>
                <a:gd name="connsiteX49" fmla="*/ 6745 w 9909"/>
                <a:gd name="connsiteY49" fmla="*/ 3990 h 10000"/>
                <a:gd name="connsiteX50" fmla="*/ 6760 w 9909"/>
                <a:gd name="connsiteY50" fmla="*/ 3915 h 10000"/>
                <a:gd name="connsiteX51" fmla="*/ 6774 w 9909"/>
                <a:gd name="connsiteY51" fmla="*/ 3830 h 10000"/>
                <a:gd name="connsiteX52" fmla="*/ 6790 w 9909"/>
                <a:gd name="connsiteY52" fmla="*/ 3750 h 10000"/>
                <a:gd name="connsiteX53" fmla="*/ 6812 w 9909"/>
                <a:gd name="connsiteY53" fmla="*/ 3665 h 10000"/>
                <a:gd name="connsiteX54" fmla="*/ 6835 w 9909"/>
                <a:gd name="connsiteY54" fmla="*/ 3589 h 10000"/>
                <a:gd name="connsiteX55" fmla="*/ 6858 w 9909"/>
                <a:gd name="connsiteY55" fmla="*/ 3508 h 10000"/>
                <a:gd name="connsiteX56" fmla="*/ 6880 w 9909"/>
                <a:gd name="connsiteY56" fmla="*/ 3424 h 10000"/>
                <a:gd name="connsiteX57" fmla="*/ 6911 w 9909"/>
                <a:gd name="connsiteY57" fmla="*/ 3355 h 10000"/>
                <a:gd name="connsiteX58" fmla="*/ 6940 w 9909"/>
                <a:gd name="connsiteY58" fmla="*/ 3275 h 10000"/>
                <a:gd name="connsiteX59" fmla="*/ 6971 w 9909"/>
                <a:gd name="connsiteY59" fmla="*/ 3194 h 10000"/>
                <a:gd name="connsiteX60" fmla="*/ 7009 w 9909"/>
                <a:gd name="connsiteY60" fmla="*/ 3118 h 10000"/>
                <a:gd name="connsiteX61" fmla="*/ 7039 w 9909"/>
                <a:gd name="connsiteY61" fmla="*/ 3046 h 10000"/>
                <a:gd name="connsiteX62" fmla="*/ 7077 w 9909"/>
                <a:gd name="connsiteY62" fmla="*/ 2964 h 10000"/>
                <a:gd name="connsiteX63" fmla="*/ 7122 w 9909"/>
                <a:gd name="connsiteY63" fmla="*/ 2898 h 10000"/>
                <a:gd name="connsiteX64" fmla="*/ 7159 w 9909"/>
                <a:gd name="connsiteY64" fmla="*/ 2823 h 10000"/>
                <a:gd name="connsiteX65" fmla="*/ 7205 w 9909"/>
                <a:gd name="connsiteY65" fmla="*/ 2754 h 10000"/>
                <a:gd name="connsiteX66" fmla="*/ 7243 w 9909"/>
                <a:gd name="connsiteY66" fmla="*/ 2676 h 10000"/>
                <a:gd name="connsiteX67" fmla="*/ 7296 w 9909"/>
                <a:gd name="connsiteY67" fmla="*/ 2613 h 10000"/>
                <a:gd name="connsiteX68" fmla="*/ 7349 w 9909"/>
                <a:gd name="connsiteY68" fmla="*/ 2538 h 10000"/>
                <a:gd name="connsiteX69" fmla="*/ 7394 w 9909"/>
                <a:gd name="connsiteY69" fmla="*/ 2471 h 10000"/>
                <a:gd name="connsiteX70" fmla="*/ 7447 w 9909"/>
                <a:gd name="connsiteY70" fmla="*/ 2404 h 10000"/>
                <a:gd name="connsiteX71" fmla="*/ 7500 w 9909"/>
                <a:gd name="connsiteY71" fmla="*/ 2331 h 10000"/>
                <a:gd name="connsiteX72" fmla="*/ 7553 w 9909"/>
                <a:gd name="connsiteY72" fmla="*/ 2269 h 10000"/>
                <a:gd name="connsiteX73" fmla="*/ 7613 w 9909"/>
                <a:gd name="connsiteY73" fmla="*/ 2203 h 10000"/>
                <a:gd name="connsiteX74" fmla="*/ 7666 w 9909"/>
                <a:gd name="connsiteY74" fmla="*/ 2145 h 10000"/>
                <a:gd name="connsiteX75" fmla="*/ 7726 w 9909"/>
                <a:gd name="connsiteY75" fmla="*/ 2077 h 10000"/>
                <a:gd name="connsiteX76" fmla="*/ 7753 w 9909"/>
                <a:gd name="connsiteY76" fmla="*/ 2042 h 10000"/>
                <a:gd name="connsiteX77" fmla="*/ 5492 w 9909"/>
                <a:gd name="connsiteY77" fmla="*/ 6 h 10000"/>
                <a:gd name="connsiteX78" fmla="*/ 1427 w 9909"/>
                <a:gd name="connsiteY78" fmla="*/ 0 h 10000"/>
                <a:gd name="connsiteX79" fmla="*/ 1330 w 9909"/>
                <a:gd name="connsiteY79" fmla="*/ 154 h 10000"/>
                <a:gd name="connsiteX80" fmla="*/ 1246 w 9909"/>
                <a:gd name="connsiteY80" fmla="*/ 269 h 10000"/>
                <a:gd name="connsiteX81" fmla="*/ 1171 w 9909"/>
                <a:gd name="connsiteY81" fmla="*/ 397 h 10000"/>
                <a:gd name="connsiteX82" fmla="*/ 1087 w 9909"/>
                <a:gd name="connsiteY82" fmla="*/ 523 h 10000"/>
                <a:gd name="connsiteX83" fmla="*/ 1020 w 9909"/>
                <a:gd name="connsiteY83" fmla="*/ 650 h 10000"/>
                <a:gd name="connsiteX84" fmla="*/ 944 w 9909"/>
                <a:gd name="connsiteY84" fmla="*/ 775 h 10000"/>
                <a:gd name="connsiteX85" fmla="*/ 876 w 9909"/>
                <a:gd name="connsiteY85" fmla="*/ 910 h 10000"/>
                <a:gd name="connsiteX86" fmla="*/ 808 w 9909"/>
                <a:gd name="connsiteY86" fmla="*/ 1043 h 10000"/>
                <a:gd name="connsiteX87" fmla="*/ 748 w 9909"/>
                <a:gd name="connsiteY87" fmla="*/ 1166 h 10000"/>
                <a:gd name="connsiteX88" fmla="*/ 688 w 9909"/>
                <a:gd name="connsiteY88" fmla="*/ 1304 h 10000"/>
                <a:gd name="connsiteX89" fmla="*/ 627 w 9909"/>
                <a:gd name="connsiteY89" fmla="*/ 1432 h 10000"/>
                <a:gd name="connsiteX90" fmla="*/ 566 w 9909"/>
                <a:gd name="connsiteY90" fmla="*/ 1572 h 10000"/>
                <a:gd name="connsiteX91" fmla="*/ 513 w 9909"/>
                <a:gd name="connsiteY91" fmla="*/ 1699 h 10000"/>
                <a:gd name="connsiteX92" fmla="*/ 461 w 9909"/>
                <a:gd name="connsiteY92" fmla="*/ 1833 h 10000"/>
                <a:gd name="connsiteX93" fmla="*/ 416 w 9909"/>
                <a:gd name="connsiteY93" fmla="*/ 1968 h 10000"/>
                <a:gd name="connsiteX94" fmla="*/ 370 w 9909"/>
                <a:gd name="connsiteY94" fmla="*/ 2104 h 10000"/>
                <a:gd name="connsiteX95" fmla="*/ 325 w 9909"/>
                <a:gd name="connsiteY95" fmla="*/ 2248 h 10000"/>
                <a:gd name="connsiteX96" fmla="*/ 287 w 9909"/>
                <a:gd name="connsiteY96" fmla="*/ 2384 h 10000"/>
                <a:gd name="connsiteX97" fmla="*/ 241 w 9909"/>
                <a:gd name="connsiteY97" fmla="*/ 2526 h 10000"/>
                <a:gd name="connsiteX98" fmla="*/ 212 w 9909"/>
                <a:gd name="connsiteY98" fmla="*/ 2666 h 10000"/>
                <a:gd name="connsiteX99" fmla="*/ 173 w 9909"/>
                <a:gd name="connsiteY99" fmla="*/ 2809 h 10000"/>
                <a:gd name="connsiteX100" fmla="*/ 151 w 9909"/>
                <a:gd name="connsiteY100" fmla="*/ 2953 h 10000"/>
                <a:gd name="connsiteX101" fmla="*/ 121 w 9909"/>
                <a:gd name="connsiteY101" fmla="*/ 3095 h 10000"/>
                <a:gd name="connsiteX102" fmla="*/ 98 w 9909"/>
                <a:gd name="connsiteY102" fmla="*/ 3235 h 10000"/>
                <a:gd name="connsiteX103" fmla="*/ 75 w 9909"/>
                <a:gd name="connsiteY103" fmla="*/ 3382 h 10000"/>
                <a:gd name="connsiteX104" fmla="*/ 53 w 9909"/>
                <a:gd name="connsiteY104" fmla="*/ 3534 h 10000"/>
                <a:gd name="connsiteX105" fmla="*/ 38 w 9909"/>
                <a:gd name="connsiteY105" fmla="*/ 3678 h 10000"/>
                <a:gd name="connsiteX106" fmla="*/ 22 w 9909"/>
                <a:gd name="connsiteY106" fmla="*/ 3822 h 10000"/>
                <a:gd name="connsiteX107" fmla="*/ 15 w 9909"/>
                <a:gd name="connsiteY107" fmla="*/ 3966 h 10000"/>
                <a:gd name="connsiteX108" fmla="*/ 7 w 9909"/>
                <a:gd name="connsiteY108" fmla="*/ 4116 h 10000"/>
                <a:gd name="connsiteX109" fmla="*/ 0 w 9909"/>
                <a:gd name="connsiteY109" fmla="*/ 4261 h 10000"/>
                <a:gd name="connsiteX110" fmla="*/ 0 w 9909"/>
                <a:gd name="connsiteY110" fmla="*/ 4413 h 10000"/>
                <a:gd name="connsiteX111" fmla="*/ 7 w 9909"/>
                <a:gd name="connsiteY111" fmla="*/ 4606 h 10000"/>
                <a:gd name="connsiteX112" fmla="*/ 7 w 9909"/>
                <a:gd name="connsiteY112" fmla="*/ 4798 h 10000"/>
                <a:gd name="connsiteX113" fmla="*/ 22 w 9909"/>
                <a:gd name="connsiteY113" fmla="*/ 4977 h 10000"/>
                <a:gd name="connsiteX114" fmla="*/ 38 w 9909"/>
                <a:gd name="connsiteY114" fmla="*/ 5166 h 10000"/>
                <a:gd name="connsiteX115" fmla="*/ 60 w 9909"/>
                <a:gd name="connsiteY115" fmla="*/ 5353 h 10000"/>
                <a:gd name="connsiteX116" fmla="*/ 91 w 9909"/>
                <a:gd name="connsiteY116" fmla="*/ 5540 h 10000"/>
                <a:gd name="connsiteX117" fmla="*/ 121 w 9909"/>
                <a:gd name="connsiteY117" fmla="*/ 5725 h 10000"/>
                <a:gd name="connsiteX118" fmla="*/ 151 w 9909"/>
                <a:gd name="connsiteY118" fmla="*/ 5909 h 10000"/>
                <a:gd name="connsiteX119" fmla="*/ 197 w 9909"/>
                <a:gd name="connsiteY119" fmla="*/ 6093 h 10000"/>
                <a:gd name="connsiteX120" fmla="*/ 241 w 9909"/>
                <a:gd name="connsiteY120" fmla="*/ 6273 h 10000"/>
                <a:gd name="connsiteX121" fmla="*/ 287 w 9909"/>
                <a:gd name="connsiteY121" fmla="*/ 6456 h 10000"/>
                <a:gd name="connsiteX122" fmla="*/ 340 w 9909"/>
                <a:gd name="connsiteY122" fmla="*/ 6633 h 10000"/>
                <a:gd name="connsiteX123" fmla="*/ 400 w 9909"/>
                <a:gd name="connsiteY123" fmla="*/ 6805 h 10000"/>
                <a:gd name="connsiteX124" fmla="*/ 461 w 9909"/>
                <a:gd name="connsiteY124" fmla="*/ 6984 h 10000"/>
                <a:gd name="connsiteX125" fmla="*/ 529 w 9909"/>
                <a:gd name="connsiteY125" fmla="*/ 7156 h 10000"/>
                <a:gd name="connsiteX126" fmla="*/ 597 w 9909"/>
                <a:gd name="connsiteY126" fmla="*/ 7336 h 10000"/>
                <a:gd name="connsiteX127" fmla="*/ 672 w 9909"/>
                <a:gd name="connsiteY127" fmla="*/ 7502 h 10000"/>
                <a:gd name="connsiteX128" fmla="*/ 755 w 9909"/>
                <a:gd name="connsiteY128" fmla="*/ 7665 h 10000"/>
                <a:gd name="connsiteX129" fmla="*/ 839 w 9909"/>
                <a:gd name="connsiteY129" fmla="*/ 7844 h 10000"/>
                <a:gd name="connsiteX130" fmla="*/ 921 w 9909"/>
                <a:gd name="connsiteY130" fmla="*/ 8007 h 10000"/>
                <a:gd name="connsiteX131" fmla="*/ 1012 w 9909"/>
                <a:gd name="connsiteY131" fmla="*/ 8168 h 10000"/>
                <a:gd name="connsiteX132" fmla="*/ 1111 w 9909"/>
                <a:gd name="connsiteY132" fmla="*/ 8323 h 10000"/>
                <a:gd name="connsiteX133" fmla="*/ 1208 w 9909"/>
                <a:gd name="connsiteY133" fmla="*/ 8490 h 10000"/>
                <a:gd name="connsiteX134" fmla="*/ 1314 w 9909"/>
                <a:gd name="connsiteY134" fmla="*/ 8651 h 10000"/>
                <a:gd name="connsiteX135" fmla="*/ 1412 w 9909"/>
                <a:gd name="connsiteY135" fmla="*/ 8808 h 10000"/>
                <a:gd name="connsiteX136" fmla="*/ 1525 w 9909"/>
                <a:gd name="connsiteY136" fmla="*/ 8966 h 10000"/>
                <a:gd name="connsiteX137" fmla="*/ 1639 w 9909"/>
                <a:gd name="connsiteY137" fmla="*/ 9114 h 10000"/>
                <a:gd name="connsiteX138" fmla="*/ 1760 w 9909"/>
                <a:gd name="connsiteY138" fmla="*/ 9273 h 10000"/>
                <a:gd name="connsiteX139" fmla="*/ 1881 w 9909"/>
                <a:gd name="connsiteY139" fmla="*/ 9420 h 10000"/>
                <a:gd name="connsiteX140" fmla="*/ 2001 w 9909"/>
                <a:gd name="connsiteY140" fmla="*/ 9566 h 10000"/>
                <a:gd name="connsiteX141" fmla="*/ 2129 w 9909"/>
                <a:gd name="connsiteY141" fmla="*/ 9706 h 10000"/>
                <a:gd name="connsiteX142" fmla="*/ 2266 w 9909"/>
                <a:gd name="connsiteY142" fmla="*/ 9855 h 10000"/>
                <a:gd name="connsiteX143" fmla="*/ 2394 w 9909"/>
                <a:gd name="connsiteY143" fmla="*/ 10000 h 10000"/>
                <a:gd name="connsiteX144" fmla="*/ 4430 w 9909"/>
                <a:gd name="connsiteY144" fmla="*/ 7469 h 10000"/>
                <a:gd name="connsiteX0" fmla="*/ 4471 w 9909"/>
                <a:gd name="connsiteY0" fmla="*/ 7469 h 10000"/>
                <a:gd name="connsiteX1" fmla="*/ 9909 w 9909"/>
                <a:gd name="connsiteY1" fmla="*/ 7950 h 10000"/>
                <a:gd name="connsiteX2" fmla="*/ 9817 w 9909"/>
                <a:gd name="connsiteY2" fmla="*/ 7925 h 10000"/>
                <a:gd name="connsiteX3" fmla="*/ 9733 w 9909"/>
                <a:gd name="connsiteY3" fmla="*/ 7897 h 10000"/>
                <a:gd name="connsiteX4" fmla="*/ 9642 w 9909"/>
                <a:gd name="connsiteY4" fmla="*/ 7869 h 10000"/>
                <a:gd name="connsiteX5" fmla="*/ 9550 w 9909"/>
                <a:gd name="connsiteY5" fmla="*/ 7837 h 10000"/>
                <a:gd name="connsiteX6" fmla="*/ 9375 w 9909"/>
                <a:gd name="connsiteY6" fmla="*/ 7772 h 10000"/>
                <a:gd name="connsiteX7" fmla="*/ 9208 w 9909"/>
                <a:gd name="connsiteY7" fmla="*/ 7698 h 10000"/>
                <a:gd name="connsiteX8" fmla="*/ 9040 w 9909"/>
                <a:gd name="connsiteY8" fmla="*/ 7624 h 10000"/>
                <a:gd name="connsiteX9" fmla="*/ 8880 w 9909"/>
                <a:gd name="connsiteY9" fmla="*/ 7536 h 10000"/>
                <a:gd name="connsiteX10" fmla="*/ 8719 w 9909"/>
                <a:gd name="connsiteY10" fmla="*/ 7448 h 10000"/>
                <a:gd name="connsiteX11" fmla="*/ 8575 w 9909"/>
                <a:gd name="connsiteY11" fmla="*/ 7365 h 10000"/>
                <a:gd name="connsiteX12" fmla="*/ 8431 w 9909"/>
                <a:gd name="connsiteY12" fmla="*/ 7266 h 10000"/>
                <a:gd name="connsiteX13" fmla="*/ 8285 w 9909"/>
                <a:gd name="connsiteY13" fmla="*/ 7161 h 10000"/>
                <a:gd name="connsiteX14" fmla="*/ 8147 w 9909"/>
                <a:gd name="connsiteY14" fmla="*/ 7056 h 10000"/>
                <a:gd name="connsiteX15" fmla="*/ 8018 w 9909"/>
                <a:gd name="connsiteY15" fmla="*/ 6942 h 10000"/>
                <a:gd name="connsiteX16" fmla="*/ 7889 w 9909"/>
                <a:gd name="connsiteY16" fmla="*/ 6833 h 10000"/>
                <a:gd name="connsiteX17" fmla="*/ 7767 w 9909"/>
                <a:gd name="connsiteY17" fmla="*/ 6719 h 10000"/>
                <a:gd name="connsiteX18" fmla="*/ 7660 w 9909"/>
                <a:gd name="connsiteY18" fmla="*/ 6593 h 10000"/>
                <a:gd name="connsiteX19" fmla="*/ 7553 w 9909"/>
                <a:gd name="connsiteY19" fmla="*/ 6467 h 10000"/>
                <a:gd name="connsiteX20" fmla="*/ 7455 w 9909"/>
                <a:gd name="connsiteY20" fmla="*/ 6338 h 10000"/>
                <a:gd name="connsiteX21" fmla="*/ 7363 w 9909"/>
                <a:gd name="connsiteY21" fmla="*/ 6209 h 10000"/>
                <a:gd name="connsiteX22" fmla="*/ 7271 w 9909"/>
                <a:gd name="connsiteY22" fmla="*/ 6073 h 10000"/>
                <a:gd name="connsiteX23" fmla="*/ 7187 w 9909"/>
                <a:gd name="connsiteY23" fmla="*/ 5928 h 10000"/>
                <a:gd name="connsiteX24" fmla="*/ 7149 w 9909"/>
                <a:gd name="connsiteY24" fmla="*/ 5865 h 10000"/>
                <a:gd name="connsiteX25" fmla="*/ 7111 w 9909"/>
                <a:gd name="connsiteY25" fmla="*/ 5789 h 10000"/>
                <a:gd name="connsiteX26" fmla="*/ 7081 w 9909"/>
                <a:gd name="connsiteY26" fmla="*/ 5721 h 10000"/>
                <a:gd name="connsiteX27" fmla="*/ 7043 w 9909"/>
                <a:gd name="connsiteY27" fmla="*/ 5646 h 10000"/>
                <a:gd name="connsiteX28" fmla="*/ 7013 w 9909"/>
                <a:gd name="connsiteY28" fmla="*/ 5575 h 10000"/>
                <a:gd name="connsiteX29" fmla="*/ 6982 w 9909"/>
                <a:gd name="connsiteY29" fmla="*/ 5501 h 10000"/>
                <a:gd name="connsiteX30" fmla="*/ 6959 w 9909"/>
                <a:gd name="connsiteY30" fmla="*/ 5424 h 10000"/>
                <a:gd name="connsiteX31" fmla="*/ 6928 w 9909"/>
                <a:gd name="connsiteY31" fmla="*/ 5353 h 10000"/>
                <a:gd name="connsiteX32" fmla="*/ 6913 w 9909"/>
                <a:gd name="connsiteY32" fmla="*/ 5274 h 10000"/>
                <a:gd name="connsiteX33" fmla="*/ 6883 w 9909"/>
                <a:gd name="connsiteY33" fmla="*/ 5200 h 10000"/>
                <a:gd name="connsiteX34" fmla="*/ 6867 w 9909"/>
                <a:gd name="connsiteY34" fmla="*/ 5122 h 10000"/>
                <a:gd name="connsiteX35" fmla="*/ 6852 w 9909"/>
                <a:gd name="connsiteY35" fmla="*/ 5048 h 10000"/>
                <a:gd name="connsiteX36" fmla="*/ 6836 w 9909"/>
                <a:gd name="connsiteY36" fmla="*/ 4966 h 10000"/>
                <a:gd name="connsiteX37" fmla="*/ 6822 w 9909"/>
                <a:gd name="connsiteY37" fmla="*/ 4893 h 10000"/>
                <a:gd name="connsiteX38" fmla="*/ 6807 w 9909"/>
                <a:gd name="connsiteY38" fmla="*/ 4815 h 10000"/>
                <a:gd name="connsiteX39" fmla="*/ 6799 w 9909"/>
                <a:gd name="connsiteY39" fmla="*/ 4739 h 10000"/>
                <a:gd name="connsiteX40" fmla="*/ 6791 w 9909"/>
                <a:gd name="connsiteY40" fmla="*/ 4656 h 10000"/>
                <a:gd name="connsiteX41" fmla="*/ 6783 w 9909"/>
                <a:gd name="connsiteY41" fmla="*/ 4573 h 10000"/>
                <a:gd name="connsiteX42" fmla="*/ 6783 w 9909"/>
                <a:gd name="connsiteY42" fmla="*/ 4497 h 10000"/>
                <a:gd name="connsiteX43" fmla="*/ 6776 w 9909"/>
                <a:gd name="connsiteY43" fmla="*/ 4413 h 10000"/>
                <a:gd name="connsiteX44" fmla="*/ 6783 w 9909"/>
                <a:gd name="connsiteY44" fmla="*/ 4334 h 10000"/>
                <a:gd name="connsiteX45" fmla="*/ 6791 w 9909"/>
                <a:gd name="connsiteY45" fmla="*/ 4248 h 10000"/>
                <a:gd name="connsiteX46" fmla="*/ 6791 w 9909"/>
                <a:gd name="connsiteY46" fmla="*/ 4160 h 10000"/>
                <a:gd name="connsiteX47" fmla="*/ 6799 w 9909"/>
                <a:gd name="connsiteY47" fmla="*/ 4075 h 10000"/>
                <a:gd name="connsiteX48" fmla="*/ 6807 w 9909"/>
                <a:gd name="connsiteY48" fmla="*/ 3990 h 10000"/>
                <a:gd name="connsiteX49" fmla="*/ 6822 w 9909"/>
                <a:gd name="connsiteY49" fmla="*/ 3915 h 10000"/>
                <a:gd name="connsiteX50" fmla="*/ 6836 w 9909"/>
                <a:gd name="connsiteY50" fmla="*/ 3830 h 10000"/>
                <a:gd name="connsiteX51" fmla="*/ 6852 w 9909"/>
                <a:gd name="connsiteY51" fmla="*/ 3750 h 10000"/>
                <a:gd name="connsiteX52" fmla="*/ 6875 w 9909"/>
                <a:gd name="connsiteY52" fmla="*/ 3665 h 10000"/>
                <a:gd name="connsiteX53" fmla="*/ 6898 w 9909"/>
                <a:gd name="connsiteY53" fmla="*/ 3589 h 10000"/>
                <a:gd name="connsiteX54" fmla="*/ 6921 w 9909"/>
                <a:gd name="connsiteY54" fmla="*/ 3508 h 10000"/>
                <a:gd name="connsiteX55" fmla="*/ 6943 w 9909"/>
                <a:gd name="connsiteY55" fmla="*/ 3424 h 10000"/>
                <a:gd name="connsiteX56" fmla="*/ 6974 w 9909"/>
                <a:gd name="connsiteY56" fmla="*/ 3355 h 10000"/>
                <a:gd name="connsiteX57" fmla="*/ 7004 w 9909"/>
                <a:gd name="connsiteY57" fmla="*/ 3275 h 10000"/>
                <a:gd name="connsiteX58" fmla="*/ 7035 w 9909"/>
                <a:gd name="connsiteY58" fmla="*/ 3194 h 10000"/>
                <a:gd name="connsiteX59" fmla="*/ 7073 w 9909"/>
                <a:gd name="connsiteY59" fmla="*/ 3118 h 10000"/>
                <a:gd name="connsiteX60" fmla="*/ 7104 w 9909"/>
                <a:gd name="connsiteY60" fmla="*/ 3046 h 10000"/>
                <a:gd name="connsiteX61" fmla="*/ 7142 w 9909"/>
                <a:gd name="connsiteY61" fmla="*/ 2964 h 10000"/>
                <a:gd name="connsiteX62" fmla="*/ 7187 w 9909"/>
                <a:gd name="connsiteY62" fmla="*/ 2898 h 10000"/>
                <a:gd name="connsiteX63" fmla="*/ 7225 w 9909"/>
                <a:gd name="connsiteY63" fmla="*/ 2823 h 10000"/>
                <a:gd name="connsiteX64" fmla="*/ 7271 w 9909"/>
                <a:gd name="connsiteY64" fmla="*/ 2754 h 10000"/>
                <a:gd name="connsiteX65" fmla="*/ 7310 w 9909"/>
                <a:gd name="connsiteY65" fmla="*/ 2676 h 10000"/>
                <a:gd name="connsiteX66" fmla="*/ 7363 w 9909"/>
                <a:gd name="connsiteY66" fmla="*/ 2613 h 10000"/>
                <a:gd name="connsiteX67" fmla="*/ 7416 w 9909"/>
                <a:gd name="connsiteY67" fmla="*/ 2538 h 10000"/>
                <a:gd name="connsiteX68" fmla="*/ 7462 w 9909"/>
                <a:gd name="connsiteY68" fmla="*/ 2471 h 10000"/>
                <a:gd name="connsiteX69" fmla="*/ 7515 w 9909"/>
                <a:gd name="connsiteY69" fmla="*/ 2404 h 10000"/>
                <a:gd name="connsiteX70" fmla="*/ 7569 w 9909"/>
                <a:gd name="connsiteY70" fmla="*/ 2331 h 10000"/>
                <a:gd name="connsiteX71" fmla="*/ 7622 w 9909"/>
                <a:gd name="connsiteY71" fmla="*/ 2269 h 10000"/>
                <a:gd name="connsiteX72" fmla="*/ 7683 w 9909"/>
                <a:gd name="connsiteY72" fmla="*/ 2203 h 10000"/>
                <a:gd name="connsiteX73" fmla="*/ 7736 w 9909"/>
                <a:gd name="connsiteY73" fmla="*/ 2145 h 10000"/>
                <a:gd name="connsiteX74" fmla="*/ 7797 w 9909"/>
                <a:gd name="connsiteY74" fmla="*/ 2077 h 10000"/>
                <a:gd name="connsiteX75" fmla="*/ 7824 w 9909"/>
                <a:gd name="connsiteY75" fmla="*/ 2042 h 10000"/>
                <a:gd name="connsiteX76" fmla="*/ 5542 w 9909"/>
                <a:gd name="connsiteY76" fmla="*/ 6 h 10000"/>
                <a:gd name="connsiteX77" fmla="*/ 1440 w 9909"/>
                <a:gd name="connsiteY77" fmla="*/ 0 h 10000"/>
                <a:gd name="connsiteX78" fmla="*/ 1342 w 9909"/>
                <a:gd name="connsiteY78" fmla="*/ 154 h 10000"/>
                <a:gd name="connsiteX79" fmla="*/ 1257 w 9909"/>
                <a:gd name="connsiteY79" fmla="*/ 269 h 10000"/>
                <a:gd name="connsiteX80" fmla="*/ 1182 w 9909"/>
                <a:gd name="connsiteY80" fmla="*/ 397 h 10000"/>
                <a:gd name="connsiteX81" fmla="*/ 1097 w 9909"/>
                <a:gd name="connsiteY81" fmla="*/ 523 h 10000"/>
                <a:gd name="connsiteX82" fmla="*/ 1029 w 9909"/>
                <a:gd name="connsiteY82" fmla="*/ 650 h 10000"/>
                <a:gd name="connsiteX83" fmla="*/ 953 w 9909"/>
                <a:gd name="connsiteY83" fmla="*/ 775 h 10000"/>
                <a:gd name="connsiteX84" fmla="*/ 884 w 9909"/>
                <a:gd name="connsiteY84" fmla="*/ 910 h 10000"/>
                <a:gd name="connsiteX85" fmla="*/ 815 w 9909"/>
                <a:gd name="connsiteY85" fmla="*/ 1043 h 10000"/>
                <a:gd name="connsiteX86" fmla="*/ 755 w 9909"/>
                <a:gd name="connsiteY86" fmla="*/ 1166 h 10000"/>
                <a:gd name="connsiteX87" fmla="*/ 694 w 9909"/>
                <a:gd name="connsiteY87" fmla="*/ 1304 h 10000"/>
                <a:gd name="connsiteX88" fmla="*/ 633 w 9909"/>
                <a:gd name="connsiteY88" fmla="*/ 1432 h 10000"/>
                <a:gd name="connsiteX89" fmla="*/ 571 w 9909"/>
                <a:gd name="connsiteY89" fmla="*/ 1572 h 10000"/>
                <a:gd name="connsiteX90" fmla="*/ 518 w 9909"/>
                <a:gd name="connsiteY90" fmla="*/ 1699 h 10000"/>
                <a:gd name="connsiteX91" fmla="*/ 465 w 9909"/>
                <a:gd name="connsiteY91" fmla="*/ 1833 h 10000"/>
                <a:gd name="connsiteX92" fmla="*/ 420 w 9909"/>
                <a:gd name="connsiteY92" fmla="*/ 1968 h 10000"/>
                <a:gd name="connsiteX93" fmla="*/ 373 w 9909"/>
                <a:gd name="connsiteY93" fmla="*/ 2104 h 10000"/>
                <a:gd name="connsiteX94" fmla="*/ 328 w 9909"/>
                <a:gd name="connsiteY94" fmla="*/ 2248 h 10000"/>
                <a:gd name="connsiteX95" fmla="*/ 290 w 9909"/>
                <a:gd name="connsiteY95" fmla="*/ 2384 h 10000"/>
                <a:gd name="connsiteX96" fmla="*/ 243 w 9909"/>
                <a:gd name="connsiteY96" fmla="*/ 2526 h 10000"/>
                <a:gd name="connsiteX97" fmla="*/ 214 w 9909"/>
                <a:gd name="connsiteY97" fmla="*/ 2666 h 10000"/>
                <a:gd name="connsiteX98" fmla="*/ 175 w 9909"/>
                <a:gd name="connsiteY98" fmla="*/ 2809 h 10000"/>
                <a:gd name="connsiteX99" fmla="*/ 152 w 9909"/>
                <a:gd name="connsiteY99" fmla="*/ 2953 h 10000"/>
                <a:gd name="connsiteX100" fmla="*/ 122 w 9909"/>
                <a:gd name="connsiteY100" fmla="*/ 3095 h 10000"/>
                <a:gd name="connsiteX101" fmla="*/ 99 w 9909"/>
                <a:gd name="connsiteY101" fmla="*/ 3235 h 10000"/>
                <a:gd name="connsiteX102" fmla="*/ 76 w 9909"/>
                <a:gd name="connsiteY102" fmla="*/ 3382 h 10000"/>
                <a:gd name="connsiteX103" fmla="*/ 53 w 9909"/>
                <a:gd name="connsiteY103" fmla="*/ 3534 h 10000"/>
                <a:gd name="connsiteX104" fmla="*/ 38 w 9909"/>
                <a:gd name="connsiteY104" fmla="*/ 3678 h 10000"/>
                <a:gd name="connsiteX105" fmla="*/ 22 w 9909"/>
                <a:gd name="connsiteY105" fmla="*/ 3822 h 10000"/>
                <a:gd name="connsiteX106" fmla="*/ 15 w 9909"/>
                <a:gd name="connsiteY106" fmla="*/ 3966 h 10000"/>
                <a:gd name="connsiteX107" fmla="*/ 7 w 9909"/>
                <a:gd name="connsiteY107" fmla="*/ 4116 h 10000"/>
                <a:gd name="connsiteX108" fmla="*/ 0 w 9909"/>
                <a:gd name="connsiteY108" fmla="*/ 4261 h 10000"/>
                <a:gd name="connsiteX109" fmla="*/ 0 w 9909"/>
                <a:gd name="connsiteY109" fmla="*/ 4413 h 10000"/>
                <a:gd name="connsiteX110" fmla="*/ 7 w 9909"/>
                <a:gd name="connsiteY110" fmla="*/ 4606 h 10000"/>
                <a:gd name="connsiteX111" fmla="*/ 7 w 9909"/>
                <a:gd name="connsiteY111" fmla="*/ 4798 h 10000"/>
                <a:gd name="connsiteX112" fmla="*/ 22 w 9909"/>
                <a:gd name="connsiteY112" fmla="*/ 4977 h 10000"/>
                <a:gd name="connsiteX113" fmla="*/ 38 w 9909"/>
                <a:gd name="connsiteY113" fmla="*/ 5166 h 10000"/>
                <a:gd name="connsiteX114" fmla="*/ 61 w 9909"/>
                <a:gd name="connsiteY114" fmla="*/ 5353 h 10000"/>
                <a:gd name="connsiteX115" fmla="*/ 92 w 9909"/>
                <a:gd name="connsiteY115" fmla="*/ 5540 h 10000"/>
                <a:gd name="connsiteX116" fmla="*/ 122 w 9909"/>
                <a:gd name="connsiteY116" fmla="*/ 5725 h 10000"/>
                <a:gd name="connsiteX117" fmla="*/ 152 w 9909"/>
                <a:gd name="connsiteY117" fmla="*/ 5909 h 10000"/>
                <a:gd name="connsiteX118" fmla="*/ 199 w 9909"/>
                <a:gd name="connsiteY118" fmla="*/ 6093 h 10000"/>
                <a:gd name="connsiteX119" fmla="*/ 243 w 9909"/>
                <a:gd name="connsiteY119" fmla="*/ 6273 h 10000"/>
                <a:gd name="connsiteX120" fmla="*/ 290 w 9909"/>
                <a:gd name="connsiteY120" fmla="*/ 6456 h 10000"/>
                <a:gd name="connsiteX121" fmla="*/ 343 w 9909"/>
                <a:gd name="connsiteY121" fmla="*/ 6633 h 10000"/>
                <a:gd name="connsiteX122" fmla="*/ 404 w 9909"/>
                <a:gd name="connsiteY122" fmla="*/ 6805 h 10000"/>
                <a:gd name="connsiteX123" fmla="*/ 465 w 9909"/>
                <a:gd name="connsiteY123" fmla="*/ 6984 h 10000"/>
                <a:gd name="connsiteX124" fmla="*/ 534 w 9909"/>
                <a:gd name="connsiteY124" fmla="*/ 7156 h 10000"/>
                <a:gd name="connsiteX125" fmla="*/ 602 w 9909"/>
                <a:gd name="connsiteY125" fmla="*/ 7336 h 10000"/>
                <a:gd name="connsiteX126" fmla="*/ 678 w 9909"/>
                <a:gd name="connsiteY126" fmla="*/ 7502 h 10000"/>
                <a:gd name="connsiteX127" fmla="*/ 762 w 9909"/>
                <a:gd name="connsiteY127" fmla="*/ 7665 h 10000"/>
                <a:gd name="connsiteX128" fmla="*/ 847 w 9909"/>
                <a:gd name="connsiteY128" fmla="*/ 7844 h 10000"/>
                <a:gd name="connsiteX129" fmla="*/ 929 w 9909"/>
                <a:gd name="connsiteY129" fmla="*/ 8007 h 10000"/>
                <a:gd name="connsiteX130" fmla="*/ 1021 w 9909"/>
                <a:gd name="connsiteY130" fmla="*/ 8168 h 10000"/>
                <a:gd name="connsiteX131" fmla="*/ 1121 w 9909"/>
                <a:gd name="connsiteY131" fmla="*/ 8323 h 10000"/>
                <a:gd name="connsiteX132" fmla="*/ 1219 w 9909"/>
                <a:gd name="connsiteY132" fmla="*/ 8490 h 10000"/>
                <a:gd name="connsiteX133" fmla="*/ 1326 w 9909"/>
                <a:gd name="connsiteY133" fmla="*/ 8651 h 10000"/>
                <a:gd name="connsiteX134" fmla="*/ 1425 w 9909"/>
                <a:gd name="connsiteY134" fmla="*/ 8808 h 10000"/>
                <a:gd name="connsiteX135" fmla="*/ 1539 w 9909"/>
                <a:gd name="connsiteY135" fmla="*/ 8966 h 10000"/>
                <a:gd name="connsiteX136" fmla="*/ 1654 w 9909"/>
                <a:gd name="connsiteY136" fmla="*/ 9114 h 10000"/>
                <a:gd name="connsiteX137" fmla="*/ 1776 w 9909"/>
                <a:gd name="connsiteY137" fmla="*/ 9273 h 10000"/>
                <a:gd name="connsiteX138" fmla="*/ 1898 w 9909"/>
                <a:gd name="connsiteY138" fmla="*/ 9420 h 10000"/>
                <a:gd name="connsiteX139" fmla="*/ 2019 w 9909"/>
                <a:gd name="connsiteY139" fmla="*/ 9566 h 10000"/>
                <a:gd name="connsiteX140" fmla="*/ 2149 w 9909"/>
                <a:gd name="connsiteY140" fmla="*/ 9706 h 10000"/>
                <a:gd name="connsiteX141" fmla="*/ 2287 w 9909"/>
                <a:gd name="connsiteY141" fmla="*/ 9855 h 10000"/>
                <a:gd name="connsiteX142" fmla="*/ 2416 w 9909"/>
                <a:gd name="connsiteY142" fmla="*/ 10000 h 10000"/>
                <a:gd name="connsiteX143" fmla="*/ 4471 w 9909"/>
                <a:gd name="connsiteY143" fmla="*/ 7469 h 10000"/>
                <a:gd name="connsiteX0" fmla="*/ 4512 w 9907"/>
                <a:gd name="connsiteY0" fmla="*/ 7469 h 10000"/>
                <a:gd name="connsiteX1" fmla="*/ 9907 w 9907"/>
                <a:gd name="connsiteY1" fmla="*/ 7925 h 10000"/>
                <a:gd name="connsiteX2" fmla="*/ 9822 w 9907"/>
                <a:gd name="connsiteY2" fmla="*/ 7897 h 10000"/>
                <a:gd name="connsiteX3" fmla="*/ 9731 w 9907"/>
                <a:gd name="connsiteY3" fmla="*/ 7869 h 10000"/>
                <a:gd name="connsiteX4" fmla="*/ 9638 w 9907"/>
                <a:gd name="connsiteY4" fmla="*/ 7837 h 10000"/>
                <a:gd name="connsiteX5" fmla="*/ 9461 w 9907"/>
                <a:gd name="connsiteY5" fmla="*/ 7772 h 10000"/>
                <a:gd name="connsiteX6" fmla="*/ 9293 w 9907"/>
                <a:gd name="connsiteY6" fmla="*/ 7698 h 10000"/>
                <a:gd name="connsiteX7" fmla="*/ 9123 w 9907"/>
                <a:gd name="connsiteY7" fmla="*/ 7624 h 10000"/>
                <a:gd name="connsiteX8" fmla="*/ 8962 w 9907"/>
                <a:gd name="connsiteY8" fmla="*/ 7536 h 10000"/>
                <a:gd name="connsiteX9" fmla="*/ 8799 w 9907"/>
                <a:gd name="connsiteY9" fmla="*/ 7448 h 10000"/>
                <a:gd name="connsiteX10" fmla="*/ 8654 w 9907"/>
                <a:gd name="connsiteY10" fmla="*/ 7365 h 10000"/>
                <a:gd name="connsiteX11" fmla="*/ 8508 w 9907"/>
                <a:gd name="connsiteY11" fmla="*/ 7266 h 10000"/>
                <a:gd name="connsiteX12" fmla="*/ 8361 w 9907"/>
                <a:gd name="connsiteY12" fmla="*/ 7161 h 10000"/>
                <a:gd name="connsiteX13" fmla="*/ 8222 w 9907"/>
                <a:gd name="connsiteY13" fmla="*/ 7056 h 10000"/>
                <a:gd name="connsiteX14" fmla="*/ 8092 w 9907"/>
                <a:gd name="connsiteY14" fmla="*/ 6942 h 10000"/>
                <a:gd name="connsiteX15" fmla="*/ 7961 w 9907"/>
                <a:gd name="connsiteY15" fmla="*/ 6833 h 10000"/>
                <a:gd name="connsiteX16" fmla="*/ 7838 w 9907"/>
                <a:gd name="connsiteY16" fmla="*/ 6719 h 10000"/>
                <a:gd name="connsiteX17" fmla="*/ 7730 w 9907"/>
                <a:gd name="connsiteY17" fmla="*/ 6593 h 10000"/>
                <a:gd name="connsiteX18" fmla="*/ 7622 w 9907"/>
                <a:gd name="connsiteY18" fmla="*/ 6467 h 10000"/>
                <a:gd name="connsiteX19" fmla="*/ 7523 w 9907"/>
                <a:gd name="connsiteY19" fmla="*/ 6338 h 10000"/>
                <a:gd name="connsiteX20" fmla="*/ 7431 w 9907"/>
                <a:gd name="connsiteY20" fmla="*/ 6209 h 10000"/>
                <a:gd name="connsiteX21" fmla="*/ 7338 w 9907"/>
                <a:gd name="connsiteY21" fmla="*/ 6073 h 10000"/>
                <a:gd name="connsiteX22" fmla="*/ 7253 w 9907"/>
                <a:gd name="connsiteY22" fmla="*/ 5928 h 10000"/>
                <a:gd name="connsiteX23" fmla="*/ 7215 w 9907"/>
                <a:gd name="connsiteY23" fmla="*/ 5865 h 10000"/>
                <a:gd name="connsiteX24" fmla="*/ 7176 w 9907"/>
                <a:gd name="connsiteY24" fmla="*/ 5789 h 10000"/>
                <a:gd name="connsiteX25" fmla="*/ 7146 w 9907"/>
                <a:gd name="connsiteY25" fmla="*/ 5721 h 10000"/>
                <a:gd name="connsiteX26" fmla="*/ 7108 w 9907"/>
                <a:gd name="connsiteY26" fmla="*/ 5646 h 10000"/>
                <a:gd name="connsiteX27" fmla="*/ 7077 w 9907"/>
                <a:gd name="connsiteY27" fmla="*/ 5575 h 10000"/>
                <a:gd name="connsiteX28" fmla="*/ 7046 w 9907"/>
                <a:gd name="connsiteY28" fmla="*/ 5501 h 10000"/>
                <a:gd name="connsiteX29" fmla="*/ 7023 w 9907"/>
                <a:gd name="connsiteY29" fmla="*/ 5424 h 10000"/>
                <a:gd name="connsiteX30" fmla="*/ 6992 w 9907"/>
                <a:gd name="connsiteY30" fmla="*/ 5353 h 10000"/>
                <a:gd name="connsiteX31" fmla="*/ 6976 w 9907"/>
                <a:gd name="connsiteY31" fmla="*/ 5274 h 10000"/>
                <a:gd name="connsiteX32" fmla="*/ 6946 w 9907"/>
                <a:gd name="connsiteY32" fmla="*/ 5200 h 10000"/>
                <a:gd name="connsiteX33" fmla="*/ 6930 w 9907"/>
                <a:gd name="connsiteY33" fmla="*/ 5122 h 10000"/>
                <a:gd name="connsiteX34" fmla="*/ 6915 w 9907"/>
                <a:gd name="connsiteY34" fmla="*/ 5048 h 10000"/>
                <a:gd name="connsiteX35" fmla="*/ 6899 w 9907"/>
                <a:gd name="connsiteY35" fmla="*/ 4966 h 10000"/>
                <a:gd name="connsiteX36" fmla="*/ 6885 w 9907"/>
                <a:gd name="connsiteY36" fmla="*/ 4893 h 10000"/>
                <a:gd name="connsiteX37" fmla="*/ 6870 w 9907"/>
                <a:gd name="connsiteY37" fmla="*/ 4815 h 10000"/>
                <a:gd name="connsiteX38" fmla="*/ 6861 w 9907"/>
                <a:gd name="connsiteY38" fmla="*/ 4739 h 10000"/>
                <a:gd name="connsiteX39" fmla="*/ 6853 w 9907"/>
                <a:gd name="connsiteY39" fmla="*/ 4656 h 10000"/>
                <a:gd name="connsiteX40" fmla="*/ 6845 w 9907"/>
                <a:gd name="connsiteY40" fmla="*/ 4573 h 10000"/>
                <a:gd name="connsiteX41" fmla="*/ 6845 w 9907"/>
                <a:gd name="connsiteY41" fmla="*/ 4497 h 10000"/>
                <a:gd name="connsiteX42" fmla="*/ 6838 w 9907"/>
                <a:gd name="connsiteY42" fmla="*/ 4413 h 10000"/>
                <a:gd name="connsiteX43" fmla="*/ 6845 w 9907"/>
                <a:gd name="connsiteY43" fmla="*/ 4334 h 10000"/>
                <a:gd name="connsiteX44" fmla="*/ 6853 w 9907"/>
                <a:gd name="connsiteY44" fmla="*/ 4248 h 10000"/>
                <a:gd name="connsiteX45" fmla="*/ 6853 w 9907"/>
                <a:gd name="connsiteY45" fmla="*/ 4160 h 10000"/>
                <a:gd name="connsiteX46" fmla="*/ 6861 w 9907"/>
                <a:gd name="connsiteY46" fmla="*/ 4075 h 10000"/>
                <a:gd name="connsiteX47" fmla="*/ 6870 w 9907"/>
                <a:gd name="connsiteY47" fmla="*/ 3990 h 10000"/>
                <a:gd name="connsiteX48" fmla="*/ 6885 w 9907"/>
                <a:gd name="connsiteY48" fmla="*/ 3915 h 10000"/>
                <a:gd name="connsiteX49" fmla="*/ 6899 w 9907"/>
                <a:gd name="connsiteY49" fmla="*/ 3830 h 10000"/>
                <a:gd name="connsiteX50" fmla="*/ 6915 w 9907"/>
                <a:gd name="connsiteY50" fmla="*/ 3750 h 10000"/>
                <a:gd name="connsiteX51" fmla="*/ 6938 w 9907"/>
                <a:gd name="connsiteY51" fmla="*/ 3665 h 10000"/>
                <a:gd name="connsiteX52" fmla="*/ 6961 w 9907"/>
                <a:gd name="connsiteY52" fmla="*/ 3589 h 10000"/>
                <a:gd name="connsiteX53" fmla="*/ 6985 w 9907"/>
                <a:gd name="connsiteY53" fmla="*/ 3508 h 10000"/>
                <a:gd name="connsiteX54" fmla="*/ 7007 w 9907"/>
                <a:gd name="connsiteY54" fmla="*/ 3424 h 10000"/>
                <a:gd name="connsiteX55" fmla="*/ 7038 w 9907"/>
                <a:gd name="connsiteY55" fmla="*/ 3355 h 10000"/>
                <a:gd name="connsiteX56" fmla="*/ 7068 w 9907"/>
                <a:gd name="connsiteY56" fmla="*/ 3275 h 10000"/>
                <a:gd name="connsiteX57" fmla="*/ 7100 w 9907"/>
                <a:gd name="connsiteY57" fmla="*/ 3194 h 10000"/>
                <a:gd name="connsiteX58" fmla="*/ 7138 w 9907"/>
                <a:gd name="connsiteY58" fmla="*/ 3118 h 10000"/>
                <a:gd name="connsiteX59" fmla="*/ 7169 w 9907"/>
                <a:gd name="connsiteY59" fmla="*/ 3046 h 10000"/>
                <a:gd name="connsiteX60" fmla="*/ 7208 w 9907"/>
                <a:gd name="connsiteY60" fmla="*/ 2964 h 10000"/>
                <a:gd name="connsiteX61" fmla="*/ 7253 w 9907"/>
                <a:gd name="connsiteY61" fmla="*/ 2898 h 10000"/>
                <a:gd name="connsiteX62" fmla="*/ 7291 w 9907"/>
                <a:gd name="connsiteY62" fmla="*/ 2823 h 10000"/>
                <a:gd name="connsiteX63" fmla="*/ 7338 w 9907"/>
                <a:gd name="connsiteY63" fmla="*/ 2754 h 10000"/>
                <a:gd name="connsiteX64" fmla="*/ 7377 w 9907"/>
                <a:gd name="connsiteY64" fmla="*/ 2676 h 10000"/>
                <a:gd name="connsiteX65" fmla="*/ 7431 w 9907"/>
                <a:gd name="connsiteY65" fmla="*/ 2613 h 10000"/>
                <a:gd name="connsiteX66" fmla="*/ 7484 w 9907"/>
                <a:gd name="connsiteY66" fmla="*/ 2538 h 10000"/>
                <a:gd name="connsiteX67" fmla="*/ 7531 w 9907"/>
                <a:gd name="connsiteY67" fmla="*/ 2471 h 10000"/>
                <a:gd name="connsiteX68" fmla="*/ 7584 w 9907"/>
                <a:gd name="connsiteY68" fmla="*/ 2404 h 10000"/>
                <a:gd name="connsiteX69" fmla="*/ 7639 w 9907"/>
                <a:gd name="connsiteY69" fmla="*/ 2331 h 10000"/>
                <a:gd name="connsiteX70" fmla="*/ 7692 w 9907"/>
                <a:gd name="connsiteY70" fmla="*/ 2269 h 10000"/>
                <a:gd name="connsiteX71" fmla="*/ 7754 w 9907"/>
                <a:gd name="connsiteY71" fmla="*/ 2203 h 10000"/>
                <a:gd name="connsiteX72" fmla="*/ 7807 w 9907"/>
                <a:gd name="connsiteY72" fmla="*/ 2145 h 10000"/>
                <a:gd name="connsiteX73" fmla="*/ 7869 w 9907"/>
                <a:gd name="connsiteY73" fmla="*/ 2077 h 10000"/>
                <a:gd name="connsiteX74" fmla="*/ 7896 w 9907"/>
                <a:gd name="connsiteY74" fmla="*/ 2042 h 10000"/>
                <a:gd name="connsiteX75" fmla="*/ 5593 w 9907"/>
                <a:gd name="connsiteY75" fmla="*/ 6 h 10000"/>
                <a:gd name="connsiteX76" fmla="*/ 1453 w 9907"/>
                <a:gd name="connsiteY76" fmla="*/ 0 h 10000"/>
                <a:gd name="connsiteX77" fmla="*/ 1354 w 9907"/>
                <a:gd name="connsiteY77" fmla="*/ 154 h 10000"/>
                <a:gd name="connsiteX78" fmla="*/ 1269 w 9907"/>
                <a:gd name="connsiteY78" fmla="*/ 269 h 10000"/>
                <a:gd name="connsiteX79" fmla="*/ 1193 w 9907"/>
                <a:gd name="connsiteY79" fmla="*/ 397 h 10000"/>
                <a:gd name="connsiteX80" fmla="*/ 1107 w 9907"/>
                <a:gd name="connsiteY80" fmla="*/ 523 h 10000"/>
                <a:gd name="connsiteX81" fmla="*/ 1038 w 9907"/>
                <a:gd name="connsiteY81" fmla="*/ 650 h 10000"/>
                <a:gd name="connsiteX82" fmla="*/ 962 w 9907"/>
                <a:gd name="connsiteY82" fmla="*/ 775 h 10000"/>
                <a:gd name="connsiteX83" fmla="*/ 892 w 9907"/>
                <a:gd name="connsiteY83" fmla="*/ 910 h 10000"/>
                <a:gd name="connsiteX84" fmla="*/ 822 w 9907"/>
                <a:gd name="connsiteY84" fmla="*/ 1043 h 10000"/>
                <a:gd name="connsiteX85" fmla="*/ 762 w 9907"/>
                <a:gd name="connsiteY85" fmla="*/ 1166 h 10000"/>
                <a:gd name="connsiteX86" fmla="*/ 700 w 9907"/>
                <a:gd name="connsiteY86" fmla="*/ 1304 h 10000"/>
                <a:gd name="connsiteX87" fmla="*/ 639 w 9907"/>
                <a:gd name="connsiteY87" fmla="*/ 1432 h 10000"/>
                <a:gd name="connsiteX88" fmla="*/ 576 w 9907"/>
                <a:gd name="connsiteY88" fmla="*/ 1572 h 10000"/>
                <a:gd name="connsiteX89" fmla="*/ 523 w 9907"/>
                <a:gd name="connsiteY89" fmla="*/ 1699 h 10000"/>
                <a:gd name="connsiteX90" fmla="*/ 469 w 9907"/>
                <a:gd name="connsiteY90" fmla="*/ 1833 h 10000"/>
                <a:gd name="connsiteX91" fmla="*/ 424 w 9907"/>
                <a:gd name="connsiteY91" fmla="*/ 1968 h 10000"/>
                <a:gd name="connsiteX92" fmla="*/ 376 w 9907"/>
                <a:gd name="connsiteY92" fmla="*/ 2104 h 10000"/>
                <a:gd name="connsiteX93" fmla="*/ 331 w 9907"/>
                <a:gd name="connsiteY93" fmla="*/ 2248 h 10000"/>
                <a:gd name="connsiteX94" fmla="*/ 293 w 9907"/>
                <a:gd name="connsiteY94" fmla="*/ 2384 h 10000"/>
                <a:gd name="connsiteX95" fmla="*/ 245 w 9907"/>
                <a:gd name="connsiteY95" fmla="*/ 2526 h 10000"/>
                <a:gd name="connsiteX96" fmla="*/ 216 w 9907"/>
                <a:gd name="connsiteY96" fmla="*/ 2666 h 10000"/>
                <a:gd name="connsiteX97" fmla="*/ 177 w 9907"/>
                <a:gd name="connsiteY97" fmla="*/ 2809 h 10000"/>
                <a:gd name="connsiteX98" fmla="*/ 153 w 9907"/>
                <a:gd name="connsiteY98" fmla="*/ 2953 h 10000"/>
                <a:gd name="connsiteX99" fmla="*/ 123 w 9907"/>
                <a:gd name="connsiteY99" fmla="*/ 3095 h 10000"/>
                <a:gd name="connsiteX100" fmla="*/ 100 w 9907"/>
                <a:gd name="connsiteY100" fmla="*/ 3235 h 10000"/>
                <a:gd name="connsiteX101" fmla="*/ 77 w 9907"/>
                <a:gd name="connsiteY101" fmla="*/ 3382 h 10000"/>
                <a:gd name="connsiteX102" fmla="*/ 53 w 9907"/>
                <a:gd name="connsiteY102" fmla="*/ 3534 h 10000"/>
                <a:gd name="connsiteX103" fmla="*/ 38 w 9907"/>
                <a:gd name="connsiteY103" fmla="*/ 3678 h 10000"/>
                <a:gd name="connsiteX104" fmla="*/ 22 w 9907"/>
                <a:gd name="connsiteY104" fmla="*/ 3822 h 10000"/>
                <a:gd name="connsiteX105" fmla="*/ 15 w 9907"/>
                <a:gd name="connsiteY105" fmla="*/ 3966 h 10000"/>
                <a:gd name="connsiteX106" fmla="*/ 7 w 9907"/>
                <a:gd name="connsiteY106" fmla="*/ 4116 h 10000"/>
                <a:gd name="connsiteX107" fmla="*/ 0 w 9907"/>
                <a:gd name="connsiteY107" fmla="*/ 4261 h 10000"/>
                <a:gd name="connsiteX108" fmla="*/ 0 w 9907"/>
                <a:gd name="connsiteY108" fmla="*/ 4413 h 10000"/>
                <a:gd name="connsiteX109" fmla="*/ 7 w 9907"/>
                <a:gd name="connsiteY109" fmla="*/ 4606 h 10000"/>
                <a:gd name="connsiteX110" fmla="*/ 7 w 9907"/>
                <a:gd name="connsiteY110" fmla="*/ 4798 h 10000"/>
                <a:gd name="connsiteX111" fmla="*/ 22 w 9907"/>
                <a:gd name="connsiteY111" fmla="*/ 4977 h 10000"/>
                <a:gd name="connsiteX112" fmla="*/ 38 w 9907"/>
                <a:gd name="connsiteY112" fmla="*/ 5166 h 10000"/>
                <a:gd name="connsiteX113" fmla="*/ 62 w 9907"/>
                <a:gd name="connsiteY113" fmla="*/ 5353 h 10000"/>
                <a:gd name="connsiteX114" fmla="*/ 93 w 9907"/>
                <a:gd name="connsiteY114" fmla="*/ 5540 h 10000"/>
                <a:gd name="connsiteX115" fmla="*/ 123 w 9907"/>
                <a:gd name="connsiteY115" fmla="*/ 5725 h 10000"/>
                <a:gd name="connsiteX116" fmla="*/ 153 w 9907"/>
                <a:gd name="connsiteY116" fmla="*/ 5909 h 10000"/>
                <a:gd name="connsiteX117" fmla="*/ 201 w 9907"/>
                <a:gd name="connsiteY117" fmla="*/ 6093 h 10000"/>
                <a:gd name="connsiteX118" fmla="*/ 245 w 9907"/>
                <a:gd name="connsiteY118" fmla="*/ 6273 h 10000"/>
                <a:gd name="connsiteX119" fmla="*/ 293 w 9907"/>
                <a:gd name="connsiteY119" fmla="*/ 6456 h 10000"/>
                <a:gd name="connsiteX120" fmla="*/ 346 w 9907"/>
                <a:gd name="connsiteY120" fmla="*/ 6633 h 10000"/>
                <a:gd name="connsiteX121" fmla="*/ 408 w 9907"/>
                <a:gd name="connsiteY121" fmla="*/ 6805 h 10000"/>
                <a:gd name="connsiteX122" fmla="*/ 469 w 9907"/>
                <a:gd name="connsiteY122" fmla="*/ 6984 h 10000"/>
                <a:gd name="connsiteX123" fmla="*/ 539 w 9907"/>
                <a:gd name="connsiteY123" fmla="*/ 7156 h 10000"/>
                <a:gd name="connsiteX124" fmla="*/ 608 w 9907"/>
                <a:gd name="connsiteY124" fmla="*/ 7336 h 10000"/>
                <a:gd name="connsiteX125" fmla="*/ 684 w 9907"/>
                <a:gd name="connsiteY125" fmla="*/ 7502 h 10000"/>
                <a:gd name="connsiteX126" fmla="*/ 769 w 9907"/>
                <a:gd name="connsiteY126" fmla="*/ 7665 h 10000"/>
                <a:gd name="connsiteX127" fmla="*/ 855 w 9907"/>
                <a:gd name="connsiteY127" fmla="*/ 7844 h 10000"/>
                <a:gd name="connsiteX128" fmla="*/ 938 w 9907"/>
                <a:gd name="connsiteY128" fmla="*/ 8007 h 10000"/>
                <a:gd name="connsiteX129" fmla="*/ 1030 w 9907"/>
                <a:gd name="connsiteY129" fmla="*/ 8168 h 10000"/>
                <a:gd name="connsiteX130" fmla="*/ 1131 w 9907"/>
                <a:gd name="connsiteY130" fmla="*/ 8323 h 10000"/>
                <a:gd name="connsiteX131" fmla="*/ 1230 w 9907"/>
                <a:gd name="connsiteY131" fmla="*/ 8490 h 10000"/>
                <a:gd name="connsiteX132" fmla="*/ 1338 w 9907"/>
                <a:gd name="connsiteY132" fmla="*/ 8651 h 10000"/>
                <a:gd name="connsiteX133" fmla="*/ 1438 w 9907"/>
                <a:gd name="connsiteY133" fmla="*/ 8808 h 10000"/>
                <a:gd name="connsiteX134" fmla="*/ 1553 w 9907"/>
                <a:gd name="connsiteY134" fmla="*/ 8966 h 10000"/>
                <a:gd name="connsiteX135" fmla="*/ 1669 w 9907"/>
                <a:gd name="connsiteY135" fmla="*/ 9114 h 10000"/>
                <a:gd name="connsiteX136" fmla="*/ 1792 w 9907"/>
                <a:gd name="connsiteY136" fmla="*/ 9273 h 10000"/>
                <a:gd name="connsiteX137" fmla="*/ 1915 w 9907"/>
                <a:gd name="connsiteY137" fmla="*/ 9420 h 10000"/>
                <a:gd name="connsiteX138" fmla="*/ 2038 w 9907"/>
                <a:gd name="connsiteY138" fmla="*/ 9566 h 10000"/>
                <a:gd name="connsiteX139" fmla="*/ 2169 w 9907"/>
                <a:gd name="connsiteY139" fmla="*/ 9706 h 10000"/>
                <a:gd name="connsiteX140" fmla="*/ 2308 w 9907"/>
                <a:gd name="connsiteY140" fmla="*/ 9855 h 10000"/>
                <a:gd name="connsiteX141" fmla="*/ 2438 w 9907"/>
                <a:gd name="connsiteY141" fmla="*/ 10000 h 10000"/>
                <a:gd name="connsiteX142" fmla="*/ 4512 w 9907"/>
                <a:gd name="connsiteY142" fmla="*/ 7469 h 10000"/>
                <a:gd name="connsiteX0" fmla="*/ 4554 w 9914"/>
                <a:gd name="connsiteY0" fmla="*/ 7469 h 10000"/>
                <a:gd name="connsiteX1" fmla="*/ 9914 w 9914"/>
                <a:gd name="connsiteY1" fmla="*/ 7897 h 10000"/>
                <a:gd name="connsiteX2" fmla="*/ 9822 w 9914"/>
                <a:gd name="connsiteY2" fmla="*/ 7869 h 10000"/>
                <a:gd name="connsiteX3" fmla="*/ 9728 w 9914"/>
                <a:gd name="connsiteY3" fmla="*/ 7837 h 10000"/>
                <a:gd name="connsiteX4" fmla="*/ 9550 w 9914"/>
                <a:gd name="connsiteY4" fmla="*/ 7772 h 10000"/>
                <a:gd name="connsiteX5" fmla="*/ 9380 w 9914"/>
                <a:gd name="connsiteY5" fmla="*/ 7698 h 10000"/>
                <a:gd name="connsiteX6" fmla="*/ 9209 w 9914"/>
                <a:gd name="connsiteY6" fmla="*/ 7624 h 10000"/>
                <a:gd name="connsiteX7" fmla="*/ 9046 w 9914"/>
                <a:gd name="connsiteY7" fmla="*/ 7536 h 10000"/>
                <a:gd name="connsiteX8" fmla="*/ 8882 w 9914"/>
                <a:gd name="connsiteY8" fmla="*/ 7448 h 10000"/>
                <a:gd name="connsiteX9" fmla="*/ 8735 w 9914"/>
                <a:gd name="connsiteY9" fmla="*/ 7365 h 10000"/>
                <a:gd name="connsiteX10" fmla="*/ 8588 w 9914"/>
                <a:gd name="connsiteY10" fmla="*/ 7266 h 10000"/>
                <a:gd name="connsiteX11" fmla="*/ 8439 w 9914"/>
                <a:gd name="connsiteY11" fmla="*/ 7161 h 10000"/>
                <a:gd name="connsiteX12" fmla="*/ 8299 w 9914"/>
                <a:gd name="connsiteY12" fmla="*/ 7056 h 10000"/>
                <a:gd name="connsiteX13" fmla="*/ 8168 w 9914"/>
                <a:gd name="connsiteY13" fmla="*/ 6942 h 10000"/>
                <a:gd name="connsiteX14" fmla="*/ 8036 w 9914"/>
                <a:gd name="connsiteY14" fmla="*/ 6833 h 10000"/>
                <a:gd name="connsiteX15" fmla="*/ 7912 w 9914"/>
                <a:gd name="connsiteY15" fmla="*/ 6719 h 10000"/>
                <a:gd name="connsiteX16" fmla="*/ 7803 w 9914"/>
                <a:gd name="connsiteY16" fmla="*/ 6593 h 10000"/>
                <a:gd name="connsiteX17" fmla="*/ 7694 w 9914"/>
                <a:gd name="connsiteY17" fmla="*/ 6467 h 10000"/>
                <a:gd name="connsiteX18" fmla="*/ 7594 w 9914"/>
                <a:gd name="connsiteY18" fmla="*/ 6338 h 10000"/>
                <a:gd name="connsiteX19" fmla="*/ 7501 w 9914"/>
                <a:gd name="connsiteY19" fmla="*/ 6209 h 10000"/>
                <a:gd name="connsiteX20" fmla="*/ 7407 w 9914"/>
                <a:gd name="connsiteY20" fmla="*/ 6073 h 10000"/>
                <a:gd name="connsiteX21" fmla="*/ 7321 w 9914"/>
                <a:gd name="connsiteY21" fmla="*/ 5928 h 10000"/>
                <a:gd name="connsiteX22" fmla="*/ 7283 w 9914"/>
                <a:gd name="connsiteY22" fmla="*/ 5865 h 10000"/>
                <a:gd name="connsiteX23" fmla="*/ 7243 w 9914"/>
                <a:gd name="connsiteY23" fmla="*/ 5789 h 10000"/>
                <a:gd name="connsiteX24" fmla="*/ 7213 w 9914"/>
                <a:gd name="connsiteY24" fmla="*/ 5721 h 10000"/>
                <a:gd name="connsiteX25" fmla="*/ 7175 w 9914"/>
                <a:gd name="connsiteY25" fmla="*/ 5646 h 10000"/>
                <a:gd name="connsiteX26" fmla="*/ 7143 w 9914"/>
                <a:gd name="connsiteY26" fmla="*/ 5575 h 10000"/>
                <a:gd name="connsiteX27" fmla="*/ 7112 w 9914"/>
                <a:gd name="connsiteY27" fmla="*/ 5501 h 10000"/>
                <a:gd name="connsiteX28" fmla="*/ 7089 w 9914"/>
                <a:gd name="connsiteY28" fmla="*/ 5424 h 10000"/>
                <a:gd name="connsiteX29" fmla="*/ 7058 w 9914"/>
                <a:gd name="connsiteY29" fmla="*/ 5353 h 10000"/>
                <a:gd name="connsiteX30" fmla="*/ 7041 w 9914"/>
                <a:gd name="connsiteY30" fmla="*/ 5274 h 10000"/>
                <a:gd name="connsiteX31" fmla="*/ 7011 w 9914"/>
                <a:gd name="connsiteY31" fmla="*/ 5200 h 10000"/>
                <a:gd name="connsiteX32" fmla="*/ 6995 w 9914"/>
                <a:gd name="connsiteY32" fmla="*/ 5122 h 10000"/>
                <a:gd name="connsiteX33" fmla="*/ 6980 w 9914"/>
                <a:gd name="connsiteY33" fmla="*/ 5048 h 10000"/>
                <a:gd name="connsiteX34" fmla="*/ 6964 w 9914"/>
                <a:gd name="connsiteY34" fmla="*/ 4966 h 10000"/>
                <a:gd name="connsiteX35" fmla="*/ 6950 w 9914"/>
                <a:gd name="connsiteY35" fmla="*/ 4893 h 10000"/>
                <a:gd name="connsiteX36" fmla="*/ 6934 w 9914"/>
                <a:gd name="connsiteY36" fmla="*/ 4815 h 10000"/>
                <a:gd name="connsiteX37" fmla="*/ 6925 w 9914"/>
                <a:gd name="connsiteY37" fmla="*/ 4739 h 10000"/>
                <a:gd name="connsiteX38" fmla="*/ 6917 w 9914"/>
                <a:gd name="connsiteY38" fmla="*/ 4656 h 10000"/>
                <a:gd name="connsiteX39" fmla="*/ 6909 w 9914"/>
                <a:gd name="connsiteY39" fmla="*/ 4573 h 10000"/>
                <a:gd name="connsiteX40" fmla="*/ 6909 w 9914"/>
                <a:gd name="connsiteY40" fmla="*/ 4497 h 10000"/>
                <a:gd name="connsiteX41" fmla="*/ 6902 w 9914"/>
                <a:gd name="connsiteY41" fmla="*/ 4413 h 10000"/>
                <a:gd name="connsiteX42" fmla="*/ 6909 w 9914"/>
                <a:gd name="connsiteY42" fmla="*/ 4334 h 10000"/>
                <a:gd name="connsiteX43" fmla="*/ 6917 w 9914"/>
                <a:gd name="connsiteY43" fmla="*/ 4248 h 10000"/>
                <a:gd name="connsiteX44" fmla="*/ 6917 w 9914"/>
                <a:gd name="connsiteY44" fmla="*/ 4160 h 10000"/>
                <a:gd name="connsiteX45" fmla="*/ 6925 w 9914"/>
                <a:gd name="connsiteY45" fmla="*/ 4075 h 10000"/>
                <a:gd name="connsiteX46" fmla="*/ 6934 w 9914"/>
                <a:gd name="connsiteY46" fmla="*/ 3990 h 10000"/>
                <a:gd name="connsiteX47" fmla="*/ 6950 w 9914"/>
                <a:gd name="connsiteY47" fmla="*/ 3915 h 10000"/>
                <a:gd name="connsiteX48" fmla="*/ 6964 w 9914"/>
                <a:gd name="connsiteY48" fmla="*/ 3830 h 10000"/>
                <a:gd name="connsiteX49" fmla="*/ 6980 w 9914"/>
                <a:gd name="connsiteY49" fmla="*/ 3750 h 10000"/>
                <a:gd name="connsiteX50" fmla="*/ 7003 w 9914"/>
                <a:gd name="connsiteY50" fmla="*/ 3665 h 10000"/>
                <a:gd name="connsiteX51" fmla="*/ 7026 w 9914"/>
                <a:gd name="connsiteY51" fmla="*/ 3589 h 10000"/>
                <a:gd name="connsiteX52" fmla="*/ 7051 w 9914"/>
                <a:gd name="connsiteY52" fmla="*/ 3508 h 10000"/>
                <a:gd name="connsiteX53" fmla="*/ 7073 w 9914"/>
                <a:gd name="connsiteY53" fmla="*/ 3424 h 10000"/>
                <a:gd name="connsiteX54" fmla="*/ 7104 w 9914"/>
                <a:gd name="connsiteY54" fmla="*/ 3355 h 10000"/>
                <a:gd name="connsiteX55" fmla="*/ 7134 w 9914"/>
                <a:gd name="connsiteY55" fmla="*/ 3275 h 10000"/>
                <a:gd name="connsiteX56" fmla="*/ 7167 w 9914"/>
                <a:gd name="connsiteY56" fmla="*/ 3194 h 10000"/>
                <a:gd name="connsiteX57" fmla="*/ 7205 w 9914"/>
                <a:gd name="connsiteY57" fmla="*/ 3118 h 10000"/>
                <a:gd name="connsiteX58" fmla="*/ 7236 w 9914"/>
                <a:gd name="connsiteY58" fmla="*/ 3046 h 10000"/>
                <a:gd name="connsiteX59" fmla="*/ 7276 w 9914"/>
                <a:gd name="connsiteY59" fmla="*/ 2964 h 10000"/>
                <a:gd name="connsiteX60" fmla="*/ 7321 w 9914"/>
                <a:gd name="connsiteY60" fmla="*/ 2898 h 10000"/>
                <a:gd name="connsiteX61" fmla="*/ 7359 w 9914"/>
                <a:gd name="connsiteY61" fmla="*/ 2823 h 10000"/>
                <a:gd name="connsiteX62" fmla="*/ 7407 w 9914"/>
                <a:gd name="connsiteY62" fmla="*/ 2754 h 10000"/>
                <a:gd name="connsiteX63" fmla="*/ 7446 w 9914"/>
                <a:gd name="connsiteY63" fmla="*/ 2676 h 10000"/>
                <a:gd name="connsiteX64" fmla="*/ 7501 w 9914"/>
                <a:gd name="connsiteY64" fmla="*/ 2613 h 10000"/>
                <a:gd name="connsiteX65" fmla="*/ 7554 w 9914"/>
                <a:gd name="connsiteY65" fmla="*/ 2538 h 10000"/>
                <a:gd name="connsiteX66" fmla="*/ 7602 w 9914"/>
                <a:gd name="connsiteY66" fmla="*/ 2471 h 10000"/>
                <a:gd name="connsiteX67" fmla="*/ 7655 w 9914"/>
                <a:gd name="connsiteY67" fmla="*/ 2404 h 10000"/>
                <a:gd name="connsiteX68" fmla="*/ 7711 w 9914"/>
                <a:gd name="connsiteY68" fmla="*/ 2331 h 10000"/>
                <a:gd name="connsiteX69" fmla="*/ 7764 w 9914"/>
                <a:gd name="connsiteY69" fmla="*/ 2269 h 10000"/>
                <a:gd name="connsiteX70" fmla="*/ 7827 w 9914"/>
                <a:gd name="connsiteY70" fmla="*/ 2203 h 10000"/>
                <a:gd name="connsiteX71" fmla="*/ 7880 w 9914"/>
                <a:gd name="connsiteY71" fmla="*/ 2145 h 10000"/>
                <a:gd name="connsiteX72" fmla="*/ 7943 w 9914"/>
                <a:gd name="connsiteY72" fmla="*/ 2077 h 10000"/>
                <a:gd name="connsiteX73" fmla="*/ 7970 w 9914"/>
                <a:gd name="connsiteY73" fmla="*/ 2042 h 10000"/>
                <a:gd name="connsiteX74" fmla="*/ 5646 w 9914"/>
                <a:gd name="connsiteY74" fmla="*/ 6 h 10000"/>
                <a:gd name="connsiteX75" fmla="*/ 1467 w 9914"/>
                <a:gd name="connsiteY75" fmla="*/ 0 h 10000"/>
                <a:gd name="connsiteX76" fmla="*/ 1367 w 9914"/>
                <a:gd name="connsiteY76" fmla="*/ 154 h 10000"/>
                <a:gd name="connsiteX77" fmla="*/ 1281 w 9914"/>
                <a:gd name="connsiteY77" fmla="*/ 269 h 10000"/>
                <a:gd name="connsiteX78" fmla="*/ 1204 w 9914"/>
                <a:gd name="connsiteY78" fmla="*/ 397 h 10000"/>
                <a:gd name="connsiteX79" fmla="*/ 1117 w 9914"/>
                <a:gd name="connsiteY79" fmla="*/ 523 h 10000"/>
                <a:gd name="connsiteX80" fmla="*/ 1048 w 9914"/>
                <a:gd name="connsiteY80" fmla="*/ 650 h 10000"/>
                <a:gd name="connsiteX81" fmla="*/ 971 w 9914"/>
                <a:gd name="connsiteY81" fmla="*/ 775 h 10000"/>
                <a:gd name="connsiteX82" fmla="*/ 900 w 9914"/>
                <a:gd name="connsiteY82" fmla="*/ 910 h 10000"/>
                <a:gd name="connsiteX83" fmla="*/ 830 w 9914"/>
                <a:gd name="connsiteY83" fmla="*/ 1043 h 10000"/>
                <a:gd name="connsiteX84" fmla="*/ 769 w 9914"/>
                <a:gd name="connsiteY84" fmla="*/ 1166 h 10000"/>
                <a:gd name="connsiteX85" fmla="*/ 707 w 9914"/>
                <a:gd name="connsiteY85" fmla="*/ 1304 h 10000"/>
                <a:gd name="connsiteX86" fmla="*/ 645 w 9914"/>
                <a:gd name="connsiteY86" fmla="*/ 1432 h 10000"/>
                <a:gd name="connsiteX87" fmla="*/ 581 w 9914"/>
                <a:gd name="connsiteY87" fmla="*/ 1572 h 10000"/>
                <a:gd name="connsiteX88" fmla="*/ 528 w 9914"/>
                <a:gd name="connsiteY88" fmla="*/ 1699 h 10000"/>
                <a:gd name="connsiteX89" fmla="*/ 473 w 9914"/>
                <a:gd name="connsiteY89" fmla="*/ 1833 h 10000"/>
                <a:gd name="connsiteX90" fmla="*/ 428 w 9914"/>
                <a:gd name="connsiteY90" fmla="*/ 1968 h 10000"/>
                <a:gd name="connsiteX91" fmla="*/ 380 w 9914"/>
                <a:gd name="connsiteY91" fmla="*/ 2104 h 10000"/>
                <a:gd name="connsiteX92" fmla="*/ 334 w 9914"/>
                <a:gd name="connsiteY92" fmla="*/ 2248 h 10000"/>
                <a:gd name="connsiteX93" fmla="*/ 296 w 9914"/>
                <a:gd name="connsiteY93" fmla="*/ 2384 h 10000"/>
                <a:gd name="connsiteX94" fmla="*/ 247 w 9914"/>
                <a:gd name="connsiteY94" fmla="*/ 2526 h 10000"/>
                <a:gd name="connsiteX95" fmla="*/ 218 w 9914"/>
                <a:gd name="connsiteY95" fmla="*/ 2666 h 10000"/>
                <a:gd name="connsiteX96" fmla="*/ 179 w 9914"/>
                <a:gd name="connsiteY96" fmla="*/ 2809 h 10000"/>
                <a:gd name="connsiteX97" fmla="*/ 154 w 9914"/>
                <a:gd name="connsiteY97" fmla="*/ 2953 h 10000"/>
                <a:gd name="connsiteX98" fmla="*/ 124 w 9914"/>
                <a:gd name="connsiteY98" fmla="*/ 3095 h 10000"/>
                <a:gd name="connsiteX99" fmla="*/ 101 w 9914"/>
                <a:gd name="connsiteY99" fmla="*/ 3235 h 10000"/>
                <a:gd name="connsiteX100" fmla="*/ 78 w 9914"/>
                <a:gd name="connsiteY100" fmla="*/ 3382 h 10000"/>
                <a:gd name="connsiteX101" fmla="*/ 53 w 9914"/>
                <a:gd name="connsiteY101" fmla="*/ 3534 h 10000"/>
                <a:gd name="connsiteX102" fmla="*/ 38 w 9914"/>
                <a:gd name="connsiteY102" fmla="*/ 3678 h 10000"/>
                <a:gd name="connsiteX103" fmla="*/ 22 w 9914"/>
                <a:gd name="connsiteY103" fmla="*/ 3822 h 10000"/>
                <a:gd name="connsiteX104" fmla="*/ 15 w 9914"/>
                <a:gd name="connsiteY104" fmla="*/ 3966 h 10000"/>
                <a:gd name="connsiteX105" fmla="*/ 7 w 9914"/>
                <a:gd name="connsiteY105" fmla="*/ 4116 h 10000"/>
                <a:gd name="connsiteX106" fmla="*/ 0 w 9914"/>
                <a:gd name="connsiteY106" fmla="*/ 4261 h 10000"/>
                <a:gd name="connsiteX107" fmla="*/ 0 w 9914"/>
                <a:gd name="connsiteY107" fmla="*/ 4413 h 10000"/>
                <a:gd name="connsiteX108" fmla="*/ 7 w 9914"/>
                <a:gd name="connsiteY108" fmla="*/ 4606 h 10000"/>
                <a:gd name="connsiteX109" fmla="*/ 7 w 9914"/>
                <a:gd name="connsiteY109" fmla="*/ 4798 h 10000"/>
                <a:gd name="connsiteX110" fmla="*/ 22 w 9914"/>
                <a:gd name="connsiteY110" fmla="*/ 4977 h 10000"/>
                <a:gd name="connsiteX111" fmla="*/ 38 w 9914"/>
                <a:gd name="connsiteY111" fmla="*/ 5166 h 10000"/>
                <a:gd name="connsiteX112" fmla="*/ 63 w 9914"/>
                <a:gd name="connsiteY112" fmla="*/ 5353 h 10000"/>
                <a:gd name="connsiteX113" fmla="*/ 94 w 9914"/>
                <a:gd name="connsiteY113" fmla="*/ 5540 h 10000"/>
                <a:gd name="connsiteX114" fmla="*/ 124 w 9914"/>
                <a:gd name="connsiteY114" fmla="*/ 5725 h 10000"/>
                <a:gd name="connsiteX115" fmla="*/ 154 w 9914"/>
                <a:gd name="connsiteY115" fmla="*/ 5909 h 10000"/>
                <a:gd name="connsiteX116" fmla="*/ 203 w 9914"/>
                <a:gd name="connsiteY116" fmla="*/ 6093 h 10000"/>
                <a:gd name="connsiteX117" fmla="*/ 247 w 9914"/>
                <a:gd name="connsiteY117" fmla="*/ 6273 h 10000"/>
                <a:gd name="connsiteX118" fmla="*/ 296 w 9914"/>
                <a:gd name="connsiteY118" fmla="*/ 6456 h 10000"/>
                <a:gd name="connsiteX119" fmla="*/ 349 w 9914"/>
                <a:gd name="connsiteY119" fmla="*/ 6633 h 10000"/>
                <a:gd name="connsiteX120" fmla="*/ 412 w 9914"/>
                <a:gd name="connsiteY120" fmla="*/ 6805 h 10000"/>
                <a:gd name="connsiteX121" fmla="*/ 473 w 9914"/>
                <a:gd name="connsiteY121" fmla="*/ 6984 h 10000"/>
                <a:gd name="connsiteX122" fmla="*/ 544 w 9914"/>
                <a:gd name="connsiteY122" fmla="*/ 7156 h 10000"/>
                <a:gd name="connsiteX123" fmla="*/ 614 w 9914"/>
                <a:gd name="connsiteY123" fmla="*/ 7336 h 10000"/>
                <a:gd name="connsiteX124" fmla="*/ 690 w 9914"/>
                <a:gd name="connsiteY124" fmla="*/ 7502 h 10000"/>
                <a:gd name="connsiteX125" fmla="*/ 776 w 9914"/>
                <a:gd name="connsiteY125" fmla="*/ 7665 h 10000"/>
                <a:gd name="connsiteX126" fmla="*/ 863 w 9914"/>
                <a:gd name="connsiteY126" fmla="*/ 7844 h 10000"/>
                <a:gd name="connsiteX127" fmla="*/ 947 w 9914"/>
                <a:gd name="connsiteY127" fmla="*/ 8007 h 10000"/>
                <a:gd name="connsiteX128" fmla="*/ 1040 w 9914"/>
                <a:gd name="connsiteY128" fmla="*/ 8168 h 10000"/>
                <a:gd name="connsiteX129" fmla="*/ 1142 w 9914"/>
                <a:gd name="connsiteY129" fmla="*/ 8323 h 10000"/>
                <a:gd name="connsiteX130" fmla="*/ 1242 w 9914"/>
                <a:gd name="connsiteY130" fmla="*/ 8490 h 10000"/>
                <a:gd name="connsiteX131" fmla="*/ 1351 w 9914"/>
                <a:gd name="connsiteY131" fmla="*/ 8651 h 10000"/>
                <a:gd name="connsiteX132" fmla="*/ 1451 w 9914"/>
                <a:gd name="connsiteY132" fmla="*/ 8808 h 10000"/>
                <a:gd name="connsiteX133" fmla="*/ 1568 w 9914"/>
                <a:gd name="connsiteY133" fmla="*/ 8966 h 10000"/>
                <a:gd name="connsiteX134" fmla="*/ 1685 w 9914"/>
                <a:gd name="connsiteY134" fmla="*/ 9114 h 10000"/>
                <a:gd name="connsiteX135" fmla="*/ 1809 w 9914"/>
                <a:gd name="connsiteY135" fmla="*/ 9273 h 10000"/>
                <a:gd name="connsiteX136" fmla="*/ 1933 w 9914"/>
                <a:gd name="connsiteY136" fmla="*/ 9420 h 10000"/>
                <a:gd name="connsiteX137" fmla="*/ 2057 w 9914"/>
                <a:gd name="connsiteY137" fmla="*/ 9566 h 10000"/>
                <a:gd name="connsiteX138" fmla="*/ 2189 w 9914"/>
                <a:gd name="connsiteY138" fmla="*/ 9706 h 10000"/>
                <a:gd name="connsiteX139" fmla="*/ 2330 w 9914"/>
                <a:gd name="connsiteY139" fmla="*/ 9855 h 10000"/>
                <a:gd name="connsiteX140" fmla="*/ 2461 w 9914"/>
                <a:gd name="connsiteY140" fmla="*/ 10000 h 10000"/>
                <a:gd name="connsiteX141" fmla="*/ 4554 w 9914"/>
                <a:gd name="connsiteY141" fmla="*/ 7469 h 10000"/>
                <a:gd name="connsiteX0" fmla="*/ 4594 w 9907"/>
                <a:gd name="connsiteY0" fmla="*/ 7469 h 10000"/>
                <a:gd name="connsiteX1" fmla="*/ 9907 w 9907"/>
                <a:gd name="connsiteY1" fmla="*/ 7869 h 10000"/>
                <a:gd name="connsiteX2" fmla="*/ 9812 w 9907"/>
                <a:gd name="connsiteY2" fmla="*/ 7837 h 10000"/>
                <a:gd name="connsiteX3" fmla="*/ 9633 w 9907"/>
                <a:gd name="connsiteY3" fmla="*/ 7772 h 10000"/>
                <a:gd name="connsiteX4" fmla="*/ 9461 w 9907"/>
                <a:gd name="connsiteY4" fmla="*/ 7698 h 10000"/>
                <a:gd name="connsiteX5" fmla="*/ 9289 w 9907"/>
                <a:gd name="connsiteY5" fmla="*/ 7624 h 10000"/>
                <a:gd name="connsiteX6" fmla="*/ 9124 w 9907"/>
                <a:gd name="connsiteY6" fmla="*/ 7536 h 10000"/>
                <a:gd name="connsiteX7" fmla="*/ 8959 w 9907"/>
                <a:gd name="connsiteY7" fmla="*/ 7448 h 10000"/>
                <a:gd name="connsiteX8" fmla="*/ 8811 w 9907"/>
                <a:gd name="connsiteY8" fmla="*/ 7365 h 10000"/>
                <a:gd name="connsiteX9" fmla="*/ 8662 w 9907"/>
                <a:gd name="connsiteY9" fmla="*/ 7266 h 10000"/>
                <a:gd name="connsiteX10" fmla="*/ 8512 w 9907"/>
                <a:gd name="connsiteY10" fmla="*/ 7161 h 10000"/>
                <a:gd name="connsiteX11" fmla="*/ 8371 w 9907"/>
                <a:gd name="connsiteY11" fmla="*/ 7056 h 10000"/>
                <a:gd name="connsiteX12" fmla="*/ 8239 w 9907"/>
                <a:gd name="connsiteY12" fmla="*/ 6942 h 10000"/>
                <a:gd name="connsiteX13" fmla="*/ 8106 w 9907"/>
                <a:gd name="connsiteY13" fmla="*/ 6833 h 10000"/>
                <a:gd name="connsiteX14" fmla="*/ 7981 w 9907"/>
                <a:gd name="connsiteY14" fmla="*/ 6719 h 10000"/>
                <a:gd name="connsiteX15" fmla="*/ 7871 w 9907"/>
                <a:gd name="connsiteY15" fmla="*/ 6593 h 10000"/>
                <a:gd name="connsiteX16" fmla="*/ 7761 w 9907"/>
                <a:gd name="connsiteY16" fmla="*/ 6467 h 10000"/>
                <a:gd name="connsiteX17" fmla="*/ 7660 w 9907"/>
                <a:gd name="connsiteY17" fmla="*/ 6338 h 10000"/>
                <a:gd name="connsiteX18" fmla="*/ 7566 w 9907"/>
                <a:gd name="connsiteY18" fmla="*/ 6209 h 10000"/>
                <a:gd name="connsiteX19" fmla="*/ 7471 w 9907"/>
                <a:gd name="connsiteY19" fmla="*/ 6073 h 10000"/>
                <a:gd name="connsiteX20" fmla="*/ 7385 w 9907"/>
                <a:gd name="connsiteY20" fmla="*/ 5928 h 10000"/>
                <a:gd name="connsiteX21" fmla="*/ 7346 w 9907"/>
                <a:gd name="connsiteY21" fmla="*/ 5865 h 10000"/>
                <a:gd name="connsiteX22" fmla="*/ 7306 w 9907"/>
                <a:gd name="connsiteY22" fmla="*/ 5789 h 10000"/>
                <a:gd name="connsiteX23" fmla="*/ 7276 w 9907"/>
                <a:gd name="connsiteY23" fmla="*/ 5721 h 10000"/>
                <a:gd name="connsiteX24" fmla="*/ 7237 w 9907"/>
                <a:gd name="connsiteY24" fmla="*/ 5646 h 10000"/>
                <a:gd name="connsiteX25" fmla="*/ 7205 w 9907"/>
                <a:gd name="connsiteY25" fmla="*/ 5575 h 10000"/>
                <a:gd name="connsiteX26" fmla="*/ 7174 w 9907"/>
                <a:gd name="connsiteY26" fmla="*/ 5501 h 10000"/>
                <a:gd name="connsiteX27" fmla="*/ 7150 w 9907"/>
                <a:gd name="connsiteY27" fmla="*/ 5424 h 10000"/>
                <a:gd name="connsiteX28" fmla="*/ 7119 w 9907"/>
                <a:gd name="connsiteY28" fmla="*/ 5353 h 10000"/>
                <a:gd name="connsiteX29" fmla="*/ 7102 w 9907"/>
                <a:gd name="connsiteY29" fmla="*/ 5274 h 10000"/>
                <a:gd name="connsiteX30" fmla="*/ 7072 w 9907"/>
                <a:gd name="connsiteY30" fmla="*/ 5200 h 10000"/>
                <a:gd name="connsiteX31" fmla="*/ 7056 w 9907"/>
                <a:gd name="connsiteY31" fmla="*/ 5122 h 10000"/>
                <a:gd name="connsiteX32" fmla="*/ 7041 w 9907"/>
                <a:gd name="connsiteY32" fmla="*/ 5048 h 10000"/>
                <a:gd name="connsiteX33" fmla="*/ 7024 w 9907"/>
                <a:gd name="connsiteY33" fmla="*/ 4966 h 10000"/>
                <a:gd name="connsiteX34" fmla="*/ 7010 w 9907"/>
                <a:gd name="connsiteY34" fmla="*/ 4893 h 10000"/>
                <a:gd name="connsiteX35" fmla="*/ 6994 w 9907"/>
                <a:gd name="connsiteY35" fmla="*/ 4815 h 10000"/>
                <a:gd name="connsiteX36" fmla="*/ 6985 w 9907"/>
                <a:gd name="connsiteY36" fmla="*/ 4739 h 10000"/>
                <a:gd name="connsiteX37" fmla="*/ 6977 w 9907"/>
                <a:gd name="connsiteY37" fmla="*/ 4656 h 10000"/>
                <a:gd name="connsiteX38" fmla="*/ 6969 w 9907"/>
                <a:gd name="connsiteY38" fmla="*/ 4573 h 10000"/>
                <a:gd name="connsiteX39" fmla="*/ 6969 w 9907"/>
                <a:gd name="connsiteY39" fmla="*/ 4497 h 10000"/>
                <a:gd name="connsiteX40" fmla="*/ 6962 w 9907"/>
                <a:gd name="connsiteY40" fmla="*/ 4413 h 10000"/>
                <a:gd name="connsiteX41" fmla="*/ 6969 w 9907"/>
                <a:gd name="connsiteY41" fmla="*/ 4334 h 10000"/>
                <a:gd name="connsiteX42" fmla="*/ 6977 w 9907"/>
                <a:gd name="connsiteY42" fmla="*/ 4248 h 10000"/>
                <a:gd name="connsiteX43" fmla="*/ 6977 w 9907"/>
                <a:gd name="connsiteY43" fmla="*/ 4160 h 10000"/>
                <a:gd name="connsiteX44" fmla="*/ 6985 w 9907"/>
                <a:gd name="connsiteY44" fmla="*/ 4075 h 10000"/>
                <a:gd name="connsiteX45" fmla="*/ 6994 w 9907"/>
                <a:gd name="connsiteY45" fmla="*/ 3990 h 10000"/>
                <a:gd name="connsiteX46" fmla="*/ 7010 w 9907"/>
                <a:gd name="connsiteY46" fmla="*/ 3915 h 10000"/>
                <a:gd name="connsiteX47" fmla="*/ 7024 w 9907"/>
                <a:gd name="connsiteY47" fmla="*/ 3830 h 10000"/>
                <a:gd name="connsiteX48" fmla="*/ 7041 w 9907"/>
                <a:gd name="connsiteY48" fmla="*/ 3750 h 10000"/>
                <a:gd name="connsiteX49" fmla="*/ 7064 w 9907"/>
                <a:gd name="connsiteY49" fmla="*/ 3665 h 10000"/>
                <a:gd name="connsiteX50" fmla="*/ 7087 w 9907"/>
                <a:gd name="connsiteY50" fmla="*/ 3589 h 10000"/>
                <a:gd name="connsiteX51" fmla="*/ 7112 w 9907"/>
                <a:gd name="connsiteY51" fmla="*/ 3508 h 10000"/>
                <a:gd name="connsiteX52" fmla="*/ 7134 w 9907"/>
                <a:gd name="connsiteY52" fmla="*/ 3424 h 10000"/>
                <a:gd name="connsiteX53" fmla="*/ 7166 w 9907"/>
                <a:gd name="connsiteY53" fmla="*/ 3355 h 10000"/>
                <a:gd name="connsiteX54" fmla="*/ 7196 w 9907"/>
                <a:gd name="connsiteY54" fmla="*/ 3275 h 10000"/>
                <a:gd name="connsiteX55" fmla="*/ 7229 w 9907"/>
                <a:gd name="connsiteY55" fmla="*/ 3194 h 10000"/>
                <a:gd name="connsiteX56" fmla="*/ 7268 w 9907"/>
                <a:gd name="connsiteY56" fmla="*/ 3118 h 10000"/>
                <a:gd name="connsiteX57" fmla="*/ 7299 w 9907"/>
                <a:gd name="connsiteY57" fmla="*/ 3046 h 10000"/>
                <a:gd name="connsiteX58" fmla="*/ 7339 w 9907"/>
                <a:gd name="connsiteY58" fmla="*/ 2964 h 10000"/>
                <a:gd name="connsiteX59" fmla="*/ 7385 w 9907"/>
                <a:gd name="connsiteY59" fmla="*/ 2898 h 10000"/>
                <a:gd name="connsiteX60" fmla="*/ 7423 w 9907"/>
                <a:gd name="connsiteY60" fmla="*/ 2823 h 10000"/>
                <a:gd name="connsiteX61" fmla="*/ 7471 w 9907"/>
                <a:gd name="connsiteY61" fmla="*/ 2754 h 10000"/>
                <a:gd name="connsiteX62" fmla="*/ 7511 w 9907"/>
                <a:gd name="connsiteY62" fmla="*/ 2676 h 10000"/>
                <a:gd name="connsiteX63" fmla="*/ 7566 w 9907"/>
                <a:gd name="connsiteY63" fmla="*/ 2613 h 10000"/>
                <a:gd name="connsiteX64" fmla="*/ 7620 w 9907"/>
                <a:gd name="connsiteY64" fmla="*/ 2538 h 10000"/>
                <a:gd name="connsiteX65" fmla="*/ 7668 w 9907"/>
                <a:gd name="connsiteY65" fmla="*/ 2471 h 10000"/>
                <a:gd name="connsiteX66" fmla="*/ 7721 w 9907"/>
                <a:gd name="connsiteY66" fmla="*/ 2404 h 10000"/>
                <a:gd name="connsiteX67" fmla="*/ 7778 w 9907"/>
                <a:gd name="connsiteY67" fmla="*/ 2331 h 10000"/>
                <a:gd name="connsiteX68" fmla="*/ 7831 w 9907"/>
                <a:gd name="connsiteY68" fmla="*/ 2269 h 10000"/>
                <a:gd name="connsiteX69" fmla="*/ 7895 w 9907"/>
                <a:gd name="connsiteY69" fmla="*/ 2203 h 10000"/>
                <a:gd name="connsiteX70" fmla="*/ 7948 w 9907"/>
                <a:gd name="connsiteY70" fmla="*/ 2145 h 10000"/>
                <a:gd name="connsiteX71" fmla="*/ 8012 w 9907"/>
                <a:gd name="connsiteY71" fmla="*/ 2077 h 10000"/>
                <a:gd name="connsiteX72" fmla="*/ 8039 w 9907"/>
                <a:gd name="connsiteY72" fmla="*/ 2042 h 10000"/>
                <a:gd name="connsiteX73" fmla="*/ 5695 w 9907"/>
                <a:gd name="connsiteY73" fmla="*/ 6 h 10000"/>
                <a:gd name="connsiteX74" fmla="*/ 1480 w 9907"/>
                <a:gd name="connsiteY74" fmla="*/ 0 h 10000"/>
                <a:gd name="connsiteX75" fmla="*/ 1379 w 9907"/>
                <a:gd name="connsiteY75" fmla="*/ 154 h 10000"/>
                <a:gd name="connsiteX76" fmla="*/ 1292 w 9907"/>
                <a:gd name="connsiteY76" fmla="*/ 269 h 10000"/>
                <a:gd name="connsiteX77" fmla="*/ 1214 w 9907"/>
                <a:gd name="connsiteY77" fmla="*/ 397 h 10000"/>
                <a:gd name="connsiteX78" fmla="*/ 1127 w 9907"/>
                <a:gd name="connsiteY78" fmla="*/ 523 h 10000"/>
                <a:gd name="connsiteX79" fmla="*/ 1057 w 9907"/>
                <a:gd name="connsiteY79" fmla="*/ 650 h 10000"/>
                <a:gd name="connsiteX80" fmla="*/ 979 w 9907"/>
                <a:gd name="connsiteY80" fmla="*/ 775 h 10000"/>
                <a:gd name="connsiteX81" fmla="*/ 908 w 9907"/>
                <a:gd name="connsiteY81" fmla="*/ 910 h 10000"/>
                <a:gd name="connsiteX82" fmla="*/ 837 w 9907"/>
                <a:gd name="connsiteY82" fmla="*/ 1043 h 10000"/>
                <a:gd name="connsiteX83" fmla="*/ 776 w 9907"/>
                <a:gd name="connsiteY83" fmla="*/ 1166 h 10000"/>
                <a:gd name="connsiteX84" fmla="*/ 713 w 9907"/>
                <a:gd name="connsiteY84" fmla="*/ 1304 h 10000"/>
                <a:gd name="connsiteX85" fmla="*/ 651 w 9907"/>
                <a:gd name="connsiteY85" fmla="*/ 1432 h 10000"/>
                <a:gd name="connsiteX86" fmla="*/ 586 w 9907"/>
                <a:gd name="connsiteY86" fmla="*/ 1572 h 10000"/>
                <a:gd name="connsiteX87" fmla="*/ 533 w 9907"/>
                <a:gd name="connsiteY87" fmla="*/ 1699 h 10000"/>
                <a:gd name="connsiteX88" fmla="*/ 477 w 9907"/>
                <a:gd name="connsiteY88" fmla="*/ 1833 h 10000"/>
                <a:gd name="connsiteX89" fmla="*/ 432 w 9907"/>
                <a:gd name="connsiteY89" fmla="*/ 1968 h 10000"/>
                <a:gd name="connsiteX90" fmla="*/ 383 w 9907"/>
                <a:gd name="connsiteY90" fmla="*/ 2104 h 10000"/>
                <a:gd name="connsiteX91" fmla="*/ 337 w 9907"/>
                <a:gd name="connsiteY91" fmla="*/ 2248 h 10000"/>
                <a:gd name="connsiteX92" fmla="*/ 299 w 9907"/>
                <a:gd name="connsiteY92" fmla="*/ 2384 h 10000"/>
                <a:gd name="connsiteX93" fmla="*/ 249 w 9907"/>
                <a:gd name="connsiteY93" fmla="*/ 2526 h 10000"/>
                <a:gd name="connsiteX94" fmla="*/ 220 w 9907"/>
                <a:gd name="connsiteY94" fmla="*/ 2666 h 10000"/>
                <a:gd name="connsiteX95" fmla="*/ 181 w 9907"/>
                <a:gd name="connsiteY95" fmla="*/ 2809 h 10000"/>
                <a:gd name="connsiteX96" fmla="*/ 155 w 9907"/>
                <a:gd name="connsiteY96" fmla="*/ 2953 h 10000"/>
                <a:gd name="connsiteX97" fmla="*/ 125 w 9907"/>
                <a:gd name="connsiteY97" fmla="*/ 3095 h 10000"/>
                <a:gd name="connsiteX98" fmla="*/ 102 w 9907"/>
                <a:gd name="connsiteY98" fmla="*/ 3235 h 10000"/>
                <a:gd name="connsiteX99" fmla="*/ 79 w 9907"/>
                <a:gd name="connsiteY99" fmla="*/ 3382 h 10000"/>
                <a:gd name="connsiteX100" fmla="*/ 53 w 9907"/>
                <a:gd name="connsiteY100" fmla="*/ 3534 h 10000"/>
                <a:gd name="connsiteX101" fmla="*/ 38 w 9907"/>
                <a:gd name="connsiteY101" fmla="*/ 3678 h 10000"/>
                <a:gd name="connsiteX102" fmla="*/ 22 w 9907"/>
                <a:gd name="connsiteY102" fmla="*/ 3822 h 10000"/>
                <a:gd name="connsiteX103" fmla="*/ 15 w 9907"/>
                <a:gd name="connsiteY103" fmla="*/ 3966 h 10000"/>
                <a:gd name="connsiteX104" fmla="*/ 7 w 9907"/>
                <a:gd name="connsiteY104" fmla="*/ 4116 h 10000"/>
                <a:gd name="connsiteX105" fmla="*/ 0 w 9907"/>
                <a:gd name="connsiteY105" fmla="*/ 4261 h 10000"/>
                <a:gd name="connsiteX106" fmla="*/ 0 w 9907"/>
                <a:gd name="connsiteY106" fmla="*/ 4413 h 10000"/>
                <a:gd name="connsiteX107" fmla="*/ 7 w 9907"/>
                <a:gd name="connsiteY107" fmla="*/ 4606 h 10000"/>
                <a:gd name="connsiteX108" fmla="*/ 7 w 9907"/>
                <a:gd name="connsiteY108" fmla="*/ 4798 h 10000"/>
                <a:gd name="connsiteX109" fmla="*/ 22 w 9907"/>
                <a:gd name="connsiteY109" fmla="*/ 4977 h 10000"/>
                <a:gd name="connsiteX110" fmla="*/ 38 w 9907"/>
                <a:gd name="connsiteY110" fmla="*/ 5166 h 10000"/>
                <a:gd name="connsiteX111" fmla="*/ 64 w 9907"/>
                <a:gd name="connsiteY111" fmla="*/ 5353 h 10000"/>
                <a:gd name="connsiteX112" fmla="*/ 95 w 9907"/>
                <a:gd name="connsiteY112" fmla="*/ 5540 h 10000"/>
                <a:gd name="connsiteX113" fmla="*/ 125 w 9907"/>
                <a:gd name="connsiteY113" fmla="*/ 5725 h 10000"/>
                <a:gd name="connsiteX114" fmla="*/ 155 w 9907"/>
                <a:gd name="connsiteY114" fmla="*/ 5909 h 10000"/>
                <a:gd name="connsiteX115" fmla="*/ 205 w 9907"/>
                <a:gd name="connsiteY115" fmla="*/ 6093 h 10000"/>
                <a:gd name="connsiteX116" fmla="*/ 249 w 9907"/>
                <a:gd name="connsiteY116" fmla="*/ 6273 h 10000"/>
                <a:gd name="connsiteX117" fmla="*/ 299 w 9907"/>
                <a:gd name="connsiteY117" fmla="*/ 6456 h 10000"/>
                <a:gd name="connsiteX118" fmla="*/ 352 w 9907"/>
                <a:gd name="connsiteY118" fmla="*/ 6633 h 10000"/>
                <a:gd name="connsiteX119" fmla="*/ 416 w 9907"/>
                <a:gd name="connsiteY119" fmla="*/ 6805 h 10000"/>
                <a:gd name="connsiteX120" fmla="*/ 477 w 9907"/>
                <a:gd name="connsiteY120" fmla="*/ 6984 h 10000"/>
                <a:gd name="connsiteX121" fmla="*/ 549 w 9907"/>
                <a:gd name="connsiteY121" fmla="*/ 7156 h 10000"/>
                <a:gd name="connsiteX122" fmla="*/ 619 w 9907"/>
                <a:gd name="connsiteY122" fmla="*/ 7336 h 10000"/>
                <a:gd name="connsiteX123" fmla="*/ 696 w 9907"/>
                <a:gd name="connsiteY123" fmla="*/ 7502 h 10000"/>
                <a:gd name="connsiteX124" fmla="*/ 783 w 9907"/>
                <a:gd name="connsiteY124" fmla="*/ 7665 h 10000"/>
                <a:gd name="connsiteX125" fmla="*/ 870 w 9907"/>
                <a:gd name="connsiteY125" fmla="*/ 7844 h 10000"/>
                <a:gd name="connsiteX126" fmla="*/ 955 w 9907"/>
                <a:gd name="connsiteY126" fmla="*/ 8007 h 10000"/>
                <a:gd name="connsiteX127" fmla="*/ 1049 w 9907"/>
                <a:gd name="connsiteY127" fmla="*/ 8168 h 10000"/>
                <a:gd name="connsiteX128" fmla="*/ 1152 w 9907"/>
                <a:gd name="connsiteY128" fmla="*/ 8323 h 10000"/>
                <a:gd name="connsiteX129" fmla="*/ 1253 w 9907"/>
                <a:gd name="connsiteY129" fmla="*/ 8490 h 10000"/>
                <a:gd name="connsiteX130" fmla="*/ 1363 w 9907"/>
                <a:gd name="connsiteY130" fmla="*/ 8651 h 10000"/>
                <a:gd name="connsiteX131" fmla="*/ 1464 w 9907"/>
                <a:gd name="connsiteY131" fmla="*/ 8808 h 10000"/>
                <a:gd name="connsiteX132" fmla="*/ 1582 w 9907"/>
                <a:gd name="connsiteY132" fmla="*/ 8966 h 10000"/>
                <a:gd name="connsiteX133" fmla="*/ 1700 w 9907"/>
                <a:gd name="connsiteY133" fmla="*/ 9114 h 10000"/>
                <a:gd name="connsiteX134" fmla="*/ 1825 w 9907"/>
                <a:gd name="connsiteY134" fmla="*/ 9273 h 10000"/>
                <a:gd name="connsiteX135" fmla="*/ 1950 w 9907"/>
                <a:gd name="connsiteY135" fmla="*/ 9420 h 10000"/>
                <a:gd name="connsiteX136" fmla="*/ 2075 w 9907"/>
                <a:gd name="connsiteY136" fmla="*/ 9566 h 10000"/>
                <a:gd name="connsiteX137" fmla="*/ 2208 w 9907"/>
                <a:gd name="connsiteY137" fmla="*/ 9706 h 10000"/>
                <a:gd name="connsiteX138" fmla="*/ 2350 w 9907"/>
                <a:gd name="connsiteY138" fmla="*/ 9855 h 10000"/>
                <a:gd name="connsiteX139" fmla="*/ 2482 w 9907"/>
                <a:gd name="connsiteY139" fmla="*/ 10000 h 10000"/>
                <a:gd name="connsiteX140" fmla="*/ 4594 w 9907"/>
                <a:gd name="connsiteY140" fmla="*/ 7469 h 10000"/>
                <a:gd name="connsiteX0" fmla="*/ 4637 w 9904"/>
                <a:gd name="connsiteY0" fmla="*/ 7469 h 10000"/>
                <a:gd name="connsiteX1" fmla="*/ 9904 w 9904"/>
                <a:gd name="connsiteY1" fmla="*/ 7837 h 10000"/>
                <a:gd name="connsiteX2" fmla="*/ 9723 w 9904"/>
                <a:gd name="connsiteY2" fmla="*/ 7772 h 10000"/>
                <a:gd name="connsiteX3" fmla="*/ 9550 w 9904"/>
                <a:gd name="connsiteY3" fmla="*/ 7698 h 10000"/>
                <a:gd name="connsiteX4" fmla="*/ 9376 w 9904"/>
                <a:gd name="connsiteY4" fmla="*/ 7624 h 10000"/>
                <a:gd name="connsiteX5" fmla="*/ 9210 w 9904"/>
                <a:gd name="connsiteY5" fmla="*/ 7536 h 10000"/>
                <a:gd name="connsiteX6" fmla="*/ 9043 w 9904"/>
                <a:gd name="connsiteY6" fmla="*/ 7448 h 10000"/>
                <a:gd name="connsiteX7" fmla="*/ 8894 w 9904"/>
                <a:gd name="connsiteY7" fmla="*/ 7365 h 10000"/>
                <a:gd name="connsiteX8" fmla="*/ 8743 w 9904"/>
                <a:gd name="connsiteY8" fmla="*/ 7266 h 10000"/>
                <a:gd name="connsiteX9" fmla="*/ 8592 w 9904"/>
                <a:gd name="connsiteY9" fmla="*/ 7161 h 10000"/>
                <a:gd name="connsiteX10" fmla="*/ 8450 w 9904"/>
                <a:gd name="connsiteY10" fmla="*/ 7056 h 10000"/>
                <a:gd name="connsiteX11" fmla="*/ 8316 w 9904"/>
                <a:gd name="connsiteY11" fmla="*/ 6942 h 10000"/>
                <a:gd name="connsiteX12" fmla="*/ 8182 w 9904"/>
                <a:gd name="connsiteY12" fmla="*/ 6833 h 10000"/>
                <a:gd name="connsiteX13" fmla="*/ 8056 w 9904"/>
                <a:gd name="connsiteY13" fmla="*/ 6719 h 10000"/>
                <a:gd name="connsiteX14" fmla="*/ 7945 w 9904"/>
                <a:gd name="connsiteY14" fmla="*/ 6593 h 10000"/>
                <a:gd name="connsiteX15" fmla="*/ 7834 w 9904"/>
                <a:gd name="connsiteY15" fmla="*/ 6467 h 10000"/>
                <a:gd name="connsiteX16" fmla="*/ 7732 w 9904"/>
                <a:gd name="connsiteY16" fmla="*/ 6338 h 10000"/>
                <a:gd name="connsiteX17" fmla="*/ 7637 w 9904"/>
                <a:gd name="connsiteY17" fmla="*/ 6209 h 10000"/>
                <a:gd name="connsiteX18" fmla="*/ 7541 w 9904"/>
                <a:gd name="connsiteY18" fmla="*/ 6073 h 10000"/>
                <a:gd name="connsiteX19" fmla="*/ 7454 w 9904"/>
                <a:gd name="connsiteY19" fmla="*/ 5928 h 10000"/>
                <a:gd name="connsiteX20" fmla="*/ 7415 w 9904"/>
                <a:gd name="connsiteY20" fmla="*/ 5865 h 10000"/>
                <a:gd name="connsiteX21" fmla="*/ 7375 w 9904"/>
                <a:gd name="connsiteY21" fmla="*/ 5789 h 10000"/>
                <a:gd name="connsiteX22" fmla="*/ 7344 w 9904"/>
                <a:gd name="connsiteY22" fmla="*/ 5721 h 10000"/>
                <a:gd name="connsiteX23" fmla="*/ 7305 w 9904"/>
                <a:gd name="connsiteY23" fmla="*/ 5646 h 10000"/>
                <a:gd name="connsiteX24" fmla="*/ 7273 w 9904"/>
                <a:gd name="connsiteY24" fmla="*/ 5575 h 10000"/>
                <a:gd name="connsiteX25" fmla="*/ 7241 w 9904"/>
                <a:gd name="connsiteY25" fmla="*/ 5501 h 10000"/>
                <a:gd name="connsiteX26" fmla="*/ 7217 w 9904"/>
                <a:gd name="connsiteY26" fmla="*/ 5424 h 10000"/>
                <a:gd name="connsiteX27" fmla="*/ 7186 w 9904"/>
                <a:gd name="connsiteY27" fmla="*/ 5353 h 10000"/>
                <a:gd name="connsiteX28" fmla="*/ 7169 w 9904"/>
                <a:gd name="connsiteY28" fmla="*/ 5274 h 10000"/>
                <a:gd name="connsiteX29" fmla="*/ 7138 w 9904"/>
                <a:gd name="connsiteY29" fmla="*/ 5200 h 10000"/>
                <a:gd name="connsiteX30" fmla="*/ 7122 w 9904"/>
                <a:gd name="connsiteY30" fmla="*/ 5122 h 10000"/>
                <a:gd name="connsiteX31" fmla="*/ 7107 w 9904"/>
                <a:gd name="connsiteY31" fmla="*/ 5048 h 10000"/>
                <a:gd name="connsiteX32" fmla="*/ 7090 w 9904"/>
                <a:gd name="connsiteY32" fmla="*/ 4966 h 10000"/>
                <a:gd name="connsiteX33" fmla="*/ 7076 w 9904"/>
                <a:gd name="connsiteY33" fmla="*/ 4893 h 10000"/>
                <a:gd name="connsiteX34" fmla="*/ 7060 w 9904"/>
                <a:gd name="connsiteY34" fmla="*/ 4815 h 10000"/>
                <a:gd name="connsiteX35" fmla="*/ 7051 w 9904"/>
                <a:gd name="connsiteY35" fmla="*/ 4739 h 10000"/>
                <a:gd name="connsiteX36" fmla="*/ 7042 w 9904"/>
                <a:gd name="connsiteY36" fmla="*/ 4656 h 10000"/>
                <a:gd name="connsiteX37" fmla="*/ 7034 w 9904"/>
                <a:gd name="connsiteY37" fmla="*/ 4573 h 10000"/>
                <a:gd name="connsiteX38" fmla="*/ 7034 w 9904"/>
                <a:gd name="connsiteY38" fmla="*/ 4497 h 10000"/>
                <a:gd name="connsiteX39" fmla="*/ 7027 w 9904"/>
                <a:gd name="connsiteY39" fmla="*/ 4413 h 10000"/>
                <a:gd name="connsiteX40" fmla="*/ 7034 w 9904"/>
                <a:gd name="connsiteY40" fmla="*/ 4334 h 10000"/>
                <a:gd name="connsiteX41" fmla="*/ 7042 w 9904"/>
                <a:gd name="connsiteY41" fmla="*/ 4248 h 10000"/>
                <a:gd name="connsiteX42" fmla="*/ 7042 w 9904"/>
                <a:gd name="connsiteY42" fmla="*/ 4160 h 10000"/>
                <a:gd name="connsiteX43" fmla="*/ 7051 w 9904"/>
                <a:gd name="connsiteY43" fmla="*/ 4075 h 10000"/>
                <a:gd name="connsiteX44" fmla="*/ 7060 w 9904"/>
                <a:gd name="connsiteY44" fmla="*/ 3990 h 10000"/>
                <a:gd name="connsiteX45" fmla="*/ 7076 w 9904"/>
                <a:gd name="connsiteY45" fmla="*/ 3915 h 10000"/>
                <a:gd name="connsiteX46" fmla="*/ 7090 w 9904"/>
                <a:gd name="connsiteY46" fmla="*/ 3830 h 10000"/>
                <a:gd name="connsiteX47" fmla="*/ 7107 w 9904"/>
                <a:gd name="connsiteY47" fmla="*/ 3750 h 10000"/>
                <a:gd name="connsiteX48" fmla="*/ 7130 w 9904"/>
                <a:gd name="connsiteY48" fmla="*/ 3665 h 10000"/>
                <a:gd name="connsiteX49" fmla="*/ 7154 w 9904"/>
                <a:gd name="connsiteY49" fmla="*/ 3589 h 10000"/>
                <a:gd name="connsiteX50" fmla="*/ 7179 w 9904"/>
                <a:gd name="connsiteY50" fmla="*/ 3508 h 10000"/>
                <a:gd name="connsiteX51" fmla="*/ 7201 w 9904"/>
                <a:gd name="connsiteY51" fmla="*/ 3424 h 10000"/>
                <a:gd name="connsiteX52" fmla="*/ 7233 w 9904"/>
                <a:gd name="connsiteY52" fmla="*/ 3355 h 10000"/>
                <a:gd name="connsiteX53" fmla="*/ 7264 w 9904"/>
                <a:gd name="connsiteY53" fmla="*/ 3275 h 10000"/>
                <a:gd name="connsiteX54" fmla="*/ 7297 w 9904"/>
                <a:gd name="connsiteY54" fmla="*/ 3194 h 10000"/>
                <a:gd name="connsiteX55" fmla="*/ 7336 w 9904"/>
                <a:gd name="connsiteY55" fmla="*/ 3118 h 10000"/>
                <a:gd name="connsiteX56" fmla="*/ 7368 w 9904"/>
                <a:gd name="connsiteY56" fmla="*/ 3046 h 10000"/>
                <a:gd name="connsiteX57" fmla="*/ 7408 w 9904"/>
                <a:gd name="connsiteY57" fmla="*/ 2964 h 10000"/>
                <a:gd name="connsiteX58" fmla="*/ 7454 w 9904"/>
                <a:gd name="connsiteY58" fmla="*/ 2898 h 10000"/>
                <a:gd name="connsiteX59" fmla="*/ 7493 w 9904"/>
                <a:gd name="connsiteY59" fmla="*/ 2823 h 10000"/>
                <a:gd name="connsiteX60" fmla="*/ 7541 w 9904"/>
                <a:gd name="connsiteY60" fmla="*/ 2754 h 10000"/>
                <a:gd name="connsiteX61" fmla="*/ 7582 w 9904"/>
                <a:gd name="connsiteY61" fmla="*/ 2676 h 10000"/>
                <a:gd name="connsiteX62" fmla="*/ 7637 w 9904"/>
                <a:gd name="connsiteY62" fmla="*/ 2613 h 10000"/>
                <a:gd name="connsiteX63" fmla="*/ 7692 w 9904"/>
                <a:gd name="connsiteY63" fmla="*/ 2538 h 10000"/>
                <a:gd name="connsiteX64" fmla="*/ 7740 w 9904"/>
                <a:gd name="connsiteY64" fmla="*/ 2471 h 10000"/>
                <a:gd name="connsiteX65" fmla="*/ 7793 w 9904"/>
                <a:gd name="connsiteY65" fmla="*/ 2404 h 10000"/>
                <a:gd name="connsiteX66" fmla="*/ 7851 w 9904"/>
                <a:gd name="connsiteY66" fmla="*/ 2331 h 10000"/>
                <a:gd name="connsiteX67" fmla="*/ 7905 w 9904"/>
                <a:gd name="connsiteY67" fmla="*/ 2269 h 10000"/>
                <a:gd name="connsiteX68" fmla="*/ 7969 w 9904"/>
                <a:gd name="connsiteY68" fmla="*/ 2203 h 10000"/>
                <a:gd name="connsiteX69" fmla="*/ 8023 w 9904"/>
                <a:gd name="connsiteY69" fmla="*/ 2145 h 10000"/>
                <a:gd name="connsiteX70" fmla="*/ 8087 w 9904"/>
                <a:gd name="connsiteY70" fmla="*/ 2077 h 10000"/>
                <a:gd name="connsiteX71" fmla="*/ 8114 w 9904"/>
                <a:gd name="connsiteY71" fmla="*/ 2042 h 10000"/>
                <a:gd name="connsiteX72" fmla="*/ 5748 w 9904"/>
                <a:gd name="connsiteY72" fmla="*/ 6 h 10000"/>
                <a:gd name="connsiteX73" fmla="*/ 1494 w 9904"/>
                <a:gd name="connsiteY73" fmla="*/ 0 h 10000"/>
                <a:gd name="connsiteX74" fmla="*/ 1392 w 9904"/>
                <a:gd name="connsiteY74" fmla="*/ 154 h 10000"/>
                <a:gd name="connsiteX75" fmla="*/ 1304 w 9904"/>
                <a:gd name="connsiteY75" fmla="*/ 269 h 10000"/>
                <a:gd name="connsiteX76" fmla="*/ 1225 w 9904"/>
                <a:gd name="connsiteY76" fmla="*/ 397 h 10000"/>
                <a:gd name="connsiteX77" fmla="*/ 1138 w 9904"/>
                <a:gd name="connsiteY77" fmla="*/ 523 h 10000"/>
                <a:gd name="connsiteX78" fmla="*/ 1067 w 9904"/>
                <a:gd name="connsiteY78" fmla="*/ 650 h 10000"/>
                <a:gd name="connsiteX79" fmla="*/ 988 w 9904"/>
                <a:gd name="connsiteY79" fmla="*/ 775 h 10000"/>
                <a:gd name="connsiteX80" fmla="*/ 917 w 9904"/>
                <a:gd name="connsiteY80" fmla="*/ 910 h 10000"/>
                <a:gd name="connsiteX81" fmla="*/ 845 w 9904"/>
                <a:gd name="connsiteY81" fmla="*/ 1043 h 10000"/>
                <a:gd name="connsiteX82" fmla="*/ 783 w 9904"/>
                <a:gd name="connsiteY82" fmla="*/ 1166 h 10000"/>
                <a:gd name="connsiteX83" fmla="*/ 720 w 9904"/>
                <a:gd name="connsiteY83" fmla="*/ 1304 h 10000"/>
                <a:gd name="connsiteX84" fmla="*/ 657 w 9904"/>
                <a:gd name="connsiteY84" fmla="*/ 1432 h 10000"/>
                <a:gd name="connsiteX85" fmla="*/ 592 w 9904"/>
                <a:gd name="connsiteY85" fmla="*/ 1572 h 10000"/>
                <a:gd name="connsiteX86" fmla="*/ 538 w 9904"/>
                <a:gd name="connsiteY86" fmla="*/ 1699 h 10000"/>
                <a:gd name="connsiteX87" fmla="*/ 481 w 9904"/>
                <a:gd name="connsiteY87" fmla="*/ 1833 h 10000"/>
                <a:gd name="connsiteX88" fmla="*/ 436 w 9904"/>
                <a:gd name="connsiteY88" fmla="*/ 1968 h 10000"/>
                <a:gd name="connsiteX89" fmla="*/ 387 w 9904"/>
                <a:gd name="connsiteY89" fmla="*/ 2104 h 10000"/>
                <a:gd name="connsiteX90" fmla="*/ 340 w 9904"/>
                <a:gd name="connsiteY90" fmla="*/ 2248 h 10000"/>
                <a:gd name="connsiteX91" fmla="*/ 302 w 9904"/>
                <a:gd name="connsiteY91" fmla="*/ 2384 h 10000"/>
                <a:gd name="connsiteX92" fmla="*/ 251 w 9904"/>
                <a:gd name="connsiteY92" fmla="*/ 2526 h 10000"/>
                <a:gd name="connsiteX93" fmla="*/ 222 w 9904"/>
                <a:gd name="connsiteY93" fmla="*/ 2666 h 10000"/>
                <a:gd name="connsiteX94" fmla="*/ 183 w 9904"/>
                <a:gd name="connsiteY94" fmla="*/ 2809 h 10000"/>
                <a:gd name="connsiteX95" fmla="*/ 156 w 9904"/>
                <a:gd name="connsiteY95" fmla="*/ 2953 h 10000"/>
                <a:gd name="connsiteX96" fmla="*/ 126 w 9904"/>
                <a:gd name="connsiteY96" fmla="*/ 3095 h 10000"/>
                <a:gd name="connsiteX97" fmla="*/ 103 w 9904"/>
                <a:gd name="connsiteY97" fmla="*/ 3235 h 10000"/>
                <a:gd name="connsiteX98" fmla="*/ 80 w 9904"/>
                <a:gd name="connsiteY98" fmla="*/ 3382 h 10000"/>
                <a:gd name="connsiteX99" fmla="*/ 53 w 9904"/>
                <a:gd name="connsiteY99" fmla="*/ 3534 h 10000"/>
                <a:gd name="connsiteX100" fmla="*/ 38 w 9904"/>
                <a:gd name="connsiteY100" fmla="*/ 3678 h 10000"/>
                <a:gd name="connsiteX101" fmla="*/ 22 w 9904"/>
                <a:gd name="connsiteY101" fmla="*/ 3822 h 10000"/>
                <a:gd name="connsiteX102" fmla="*/ 15 w 9904"/>
                <a:gd name="connsiteY102" fmla="*/ 3966 h 10000"/>
                <a:gd name="connsiteX103" fmla="*/ 7 w 9904"/>
                <a:gd name="connsiteY103" fmla="*/ 4116 h 10000"/>
                <a:gd name="connsiteX104" fmla="*/ 0 w 9904"/>
                <a:gd name="connsiteY104" fmla="*/ 4261 h 10000"/>
                <a:gd name="connsiteX105" fmla="*/ 0 w 9904"/>
                <a:gd name="connsiteY105" fmla="*/ 4413 h 10000"/>
                <a:gd name="connsiteX106" fmla="*/ 7 w 9904"/>
                <a:gd name="connsiteY106" fmla="*/ 4606 h 10000"/>
                <a:gd name="connsiteX107" fmla="*/ 7 w 9904"/>
                <a:gd name="connsiteY107" fmla="*/ 4798 h 10000"/>
                <a:gd name="connsiteX108" fmla="*/ 22 w 9904"/>
                <a:gd name="connsiteY108" fmla="*/ 4977 h 10000"/>
                <a:gd name="connsiteX109" fmla="*/ 38 w 9904"/>
                <a:gd name="connsiteY109" fmla="*/ 5166 h 10000"/>
                <a:gd name="connsiteX110" fmla="*/ 65 w 9904"/>
                <a:gd name="connsiteY110" fmla="*/ 5353 h 10000"/>
                <a:gd name="connsiteX111" fmla="*/ 96 w 9904"/>
                <a:gd name="connsiteY111" fmla="*/ 5540 h 10000"/>
                <a:gd name="connsiteX112" fmla="*/ 126 w 9904"/>
                <a:gd name="connsiteY112" fmla="*/ 5725 h 10000"/>
                <a:gd name="connsiteX113" fmla="*/ 156 w 9904"/>
                <a:gd name="connsiteY113" fmla="*/ 5909 h 10000"/>
                <a:gd name="connsiteX114" fmla="*/ 207 w 9904"/>
                <a:gd name="connsiteY114" fmla="*/ 6093 h 10000"/>
                <a:gd name="connsiteX115" fmla="*/ 251 w 9904"/>
                <a:gd name="connsiteY115" fmla="*/ 6273 h 10000"/>
                <a:gd name="connsiteX116" fmla="*/ 302 w 9904"/>
                <a:gd name="connsiteY116" fmla="*/ 6456 h 10000"/>
                <a:gd name="connsiteX117" fmla="*/ 355 w 9904"/>
                <a:gd name="connsiteY117" fmla="*/ 6633 h 10000"/>
                <a:gd name="connsiteX118" fmla="*/ 420 w 9904"/>
                <a:gd name="connsiteY118" fmla="*/ 6805 h 10000"/>
                <a:gd name="connsiteX119" fmla="*/ 481 w 9904"/>
                <a:gd name="connsiteY119" fmla="*/ 6984 h 10000"/>
                <a:gd name="connsiteX120" fmla="*/ 554 w 9904"/>
                <a:gd name="connsiteY120" fmla="*/ 7156 h 10000"/>
                <a:gd name="connsiteX121" fmla="*/ 625 w 9904"/>
                <a:gd name="connsiteY121" fmla="*/ 7336 h 10000"/>
                <a:gd name="connsiteX122" fmla="*/ 703 w 9904"/>
                <a:gd name="connsiteY122" fmla="*/ 7502 h 10000"/>
                <a:gd name="connsiteX123" fmla="*/ 790 w 9904"/>
                <a:gd name="connsiteY123" fmla="*/ 7665 h 10000"/>
                <a:gd name="connsiteX124" fmla="*/ 878 w 9904"/>
                <a:gd name="connsiteY124" fmla="*/ 7844 h 10000"/>
                <a:gd name="connsiteX125" fmla="*/ 964 w 9904"/>
                <a:gd name="connsiteY125" fmla="*/ 8007 h 10000"/>
                <a:gd name="connsiteX126" fmla="*/ 1059 w 9904"/>
                <a:gd name="connsiteY126" fmla="*/ 8168 h 10000"/>
                <a:gd name="connsiteX127" fmla="*/ 1163 w 9904"/>
                <a:gd name="connsiteY127" fmla="*/ 8323 h 10000"/>
                <a:gd name="connsiteX128" fmla="*/ 1265 w 9904"/>
                <a:gd name="connsiteY128" fmla="*/ 8490 h 10000"/>
                <a:gd name="connsiteX129" fmla="*/ 1376 w 9904"/>
                <a:gd name="connsiteY129" fmla="*/ 8651 h 10000"/>
                <a:gd name="connsiteX130" fmla="*/ 1478 w 9904"/>
                <a:gd name="connsiteY130" fmla="*/ 8808 h 10000"/>
                <a:gd name="connsiteX131" fmla="*/ 1597 w 9904"/>
                <a:gd name="connsiteY131" fmla="*/ 8966 h 10000"/>
                <a:gd name="connsiteX132" fmla="*/ 1716 w 9904"/>
                <a:gd name="connsiteY132" fmla="*/ 9114 h 10000"/>
                <a:gd name="connsiteX133" fmla="*/ 1842 w 9904"/>
                <a:gd name="connsiteY133" fmla="*/ 9273 h 10000"/>
                <a:gd name="connsiteX134" fmla="*/ 1968 w 9904"/>
                <a:gd name="connsiteY134" fmla="*/ 9420 h 10000"/>
                <a:gd name="connsiteX135" fmla="*/ 2094 w 9904"/>
                <a:gd name="connsiteY135" fmla="*/ 9566 h 10000"/>
                <a:gd name="connsiteX136" fmla="*/ 2229 w 9904"/>
                <a:gd name="connsiteY136" fmla="*/ 9706 h 10000"/>
                <a:gd name="connsiteX137" fmla="*/ 2372 w 9904"/>
                <a:gd name="connsiteY137" fmla="*/ 9855 h 10000"/>
                <a:gd name="connsiteX138" fmla="*/ 2505 w 9904"/>
                <a:gd name="connsiteY138" fmla="*/ 10000 h 10000"/>
                <a:gd name="connsiteX139" fmla="*/ 4637 w 9904"/>
                <a:gd name="connsiteY139" fmla="*/ 7469 h 10000"/>
                <a:gd name="connsiteX0" fmla="*/ 4682 w 9817"/>
                <a:gd name="connsiteY0" fmla="*/ 7469 h 10000"/>
                <a:gd name="connsiteX1" fmla="*/ 9817 w 9817"/>
                <a:gd name="connsiteY1" fmla="*/ 7772 h 10000"/>
                <a:gd name="connsiteX2" fmla="*/ 9643 w 9817"/>
                <a:gd name="connsiteY2" fmla="*/ 7698 h 10000"/>
                <a:gd name="connsiteX3" fmla="*/ 9467 w 9817"/>
                <a:gd name="connsiteY3" fmla="*/ 7624 h 10000"/>
                <a:gd name="connsiteX4" fmla="*/ 9299 w 9817"/>
                <a:gd name="connsiteY4" fmla="*/ 7536 h 10000"/>
                <a:gd name="connsiteX5" fmla="*/ 9131 w 9817"/>
                <a:gd name="connsiteY5" fmla="*/ 7448 h 10000"/>
                <a:gd name="connsiteX6" fmla="*/ 8980 w 9817"/>
                <a:gd name="connsiteY6" fmla="*/ 7365 h 10000"/>
                <a:gd name="connsiteX7" fmla="*/ 8828 w 9817"/>
                <a:gd name="connsiteY7" fmla="*/ 7266 h 10000"/>
                <a:gd name="connsiteX8" fmla="*/ 8675 w 9817"/>
                <a:gd name="connsiteY8" fmla="*/ 7161 h 10000"/>
                <a:gd name="connsiteX9" fmla="*/ 8532 w 9817"/>
                <a:gd name="connsiteY9" fmla="*/ 7056 h 10000"/>
                <a:gd name="connsiteX10" fmla="*/ 8397 w 9817"/>
                <a:gd name="connsiteY10" fmla="*/ 6942 h 10000"/>
                <a:gd name="connsiteX11" fmla="*/ 8261 w 9817"/>
                <a:gd name="connsiteY11" fmla="*/ 6833 h 10000"/>
                <a:gd name="connsiteX12" fmla="*/ 8134 w 9817"/>
                <a:gd name="connsiteY12" fmla="*/ 6719 h 10000"/>
                <a:gd name="connsiteX13" fmla="*/ 8022 w 9817"/>
                <a:gd name="connsiteY13" fmla="*/ 6593 h 10000"/>
                <a:gd name="connsiteX14" fmla="*/ 7910 w 9817"/>
                <a:gd name="connsiteY14" fmla="*/ 6467 h 10000"/>
                <a:gd name="connsiteX15" fmla="*/ 7807 w 9817"/>
                <a:gd name="connsiteY15" fmla="*/ 6338 h 10000"/>
                <a:gd name="connsiteX16" fmla="*/ 7711 w 9817"/>
                <a:gd name="connsiteY16" fmla="*/ 6209 h 10000"/>
                <a:gd name="connsiteX17" fmla="*/ 7614 w 9817"/>
                <a:gd name="connsiteY17" fmla="*/ 6073 h 10000"/>
                <a:gd name="connsiteX18" fmla="*/ 7526 w 9817"/>
                <a:gd name="connsiteY18" fmla="*/ 5928 h 10000"/>
                <a:gd name="connsiteX19" fmla="*/ 7487 w 9817"/>
                <a:gd name="connsiteY19" fmla="*/ 5865 h 10000"/>
                <a:gd name="connsiteX20" fmla="*/ 7446 w 9817"/>
                <a:gd name="connsiteY20" fmla="*/ 5789 h 10000"/>
                <a:gd name="connsiteX21" fmla="*/ 7415 w 9817"/>
                <a:gd name="connsiteY21" fmla="*/ 5721 h 10000"/>
                <a:gd name="connsiteX22" fmla="*/ 7376 w 9817"/>
                <a:gd name="connsiteY22" fmla="*/ 5646 h 10000"/>
                <a:gd name="connsiteX23" fmla="*/ 7343 w 9817"/>
                <a:gd name="connsiteY23" fmla="*/ 5575 h 10000"/>
                <a:gd name="connsiteX24" fmla="*/ 7311 w 9817"/>
                <a:gd name="connsiteY24" fmla="*/ 5501 h 10000"/>
                <a:gd name="connsiteX25" fmla="*/ 7287 w 9817"/>
                <a:gd name="connsiteY25" fmla="*/ 5424 h 10000"/>
                <a:gd name="connsiteX26" fmla="*/ 7256 w 9817"/>
                <a:gd name="connsiteY26" fmla="*/ 5353 h 10000"/>
                <a:gd name="connsiteX27" fmla="*/ 7238 w 9817"/>
                <a:gd name="connsiteY27" fmla="*/ 5274 h 10000"/>
                <a:gd name="connsiteX28" fmla="*/ 7207 w 9817"/>
                <a:gd name="connsiteY28" fmla="*/ 5200 h 10000"/>
                <a:gd name="connsiteX29" fmla="*/ 7191 w 9817"/>
                <a:gd name="connsiteY29" fmla="*/ 5122 h 10000"/>
                <a:gd name="connsiteX30" fmla="*/ 7176 w 9817"/>
                <a:gd name="connsiteY30" fmla="*/ 5048 h 10000"/>
                <a:gd name="connsiteX31" fmla="*/ 7159 w 9817"/>
                <a:gd name="connsiteY31" fmla="*/ 4966 h 10000"/>
                <a:gd name="connsiteX32" fmla="*/ 7145 w 9817"/>
                <a:gd name="connsiteY32" fmla="*/ 4893 h 10000"/>
                <a:gd name="connsiteX33" fmla="*/ 7128 w 9817"/>
                <a:gd name="connsiteY33" fmla="*/ 4815 h 10000"/>
                <a:gd name="connsiteX34" fmla="*/ 7119 w 9817"/>
                <a:gd name="connsiteY34" fmla="*/ 4739 h 10000"/>
                <a:gd name="connsiteX35" fmla="*/ 7110 w 9817"/>
                <a:gd name="connsiteY35" fmla="*/ 4656 h 10000"/>
                <a:gd name="connsiteX36" fmla="*/ 7102 w 9817"/>
                <a:gd name="connsiteY36" fmla="*/ 4573 h 10000"/>
                <a:gd name="connsiteX37" fmla="*/ 7102 w 9817"/>
                <a:gd name="connsiteY37" fmla="*/ 4497 h 10000"/>
                <a:gd name="connsiteX38" fmla="*/ 7095 w 9817"/>
                <a:gd name="connsiteY38" fmla="*/ 4413 h 10000"/>
                <a:gd name="connsiteX39" fmla="*/ 7102 w 9817"/>
                <a:gd name="connsiteY39" fmla="*/ 4334 h 10000"/>
                <a:gd name="connsiteX40" fmla="*/ 7110 w 9817"/>
                <a:gd name="connsiteY40" fmla="*/ 4248 h 10000"/>
                <a:gd name="connsiteX41" fmla="*/ 7110 w 9817"/>
                <a:gd name="connsiteY41" fmla="*/ 4160 h 10000"/>
                <a:gd name="connsiteX42" fmla="*/ 7119 w 9817"/>
                <a:gd name="connsiteY42" fmla="*/ 4075 h 10000"/>
                <a:gd name="connsiteX43" fmla="*/ 7128 w 9817"/>
                <a:gd name="connsiteY43" fmla="*/ 3990 h 10000"/>
                <a:gd name="connsiteX44" fmla="*/ 7145 w 9817"/>
                <a:gd name="connsiteY44" fmla="*/ 3915 h 10000"/>
                <a:gd name="connsiteX45" fmla="*/ 7159 w 9817"/>
                <a:gd name="connsiteY45" fmla="*/ 3830 h 10000"/>
                <a:gd name="connsiteX46" fmla="*/ 7176 w 9817"/>
                <a:gd name="connsiteY46" fmla="*/ 3750 h 10000"/>
                <a:gd name="connsiteX47" fmla="*/ 7199 w 9817"/>
                <a:gd name="connsiteY47" fmla="*/ 3665 h 10000"/>
                <a:gd name="connsiteX48" fmla="*/ 7223 w 9817"/>
                <a:gd name="connsiteY48" fmla="*/ 3589 h 10000"/>
                <a:gd name="connsiteX49" fmla="*/ 7249 w 9817"/>
                <a:gd name="connsiteY49" fmla="*/ 3508 h 10000"/>
                <a:gd name="connsiteX50" fmla="*/ 7271 w 9817"/>
                <a:gd name="connsiteY50" fmla="*/ 3424 h 10000"/>
                <a:gd name="connsiteX51" fmla="*/ 7303 w 9817"/>
                <a:gd name="connsiteY51" fmla="*/ 3355 h 10000"/>
                <a:gd name="connsiteX52" fmla="*/ 7334 w 9817"/>
                <a:gd name="connsiteY52" fmla="*/ 3275 h 10000"/>
                <a:gd name="connsiteX53" fmla="*/ 7368 w 9817"/>
                <a:gd name="connsiteY53" fmla="*/ 3194 h 10000"/>
                <a:gd name="connsiteX54" fmla="*/ 7407 w 9817"/>
                <a:gd name="connsiteY54" fmla="*/ 3118 h 10000"/>
                <a:gd name="connsiteX55" fmla="*/ 7439 w 9817"/>
                <a:gd name="connsiteY55" fmla="*/ 3046 h 10000"/>
                <a:gd name="connsiteX56" fmla="*/ 7480 w 9817"/>
                <a:gd name="connsiteY56" fmla="*/ 2964 h 10000"/>
                <a:gd name="connsiteX57" fmla="*/ 7526 w 9817"/>
                <a:gd name="connsiteY57" fmla="*/ 2898 h 10000"/>
                <a:gd name="connsiteX58" fmla="*/ 7566 w 9817"/>
                <a:gd name="connsiteY58" fmla="*/ 2823 h 10000"/>
                <a:gd name="connsiteX59" fmla="*/ 7614 w 9817"/>
                <a:gd name="connsiteY59" fmla="*/ 2754 h 10000"/>
                <a:gd name="connsiteX60" fmla="*/ 7655 w 9817"/>
                <a:gd name="connsiteY60" fmla="*/ 2676 h 10000"/>
                <a:gd name="connsiteX61" fmla="*/ 7711 w 9817"/>
                <a:gd name="connsiteY61" fmla="*/ 2613 h 10000"/>
                <a:gd name="connsiteX62" fmla="*/ 7767 w 9817"/>
                <a:gd name="connsiteY62" fmla="*/ 2538 h 10000"/>
                <a:gd name="connsiteX63" fmla="*/ 7815 w 9817"/>
                <a:gd name="connsiteY63" fmla="*/ 2471 h 10000"/>
                <a:gd name="connsiteX64" fmla="*/ 7869 w 9817"/>
                <a:gd name="connsiteY64" fmla="*/ 2404 h 10000"/>
                <a:gd name="connsiteX65" fmla="*/ 7927 w 9817"/>
                <a:gd name="connsiteY65" fmla="*/ 2331 h 10000"/>
                <a:gd name="connsiteX66" fmla="*/ 7982 w 9817"/>
                <a:gd name="connsiteY66" fmla="*/ 2269 h 10000"/>
                <a:gd name="connsiteX67" fmla="*/ 8046 w 9817"/>
                <a:gd name="connsiteY67" fmla="*/ 2203 h 10000"/>
                <a:gd name="connsiteX68" fmla="*/ 8101 w 9817"/>
                <a:gd name="connsiteY68" fmla="*/ 2145 h 10000"/>
                <a:gd name="connsiteX69" fmla="*/ 8165 w 9817"/>
                <a:gd name="connsiteY69" fmla="*/ 2077 h 10000"/>
                <a:gd name="connsiteX70" fmla="*/ 8193 w 9817"/>
                <a:gd name="connsiteY70" fmla="*/ 2042 h 10000"/>
                <a:gd name="connsiteX71" fmla="*/ 5804 w 9817"/>
                <a:gd name="connsiteY71" fmla="*/ 6 h 10000"/>
                <a:gd name="connsiteX72" fmla="*/ 1508 w 9817"/>
                <a:gd name="connsiteY72" fmla="*/ 0 h 10000"/>
                <a:gd name="connsiteX73" fmla="*/ 1405 w 9817"/>
                <a:gd name="connsiteY73" fmla="*/ 154 h 10000"/>
                <a:gd name="connsiteX74" fmla="*/ 1317 w 9817"/>
                <a:gd name="connsiteY74" fmla="*/ 269 h 10000"/>
                <a:gd name="connsiteX75" fmla="*/ 1237 w 9817"/>
                <a:gd name="connsiteY75" fmla="*/ 397 h 10000"/>
                <a:gd name="connsiteX76" fmla="*/ 1149 w 9817"/>
                <a:gd name="connsiteY76" fmla="*/ 523 h 10000"/>
                <a:gd name="connsiteX77" fmla="*/ 1077 w 9817"/>
                <a:gd name="connsiteY77" fmla="*/ 650 h 10000"/>
                <a:gd name="connsiteX78" fmla="*/ 998 w 9817"/>
                <a:gd name="connsiteY78" fmla="*/ 775 h 10000"/>
                <a:gd name="connsiteX79" fmla="*/ 926 w 9817"/>
                <a:gd name="connsiteY79" fmla="*/ 910 h 10000"/>
                <a:gd name="connsiteX80" fmla="*/ 853 w 9817"/>
                <a:gd name="connsiteY80" fmla="*/ 1043 h 10000"/>
                <a:gd name="connsiteX81" fmla="*/ 791 w 9817"/>
                <a:gd name="connsiteY81" fmla="*/ 1166 h 10000"/>
                <a:gd name="connsiteX82" fmla="*/ 727 w 9817"/>
                <a:gd name="connsiteY82" fmla="*/ 1304 h 10000"/>
                <a:gd name="connsiteX83" fmla="*/ 663 w 9817"/>
                <a:gd name="connsiteY83" fmla="*/ 1432 h 10000"/>
                <a:gd name="connsiteX84" fmla="*/ 598 w 9817"/>
                <a:gd name="connsiteY84" fmla="*/ 1572 h 10000"/>
                <a:gd name="connsiteX85" fmla="*/ 543 w 9817"/>
                <a:gd name="connsiteY85" fmla="*/ 1699 h 10000"/>
                <a:gd name="connsiteX86" fmla="*/ 486 w 9817"/>
                <a:gd name="connsiteY86" fmla="*/ 1833 h 10000"/>
                <a:gd name="connsiteX87" fmla="*/ 440 w 9817"/>
                <a:gd name="connsiteY87" fmla="*/ 1968 h 10000"/>
                <a:gd name="connsiteX88" fmla="*/ 391 w 9817"/>
                <a:gd name="connsiteY88" fmla="*/ 2104 h 10000"/>
                <a:gd name="connsiteX89" fmla="*/ 343 w 9817"/>
                <a:gd name="connsiteY89" fmla="*/ 2248 h 10000"/>
                <a:gd name="connsiteX90" fmla="*/ 305 w 9817"/>
                <a:gd name="connsiteY90" fmla="*/ 2384 h 10000"/>
                <a:gd name="connsiteX91" fmla="*/ 253 w 9817"/>
                <a:gd name="connsiteY91" fmla="*/ 2526 h 10000"/>
                <a:gd name="connsiteX92" fmla="*/ 224 w 9817"/>
                <a:gd name="connsiteY92" fmla="*/ 2666 h 10000"/>
                <a:gd name="connsiteX93" fmla="*/ 185 w 9817"/>
                <a:gd name="connsiteY93" fmla="*/ 2809 h 10000"/>
                <a:gd name="connsiteX94" fmla="*/ 158 w 9817"/>
                <a:gd name="connsiteY94" fmla="*/ 2953 h 10000"/>
                <a:gd name="connsiteX95" fmla="*/ 127 w 9817"/>
                <a:gd name="connsiteY95" fmla="*/ 3095 h 10000"/>
                <a:gd name="connsiteX96" fmla="*/ 104 w 9817"/>
                <a:gd name="connsiteY96" fmla="*/ 3235 h 10000"/>
                <a:gd name="connsiteX97" fmla="*/ 81 w 9817"/>
                <a:gd name="connsiteY97" fmla="*/ 3382 h 10000"/>
                <a:gd name="connsiteX98" fmla="*/ 54 w 9817"/>
                <a:gd name="connsiteY98" fmla="*/ 3534 h 10000"/>
                <a:gd name="connsiteX99" fmla="*/ 38 w 9817"/>
                <a:gd name="connsiteY99" fmla="*/ 3678 h 10000"/>
                <a:gd name="connsiteX100" fmla="*/ 22 w 9817"/>
                <a:gd name="connsiteY100" fmla="*/ 3822 h 10000"/>
                <a:gd name="connsiteX101" fmla="*/ 15 w 9817"/>
                <a:gd name="connsiteY101" fmla="*/ 3966 h 10000"/>
                <a:gd name="connsiteX102" fmla="*/ 7 w 9817"/>
                <a:gd name="connsiteY102" fmla="*/ 4116 h 10000"/>
                <a:gd name="connsiteX103" fmla="*/ 0 w 9817"/>
                <a:gd name="connsiteY103" fmla="*/ 4261 h 10000"/>
                <a:gd name="connsiteX104" fmla="*/ 0 w 9817"/>
                <a:gd name="connsiteY104" fmla="*/ 4413 h 10000"/>
                <a:gd name="connsiteX105" fmla="*/ 7 w 9817"/>
                <a:gd name="connsiteY105" fmla="*/ 4606 h 10000"/>
                <a:gd name="connsiteX106" fmla="*/ 7 w 9817"/>
                <a:gd name="connsiteY106" fmla="*/ 4798 h 10000"/>
                <a:gd name="connsiteX107" fmla="*/ 22 w 9817"/>
                <a:gd name="connsiteY107" fmla="*/ 4977 h 10000"/>
                <a:gd name="connsiteX108" fmla="*/ 38 w 9817"/>
                <a:gd name="connsiteY108" fmla="*/ 5166 h 10000"/>
                <a:gd name="connsiteX109" fmla="*/ 66 w 9817"/>
                <a:gd name="connsiteY109" fmla="*/ 5353 h 10000"/>
                <a:gd name="connsiteX110" fmla="*/ 97 w 9817"/>
                <a:gd name="connsiteY110" fmla="*/ 5540 h 10000"/>
                <a:gd name="connsiteX111" fmla="*/ 127 w 9817"/>
                <a:gd name="connsiteY111" fmla="*/ 5725 h 10000"/>
                <a:gd name="connsiteX112" fmla="*/ 158 w 9817"/>
                <a:gd name="connsiteY112" fmla="*/ 5909 h 10000"/>
                <a:gd name="connsiteX113" fmla="*/ 209 w 9817"/>
                <a:gd name="connsiteY113" fmla="*/ 6093 h 10000"/>
                <a:gd name="connsiteX114" fmla="*/ 253 w 9817"/>
                <a:gd name="connsiteY114" fmla="*/ 6273 h 10000"/>
                <a:gd name="connsiteX115" fmla="*/ 305 w 9817"/>
                <a:gd name="connsiteY115" fmla="*/ 6456 h 10000"/>
                <a:gd name="connsiteX116" fmla="*/ 358 w 9817"/>
                <a:gd name="connsiteY116" fmla="*/ 6633 h 10000"/>
                <a:gd name="connsiteX117" fmla="*/ 424 w 9817"/>
                <a:gd name="connsiteY117" fmla="*/ 6805 h 10000"/>
                <a:gd name="connsiteX118" fmla="*/ 486 w 9817"/>
                <a:gd name="connsiteY118" fmla="*/ 6984 h 10000"/>
                <a:gd name="connsiteX119" fmla="*/ 559 w 9817"/>
                <a:gd name="connsiteY119" fmla="*/ 7156 h 10000"/>
                <a:gd name="connsiteX120" fmla="*/ 631 w 9817"/>
                <a:gd name="connsiteY120" fmla="*/ 7336 h 10000"/>
                <a:gd name="connsiteX121" fmla="*/ 710 w 9817"/>
                <a:gd name="connsiteY121" fmla="*/ 7502 h 10000"/>
                <a:gd name="connsiteX122" fmla="*/ 798 w 9817"/>
                <a:gd name="connsiteY122" fmla="*/ 7665 h 10000"/>
                <a:gd name="connsiteX123" fmla="*/ 887 w 9817"/>
                <a:gd name="connsiteY123" fmla="*/ 7844 h 10000"/>
                <a:gd name="connsiteX124" fmla="*/ 973 w 9817"/>
                <a:gd name="connsiteY124" fmla="*/ 8007 h 10000"/>
                <a:gd name="connsiteX125" fmla="*/ 1069 w 9817"/>
                <a:gd name="connsiteY125" fmla="*/ 8168 h 10000"/>
                <a:gd name="connsiteX126" fmla="*/ 1174 w 9817"/>
                <a:gd name="connsiteY126" fmla="*/ 8323 h 10000"/>
                <a:gd name="connsiteX127" fmla="*/ 1277 w 9817"/>
                <a:gd name="connsiteY127" fmla="*/ 8490 h 10000"/>
                <a:gd name="connsiteX128" fmla="*/ 1389 w 9817"/>
                <a:gd name="connsiteY128" fmla="*/ 8651 h 10000"/>
                <a:gd name="connsiteX129" fmla="*/ 1492 w 9817"/>
                <a:gd name="connsiteY129" fmla="*/ 8808 h 10000"/>
                <a:gd name="connsiteX130" fmla="*/ 1612 w 9817"/>
                <a:gd name="connsiteY130" fmla="*/ 8966 h 10000"/>
                <a:gd name="connsiteX131" fmla="*/ 1733 w 9817"/>
                <a:gd name="connsiteY131" fmla="*/ 9114 h 10000"/>
                <a:gd name="connsiteX132" fmla="*/ 1860 w 9817"/>
                <a:gd name="connsiteY132" fmla="*/ 9273 h 10000"/>
                <a:gd name="connsiteX133" fmla="*/ 1987 w 9817"/>
                <a:gd name="connsiteY133" fmla="*/ 9420 h 10000"/>
                <a:gd name="connsiteX134" fmla="*/ 2114 w 9817"/>
                <a:gd name="connsiteY134" fmla="*/ 9566 h 10000"/>
                <a:gd name="connsiteX135" fmla="*/ 2251 w 9817"/>
                <a:gd name="connsiteY135" fmla="*/ 9706 h 10000"/>
                <a:gd name="connsiteX136" fmla="*/ 2395 w 9817"/>
                <a:gd name="connsiteY136" fmla="*/ 9855 h 10000"/>
                <a:gd name="connsiteX137" fmla="*/ 2529 w 9817"/>
                <a:gd name="connsiteY137" fmla="*/ 10000 h 10000"/>
                <a:gd name="connsiteX138" fmla="*/ 4682 w 9817"/>
                <a:gd name="connsiteY138" fmla="*/ 7469 h 10000"/>
                <a:gd name="connsiteX0" fmla="*/ 4769 w 9823"/>
                <a:gd name="connsiteY0" fmla="*/ 7469 h 10000"/>
                <a:gd name="connsiteX1" fmla="*/ 9823 w 9823"/>
                <a:gd name="connsiteY1" fmla="*/ 7698 h 10000"/>
                <a:gd name="connsiteX2" fmla="*/ 9643 w 9823"/>
                <a:gd name="connsiteY2" fmla="*/ 7624 h 10000"/>
                <a:gd name="connsiteX3" fmla="*/ 9472 w 9823"/>
                <a:gd name="connsiteY3" fmla="*/ 7536 h 10000"/>
                <a:gd name="connsiteX4" fmla="*/ 9301 w 9823"/>
                <a:gd name="connsiteY4" fmla="*/ 7448 h 10000"/>
                <a:gd name="connsiteX5" fmla="*/ 9147 w 9823"/>
                <a:gd name="connsiteY5" fmla="*/ 7365 h 10000"/>
                <a:gd name="connsiteX6" fmla="*/ 8993 w 9823"/>
                <a:gd name="connsiteY6" fmla="*/ 7266 h 10000"/>
                <a:gd name="connsiteX7" fmla="*/ 8837 w 9823"/>
                <a:gd name="connsiteY7" fmla="*/ 7161 h 10000"/>
                <a:gd name="connsiteX8" fmla="*/ 8691 w 9823"/>
                <a:gd name="connsiteY8" fmla="*/ 7056 h 10000"/>
                <a:gd name="connsiteX9" fmla="*/ 8554 w 9823"/>
                <a:gd name="connsiteY9" fmla="*/ 6942 h 10000"/>
                <a:gd name="connsiteX10" fmla="*/ 8415 w 9823"/>
                <a:gd name="connsiteY10" fmla="*/ 6833 h 10000"/>
                <a:gd name="connsiteX11" fmla="*/ 8286 w 9823"/>
                <a:gd name="connsiteY11" fmla="*/ 6719 h 10000"/>
                <a:gd name="connsiteX12" fmla="*/ 8172 w 9823"/>
                <a:gd name="connsiteY12" fmla="*/ 6593 h 10000"/>
                <a:gd name="connsiteX13" fmla="*/ 8057 w 9823"/>
                <a:gd name="connsiteY13" fmla="*/ 6467 h 10000"/>
                <a:gd name="connsiteX14" fmla="*/ 7953 w 9823"/>
                <a:gd name="connsiteY14" fmla="*/ 6338 h 10000"/>
                <a:gd name="connsiteX15" fmla="*/ 7855 w 9823"/>
                <a:gd name="connsiteY15" fmla="*/ 6209 h 10000"/>
                <a:gd name="connsiteX16" fmla="*/ 7756 w 9823"/>
                <a:gd name="connsiteY16" fmla="*/ 6073 h 10000"/>
                <a:gd name="connsiteX17" fmla="*/ 7666 w 9823"/>
                <a:gd name="connsiteY17" fmla="*/ 5928 h 10000"/>
                <a:gd name="connsiteX18" fmla="*/ 7627 w 9823"/>
                <a:gd name="connsiteY18" fmla="*/ 5865 h 10000"/>
                <a:gd name="connsiteX19" fmla="*/ 7585 w 9823"/>
                <a:gd name="connsiteY19" fmla="*/ 5789 h 10000"/>
                <a:gd name="connsiteX20" fmla="*/ 7553 w 9823"/>
                <a:gd name="connsiteY20" fmla="*/ 5721 h 10000"/>
                <a:gd name="connsiteX21" fmla="*/ 7513 w 9823"/>
                <a:gd name="connsiteY21" fmla="*/ 5646 h 10000"/>
                <a:gd name="connsiteX22" fmla="*/ 7480 w 9823"/>
                <a:gd name="connsiteY22" fmla="*/ 5575 h 10000"/>
                <a:gd name="connsiteX23" fmla="*/ 7447 w 9823"/>
                <a:gd name="connsiteY23" fmla="*/ 5501 h 10000"/>
                <a:gd name="connsiteX24" fmla="*/ 7423 w 9823"/>
                <a:gd name="connsiteY24" fmla="*/ 5424 h 10000"/>
                <a:gd name="connsiteX25" fmla="*/ 7391 w 9823"/>
                <a:gd name="connsiteY25" fmla="*/ 5353 h 10000"/>
                <a:gd name="connsiteX26" fmla="*/ 7373 w 9823"/>
                <a:gd name="connsiteY26" fmla="*/ 5274 h 10000"/>
                <a:gd name="connsiteX27" fmla="*/ 7341 w 9823"/>
                <a:gd name="connsiteY27" fmla="*/ 5200 h 10000"/>
                <a:gd name="connsiteX28" fmla="*/ 7325 w 9823"/>
                <a:gd name="connsiteY28" fmla="*/ 5122 h 10000"/>
                <a:gd name="connsiteX29" fmla="*/ 7310 w 9823"/>
                <a:gd name="connsiteY29" fmla="*/ 5048 h 10000"/>
                <a:gd name="connsiteX30" fmla="*/ 7292 w 9823"/>
                <a:gd name="connsiteY30" fmla="*/ 4966 h 10000"/>
                <a:gd name="connsiteX31" fmla="*/ 7278 w 9823"/>
                <a:gd name="connsiteY31" fmla="*/ 4893 h 10000"/>
                <a:gd name="connsiteX32" fmla="*/ 7261 w 9823"/>
                <a:gd name="connsiteY32" fmla="*/ 4815 h 10000"/>
                <a:gd name="connsiteX33" fmla="*/ 7252 w 9823"/>
                <a:gd name="connsiteY33" fmla="*/ 4739 h 10000"/>
                <a:gd name="connsiteX34" fmla="*/ 7243 w 9823"/>
                <a:gd name="connsiteY34" fmla="*/ 4656 h 10000"/>
                <a:gd name="connsiteX35" fmla="*/ 7234 w 9823"/>
                <a:gd name="connsiteY35" fmla="*/ 4573 h 10000"/>
                <a:gd name="connsiteX36" fmla="*/ 7234 w 9823"/>
                <a:gd name="connsiteY36" fmla="*/ 4497 h 10000"/>
                <a:gd name="connsiteX37" fmla="*/ 7227 w 9823"/>
                <a:gd name="connsiteY37" fmla="*/ 4413 h 10000"/>
                <a:gd name="connsiteX38" fmla="*/ 7234 w 9823"/>
                <a:gd name="connsiteY38" fmla="*/ 4334 h 10000"/>
                <a:gd name="connsiteX39" fmla="*/ 7243 w 9823"/>
                <a:gd name="connsiteY39" fmla="*/ 4248 h 10000"/>
                <a:gd name="connsiteX40" fmla="*/ 7243 w 9823"/>
                <a:gd name="connsiteY40" fmla="*/ 4160 h 10000"/>
                <a:gd name="connsiteX41" fmla="*/ 7252 w 9823"/>
                <a:gd name="connsiteY41" fmla="*/ 4075 h 10000"/>
                <a:gd name="connsiteX42" fmla="*/ 7261 w 9823"/>
                <a:gd name="connsiteY42" fmla="*/ 3990 h 10000"/>
                <a:gd name="connsiteX43" fmla="*/ 7278 w 9823"/>
                <a:gd name="connsiteY43" fmla="*/ 3915 h 10000"/>
                <a:gd name="connsiteX44" fmla="*/ 7292 w 9823"/>
                <a:gd name="connsiteY44" fmla="*/ 3830 h 10000"/>
                <a:gd name="connsiteX45" fmla="*/ 7310 w 9823"/>
                <a:gd name="connsiteY45" fmla="*/ 3750 h 10000"/>
                <a:gd name="connsiteX46" fmla="*/ 7333 w 9823"/>
                <a:gd name="connsiteY46" fmla="*/ 3665 h 10000"/>
                <a:gd name="connsiteX47" fmla="*/ 7358 w 9823"/>
                <a:gd name="connsiteY47" fmla="*/ 3589 h 10000"/>
                <a:gd name="connsiteX48" fmla="*/ 7384 w 9823"/>
                <a:gd name="connsiteY48" fmla="*/ 3508 h 10000"/>
                <a:gd name="connsiteX49" fmla="*/ 7407 w 9823"/>
                <a:gd name="connsiteY49" fmla="*/ 3424 h 10000"/>
                <a:gd name="connsiteX50" fmla="*/ 7439 w 9823"/>
                <a:gd name="connsiteY50" fmla="*/ 3355 h 10000"/>
                <a:gd name="connsiteX51" fmla="*/ 7471 w 9823"/>
                <a:gd name="connsiteY51" fmla="*/ 3275 h 10000"/>
                <a:gd name="connsiteX52" fmla="*/ 7505 w 9823"/>
                <a:gd name="connsiteY52" fmla="*/ 3194 h 10000"/>
                <a:gd name="connsiteX53" fmla="*/ 7545 w 9823"/>
                <a:gd name="connsiteY53" fmla="*/ 3118 h 10000"/>
                <a:gd name="connsiteX54" fmla="*/ 7578 w 9823"/>
                <a:gd name="connsiteY54" fmla="*/ 3046 h 10000"/>
                <a:gd name="connsiteX55" fmla="*/ 7619 w 9823"/>
                <a:gd name="connsiteY55" fmla="*/ 2964 h 10000"/>
                <a:gd name="connsiteX56" fmla="*/ 7666 w 9823"/>
                <a:gd name="connsiteY56" fmla="*/ 2898 h 10000"/>
                <a:gd name="connsiteX57" fmla="*/ 7707 w 9823"/>
                <a:gd name="connsiteY57" fmla="*/ 2823 h 10000"/>
                <a:gd name="connsiteX58" fmla="*/ 7756 w 9823"/>
                <a:gd name="connsiteY58" fmla="*/ 2754 h 10000"/>
                <a:gd name="connsiteX59" fmla="*/ 7798 w 9823"/>
                <a:gd name="connsiteY59" fmla="*/ 2676 h 10000"/>
                <a:gd name="connsiteX60" fmla="*/ 7855 w 9823"/>
                <a:gd name="connsiteY60" fmla="*/ 2613 h 10000"/>
                <a:gd name="connsiteX61" fmla="*/ 7912 w 9823"/>
                <a:gd name="connsiteY61" fmla="*/ 2538 h 10000"/>
                <a:gd name="connsiteX62" fmla="*/ 7961 w 9823"/>
                <a:gd name="connsiteY62" fmla="*/ 2471 h 10000"/>
                <a:gd name="connsiteX63" fmla="*/ 8016 w 9823"/>
                <a:gd name="connsiteY63" fmla="*/ 2404 h 10000"/>
                <a:gd name="connsiteX64" fmla="*/ 8075 w 9823"/>
                <a:gd name="connsiteY64" fmla="*/ 2331 h 10000"/>
                <a:gd name="connsiteX65" fmla="*/ 8131 w 9823"/>
                <a:gd name="connsiteY65" fmla="*/ 2269 h 10000"/>
                <a:gd name="connsiteX66" fmla="*/ 8196 w 9823"/>
                <a:gd name="connsiteY66" fmla="*/ 2203 h 10000"/>
                <a:gd name="connsiteX67" fmla="*/ 8252 w 9823"/>
                <a:gd name="connsiteY67" fmla="*/ 2145 h 10000"/>
                <a:gd name="connsiteX68" fmla="*/ 8317 w 9823"/>
                <a:gd name="connsiteY68" fmla="*/ 2077 h 10000"/>
                <a:gd name="connsiteX69" fmla="*/ 8346 w 9823"/>
                <a:gd name="connsiteY69" fmla="*/ 2042 h 10000"/>
                <a:gd name="connsiteX70" fmla="*/ 5912 w 9823"/>
                <a:gd name="connsiteY70" fmla="*/ 6 h 10000"/>
                <a:gd name="connsiteX71" fmla="*/ 1536 w 9823"/>
                <a:gd name="connsiteY71" fmla="*/ 0 h 10000"/>
                <a:gd name="connsiteX72" fmla="*/ 1431 w 9823"/>
                <a:gd name="connsiteY72" fmla="*/ 154 h 10000"/>
                <a:gd name="connsiteX73" fmla="*/ 1342 w 9823"/>
                <a:gd name="connsiteY73" fmla="*/ 269 h 10000"/>
                <a:gd name="connsiteX74" fmla="*/ 1260 w 9823"/>
                <a:gd name="connsiteY74" fmla="*/ 397 h 10000"/>
                <a:gd name="connsiteX75" fmla="*/ 1170 w 9823"/>
                <a:gd name="connsiteY75" fmla="*/ 523 h 10000"/>
                <a:gd name="connsiteX76" fmla="*/ 1097 w 9823"/>
                <a:gd name="connsiteY76" fmla="*/ 650 h 10000"/>
                <a:gd name="connsiteX77" fmla="*/ 1017 w 9823"/>
                <a:gd name="connsiteY77" fmla="*/ 775 h 10000"/>
                <a:gd name="connsiteX78" fmla="*/ 943 w 9823"/>
                <a:gd name="connsiteY78" fmla="*/ 910 h 10000"/>
                <a:gd name="connsiteX79" fmla="*/ 869 w 9823"/>
                <a:gd name="connsiteY79" fmla="*/ 1043 h 10000"/>
                <a:gd name="connsiteX80" fmla="*/ 806 w 9823"/>
                <a:gd name="connsiteY80" fmla="*/ 1166 h 10000"/>
                <a:gd name="connsiteX81" fmla="*/ 741 w 9823"/>
                <a:gd name="connsiteY81" fmla="*/ 1304 h 10000"/>
                <a:gd name="connsiteX82" fmla="*/ 675 w 9823"/>
                <a:gd name="connsiteY82" fmla="*/ 1432 h 10000"/>
                <a:gd name="connsiteX83" fmla="*/ 609 w 9823"/>
                <a:gd name="connsiteY83" fmla="*/ 1572 h 10000"/>
                <a:gd name="connsiteX84" fmla="*/ 553 w 9823"/>
                <a:gd name="connsiteY84" fmla="*/ 1699 h 10000"/>
                <a:gd name="connsiteX85" fmla="*/ 495 w 9823"/>
                <a:gd name="connsiteY85" fmla="*/ 1833 h 10000"/>
                <a:gd name="connsiteX86" fmla="*/ 448 w 9823"/>
                <a:gd name="connsiteY86" fmla="*/ 1968 h 10000"/>
                <a:gd name="connsiteX87" fmla="*/ 398 w 9823"/>
                <a:gd name="connsiteY87" fmla="*/ 2104 h 10000"/>
                <a:gd name="connsiteX88" fmla="*/ 349 w 9823"/>
                <a:gd name="connsiteY88" fmla="*/ 2248 h 10000"/>
                <a:gd name="connsiteX89" fmla="*/ 311 w 9823"/>
                <a:gd name="connsiteY89" fmla="*/ 2384 h 10000"/>
                <a:gd name="connsiteX90" fmla="*/ 258 w 9823"/>
                <a:gd name="connsiteY90" fmla="*/ 2526 h 10000"/>
                <a:gd name="connsiteX91" fmla="*/ 228 w 9823"/>
                <a:gd name="connsiteY91" fmla="*/ 2666 h 10000"/>
                <a:gd name="connsiteX92" fmla="*/ 188 w 9823"/>
                <a:gd name="connsiteY92" fmla="*/ 2809 h 10000"/>
                <a:gd name="connsiteX93" fmla="*/ 161 w 9823"/>
                <a:gd name="connsiteY93" fmla="*/ 2953 h 10000"/>
                <a:gd name="connsiteX94" fmla="*/ 129 w 9823"/>
                <a:gd name="connsiteY94" fmla="*/ 3095 h 10000"/>
                <a:gd name="connsiteX95" fmla="*/ 106 w 9823"/>
                <a:gd name="connsiteY95" fmla="*/ 3235 h 10000"/>
                <a:gd name="connsiteX96" fmla="*/ 83 w 9823"/>
                <a:gd name="connsiteY96" fmla="*/ 3382 h 10000"/>
                <a:gd name="connsiteX97" fmla="*/ 55 w 9823"/>
                <a:gd name="connsiteY97" fmla="*/ 3534 h 10000"/>
                <a:gd name="connsiteX98" fmla="*/ 39 w 9823"/>
                <a:gd name="connsiteY98" fmla="*/ 3678 h 10000"/>
                <a:gd name="connsiteX99" fmla="*/ 22 w 9823"/>
                <a:gd name="connsiteY99" fmla="*/ 3822 h 10000"/>
                <a:gd name="connsiteX100" fmla="*/ 15 w 9823"/>
                <a:gd name="connsiteY100" fmla="*/ 3966 h 10000"/>
                <a:gd name="connsiteX101" fmla="*/ 7 w 9823"/>
                <a:gd name="connsiteY101" fmla="*/ 4116 h 10000"/>
                <a:gd name="connsiteX102" fmla="*/ 0 w 9823"/>
                <a:gd name="connsiteY102" fmla="*/ 4261 h 10000"/>
                <a:gd name="connsiteX103" fmla="*/ 0 w 9823"/>
                <a:gd name="connsiteY103" fmla="*/ 4413 h 10000"/>
                <a:gd name="connsiteX104" fmla="*/ 7 w 9823"/>
                <a:gd name="connsiteY104" fmla="*/ 4606 h 10000"/>
                <a:gd name="connsiteX105" fmla="*/ 7 w 9823"/>
                <a:gd name="connsiteY105" fmla="*/ 4798 h 10000"/>
                <a:gd name="connsiteX106" fmla="*/ 22 w 9823"/>
                <a:gd name="connsiteY106" fmla="*/ 4977 h 10000"/>
                <a:gd name="connsiteX107" fmla="*/ 39 w 9823"/>
                <a:gd name="connsiteY107" fmla="*/ 5166 h 10000"/>
                <a:gd name="connsiteX108" fmla="*/ 67 w 9823"/>
                <a:gd name="connsiteY108" fmla="*/ 5353 h 10000"/>
                <a:gd name="connsiteX109" fmla="*/ 99 w 9823"/>
                <a:gd name="connsiteY109" fmla="*/ 5540 h 10000"/>
                <a:gd name="connsiteX110" fmla="*/ 129 w 9823"/>
                <a:gd name="connsiteY110" fmla="*/ 5725 h 10000"/>
                <a:gd name="connsiteX111" fmla="*/ 161 w 9823"/>
                <a:gd name="connsiteY111" fmla="*/ 5909 h 10000"/>
                <a:gd name="connsiteX112" fmla="*/ 213 w 9823"/>
                <a:gd name="connsiteY112" fmla="*/ 6093 h 10000"/>
                <a:gd name="connsiteX113" fmla="*/ 258 w 9823"/>
                <a:gd name="connsiteY113" fmla="*/ 6273 h 10000"/>
                <a:gd name="connsiteX114" fmla="*/ 311 w 9823"/>
                <a:gd name="connsiteY114" fmla="*/ 6456 h 10000"/>
                <a:gd name="connsiteX115" fmla="*/ 365 w 9823"/>
                <a:gd name="connsiteY115" fmla="*/ 6633 h 10000"/>
                <a:gd name="connsiteX116" fmla="*/ 432 w 9823"/>
                <a:gd name="connsiteY116" fmla="*/ 6805 h 10000"/>
                <a:gd name="connsiteX117" fmla="*/ 495 w 9823"/>
                <a:gd name="connsiteY117" fmla="*/ 6984 h 10000"/>
                <a:gd name="connsiteX118" fmla="*/ 569 w 9823"/>
                <a:gd name="connsiteY118" fmla="*/ 7156 h 10000"/>
                <a:gd name="connsiteX119" fmla="*/ 643 w 9823"/>
                <a:gd name="connsiteY119" fmla="*/ 7336 h 10000"/>
                <a:gd name="connsiteX120" fmla="*/ 723 w 9823"/>
                <a:gd name="connsiteY120" fmla="*/ 7502 h 10000"/>
                <a:gd name="connsiteX121" fmla="*/ 813 w 9823"/>
                <a:gd name="connsiteY121" fmla="*/ 7665 h 10000"/>
                <a:gd name="connsiteX122" fmla="*/ 904 w 9823"/>
                <a:gd name="connsiteY122" fmla="*/ 7844 h 10000"/>
                <a:gd name="connsiteX123" fmla="*/ 991 w 9823"/>
                <a:gd name="connsiteY123" fmla="*/ 8007 h 10000"/>
                <a:gd name="connsiteX124" fmla="*/ 1089 w 9823"/>
                <a:gd name="connsiteY124" fmla="*/ 8168 h 10000"/>
                <a:gd name="connsiteX125" fmla="*/ 1196 w 9823"/>
                <a:gd name="connsiteY125" fmla="*/ 8323 h 10000"/>
                <a:gd name="connsiteX126" fmla="*/ 1301 w 9823"/>
                <a:gd name="connsiteY126" fmla="*/ 8490 h 10000"/>
                <a:gd name="connsiteX127" fmla="*/ 1415 w 9823"/>
                <a:gd name="connsiteY127" fmla="*/ 8651 h 10000"/>
                <a:gd name="connsiteX128" fmla="*/ 1520 w 9823"/>
                <a:gd name="connsiteY128" fmla="*/ 8808 h 10000"/>
                <a:gd name="connsiteX129" fmla="*/ 1642 w 9823"/>
                <a:gd name="connsiteY129" fmla="*/ 8966 h 10000"/>
                <a:gd name="connsiteX130" fmla="*/ 1765 w 9823"/>
                <a:gd name="connsiteY130" fmla="*/ 9114 h 10000"/>
                <a:gd name="connsiteX131" fmla="*/ 1895 w 9823"/>
                <a:gd name="connsiteY131" fmla="*/ 9273 h 10000"/>
                <a:gd name="connsiteX132" fmla="*/ 2024 w 9823"/>
                <a:gd name="connsiteY132" fmla="*/ 9420 h 10000"/>
                <a:gd name="connsiteX133" fmla="*/ 2153 w 9823"/>
                <a:gd name="connsiteY133" fmla="*/ 9566 h 10000"/>
                <a:gd name="connsiteX134" fmla="*/ 2293 w 9823"/>
                <a:gd name="connsiteY134" fmla="*/ 9706 h 10000"/>
                <a:gd name="connsiteX135" fmla="*/ 2440 w 9823"/>
                <a:gd name="connsiteY135" fmla="*/ 9855 h 10000"/>
                <a:gd name="connsiteX136" fmla="*/ 2576 w 9823"/>
                <a:gd name="connsiteY136" fmla="*/ 10000 h 10000"/>
                <a:gd name="connsiteX137" fmla="*/ 4769 w 9823"/>
                <a:gd name="connsiteY137" fmla="*/ 7469 h 10000"/>
                <a:gd name="connsiteX0" fmla="*/ 4855 w 10000"/>
                <a:gd name="connsiteY0" fmla="*/ 7469 h 10000"/>
                <a:gd name="connsiteX1" fmla="*/ 10000 w 10000"/>
                <a:gd name="connsiteY1" fmla="*/ 7698 h 10000"/>
                <a:gd name="connsiteX2" fmla="*/ 9643 w 10000"/>
                <a:gd name="connsiteY2" fmla="*/ 7536 h 10000"/>
                <a:gd name="connsiteX3" fmla="*/ 9469 w 10000"/>
                <a:gd name="connsiteY3" fmla="*/ 7448 h 10000"/>
                <a:gd name="connsiteX4" fmla="*/ 9312 w 10000"/>
                <a:gd name="connsiteY4" fmla="*/ 7365 h 10000"/>
                <a:gd name="connsiteX5" fmla="*/ 9155 w 10000"/>
                <a:gd name="connsiteY5" fmla="*/ 7266 h 10000"/>
                <a:gd name="connsiteX6" fmla="*/ 8996 w 10000"/>
                <a:gd name="connsiteY6" fmla="*/ 7161 h 10000"/>
                <a:gd name="connsiteX7" fmla="*/ 8848 w 10000"/>
                <a:gd name="connsiteY7" fmla="*/ 7056 h 10000"/>
                <a:gd name="connsiteX8" fmla="*/ 8708 w 10000"/>
                <a:gd name="connsiteY8" fmla="*/ 6942 h 10000"/>
                <a:gd name="connsiteX9" fmla="*/ 8567 w 10000"/>
                <a:gd name="connsiteY9" fmla="*/ 6833 h 10000"/>
                <a:gd name="connsiteX10" fmla="*/ 8435 w 10000"/>
                <a:gd name="connsiteY10" fmla="*/ 6719 h 10000"/>
                <a:gd name="connsiteX11" fmla="*/ 8319 w 10000"/>
                <a:gd name="connsiteY11" fmla="*/ 6593 h 10000"/>
                <a:gd name="connsiteX12" fmla="*/ 8202 w 10000"/>
                <a:gd name="connsiteY12" fmla="*/ 6467 h 10000"/>
                <a:gd name="connsiteX13" fmla="*/ 8096 w 10000"/>
                <a:gd name="connsiteY13" fmla="*/ 6338 h 10000"/>
                <a:gd name="connsiteX14" fmla="*/ 7997 w 10000"/>
                <a:gd name="connsiteY14" fmla="*/ 6209 h 10000"/>
                <a:gd name="connsiteX15" fmla="*/ 7896 w 10000"/>
                <a:gd name="connsiteY15" fmla="*/ 6073 h 10000"/>
                <a:gd name="connsiteX16" fmla="*/ 7804 w 10000"/>
                <a:gd name="connsiteY16" fmla="*/ 5928 h 10000"/>
                <a:gd name="connsiteX17" fmla="*/ 7764 w 10000"/>
                <a:gd name="connsiteY17" fmla="*/ 5865 h 10000"/>
                <a:gd name="connsiteX18" fmla="*/ 7722 w 10000"/>
                <a:gd name="connsiteY18" fmla="*/ 5789 h 10000"/>
                <a:gd name="connsiteX19" fmla="*/ 7689 w 10000"/>
                <a:gd name="connsiteY19" fmla="*/ 5721 h 10000"/>
                <a:gd name="connsiteX20" fmla="*/ 7648 w 10000"/>
                <a:gd name="connsiteY20" fmla="*/ 5646 h 10000"/>
                <a:gd name="connsiteX21" fmla="*/ 7615 w 10000"/>
                <a:gd name="connsiteY21" fmla="*/ 5575 h 10000"/>
                <a:gd name="connsiteX22" fmla="*/ 7581 w 10000"/>
                <a:gd name="connsiteY22" fmla="*/ 5501 h 10000"/>
                <a:gd name="connsiteX23" fmla="*/ 7557 w 10000"/>
                <a:gd name="connsiteY23" fmla="*/ 5424 h 10000"/>
                <a:gd name="connsiteX24" fmla="*/ 7524 w 10000"/>
                <a:gd name="connsiteY24" fmla="*/ 5353 h 10000"/>
                <a:gd name="connsiteX25" fmla="*/ 7506 w 10000"/>
                <a:gd name="connsiteY25" fmla="*/ 5274 h 10000"/>
                <a:gd name="connsiteX26" fmla="*/ 7473 w 10000"/>
                <a:gd name="connsiteY26" fmla="*/ 5200 h 10000"/>
                <a:gd name="connsiteX27" fmla="*/ 7457 w 10000"/>
                <a:gd name="connsiteY27" fmla="*/ 5122 h 10000"/>
                <a:gd name="connsiteX28" fmla="*/ 7442 w 10000"/>
                <a:gd name="connsiteY28" fmla="*/ 5048 h 10000"/>
                <a:gd name="connsiteX29" fmla="*/ 7423 w 10000"/>
                <a:gd name="connsiteY29" fmla="*/ 4966 h 10000"/>
                <a:gd name="connsiteX30" fmla="*/ 7409 w 10000"/>
                <a:gd name="connsiteY30" fmla="*/ 4893 h 10000"/>
                <a:gd name="connsiteX31" fmla="*/ 7392 w 10000"/>
                <a:gd name="connsiteY31" fmla="*/ 4815 h 10000"/>
                <a:gd name="connsiteX32" fmla="*/ 7383 w 10000"/>
                <a:gd name="connsiteY32" fmla="*/ 4739 h 10000"/>
                <a:gd name="connsiteX33" fmla="*/ 7374 w 10000"/>
                <a:gd name="connsiteY33" fmla="*/ 4656 h 10000"/>
                <a:gd name="connsiteX34" fmla="*/ 7364 w 10000"/>
                <a:gd name="connsiteY34" fmla="*/ 4573 h 10000"/>
                <a:gd name="connsiteX35" fmla="*/ 7364 w 10000"/>
                <a:gd name="connsiteY35" fmla="*/ 4497 h 10000"/>
                <a:gd name="connsiteX36" fmla="*/ 7357 w 10000"/>
                <a:gd name="connsiteY36" fmla="*/ 4413 h 10000"/>
                <a:gd name="connsiteX37" fmla="*/ 7364 w 10000"/>
                <a:gd name="connsiteY37" fmla="*/ 4334 h 10000"/>
                <a:gd name="connsiteX38" fmla="*/ 7374 w 10000"/>
                <a:gd name="connsiteY38" fmla="*/ 4248 h 10000"/>
                <a:gd name="connsiteX39" fmla="*/ 7374 w 10000"/>
                <a:gd name="connsiteY39" fmla="*/ 4160 h 10000"/>
                <a:gd name="connsiteX40" fmla="*/ 7383 w 10000"/>
                <a:gd name="connsiteY40" fmla="*/ 4075 h 10000"/>
                <a:gd name="connsiteX41" fmla="*/ 7392 w 10000"/>
                <a:gd name="connsiteY41" fmla="*/ 3990 h 10000"/>
                <a:gd name="connsiteX42" fmla="*/ 7409 w 10000"/>
                <a:gd name="connsiteY42" fmla="*/ 3915 h 10000"/>
                <a:gd name="connsiteX43" fmla="*/ 7423 w 10000"/>
                <a:gd name="connsiteY43" fmla="*/ 3830 h 10000"/>
                <a:gd name="connsiteX44" fmla="*/ 7442 w 10000"/>
                <a:gd name="connsiteY44" fmla="*/ 3750 h 10000"/>
                <a:gd name="connsiteX45" fmla="*/ 7465 w 10000"/>
                <a:gd name="connsiteY45" fmla="*/ 3665 h 10000"/>
                <a:gd name="connsiteX46" fmla="*/ 7491 w 10000"/>
                <a:gd name="connsiteY46" fmla="*/ 3589 h 10000"/>
                <a:gd name="connsiteX47" fmla="*/ 7517 w 10000"/>
                <a:gd name="connsiteY47" fmla="*/ 3508 h 10000"/>
                <a:gd name="connsiteX48" fmla="*/ 7540 w 10000"/>
                <a:gd name="connsiteY48" fmla="*/ 3424 h 10000"/>
                <a:gd name="connsiteX49" fmla="*/ 7573 w 10000"/>
                <a:gd name="connsiteY49" fmla="*/ 3355 h 10000"/>
                <a:gd name="connsiteX50" fmla="*/ 7606 w 10000"/>
                <a:gd name="connsiteY50" fmla="*/ 3275 h 10000"/>
                <a:gd name="connsiteX51" fmla="*/ 7640 w 10000"/>
                <a:gd name="connsiteY51" fmla="*/ 3194 h 10000"/>
                <a:gd name="connsiteX52" fmla="*/ 7681 w 10000"/>
                <a:gd name="connsiteY52" fmla="*/ 3118 h 10000"/>
                <a:gd name="connsiteX53" fmla="*/ 7715 w 10000"/>
                <a:gd name="connsiteY53" fmla="*/ 3046 h 10000"/>
                <a:gd name="connsiteX54" fmla="*/ 7756 w 10000"/>
                <a:gd name="connsiteY54" fmla="*/ 2964 h 10000"/>
                <a:gd name="connsiteX55" fmla="*/ 7804 w 10000"/>
                <a:gd name="connsiteY55" fmla="*/ 2898 h 10000"/>
                <a:gd name="connsiteX56" fmla="*/ 7846 w 10000"/>
                <a:gd name="connsiteY56" fmla="*/ 2823 h 10000"/>
                <a:gd name="connsiteX57" fmla="*/ 7896 w 10000"/>
                <a:gd name="connsiteY57" fmla="*/ 2754 h 10000"/>
                <a:gd name="connsiteX58" fmla="*/ 7939 w 10000"/>
                <a:gd name="connsiteY58" fmla="*/ 2676 h 10000"/>
                <a:gd name="connsiteX59" fmla="*/ 7997 w 10000"/>
                <a:gd name="connsiteY59" fmla="*/ 2613 h 10000"/>
                <a:gd name="connsiteX60" fmla="*/ 8055 w 10000"/>
                <a:gd name="connsiteY60" fmla="*/ 2538 h 10000"/>
                <a:gd name="connsiteX61" fmla="*/ 8104 w 10000"/>
                <a:gd name="connsiteY61" fmla="*/ 2471 h 10000"/>
                <a:gd name="connsiteX62" fmla="*/ 8160 w 10000"/>
                <a:gd name="connsiteY62" fmla="*/ 2404 h 10000"/>
                <a:gd name="connsiteX63" fmla="*/ 8221 w 10000"/>
                <a:gd name="connsiteY63" fmla="*/ 2331 h 10000"/>
                <a:gd name="connsiteX64" fmla="*/ 8278 w 10000"/>
                <a:gd name="connsiteY64" fmla="*/ 2269 h 10000"/>
                <a:gd name="connsiteX65" fmla="*/ 8344 w 10000"/>
                <a:gd name="connsiteY65" fmla="*/ 2203 h 10000"/>
                <a:gd name="connsiteX66" fmla="*/ 8401 w 10000"/>
                <a:gd name="connsiteY66" fmla="*/ 2145 h 10000"/>
                <a:gd name="connsiteX67" fmla="*/ 8467 w 10000"/>
                <a:gd name="connsiteY67" fmla="*/ 2077 h 10000"/>
                <a:gd name="connsiteX68" fmla="*/ 8496 w 10000"/>
                <a:gd name="connsiteY68" fmla="*/ 2042 h 10000"/>
                <a:gd name="connsiteX69" fmla="*/ 6019 w 10000"/>
                <a:gd name="connsiteY69" fmla="*/ 6 h 10000"/>
                <a:gd name="connsiteX70" fmla="*/ 1564 w 10000"/>
                <a:gd name="connsiteY70" fmla="*/ 0 h 10000"/>
                <a:gd name="connsiteX71" fmla="*/ 1457 w 10000"/>
                <a:gd name="connsiteY71" fmla="*/ 154 h 10000"/>
                <a:gd name="connsiteX72" fmla="*/ 1366 w 10000"/>
                <a:gd name="connsiteY72" fmla="*/ 269 h 10000"/>
                <a:gd name="connsiteX73" fmla="*/ 1283 w 10000"/>
                <a:gd name="connsiteY73" fmla="*/ 397 h 10000"/>
                <a:gd name="connsiteX74" fmla="*/ 1191 w 10000"/>
                <a:gd name="connsiteY74" fmla="*/ 523 h 10000"/>
                <a:gd name="connsiteX75" fmla="*/ 1117 w 10000"/>
                <a:gd name="connsiteY75" fmla="*/ 650 h 10000"/>
                <a:gd name="connsiteX76" fmla="*/ 1035 w 10000"/>
                <a:gd name="connsiteY76" fmla="*/ 775 h 10000"/>
                <a:gd name="connsiteX77" fmla="*/ 960 w 10000"/>
                <a:gd name="connsiteY77" fmla="*/ 910 h 10000"/>
                <a:gd name="connsiteX78" fmla="*/ 885 w 10000"/>
                <a:gd name="connsiteY78" fmla="*/ 1043 h 10000"/>
                <a:gd name="connsiteX79" fmla="*/ 821 w 10000"/>
                <a:gd name="connsiteY79" fmla="*/ 1166 h 10000"/>
                <a:gd name="connsiteX80" fmla="*/ 754 w 10000"/>
                <a:gd name="connsiteY80" fmla="*/ 1304 h 10000"/>
                <a:gd name="connsiteX81" fmla="*/ 687 w 10000"/>
                <a:gd name="connsiteY81" fmla="*/ 1432 h 10000"/>
                <a:gd name="connsiteX82" fmla="*/ 620 w 10000"/>
                <a:gd name="connsiteY82" fmla="*/ 1572 h 10000"/>
                <a:gd name="connsiteX83" fmla="*/ 563 w 10000"/>
                <a:gd name="connsiteY83" fmla="*/ 1699 h 10000"/>
                <a:gd name="connsiteX84" fmla="*/ 504 w 10000"/>
                <a:gd name="connsiteY84" fmla="*/ 1833 h 10000"/>
                <a:gd name="connsiteX85" fmla="*/ 456 w 10000"/>
                <a:gd name="connsiteY85" fmla="*/ 1968 h 10000"/>
                <a:gd name="connsiteX86" fmla="*/ 405 w 10000"/>
                <a:gd name="connsiteY86" fmla="*/ 2104 h 10000"/>
                <a:gd name="connsiteX87" fmla="*/ 355 w 10000"/>
                <a:gd name="connsiteY87" fmla="*/ 2248 h 10000"/>
                <a:gd name="connsiteX88" fmla="*/ 317 w 10000"/>
                <a:gd name="connsiteY88" fmla="*/ 2384 h 10000"/>
                <a:gd name="connsiteX89" fmla="*/ 263 w 10000"/>
                <a:gd name="connsiteY89" fmla="*/ 2526 h 10000"/>
                <a:gd name="connsiteX90" fmla="*/ 232 w 10000"/>
                <a:gd name="connsiteY90" fmla="*/ 2666 h 10000"/>
                <a:gd name="connsiteX91" fmla="*/ 191 w 10000"/>
                <a:gd name="connsiteY91" fmla="*/ 2809 h 10000"/>
                <a:gd name="connsiteX92" fmla="*/ 164 w 10000"/>
                <a:gd name="connsiteY92" fmla="*/ 2953 h 10000"/>
                <a:gd name="connsiteX93" fmla="*/ 131 w 10000"/>
                <a:gd name="connsiteY93" fmla="*/ 3095 h 10000"/>
                <a:gd name="connsiteX94" fmla="*/ 108 w 10000"/>
                <a:gd name="connsiteY94" fmla="*/ 3235 h 10000"/>
                <a:gd name="connsiteX95" fmla="*/ 84 w 10000"/>
                <a:gd name="connsiteY95" fmla="*/ 3382 h 10000"/>
                <a:gd name="connsiteX96" fmla="*/ 56 w 10000"/>
                <a:gd name="connsiteY96" fmla="*/ 3534 h 10000"/>
                <a:gd name="connsiteX97" fmla="*/ 40 w 10000"/>
                <a:gd name="connsiteY97" fmla="*/ 3678 h 10000"/>
                <a:gd name="connsiteX98" fmla="*/ 22 w 10000"/>
                <a:gd name="connsiteY98" fmla="*/ 3822 h 10000"/>
                <a:gd name="connsiteX99" fmla="*/ 15 w 10000"/>
                <a:gd name="connsiteY99" fmla="*/ 3966 h 10000"/>
                <a:gd name="connsiteX100" fmla="*/ 7 w 10000"/>
                <a:gd name="connsiteY100" fmla="*/ 4116 h 10000"/>
                <a:gd name="connsiteX101" fmla="*/ 0 w 10000"/>
                <a:gd name="connsiteY101" fmla="*/ 4261 h 10000"/>
                <a:gd name="connsiteX102" fmla="*/ 0 w 10000"/>
                <a:gd name="connsiteY102" fmla="*/ 4413 h 10000"/>
                <a:gd name="connsiteX103" fmla="*/ 7 w 10000"/>
                <a:gd name="connsiteY103" fmla="*/ 4606 h 10000"/>
                <a:gd name="connsiteX104" fmla="*/ 7 w 10000"/>
                <a:gd name="connsiteY104" fmla="*/ 4798 h 10000"/>
                <a:gd name="connsiteX105" fmla="*/ 22 w 10000"/>
                <a:gd name="connsiteY105" fmla="*/ 4977 h 10000"/>
                <a:gd name="connsiteX106" fmla="*/ 40 w 10000"/>
                <a:gd name="connsiteY106" fmla="*/ 5166 h 10000"/>
                <a:gd name="connsiteX107" fmla="*/ 68 w 10000"/>
                <a:gd name="connsiteY107" fmla="*/ 5353 h 10000"/>
                <a:gd name="connsiteX108" fmla="*/ 101 w 10000"/>
                <a:gd name="connsiteY108" fmla="*/ 5540 h 10000"/>
                <a:gd name="connsiteX109" fmla="*/ 131 w 10000"/>
                <a:gd name="connsiteY109" fmla="*/ 5725 h 10000"/>
                <a:gd name="connsiteX110" fmla="*/ 164 w 10000"/>
                <a:gd name="connsiteY110" fmla="*/ 5909 h 10000"/>
                <a:gd name="connsiteX111" fmla="*/ 217 w 10000"/>
                <a:gd name="connsiteY111" fmla="*/ 6093 h 10000"/>
                <a:gd name="connsiteX112" fmla="*/ 263 w 10000"/>
                <a:gd name="connsiteY112" fmla="*/ 6273 h 10000"/>
                <a:gd name="connsiteX113" fmla="*/ 317 w 10000"/>
                <a:gd name="connsiteY113" fmla="*/ 6456 h 10000"/>
                <a:gd name="connsiteX114" fmla="*/ 372 w 10000"/>
                <a:gd name="connsiteY114" fmla="*/ 6633 h 10000"/>
                <a:gd name="connsiteX115" fmla="*/ 440 w 10000"/>
                <a:gd name="connsiteY115" fmla="*/ 6805 h 10000"/>
                <a:gd name="connsiteX116" fmla="*/ 504 w 10000"/>
                <a:gd name="connsiteY116" fmla="*/ 6984 h 10000"/>
                <a:gd name="connsiteX117" fmla="*/ 579 w 10000"/>
                <a:gd name="connsiteY117" fmla="*/ 7156 h 10000"/>
                <a:gd name="connsiteX118" fmla="*/ 655 w 10000"/>
                <a:gd name="connsiteY118" fmla="*/ 7336 h 10000"/>
                <a:gd name="connsiteX119" fmla="*/ 736 w 10000"/>
                <a:gd name="connsiteY119" fmla="*/ 7502 h 10000"/>
                <a:gd name="connsiteX120" fmla="*/ 828 w 10000"/>
                <a:gd name="connsiteY120" fmla="*/ 7665 h 10000"/>
                <a:gd name="connsiteX121" fmla="*/ 920 w 10000"/>
                <a:gd name="connsiteY121" fmla="*/ 7844 h 10000"/>
                <a:gd name="connsiteX122" fmla="*/ 1009 w 10000"/>
                <a:gd name="connsiteY122" fmla="*/ 8007 h 10000"/>
                <a:gd name="connsiteX123" fmla="*/ 1109 w 10000"/>
                <a:gd name="connsiteY123" fmla="*/ 8168 h 10000"/>
                <a:gd name="connsiteX124" fmla="*/ 1218 w 10000"/>
                <a:gd name="connsiteY124" fmla="*/ 8323 h 10000"/>
                <a:gd name="connsiteX125" fmla="*/ 1324 w 10000"/>
                <a:gd name="connsiteY125" fmla="*/ 8490 h 10000"/>
                <a:gd name="connsiteX126" fmla="*/ 1440 w 10000"/>
                <a:gd name="connsiteY126" fmla="*/ 8651 h 10000"/>
                <a:gd name="connsiteX127" fmla="*/ 1547 w 10000"/>
                <a:gd name="connsiteY127" fmla="*/ 8808 h 10000"/>
                <a:gd name="connsiteX128" fmla="*/ 1672 w 10000"/>
                <a:gd name="connsiteY128" fmla="*/ 8966 h 10000"/>
                <a:gd name="connsiteX129" fmla="*/ 1797 w 10000"/>
                <a:gd name="connsiteY129" fmla="*/ 9114 h 10000"/>
                <a:gd name="connsiteX130" fmla="*/ 1929 w 10000"/>
                <a:gd name="connsiteY130" fmla="*/ 9273 h 10000"/>
                <a:gd name="connsiteX131" fmla="*/ 2060 w 10000"/>
                <a:gd name="connsiteY131" fmla="*/ 9420 h 10000"/>
                <a:gd name="connsiteX132" fmla="*/ 2192 w 10000"/>
                <a:gd name="connsiteY132" fmla="*/ 9566 h 10000"/>
                <a:gd name="connsiteX133" fmla="*/ 2334 w 10000"/>
                <a:gd name="connsiteY133" fmla="*/ 9706 h 10000"/>
                <a:gd name="connsiteX134" fmla="*/ 2484 w 10000"/>
                <a:gd name="connsiteY134" fmla="*/ 9855 h 10000"/>
                <a:gd name="connsiteX135" fmla="*/ 2622 w 10000"/>
                <a:gd name="connsiteY135" fmla="*/ 10000 h 10000"/>
                <a:gd name="connsiteX136" fmla="*/ 4855 w 10000"/>
                <a:gd name="connsiteY136" fmla="*/ 7469 h 10000"/>
                <a:gd name="connsiteX0" fmla="*/ 4855 w 9643"/>
                <a:gd name="connsiteY0" fmla="*/ 7469 h 10000"/>
                <a:gd name="connsiteX1" fmla="*/ 9643 w 9643"/>
                <a:gd name="connsiteY1" fmla="*/ 7536 h 10000"/>
                <a:gd name="connsiteX2" fmla="*/ 9469 w 9643"/>
                <a:gd name="connsiteY2" fmla="*/ 7448 h 10000"/>
                <a:gd name="connsiteX3" fmla="*/ 9312 w 9643"/>
                <a:gd name="connsiteY3" fmla="*/ 7365 h 10000"/>
                <a:gd name="connsiteX4" fmla="*/ 9155 w 9643"/>
                <a:gd name="connsiteY4" fmla="*/ 7266 h 10000"/>
                <a:gd name="connsiteX5" fmla="*/ 8996 w 9643"/>
                <a:gd name="connsiteY5" fmla="*/ 7161 h 10000"/>
                <a:gd name="connsiteX6" fmla="*/ 8848 w 9643"/>
                <a:gd name="connsiteY6" fmla="*/ 7056 h 10000"/>
                <a:gd name="connsiteX7" fmla="*/ 8708 w 9643"/>
                <a:gd name="connsiteY7" fmla="*/ 6942 h 10000"/>
                <a:gd name="connsiteX8" fmla="*/ 8567 w 9643"/>
                <a:gd name="connsiteY8" fmla="*/ 6833 h 10000"/>
                <a:gd name="connsiteX9" fmla="*/ 8435 w 9643"/>
                <a:gd name="connsiteY9" fmla="*/ 6719 h 10000"/>
                <a:gd name="connsiteX10" fmla="*/ 8319 w 9643"/>
                <a:gd name="connsiteY10" fmla="*/ 6593 h 10000"/>
                <a:gd name="connsiteX11" fmla="*/ 8202 w 9643"/>
                <a:gd name="connsiteY11" fmla="*/ 6467 h 10000"/>
                <a:gd name="connsiteX12" fmla="*/ 8096 w 9643"/>
                <a:gd name="connsiteY12" fmla="*/ 6338 h 10000"/>
                <a:gd name="connsiteX13" fmla="*/ 7997 w 9643"/>
                <a:gd name="connsiteY13" fmla="*/ 6209 h 10000"/>
                <a:gd name="connsiteX14" fmla="*/ 7896 w 9643"/>
                <a:gd name="connsiteY14" fmla="*/ 6073 h 10000"/>
                <a:gd name="connsiteX15" fmla="*/ 7804 w 9643"/>
                <a:gd name="connsiteY15" fmla="*/ 5928 h 10000"/>
                <a:gd name="connsiteX16" fmla="*/ 7764 w 9643"/>
                <a:gd name="connsiteY16" fmla="*/ 5865 h 10000"/>
                <a:gd name="connsiteX17" fmla="*/ 7722 w 9643"/>
                <a:gd name="connsiteY17" fmla="*/ 5789 h 10000"/>
                <a:gd name="connsiteX18" fmla="*/ 7689 w 9643"/>
                <a:gd name="connsiteY18" fmla="*/ 5721 h 10000"/>
                <a:gd name="connsiteX19" fmla="*/ 7648 w 9643"/>
                <a:gd name="connsiteY19" fmla="*/ 5646 h 10000"/>
                <a:gd name="connsiteX20" fmla="*/ 7615 w 9643"/>
                <a:gd name="connsiteY20" fmla="*/ 5575 h 10000"/>
                <a:gd name="connsiteX21" fmla="*/ 7581 w 9643"/>
                <a:gd name="connsiteY21" fmla="*/ 5501 h 10000"/>
                <a:gd name="connsiteX22" fmla="*/ 7557 w 9643"/>
                <a:gd name="connsiteY22" fmla="*/ 5424 h 10000"/>
                <a:gd name="connsiteX23" fmla="*/ 7524 w 9643"/>
                <a:gd name="connsiteY23" fmla="*/ 5353 h 10000"/>
                <a:gd name="connsiteX24" fmla="*/ 7506 w 9643"/>
                <a:gd name="connsiteY24" fmla="*/ 5274 h 10000"/>
                <a:gd name="connsiteX25" fmla="*/ 7473 w 9643"/>
                <a:gd name="connsiteY25" fmla="*/ 5200 h 10000"/>
                <a:gd name="connsiteX26" fmla="*/ 7457 w 9643"/>
                <a:gd name="connsiteY26" fmla="*/ 5122 h 10000"/>
                <a:gd name="connsiteX27" fmla="*/ 7442 w 9643"/>
                <a:gd name="connsiteY27" fmla="*/ 5048 h 10000"/>
                <a:gd name="connsiteX28" fmla="*/ 7423 w 9643"/>
                <a:gd name="connsiteY28" fmla="*/ 4966 h 10000"/>
                <a:gd name="connsiteX29" fmla="*/ 7409 w 9643"/>
                <a:gd name="connsiteY29" fmla="*/ 4893 h 10000"/>
                <a:gd name="connsiteX30" fmla="*/ 7392 w 9643"/>
                <a:gd name="connsiteY30" fmla="*/ 4815 h 10000"/>
                <a:gd name="connsiteX31" fmla="*/ 7383 w 9643"/>
                <a:gd name="connsiteY31" fmla="*/ 4739 h 10000"/>
                <a:gd name="connsiteX32" fmla="*/ 7374 w 9643"/>
                <a:gd name="connsiteY32" fmla="*/ 4656 h 10000"/>
                <a:gd name="connsiteX33" fmla="*/ 7364 w 9643"/>
                <a:gd name="connsiteY33" fmla="*/ 4573 h 10000"/>
                <a:gd name="connsiteX34" fmla="*/ 7364 w 9643"/>
                <a:gd name="connsiteY34" fmla="*/ 4497 h 10000"/>
                <a:gd name="connsiteX35" fmla="*/ 7357 w 9643"/>
                <a:gd name="connsiteY35" fmla="*/ 4413 h 10000"/>
                <a:gd name="connsiteX36" fmla="*/ 7364 w 9643"/>
                <a:gd name="connsiteY36" fmla="*/ 4334 h 10000"/>
                <a:gd name="connsiteX37" fmla="*/ 7374 w 9643"/>
                <a:gd name="connsiteY37" fmla="*/ 4248 h 10000"/>
                <a:gd name="connsiteX38" fmla="*/ 7374 w 9643"/>
                <a:gd name="connsiteY38" fmla="*/ 4160 h 10000"/>
                <a:gd name="connsiteX39" fmla="*/ 7383 w 9643"/>
                <a:gd name="connsiteY39" fmla="*/ 4075 h 10000"/>
                <a:gd name="connsiteX40" fmla="*/ 7392 w 9643"/>
                <a:gd name="connsiteY40" fmla="*/ 3990 h 10000"/>
                <a:gd name="connsiteX41" fmla="*/ 7409 w 9643"/>
                <a:gd name="connsiteY41" fmla="*/ 3915 h 10000"/>
                <a:gd name="connsiteX42" fmla="*/ 7423 w 9643"/>
                <a:gd name="connsiteY42" fmla="*/ 3830 h 10000"/>
                <a:gd name="connsiteX43" fmla="*/ 7442 w 9643"/>
                <a:gd name="connsiteY43" fmla="*/ 3750 h 10000"/>
                <a:gd name="connsiteX44" fmla="*/ 7465 w 9643"/>
                <a:gd name="connsiteY44" fmla="*/ 3665 h 10000"/>
                <a:gd name="connsiteX45" fmla="*/ 7491 w 9643"/>
                <a:gd name="connsiteY45" fmla="*/ 3589 h 10000"/>
                <a:gd name="connsiteX46" fmla="*/ 7517 w 9643"/>
                <a:gd name="connsiteY46" fmla="*/ 3508 h 10000"/>
                <a:gd name="connsiteX47" fmla="*/ 7540 w 9643"/>
                <a:gd name="connsiteY47" fmla="*/ 3424 h 10000"/>
                <a:gd name="connsiteX48" fmla="*/ 7573 w 9643"/>
                <a:gd name="connsiteY48" fmla="*/ 3355 h 10000"/>
                <a:gd name="connsiteX49" fmla="*/ 7606 w 9643"/>
                <a:gd name="connsiteY49" fmla="*/ 3275 h 10000"/>
                <a:gd name="connsiteX50" fmla="*/ 7640 w 9643"/>
                <a:gd name="connsiteY50" fmla="*/ 3194 h 10000"/>
                <a:gd name="connsiteX51" fmla="*/ 7681 w 9643"/>
                <a:gd name="connsiteY51" fmla="*/ 3118 h 10000"/>
                <a:gd name="connsiteX52" fmla="*/ 7715 w 9643"/>
                <a:gd name="connsiteY52" fmla="*/ 3046 h 10000"/>
                <a:gd name="connsiteX53" fmla="*/ 7756 w 9643"/>
                <a:gd name="connsiteY53" fmla="*/ 2964 h 10000"/>
                <a:gd name="connsiteX54" fmla="*/ 7804 w 9643"/>
                <a:gd name="connsiteY54" fmla="*/ 2898 h 10000"/>
                <a:gd name="connsiteX55" fmla="*/ 7846 w 9643"/>
                <a:gd name="connsiteY55" fmla="*/ 2823 h 10000"/>
                <a:gd name="connsiteX56" fmla="*/ 7896 w 9643"/>
                <a:gd name="connsiteY56" fmla="*/ 2754 h 10000"/>
                <a:gd name="connsiteX57" fmla="*/ 7939 w 9643"/>
                <a:gd name="connsiteY57" fmla="*/ 2676 h 10000"/>
                <a:gd name="connsiteX58" fmla="*/ 7997 w 9643"/>
                <a:gd name="connsiteY58" fmla="*/ 2613 h 10000"/>
                <a:gd name="connsiteX59" fmla="*/ 8055 w 9643"/>
                <a:gd name="connsiteY59" fmla="*/ 2538 h 10000"/>
                <a:gd name="connsiteX60" fmla="*/ 8104 w 9643"/>
                <a:gd name="connsiteY60" fmla="*/ 2471 h 10000"/>
                <a:gd name="connsiteX61" fmla="*/ 8160 w 9643"/>
                <a:gd name="connsiteY61" fmla="*/ 2404 h 10000"/>
                <a:gd name="connsiteX62" fmla="*/ 8221 w 9643"/>
                <a:gd name="connsiteY62" fmla="*/ 2331 h 10000"/>
                <a:gd name="connsiteX63" fmla="*/ 8278 w 9643"/>
                <a:gd name="connsiteY63" fmla="*/ 2269 h 10000"/>
                <a:gd name="connsiteX64" fmla="*/ 8344 w 9643"/>
                <a:gd name="connsiteY64" fmla="*/ 2203 h 10000"/>
                <a:gd name="connsiteX65" fmla="*/ 8401 w 9643"/>
                <a:gd name="connsiteY65" fmla="*/ 2145 h 10000"/>
                <a:gd name="connsiteX66" fmla="*/ 8467 w 9643"/>
                <a:gd name="connsiteY66" fmla="*/ 2077 h 10000"/>
                <a:gd name="connsiteX67" fmla="*/ 8496 w 9643"/>
                <a:gd name="connsiteY67" fmla="*/ 2042 h 10000"/>
                <a:gd name="connsiteX68" fmla="*/ 6019 w 9643"/>
                <a:gd name="connsiteY68" fmla="*/ 6 h 10000"/>
                <a:gd name="connsiteX69" fmla="*/ 1564 w 9643"/>
                <a:gd name="connsiteY69" fmla="*/ 0 h 10000"/>
                <a:gd name="connsiteX70" fmla="*/ 1457 w 9643"/>
                <a:gd name="connsiteY70" fmla="*/ 154 h 10000"/>
                <a:gd name="connsiteX71" fmla="*/ 1366 w 9643"/>
                <a:gd name="connsiteY71" fmla="*/ 269 h 10000"/>
                <a:gd name="connsiteX72" fmla="*/ 1283 w 9643"/>
                <a:gd name="connsiteY72" fmla="*/ 397 h 10000"/>
                <a:gd name="connsiteX73" fmla="*/ 1191 w 9643"/>
                <a:gd name="connsiteY73" fmla="*/ 523 h 10000"/>
                <a:gd name="connsiteX74" fmla="*/ 1117 w 9643"/>
                <a:gd name="connsiteY74" fmla="*/ 650 h 10000"/>
                <a:gd name="connsiteX75" fmla="*/ 1035 w 9643"/>
                <a:gd name="connsiteY75" fmla="*/ 775 h 10000"/>
                <a:gd name="connsiteX76" fmla="*/ 960 w 9643"/>
                <a:gd name="connsiteY76" fmla="*/ 910 h 10000"/>
                <a:gd name="connsiteX77" fmla="*/ 885 w 9643"/>
                <a:gd name="connsiteY77" fmla="*/ 1043 h 10000"/>
                <a:gd name="connsiteX78" fmla="*/ 821 w 9643"/>
                <a:gd name="connsiteY78" fmla="*/ 1166 h 10000"/>
                <a:gd name="connsiteX79" fmla="*/ 754 w 9643"/>
                <a:gd name="connsiteY79" fmla="*/ 1304 h 10000"/>
                <a:gd name="connsiteX80" fmla="*/ 687 w 9643"/>
                <a:gd name="connsiteY80" fmla="*/ 1432 h 10000"/>
                <a:gd name="connsiteX81" fmla="*/ 620 w 9643"/>
                <a:gd name="connsiteY81" fmla="*/ 1572 h 10000"/>
                <a:gd name="connsiteX82" fmla="*/ 563 w 9643"/>
                <a:gd name="connsiteY82" fmla="*/ 1699 h 10000"/>
                <a:gd name="connsiteX83" fmla="*/ 504 w 9643"/>
                <a:gd name="connsiteY83" fmla="*/ 1833 h 10000"/>
                <a:gd name="connsiteX84" fmla="*/ 456 w 9643"/>
                <a:gd name="connsiteY84" fmla="*/ 1968 h 10000"/>
                <a:gd name="connsiteX85" fmla="*/ 405 w 9643"/>
                <a:gd name="connsiteY85" fmla="*/ 2104 h 10000"/>
                <a:gd name="connsiteX86" fmla="*/ 355 w 9643"/>
                <a:gd name="connsiteY86" fmla="*/ 2248 h 10000"/>
                <a:gd name="connsiteX87" fmla="*/ 317 w 9643"/>
                <a:gd name="connsiteY87" fmla="*/ 2384 h 10000"/>
                <a:gd name="connsiteX88" fmla="*/ 263 w 9643"/>
                <a:gd name="connsiteY88" fmla="*/ 2526 h 10000"/>
                <a:gd name="connsiteX89" fmla="*/ 232 w 9643"/>
                <a:gd name="connsiteY89" fmla="*/ 2666 h 10000"/>
                <a:gd name="connsiteX90" fmla="*/ 191 w 9643"/>
                <a:gd name="connsiteY90" fmla="*/ 2809 h 10000"/>
                <a:gd name="connsiteX91" fmla="*/ 164 w 9643"/>
                <a:gd name="connsiteY91" fmla="*/ 2953 h 10000"/>
                <a:gd name="connsiteX92" fmla="*/ 131 w 9643"/>
                <a:gd name="connsiteY92" fmla="*/ 3095 h 10000"/>
                <a:gd name="connsiteX93" fmla="*/ 108 w 9643"/>
                <a:gd name="connsiteY93" fmla="*/ 3235 h 10000"/>
                <a:gd name="connsiteX94" fmla="*/ 84 w 9643"/>
                <a:gd name="connsiteY94" fmla="*/ 3382 h 10000"/>
                <a:gd name="connsiteX95" fmla="*/ 56 w 9643"/>
                <a:gd name="connsiteY95" fmla="*/ 3534 h 10000"/>
                <a:gd name="connsiteX96" fmla="*/ 40 w 9643"/>
                <a:gd name="connsiteY96" fmla="*/ 3678 h 10000"/>
                <a:gd name="connsiteX97" fmla="*/ 22 w 9643"/>
                <a:gd name="connsiteY97" fmla="*/ 3822 h 10000"/>
                <a:gd name="connsiteX98" fmla="*/ 15 w 9643"/>
                <a:gd name="connsiteY98" fmla="*/ 3966 h 10000"/>
                <a:gd name="connsiteX99" fmla="*/ 7 w 9643"/>
                <a:gd name="connsiteY99" fmla="*/ 4116 h 10000"/>
                <a:gd name="connsiteX100" fmla="*/ 0 w 9643"/>
                <a:gd name="connsiteY100" fmla="*/ 4261 h 10000"/>
                <a:gd name="connsiteX101" fmla="*/ 0 w 9643"/>
                <a:gd name="connsiteY101" fmla="*/ 4413 h 10000"/>
                <a:gd name="connsiteX102" fmla="*/ 7 w 9643"/>
                <a:gd name="connsiteY102" fmla="*/ 4606 h 10000"/>
                <a:gd name="connsiteX103" fmla="*/ 7 w 9643"/>
                <a:gd name="connsiteY103" fmla="*/ 4798 h 10000"/>
                <a:gd name="connsiteX104" fmla="*/ 22 w 9643"/>
                <a:gd name="connsiteY104" fmla="*/ 4977 h 10000"/>
                <a:gd name="connsiteX105" fmla="*/ 40 w 9643"/>
                <a:gd name="connsiteY105" fmla="*/ 5166 h 10000"/>
                <a:gd name="connsiteX106" fmla="*/ 68 w 9643"/>
                <a:gd name="connsiteY106" fmla="*/ 5353 h 10000"/>
                <a:gd name="connsiteX107" fmla="*/ 101 w 9643"/>
                <a:gd name="connsiteY107" fmla="*/ 5540 h 10000"/>
                <a:gd name="connsiteX108" fmla="*/ 131 w 9643"/>
                <a:gd name="connsiteY108" fmla="*/ 5725 h 10000"/>
                <a:gd name="connsiteX109" fmla="*/ 164 w 9643"/>
                <a:gd name="connsiteY109" fmla="*/ 5909 h 10000"/>
                <a:gd name="connsiteX110" fmla="*/ 217 w 9643"/>
                <a:gd name="connsiteY110" fmla="*/ 6093 h 10000"/>
                <a:gd name="connsiteX111" fmla="*/ 263 w 9643"/>
                <a:gd name="connsiteY111" fmla="*/ 6273 h 10000"/>
                <a:gd name="connsiteX112" fmla="*/ 317 w 9643"/>
                <a:gd name="connsiteY112" fmla="*/ 6456 h 10000"/>
                <a:gd name="connsiteX113" fmla="*/ 372 w 9643"/>
                <a:gd name="connsiteY113" fmla="*/ 6633 h 10000"/>
                <a:gd name="connsiteX114" fmla="*/ 440 w 9643"/>
                <a:gd name="connsiteY114" fmla="*/ 6805 h 10000"/>
                <a:gd name="connsiteX115" fmla="*/ 504 w 9643"/>
                <a:gd name="connsiteY115" fmla="*/ 6984 h 10000"/>
                <a:gd name="connsiteX116" fmla="*/ 579 w 9643"/>
                <a:gd name="connsiteY116" fmla="*/ 7156 h 10000"/>
                <a:gd name="connsiteX117" fmla="*/ 655 w 9643"/>
                <a:gd name="connsiteY117" fmla="*/ 7336 h 10000"/>
                <a:gd name="connsiteX118" fmla="*/ 736 w 9643"/>
                <a:gd name="connsiteY118" fmla="*/ 7502 h 10000"/>
                <a:gd name="connsiteX119" fmla="*/ 828 w 9643"/>
                <a:gd name="connsiteY119" fmla="*/ 7665 h 10000"/>
                <a:gd name="connsiteX120" fmla="*/ 920 w 9643"/>
                <a:gd name="connsiteY120" fmla="*/ 7844 h 10000"/>
                <a:gd name="connsiteX121" fmla="*/ 1009 w 9643"/>
                <a:gd name="connsiteY121" fmla="*/ 8007 h 10000"/>
                <a:gd name="connsiteX122" fmla="*/ 1109 w 9643"/>
                <a:gd name="connsiteY122" fmla="*/ 8168 h 10000"/>
                <a:gd name="connsiteX123" fmla="*/ 1218 w 9643"/>
                <a:gd name="connsiteY123" fmla="*/ 8323 h 10000"/>
                <a:gd name="connsiteX124" fmla="*/ 1324 w 9643"/>
                <a:gd name="connsiteY124" fmla="*/ 8490 h 10000"/>
                <a:gd name="connsiteX125" fmla="*/ 1440 w 9643"/>
                <a:gd name="connsiteY125" fmla="*/ 8651 h 10000"/>
                <a:gd name="connsiteX126" fmla="*/ 1547 w 9643"/>
                <a:gd name="connsiteY126" fmla="*/ 8808 h 10000"/>
                <a:gd name="connsiteX127" fmla="*/ 1672 w 9643"/>
                <a:gd name="connsiteY127" fmla="*/ 8966 h 10000"/>
                <a:gd name="connsiteX128" fmla="*/ 1797 w 9643"/>
                <a:gd name="connsiteY128" fmla="*/ 9114 h 10000"/>
                <a:gd name="connsiteX129" fmla="*/ 1929 w 9643"/>
                <a:gd name="connsiteY129" fmla="*/ 9273 h 10000"/>
                <a:gd name="connsiteX130" fmla="*/ 2060 w 9643"/>
                <a:gd name="connsiteY130" fmla="*/ 9420 h 10000"/>
                <a:gd name="connsiteX131" fmla="*/ 2192 w 9643"/>
                <a:gd name="connsiteY131" fmla="*/ 9566 h 10000"/>
                <a:gd name="connsiteX132" fmla="*/ 2334 w 9643"/>
                <a:gd name="connsiteY132" fmla="*/ 9706 h 10000"/>
                <a:gd name="connsiteX133" fmla="*/ 2484 w 9643"/>
                <a:gd name="connsiteY133" fmla="*/ 9855 h 10000"/>
                <a:gd name="connsiteX134" fmla="*/ 2622 w 9643"/>
                <a:gd name="connsiteY134" fmla="*/ 10000 h 10000"/>
                <a:gd name="connsiteX135" fmla="*/ 4855 w 9643"/>
                <a:gd name="connsiteY135" fmla="*/ 7469 h 10000"/>
                <a:gd name="connsiteX0" fmla="*/ 5035 w 9820"/>
                <a:gd name="connsiteY0" fmla="*/ 7469 h 10000"/>
                <a:gd name="connsiteX1" fmla="*/ 9820 w 9820"/>
                <a:gd name="connsiteY1" fmla="*/ 7448 h 10000"/>
                <a:gd name="connsiteX2" fmla="*/ 9657 w 9820"/>
                <a:gd name="connsiteY2" fmla="*/ 7365 h 10000"/>
                <a:gd name="connsiteX3" fmla="*/ 9494 w 9820"/>
                <a:gd name="connsiteY3" fmla="*/ 7266 h 10000"/>
                <a:gd name="connsiteX4" fmla="*/ 9329 w 9820"/>
                <a:gd name="connsiteY4" fmla="*/ 7161 h 10000"/>
                <a:gd name="connsiteX5" fmla="*/ 9176 w 9820"/>
                <a:gd name="connsiteY5" fmla="*/ 7056 h 10000"/>
                <a:gd name="connsiteX6" fmla="*/ 9030 w 9820"/>
                <a:gd name="connsiteY6" fmla="*/ 6942 h 10000"/>
                <a:gd name="connsiteX7" fmla="*/ 8884 w 9820"/>
                <a:gd name="connsiteY7" fmla="*/ 6833 h 10000"/>
                <a:gd name="connsiteX8" fmla="*/ 8747 w 9820"/>
                <a:gd name="connsiteY8" fmla="*/ 6719 h 10000"/>
                <a:gd name="connsiteX9" fmla="*/ 8627 w 9820"/>
                <a:gd name="connsiteY9" fmla="*/ 6593 h 10000"/>
                <a:gd name="connsiteX10" fmla="*/ 8506 w 9820"/>
                <a:gd name="connsiteY10" fmla="*/ 6467 h 10000"/>
                <a:gd name="connsiteX11" fmla="*/ 8396 w 9820"/>
                <a:gd name="connsiteY11" fmla="*/ 6338 h 10000"/>
                <a:gd name="connsiteX12" fmla="*/ 8293 w 9820"/>
                <a:gd name="connsiteY12" fmla="*/ 6209 h 10000"/>
                <a:gd name="connsiteX13" fmla="*/ 8188 w 9820"/>
                <a:gd name="connsiteY13" fmla="*/ 6073 h 10000"/>
                <a:gd name="connsiteX14" fmla="*/ 8093 w 9820"/>
                <a:gd name="connsiteY14" fmla="*/ 5928 h 10000"/>
                <a:gd name="connsiteX15" fmla="*/ 8051 w 9820"/>
                <a:gd name="connsiteY15" fmla="*/ 5865 h 10000"/>
                <a:gd name="connsiteX16" fmla="*/ 8008 w 9820"/>
                <a:gd name="connsiteY16" fmla="*/ 5789 h 10000"/>
                <a:gd name="connsiteX17" fmla="*/ 7974 w 9820"/>
                <a:gd name="connsiteY17" fmla="*/ 5721 h 10000"/>
                <a:gd name="connsiteX18" fmla="*/ 7931 w 9820"/>
                <a:gd name="connsiteY18" fmla="*/ 5646 h 10000"/>
                <a:gd name="connsiteX19" fmla="*/ 7897 w 9820"/>
                <a:gd name="connsiteY19" fmla="*/ 5575 h 10000"/>
                <a:gd name="connsiteX20" fmla="*/ 7862 w 9820"/>
                <a:gd name="connsiteY20" fmla="*/ 5501 h 10000"/>
                <a:gd name="connsiteX21" fmla="*/ 7837 w 9820"/>
                <a:gd name="connsiteY21" fmla="*/ 5424 h 10000"/>
                <a:gd name="connsiteX22" fmla="*/ 7803 w 9820"/>
                <a:gd name="connsiteY22" fmla="*/ 5353 h 10000"/>
                <a:gd name="connsiteX23" fmla="*/ 7784 w 9820"/>
                <a:gd name="connsiteY23" fmla="*/ 5274 h 10000"/>
                <a:gd name="connsiteX24" fmla="*/ 7750 w 9820"/>
                <a:gd name="connsiteY24" fmla="*/ 5200 h 10000"/>
                <a:gd name="connsiteX25" fmla="*/ 7733 w 9820"/>
                <a:gd name="connsiteY25" fmla="*/ 5122 h 10000"/>
                <a:gd name="connsiteX26" fmla="*/ 7718 w 9820"/>
                <a:gd name="connsiteY26" fmla="*/ 5048 h 10000"/>
                <a:gd name="connsiteX27" fmla="*/ 7698 w 9820"/>
                <a:gd name="connsiteY27" fmla="*/ 4966 h 10000"/>
                <a:gd name="connsiteX28" fmla="*/ 7683 w 9820"/>
                <a:gd name="connsiteY28" fmla="*/ 4893 h 10000"/>
                <a:gd name="connsiteX29" fmla="*/ 7666 w 9820"/>
                <a:gd name="connsiteY29" fmla="*/ 4815 h 10000"/>
                <a:gd name="connsiteX30" fmla="*/ 7656 w 9820"/>
                <a:gd name="connsiteY30" fmla="*/ 4739 h 10000"/>
                <a:gd name="connsiteX31" fmla="*/ 7647 w 9820"/>
                <a:gd name="connsiteY31" fmla="*/ 4656 h 10000"/>
                <a:gd name="connsiteX32" fmla="*/ 7637 w 9820"/>
                <a:gd name="connsiteY32" fmla="*/ 4573 h 10000"/>
                <a:gd name="connsiteX33" fmla="*/ 7637 w 9820"/>
                <a:gd name="connsiteY33" fmla="*/ 4497 h 10000"/>
                <a:gd name="connsiteX34" fmla="*/ 7629 w 9820"/>
                <a:gd name="connsiteY34" fmla="*/ 4413 h 10000"/>
                <a:gd name="connsiteX35" fmla="*/ 7637 w 9820"/>
                <a:gd name="connsiteY35" fmla="*/ 4334 h 10000"/>
                <a:gd name="connsiteX36" fmla="*/ 7647 w 9820"/>
                <a:gd name="connsiteY36" fmla="*/ 4248 h 10000"/>
                <a:gd name="connsiteX37" fmla="*/ 7647 w 9820"/>
                <a:gd name="connsiteY37" fmla="*/ 4160 h 10000"/>
                <a:gd name="connsiteX38" fmla="*/ 7656 w 9820"/>
                <a:gd name="connsiteY38" fmla="*/ 4075 h 10000"/>
                <a:gd name="connsiteX39" fmla="*/ 7666 w 9820"/>
                <a:gd name="connsiteY39" fmla="*/ 3990 h 10000"/>
                <a:gd name="connsiteX40" fmla="*/ 7683 w 9820"/>
                <a:gd name="connsiteY40" fmla="*/ 3915 h 10000"/>
                <a:gd name="connsiteX41" fmla="*/ 7698 w 9820"/>
                <a:gd name="connsiteY41" fmla="*/ 3830 h 10000"/>
                <a:gd name="connsiteX42" fmla="*/ 7718 w 9820"/>
                <a:gd name="connsiteY42" fmla="*/ 3750 h 10000"/>
                <a:gd name="connsiteX43" fmla="*/ 7741 w 9820"/>
                <a:gd name="connsiteY43" fmla="*/ 3665 h 10000"/>
                <a:gd name="connsiteX44" fmla="*/ 7768 w 9820"/>
                <a:gd name="connsiteY44" fmla="*/ 3589 h 10000"/>
                <a:gd name="connsiteX45" fmla="*/ 7795 w 9820"/>
                <a:gd name="connsiteY45" fmla="*/ 3508 h 10000"/>
                <a:gd name="connsiteX46" fmla="*/ 7819 w 9820"/>
                <a:gd name="connsiteY46" fmla="*/ 3424 h 10000"/>
                <a:gd name="connsiteX47" fmla="*/ 7853 w 9820"/>
                <a:gd name="connsiteY47" fmla="*/ 3355 h 10000"/>
                <a:gd name="connsiteX48" fmla="*/ 7888 w 9820"/>
                <a:gd name="connsiteY48" fmla="*/ 3275 h 10000"/>
                <a:gd name="connsiteX49" fmla="*/ 7923 w 9820"/>
                <a:gd name="connsiteY49" fmla="*/ 3194 h 10000"/>
                <a:gd name="connsiteX50" fmla="*/ 7965 w 9820"/>
                <a:gd name="connsiteY50" fmla="*/ 3118 h 10000"/>
                <a:gd name="connsiteX51" fmla="*/ 8001 w 9820"/>
                <a:gd name="connsiteY51" fmla="*/ 3046 h 10000"/>
                <a:gd name="connsiteX52" fmla="*/ 8043 w 9820"/>
                <a:gd name="connsiteY52" fmla="*/ 2964 h 10000"/>
                <a:gd name="connsiteX53" fmla="*/ 8093 w 9820"/>
                <a:gd name="connsiteY53" fmla="*/ 2898 h 10000"/>
                <a:gd name="connsiteX54" fmla="*/ 8136 w 9820"/>
                <a:gd name="connsiteY54" fmla="*/ 2823 h 10000"/>
                <a:gd name="connsiteX55" fmla="*/ 8188 w 9820"/>
                <a:gd name="connsiteY55" fmla="*/ 2754 h 10000"/>
                <a:gd name="connsiteX56" fmla="*/ 8233 w 9820"/>
                <a:gd name="connsiteY56" fmla="*/ 2676 h 10000"/>
                <a:gd name="connsiteX57" fmla="*/ 8293 w 9820"/>
                <a:gd name="connsiteY57" fmla="*/ 2613 h 10000"/>
                <a:gd name="connsiteX58" fmla="*/ 8353 w 9820"/>
                <a:gd name="connsiteY58" fmla="*/ 2538 h 10000"/>
                <a:gd name="connsiteX59" fmla="*/ 8404 w 9820"/>
                <a:gd name="connsiteY59" fmla="*/ 2471 h 10000"/>
                <a:gd name="connsiteX60" fmla="*/ 8462 w 9820"/>
                <a:gd name="connsiteY60" fmla="*/ 2404 h 10000"/>
                <a:gd name="connsiteX61" fmla="*/ 8525 w 9820"/>
                <a:gd name="connsiteY61" fmla="*/ 2331 h 10000"/>
                <a:gd name="connsiteX62" fmla="*/ 8584 w 9820"/>
                <a:gd name="connsiteY62" fmla="*/ 2269 h 10000"/>
                <a:gd name="connsiteX63" fmla="*/ 8653 w 9820"/>
                <a:gd name="connsiteY63" fmla="*/ 2203 h 10000"/>
                <a:gd name="connsiteX64" fmla="*/ 8712 w 9820"/>
                <a:gd name="connsiteY64" fmla="*/ 2145 h 10000"/>
                <a:gd name="connsiteX65" fmla="*/ 8780 w 9820"/>
                <a:gd name="connsiteY65" fmla="*/ 2077 h 10000"/>
                <a:gd name="connsiteX66" fmla="*/ 8811 w 9820"/>
                <a:gd name="connsiteY66" fmla="*/ 2042 h 10000"/>
                <a:gd name="connsiteX67" fmla="*/ 6242 w 9820"/>
                <a:gd name="connsiteY67" fmla="*/ 6 h 10000"/>
                <a:gd name="connsiteX68" fmla="*/ 1622 w 9820"/>
                <a:gd name="connsiteY68" fmla="*/ 0 h 10000"/>
                <a:gd name="connsiteX69" fmla="*/ 1511 w 9820"/>
                <a:gd name="connsiteY69" fmla="*/ 154 h 10000"/>
                <a:gd name="connsiteX70" fmla="*/ 1417 w 9820"/>
                <a:gd name="connsiteY70" fmla="*/ 269 h 10000"/>
                <a:gd name="connsiteX71" fmla="*/ 1330 w 9820"/>
                <a:gd name="connsiteY71" fmla="*/ 397 h 10000"/>
                <a:gd name="connsiteX72" fmla="*/ 1235 w 9820"/>
                <a:gd name="connsiteY72" fmla="*/ 523 h 10000"/>
                <a:gd name="connsiteX73" fmla="*/ 1158 w 9820"/>
                <a:gd name="connsiteY73" fmla="*/ 650 h 10000"/>
                <a:gd name="connsiteX74" fmla="*/ 1073 w 9820"/>
                <a:gd name="connsiteY74" fmla="*/ 775 h 10000"/>
                <a:gd name="connsiteX75" fmla="*/ 996 w 9820"/>
                <a:gd name="connsiteY75" fmla="*/ 910 h 10000"/>
                <a:gd name="connsiteX76" fmla="*/ 918 w 9820"/>
                <a:gd name="connsiteY76" fmla="*/ 1043 h 10000"/>
                <a:gd name="connsiteX77" fmla="*/ 851 w 9820"/>
                <a:gd name="connsiteY77" fmla="*/ 1166 h 10000"/>
                <a:gd name="connsiteX78" fmla="*/ 782 w 9820"/>
                <a:gd name="connsiteY78" fmla="*/ 1304 h 10000"/>
                <a:gd name="connsiteX79" fmla="*/ 712 w 9820"/>
                <a:gd name="connsiteY79" fmla="*/ 1432 h 10000"/>
                <a:gd name="connsiteX80" fmla="*/ 643 w 9820"/>
                <a:gd name="connsiteY80" fmla="*/ 1572 h 10000"/>
                <a:gd name="connsiteX81" fmla="*/ 584 w 9820"/>
                <a:gd name="connsiteY81" fmla="*/ 1699 h 10000"/>
                <a:gd name="connsiteX82" fmla="*/ 523 w 9820"/>
                <a:gd name="connsiteY82" fmla="*/ 1833 h 10000"/>
                <a:gd name="connsiteX83" fmla="*/ 473 w 9820"/>
                <a:gd name="connsiteY83" fmla="*/ 1968 h 10000"/>
                <a:gd name="connsiteX84" fmla="*/ 420 w 9820"/>
                <a:gd name="connsiteY84" fmla="*/ 2104 h 10000"/>
                <a:gd name="connsiteX85" fmla="*/ 368 w 9820"/>
                <a:gd name="connsiteY85" fmla="*/ 2248 h 10000"/>
                <a:gd name="connsiteX86" fmla="*/ 329 w 9820"/>
                <a:gd name="connsiteY86" fmla="*/ 2384 h 10000"/>
                <a:gd name="connsiteX87" fmla="*/ 273 w 9820"/>
                <a:gd name="connsiteY87" fmla="*/ 2526 h 10000"/>
                <a:gd name="connsiteX88" fmla="*/ 241 w 9820"/>
                <a:gd name="connsiteY88" fmla="*/ 2666 h 10000"/>
                <a:gd name="connsiteX89" fmla="*/ 198 w 9820"/>
                <a:gd name="connsiteY89" fmla="*/ 2809 h 10000"/>
                <a:gd name="connsiteX90" fmla="*/ 170 w 9820"/>
                <a:gd name="connsiteY90" fmla="*/ 2953 h 10000"/>
                <a:gd name="connsiteX91" fmla="*/ 136 w 9820"/>
                <a:gd name="connsiteY91" fmla="*/ 3095 h 10000"/>
                <a:gd name="connsiteX92" fmla="*/ 112 w 9820"/>
                <a:gd name="connsiteY92" fmla="*/ 3235 h 10000"/>
                <a:gd name="connsiteX93" fmla="*/ 87 w 9820"/>
                <a:gd name="connsiteY93" fmla="*/ 3382 h 10000"/>
                <a:gd name="connsiteX94" fmla="*/ 58 w 9820"/>
                <a:gd name="connsiteY94" fmla="*/ 3534 h 10000"/>
                <a:gd name="connsiteX95" fmla="*/ 41 w 9820"/>
                <a:gd name="connsiteY95" fmla="*/ 3678 h 10000"/>
                <a:gd name="connsiteX96" fmla="*/ 23 w 9820"/>
                <a:gd name="connsiteY96" fmla="*/ 3822 h 10000"/>
                <a:gd name="connsiteX97" fmla="*/ 16 w 9820"/>
                <a:gd name="connsiteY97" fmla="*/ 3966 h 10000"/>
                <a:gd name="connsiteX98" fmla="*/ 7 w 9820"/>
                <a:gd name="connsiteY98" fmla="*/ 4116 h 10000"/>
                <a:gd name="connsiteX99" fmla="*/ 0 w 9820"/>
                <a:gd name="connsiteY99" fmla="*/ 4261 h 10000"/>
                <a:gd name="connsiteX100" fmla="*/ 0 w 9820"/>
                <a:gd name="connsiteY100" fmla="*/ 4413 h 10000"/>
                <a:gd name="connsiteX101" fmla="*/ 7 w 9820"/>
                <a:gd name="connsiteY101" fmla="*/ 4606 h 10000"/>
                <a:gd name="connsiteX102" fmla="*/ 7 w 9820"/>
                <a:gd name="connsiteY102" fmla="*/ 4798 h 10000"/>
                <a:gd name="connsiteX103" fmla="*/ 23 w 9820"/>
                <a:gd name="connsiteY103" fmla="*/ 4977 h 10000"/>
                <a:gd name="connsiteX104" fmla="*/ 41 w 9820"/>
                <a:gd name="connsiteY104" fmla="*/ 5166 h 10000"/>
                <a:gd name="connsiteX105" fmla="*/ 71 w 9820"/>
                <a:gd name="connsiteY105" fmla="*/ 5353 h 10000"/>
                <a:gd name="connsiteX106" fmla="*/ 105 w 9820"/>
                <a:gd name="connsiteY106" fmla="*/ 5540 h 10000"/>
                <a:gd name="connsiteX107" fmla="*/ 136 w 9820"/>
                <a:gd name="connsiteY107" fmla="*/ 5725 h 10000"/>
                <a:gd name="connsiteX108" fmla="*/ 170 w 9820"/>
                <a:gd name="connsiteY108" fmla="*/ 5909 h 10000"/>
                <a:gd name="connsiteX109" fmla="*/ 225 w 9820"/>
                <a:gd name="connsiteY109" fmla="*/ 6093 h 10000"/>
                <a:gd name="connsiteX110" fmla="*/ 273 w 9820"/>
                <a:gd name="connsiteY110" fmla="*/ 6273 h 10000"/>
                <a:gd name="connsiteX111" fmla="*/ 329 w 9820"/>
                <a:gd name="connsiteY111" fmla="*/ 6456 h 10000"/>
                <a:gd name="connsiteX112" fmla="*/ 386 w 9820"/>
                <a:gd name="connsiteY112" fmla="*/ 6633 h 10000"/>
                <a:gd name="connsiteX113" fmla="*/ 456 w 9820"/>
                <a:gd name="connsiteY113" fmla="*/ 6805 h 10000"/>
                <a:gd name="connsiteX114" fmla="*/ 523 w 9820"/>
                <a:gd name="connsiteY114" fmla="*/ 6984 h 10000"/>
                <a:gd name="connsiteX115" fmla="*/ 600 w 9820"/>
                <a:gd name="connsiteY115" fmla="*/ 7156 h 10000"/>
                <a:gd name="connsiteX116" fmla="*/ 679 w 9820"/>
                <a:gd name="connsiteY116" fmla="*/ 7336 h 10000"/>
                <a:gd name="connsiteX117" fmla="*/ 763 w 9820"/>
                <a:gd name="connsiteY117" fmla="*/ 7502 h 10000"/>
                <a:gd name="connsiteX118" fmla="*/ 859 w 9820"/>
                <a:gd name="connsiteY118" fmla="*/ 7665 h 10000"/>
                <a:gd name="connsiteX119" fmla="*/ 954 w 9820"/>
                <a:gd name="connsiteY119" fmla="*/ 7844 h 10000"/>
                <a:gd name="connsiteX120" fmla="*/ 1046 w 9820"/>
                <a:gd name="connsiteY120" fmla="*/ 8007 h 10000"/>
                <a:gd name="connsiteX121" fmla="*/ 1150 w 9820"/>
                <a:gd name="connsiteY121" fmla="*/ 8168 h 10000"/>
                <a:gd name="connsiteX122" fmla="*/ 1263 w 9820"/>
                <a:gd name="connsiteY122" fmla="*/ 8323 h 10000"/>
                <a:gd name="connsiteX123" fmla="*/ 1373 w 9820"/>
                <a:gd name="connsiteY123" fmla="*/ 8490 h 10000"/>
                <a:gd name="connsiteX124" fmla="*/ 1493 w 9820"/>
                <a:gd name="connsiteY124" fmla="*/ 8651 h 10000"/>
                <a:gd name="connsiteX125" fmla="*/ 1604 w 9820"/>
                <a:gd name="connsiteY125" fmla="*/ 8808 h 10000"/>
                <a:gd name="connsiteX126" fmla="*/ 1734 w 9820"/>
                <a:gd name="connsiteY126" fmla="*/ 8966 h 10000"/>
                <a:gd name="connsiteX127" fmla="*/ 1864 w 9820"/>
                <a:gd name="connsiteY127" fmla="*/ 9114 h 10000"/>
                <a:gd name="connsiteX128" fmla="*/ 2000 w 9820"/>
                <a:gd name="connsiteY128" fmla="*/ 9273 h 10000"/>
                <a:gd name="connsiteX129" fmla="*/ 2136 w 9820"/>
                <a:gd name="connsiteY129" fmla="*/ 9420 h 10000"/>
                <a:gd name="connsiteX130" fmla="*/ 2273 w 9820"/>
                <a:gd name="connsiteY130" fmla="*/ 9566 h 10000"/>
                <a:gd name="connsiteX131" fmla="*/ 2420 w 9820"/>
                <a:gd name="connsiteY131" fmla="*/ 9706 h 10000"/>
                <a:gd name="connsiteX132" fmla="*/ 2576 w 9820"/>
                <a:gd name="connsiteY132" fmla="*/ 9855 h 10000"/>
                <a:gd name="connsiteX133" fmla="*/ 2719 w 9820"/>
                <a:gd name="connsiteY133" fmla="*/ 10000 h 10000"/>
                <a:gd name="connsiteX134" fmla="*/ 5035 w 9820"/>
                <a:gd name="connsiteY134" fmla="*/ 7469 h 10000"/>
                <a:gd name="connsiteX0" fmla="*/ 5127 w 10280"/>
                <a:gd name="connsiteY0" fmla="*/ 7469 h 10000"/>
                <a:gd name="connsiteX1" fmla="*/ 10000 w 10280"/>
                <a:gd name="connsiteY1" fmla="*/ 7448 h 10000"/>
                <a:gd name="connsiteX2" fmla="*/ 9668 w 10280"/>
                <a:gd name="connsiteY2" fmla="*/ 7266 h 10000"/>
                <a:gd name="connsiteX3" fmla="*/ 9500 w 10280"/>
                <a:gd name="connsiteY3" fmla="*/ 7161 h 10000"/>
                <a:gd name="connsiteX4" fmla="*/ 9344 w 10280"/>
                <a:gd name="connsiteY4" fmla="*/ 7056 h 10000"/>
                <a:gd name="connsiteX5" fmla="*/ 9196 w 10280"/>
                <a:gd name="connsiteY5" fmla="*/ 6942 h 10000"/>
                <a:gd name="connsiteX6" fmla="*/ 9047 w 10280"/>
                <a:gd name="connsiteY6" fmla="*/ 6833 h 10000"/>
                <a:gd name="connsiteX7" fmla="*/ 8907 w 10280"/>
                <a:gd name="connsiteY7" fmla="*/ 6719 h 10000"/>
                <a:gd name="connsiteX8" fmla="*/ 8785 w 10280"/>
                <a:gd name="connsiteY8" fmla="*/ 6593 h 10000"/>
                <a:gd name="connsiteX9" fmla="*/ 8662 w 10280"/>
                <a:gd name="connsiteY9" fmla="*/ 6467 h 10000"/>
                <a:gd name="connsiteX10" fmla="*/ 8550 w 10280"/>
                <a:gd name="connsiteY10" fmla="*/ 6338 h 10000"/>
                <a:gd name="connsiteX11" fmla="*/ 8445 w 10280"/>
                <a:gd name="connsiteY11" fmla="*/ 6209 h 10000"/>
                <a:gd name="connsiteX12" fmla="*/ 8338 w 10280"/>
                <a:gd name="connsiteY12" fmla="*/ 6073 h 10000"/>
                <a:gd name="connsiteX13" fmla="*/ 8241 w 10280"/>
                <a:gd name="connsiteY13" fmla="*/ 5928 h 10000"/>
                <a:gd name="connsiteX14" fmla="*/ 8199 w 10280"/>
                <a:gd name="connsiteY14" fmla="*/ 5865 h 10000"/>
                <a:gd name="connsiteX15" fmla="*/ 8155 w 10280"/>
                <a:gd name="connsiteY15" fmla="*/ 5789 h 10000"/>
                <a:gd name="connsiteX16" fmla="*/ 8120 w 10280"/>
                <a:gd name="connsiteY16" fmla="*/ 5721 h 10000"/>
                <a:gd name="connsiteX17" fmla="*/ 8076 w 10280"/>
                <a:gd name="connsiteY17" fmla="*/ 5646 h 10000"/>
                <a:gd name="connsiteX18" fmla="*/ 8042 w 10280"/>
                <a:gd name="connsiteY18" fmla="*/ 5575 h 10000"/>
                <a:gd name="connsiteX19" fmla="*/ 8006 w 10280"/>
                <a:gd name="connsiteY19" fmla="*/ 5501 h 10000"/>
                <a:gd name="connsiteX20" fmla="*/ 7981 w 10280"/>
                <a:gd name="connsiteY20" fmla="*/ 5424 h 10000"/>
                <a:gd name="connsiteX21" fmla="*/ 7946 w 10280"/>
                <a:gd name="connsiteY21" fmla="*/ 5353 h 10000"/>
                <a:gd name="connsiteX22" fmla="*/ 7927 w 10280"/>
                <a:gd name="connsiteY22" fmla="*/ 5274 h 10000"/>
                <a:gd name="connsiteX23" fmla="*/ 7892 w 10280"/>
                <a:gd name="connsiteY23" fmla="*/ 5200 h 10000"/>
                <a:gd name="connsiteX24" fmla="*/ 7875 w 10280"/>
                <a:gd name="connsiteY24" fmla="*/ 5122 h 10000"/>
                <a:gd name="connsiteX25" fmla="*/ 7859 w 10280"/>
                <a:gd name="connsiteY25" fmla="*/ 5048 h 10000"/>
                <a:gd name="connsiteX26" fmla="*/ 7839 w 10280"/>
                <a:gd name="connsiteY26" fmla="*/ 4966 h 10000"/>
                <a:gd name="connsiteX27" fmla="*/ 7824 w 10280"/>
                <a:gd name="connsiteY27" fmla="*/ 4893 h 10000"/>
                <a:gd name="connsiteX28" fmla="*/ 7807 w 10280"/>
                <a:gd name="connsiteY28" fmla="*/ 4815 h 10000"/>
                <a:gd name="connsiteX29" fmla="*/ 7796 w 10280"/>
                <a:gd name="connsiteY29" fmla="*/ 4739 h 10000"/>
                <a:gd name="connsiteX30" fmla="*/ 7787 w 10280"/>
                <a:gd name="connsiteY30" fmla="*/ 4656 h 10000"/>
                <a:gd name="connsiteX31" fmla="*/ 7777 w 10280"/>
                <a:gd name="connsiteY31" fmla="*/ 4573 h 10000"/>
                <a:gd name="connsiteX32" fmla="*/ 7777 w 10280"/>
                <a:gd name="connsiteY32" fmla="*/ 4497 h 10000"/>
                <a:gd name="connsiteX33" fmla="*/ 7769 w 10280"/>
                <a:gd name="connsiteY33" fmla="*/ 4413 h 10000"/>
                <a:gd name="connsiteX34" fmla="*/ 7777 w 10280"/>
                <a:gd name="connsiteY34" fmla="*/ 4334 h 10000"/>
                <a:gd name="connsiteX35" fmla="*/ 7787 w 10280"/>
                <a:gd name="connsiteY35" fmla="*/ 4248 h 10000"/>
                <a:gd name="connsiteX36" fmla="*/ 7787 w 10280"/>
                <a:gd name="connsiteY36" fmla="*/ 4160 h 10000"/>
                <a:gd name="connsiteX37" fmla="*/ 7796 w 10280"/>
                <a:gd name="connsiteY37" fmla="*/ 4075 h 10000"/>
                <a:gd name="connsiteX38" fmla="*/ 7807 w 10280"/>
                <a:gd name="connsiteY38" fmla="*/ 3990 h 10000"/>
                <a:gd name="connsiteX39" fmla="*/ 7824 w 10280"/>
                <a:gd name="connsiteY39" fmla="*/ 3915 h 10000"/>
                <a:gd name="connsiteX40" fmla="*/ 7839 w 10280"/>
                <a:gd name="connsiteY40" fmla="*/ 3830 h 10000"/>
                <a:gd name="connsiteX41" fmla="*/ 7859 w 10280"/>
                <a:gd name="connsiteY41" fmla="*/ 3750 h 10000"/>
                <a:gd name="connsiteX42" fmla="*/ 7883 w 10280"/>
                <a:gd name="connsiteY42" fmla="*/ 3665 h 10000"/>
                <a:gd name="connsiteX43" fmla="*/ 7910 w 10280"/>
                <a:gd name="connsiteY43" fmla="*/ 3589 h 10000"/>
                <a:gd name="connsiteX44" fmla="*/ 7938 w 10280"/>
                <a:gd name="connsiteY44" fmla="*/ 3508 h 10000"/>
                <a:gd name="connsiteX45" fmla="*/ 7962 w 10280"/>
                <a:gd name="connsiteY45" fmla="*/ 3424 h 10000"/>
                <a:gd name="connsiteX46" fmla="*/ 7997 w 10280"/>
                <a:gd name="connsiteY46" fmla="*/ 3355 h 10000"/>
                <a:gd name="connsiteX47" fmla="*/ 8033 w 10280"/>
                <a:gd name="connsiteY47" fmla="*/ 3275 h 10000"/>
                <a:gd name="connsiteX48" fmla="*/ 8068 w 10280"/>
                <a:gd name="connsiteY48" fmla="*/ 3194 h 10000"/>
                <a:gd name="connsiteX49" fmla="*/ 8111 w 10280"/>
                <a:gd name="connsiteY49" fmla="*/ 3118 h 10000"/>
                <a:gd name="connsiteX50" fmla="*/ 8148 w 10280"/>
                <a:gd name="connsiteY50" fmla="*/ 3046 h 10000"/>
                <a:gd name="connsiteX51" fmla="*/ 8190 w 10280"/>
                <a:gd name="connsiteY51" fmla="*/ 2964 h 10000"/>
                <a:gd name="connsiteX52" fmla="*/ 8241 w 10280"/>
                <a:gd name="connsiteY52" fmla="*/ 2898 h 10000"/>
                <a:gd name="connsiteX53" fmla="*/ 8285 w 10280"/>
                <a:gd name="connsiteY53" fmla="*/ 2823 h 10000"/>
                <a:gd name="connsiteX54" fmla="*/ 8338 w 10280"/>
                <a:gd name="connsiteY54" fmla="*/ 2754 h 10000"/>
                <a:gd name="connsiteX55" fmla="*/ 8384 w 10280"/>
                <a:gd name="connsiteY55" fmla="*/ 2676 h 10000"/>
                <a:gd name="connsiteX56" fmla="*/ 8445 w 10280"/>
                <a:gd name="connsiteY56" fmla="*/ 2613 h 10000"/>
                <a:gd name="connsiteX57" fmla="*/ 8506 w 10280"/>
                <a:gd name="connsiteY57" fmla="*/ 2538 h 10000"/>
                <a:gd name="connsiteX58" fmla="*/ 8558 w 10280"/>
                <a:gd name="connsiteY58" fmla="*/ 2471 h 10000"/>
                <a:gd name="connsiteX59" fmla="*/ 8617 w 10280"/>
                <a:gd name="connsiteY59" fmla="*/ 2404 h 10000"/>
                <a:gd name="connsiteX60" fmla="*/ 8681 w 10280"/>
                <a:gd name="connsiteY60" fmla="*/ 2331 h 10000"/>
                <a:gd name="connsiteX61" fmla="*/ 8741 w 10280"/>
                <a:gd name="connsiteY61" fmla="*/ 2269 h 10000"/>
                <a:gd name="connsiteX62" fmla="*/ 8812 w 10280"/>
                <a:gd name="connsiteY62" fmla="*/ 2203 h 10000"/>
                <a:gd name="connsiteX63" fmla="*/ 8872 w 10280"/>
                <a:gd name="connsiteY63" fmla="*/ 2145 h 10000"/>
                <a:gd name="connsiteX64" fmla="*/ 8941 w 10280"/>
                <a:gd name="connsiteY64" fmla="*/ 2077 h 10000"/>
                <a:gd name="connsiteX65" fmla="*/ 8973 w 10280"/>
                <a:gd name="connsiteY65" fmla="*/ 2042 h 10000"/>
                <a:gd name="connsiteX66" fmla="*/ 6356 w 10280"/>
                <a:gd name="connsiteY66" fmla="*/ 6 h 10000"/>
                <a:gd name="connsiteX67" fmla="*/ 1652 w 10280"/>
                <a:gd name="connsiteY67" fmla="*/ 0 h 10000"/>
                <a:gd name="connsiteX68" fmla="*/ 1539 w 10280"/>
                <a:gd name="connsiteY68" fmla="*/ 154 h 10000"/>
                <a:gd name="connsiteX69" fmla="*/ 1443 w 10280"/>
                <a:gd name="connsiteY69" fmla="*/ 269 h 10000"/>
                <a:gd name="connsiteX70" fmla="*/ 1354 w 10280"/>
                <a:gd name="connsiteY70" fmla="*/ 397 h 10000"/>
                <a:gd name="connsiteX71" fmla="*/ 1258 w 10280"/>
                <a:gd name="connsiteY71" fmla="*/ 523 h 10000"/>
                <a:gd name="connsiteX72" fmla="*/ 1179 w 10280"/>
                <a:gd name="connsiteY72" fmla="*/ 650 h 10000"/>
                <a:gd name="connsiteX73" fmla="*/ 1093 w 10280"/>
                <a:gd name="connsiteY73" fmla="*/ 775 h 10000"/>
                <a:gd name="connsiteX74" fmla="*/ 1014 w 10280"/>
                <a:gd name="connsiteY74" fmla="*/ 910 h 10000"/>
                <a:gd name="connsiteX75" fmla="*/ 935 w 10280"/>
                <a:gd name="connsiteY75" fmla="*/ 1043 h 10000"/>
                <a:gd name="connsiteX76" fmla="*/ 867 w 10280"/>
                <a:gd name="connsiteY76" fmla="*/ 1166 h 10000"/>
                <a:gd name="connsiteX77" fmla="*/ 796 w 10280"/>
                <a:gd name="connsiteY77" fmla="*/ 1304 h 10000"/>
                <a:gd name="connsiteX78" fmla="*/ 725 w 10280"/>
                <a:gd name="connsiteY78" fmla="*/ 1432 h 10000"/>
                <a:gd name="connsiteX79" fmla="*/ 655 w 10280"/>
                <a:gd name="connsiteY79" fmla="*/ 1572 h 10000"/>
                <a:gd name="connsiteX80" fmla="*/ 595 w 10280"/>
                <a:gd name="connsiteY80" fmla="*/ 1699 h 10000"/>
                <a:gd name="connsiteX81" fmla="*/ 533 w 10280"/>
                <a:gd name="connsiteY81" fmla="*/ 1833 h 10000"/>
                <a:gd name="connsiteX82" fmla="*/ 482 w 10280"/>
                <a:gd name="connsiteY82" fmla="*/ 1968 h 10000"/>
                <a:gd name="connsiteX83" fmla="*/ 428 w 10280"/>
                <a:gd name="connsiteY83" fmla="*/ 2104 h 10000"/>
                <a:gd name="connsiteX84" fmla="*/ 375 w 10280"/>
                <a:gd name="connsiteY84" fmla="*/ 2248 h 10000"/>
                <a:gd name="connsiteX85" fmla="*/ 335 w 10280"/>
                <a:gd name="connsiteY85" fmla="*/ 2384 h 10000"/>
                <a:gd name="connsiteX86" fmla="*/ 278 w 10280"/>
                <a:gd name="connsiteY86" fmla="*/ 2526 h 10000"/>
                <a:gd name="connsiteX87" fmla="*/ 245 w 10280"/>
                <a:gd name="connsiteY87" fmla="*/ 2666 h 10000"/>
                <a:gd name="connsiteX88" fmla="*/ 202 w 10280"/>
                <a:gd name="connsiteY88" fmla="*/ 2809 h 10000"/>
                <a:gd name="connsiteX89" fmla="*/ 173 w 10280"/>
                <a:gd name="connsiteY89" fmla="*/ 2953 h 10000"/>
                <a:gd name="connsiteX90" fmla="*/ 138 w 10280"/>
                <a:gd name="connsiteY90" fmla="*/ 3095 h 10000"/>
                <a:gd name="connsiteX91" fmla="*/ 114 w 10280"/>
                <a:gd name="connsiteY91" fmla="*/ 3235 h 10000"/>
                <a:gd name="connsiteX92" fmla="*/ 89 w 10280"/>
                <a:gd name="connsiteY92" fmla="*/ 3382 h 10000"/>
                <a:gd name="connsiteX93" fmla="*/ 59 w 10280"/>
                <a:gd name="connsiteY93" fmla="*/ 3534 h 10000"/>
                <a:gd name="connsiteX94" fmla="*/ 42 w 10280"/>
                <a:gd name="connsiteY94" fmla="*/ 3678 h 10000"/>
                <a:gd name="connsiteX95" fmla="*/ 23 w 10280"/>
                <a:gd name="connsiteY95" fmla="*/ 3822 h 10000"/>
                <a:gd name="connsiteX96" fmla="*/ 16 w 10280"/>
                <a:gd name="connsiteY96" fmla="*/ 3966 h 10000"/>
                <a:gd name="connsiteX97" fmla="*/ 7 w 10280"/>
                <a:gd name="connsiteY97" fmla="*/ 4116 h 10000"/>
                <a:gd name="connsiteX98" fmla="*/ 0 w 10280"/>
                <a:gd name="connsiteY98" fmla="*/ 4261 h 10000"/>
                <a:gd name="connsiteX99" fmla="*/ 0 w 10280"/>
                <a:gd name="connsiteY99" fmla="*/ 4413 h 10000"/>
                <a:gd name="connsiteX100" fmla="*/ 7 w 10280"/>
                <a:gd name="connsiteY100" fmla="*/ 4606 h 10000"/>
                <a:gd name="connsiteX101" fmla="*/ 7 w 10280"/>
                <a:gd name="connsiteY101" fmla="*/ 4798 h 10000"/>
                <a:gd name="connsiteX102" fmla="*/ 23 w 10280"/>
                <a:gd name="connsiteY102" fmla="*/ 4977 h 10000"/>
                <a:gd name="connsiteX103" fmla="*/ 42 w 10280"/>
                <a:gd name="connsiteY103" fmla="*/ 5166 h 10000"/>
                <a:gd name="connsiteX104" fmla="*/ 72 w 10280"/>
                <a:gd name="connsiteY104" fmla="*/ 5353 h 10000"/>
                <a:gd name="connsiteX105" fmla="*/ 107 w 10280"/>
                <a:gd name="connsiteY105" fmla="*/ 5540 h 10000"/>
                <a:gd name="connsiteX106" fmla="*/ 138 w 10280"/>
                <a:gd name="connsiteY106" fmla="*/ 5725 h 10000"/>
                <a:gd name="connsiteX107" fmla="*/ 173 w 10280"/>
                <a:gd name="connsiteY107" fmla="*/ 5909 h 10000"/>
                <a:gd name="connsiteX108" fmla="*/ 229 w 10280"/>
                <a:gd name="connsiteY108" fmla="*/ 6093 h 10000"/>
                <a:gd name="connsiteX109" fmla="*/ 278 w 10280"/>
                <a:gd name="connsiteY109" fmla="*/ 6273 h 10000"/>
                <a:gd name="connsiteX110" fmla="*/ 335 w 10280"/>
                <a:gd name="connsiteY110" fmla="*/ 6456 h 10000"/>
                <a:gd name="connsiteX111" fmla="*/ 393 w 10280"/>
                <a:gd name="connsiteY111" fmla="*/ 6633 h 10000"/>
                <a:gd name="connsiteX112" fmla="*/ 464 w 10280"/>
                <a:gd name="connsiteY112" fmla="*/ 6805 h 10000"/>
                <a:gd name="connsiteX113" fmla="*/ 533 w 10280"/>
                <a:gd name="connsiteY113" fmla="*/ 6984 h 10000"/>
                <a:gd name="connsiteX114" fmla="*/ 611 w 10280"/>
                <a:gd name="connsiteY114" fmla="*/ 7156 h 10000"/>
                <a:gd name="connsiteX115" fmla="*/ 691 w 10280"/>
                <a:gd name="connsiteY115" fmla="*/ 7336 h 10000"/>
                <a:gd name="connsiteX116" fmla="*/ 777 w 10280"/>
                <a:gd name="connsiteY116" fmla="*/ 7502 h 10000"/>
                <a:gd name="connsiteX117" fmla="*/ 875 w 10280"/>
                <a:gd name="connsiteY117" fmla="*/ 7665 h 10000"/>
                <a:gd name="connsiteX118" fmla="*/ 971 w 10280"/>
                <a:gd name="connsiteY118" fmla="*/ 7844 h 10000"/>
                <a:gd name="connsiteX119" fmla="*/ 1065 w 10280"/>
                <a:gd name="connsiteY119" fmla="*/ 8007 h 10000"/>
                <a:gd name="connsiteX120" fmla="*/ 1171 w 10280"/>
                <a:gd name="connsiteY120" fmla="*/ 8168 h 10000"/>
                <a:gd name="connsiteX121" fmla="*/ 1286 w 10280"/>
                <a:gd name="connsiteY121" fmla="*/ 8323 h 10000"/>
                <a:gd name="connsiteX122" fmla="*/ 1398 w 10280"/>
                <a:gd name="connsiteY122" fmla="*/ 8490 h 10000"/>
                <a:gd name="connsiteX123" fmla="*/ 1520 w 10280"/>
                <a:gd name="connsiteY123" fmla="*/ 8651 h 10000"/>
                <a:gd name="connsiteX124" fmla="*/ 1633 w 10280"/>
                <a:gd name="connsiteY124" fmla="*/ 8808 h 10000"/>
                <a:gd name="connsiteX125" fmla="*/ 1766 w 10280"/>
                <a:gd name="connsiteY125" fmla="*/ 8966 h 10000"/>
                <a:gd name="connsiteX126" fmla="*/ 1898 w 10280"/>
                <a:gd name="connsiteY126" fmla="*/ 9114 h 10000"/>
                <a:gd name="connsiteX127" fmla="*/ 2037 w 10280"/>
                <a:gd name="connsiteY127" fmla="*/ 9273 h 10000"/>
                <a:gd name="connsiteX128" fmla="*/ 2175 w 10280"/>
                <a:gd name="connsiteY128" fmla="*/ 9420 h 10000"/>
                <a:gd name="connsiteX129" fmla="*/ 2315 w 10280"/>
                <a:gd name="connsiteY129" fmla="*/ 9566 h 10000"/>
                <a:gd name="connsiteX130" fmla="*/ 2464 w 10280"/>
                <a:gd name="connsiteY130" fmla="*/ 9706 h 10000"/>
                <a:gd name="connsiteX131" fmla="*/ 2623 w 10280"/>
                <a:gd name="connsiteY131" fmla="*/ 9855 h 10000"/>
                <a:gd name="connsiteX132" fmla="*/ 2769 w 10280"/>
                <a:gd name="connsiteY132" fmla="*/ 10000 h 10000"/>
                <a:gd name="connsiteX133" fmla="*/ 5127 w 10280"/>
                <a:gd name="connsiteY133" fmla="*/ 7469 h 10000"/>
                <a:gd name="connsiteX0" fmla="*/ 5127 w 9668"/>
                <a:gd name="connsiteY0" fmla="*/ 7469 h 10000"/>
                <a:gd name="connsiteX1" fmla="*/ 9668 w 9668"/>
                <a:gd name="connsiteY1" fmla="*/ 7266 h 10000"/>
                <a:gd name="connsiteX2" fmla="*/ 9500 w 9668"/>
                <a:gd name="connsiteY2" fmla="*/ 7161 h 10000"/>
                <a:gd name="connsiteX3" fmla="*/ 9344 w 9668"/>
                <a:gd name="connsiteY3" fmla="*/ 7056 h 10000"/>
                <a:gd name="connsiteX4" fmla="*/ 9196 w 9668"/>
                <a:gd name="connsiteY4" fmla="*/ 6942 h 10000"/>
                <a:gd name="connsiteX5" fmla="*/ 9047 w 9668"/>
                <a:gd name="connsiteY5" fmla="*/ 6833 h 10000"/>
                <a:gd name="connsiteX6" fmla="*/ 8907 w 9668"/>
                <a:gd name="connsiteY6" fmla="*/ 6719 h 10000"/>
                <a:gd name="connsiteX7" fmla="*/ 8785 w 9668"/>
                <a:gd name="connsiteY7" fmla="*/ 6593 h 10000"/>
                <a:gd name="connsiteX8" fmla="*/ 8662 w 9668"/>
                <a:gd name="connsiteY8" fmla="*/ 6467 h 10000"/>
                <a:gd name="connsiteX9" fmla="*/ 8550 w 9668"/>
                <a:gd name="connsiteY9" fmla="*/ 6338 h 10000"/>
                <a:gd name="connsiteX10" fmla="*/ 8445 w 9668"/>
                <a:gd name="connsiteY10" fmla="*/ 6209 h 10000"/>
                <a:gd name="connsiteX11" fmla="*/ 8338 w 9668"/>
                <a:gd name="connsiteY11" fmla="*/ 6073 h 10000"/>
                <a:gd name="connsiteX12" fmla="*/ 8241 w 9668"/>
                <a:gd name="connsiteY12" fmla="*/ 5928 h 10000"/>
                <a:gd name="connsiteX13" fmla="*/ 8199 w 9668"/>
                <a:gd name="connsiteY13" fmla="*/ 5865 h 10000"/>
                <a:gd name="connsiteX14" fmla="*/ 8155 w 9668"/>
                <a:gd name="connsiteY14" fmla="*/ 5789 h 10000"/>
                <a:gd name="connsiteX15" fmla="*/ 8120 w 9668"/>
                <a:gd name="connsiteY15" fmla="*/ 5721 h 10000"/>
                <a:gd name="connsiteX16" fmla="*/ 8076 w 9668"/>
                <a:gd name="connsiteY16" fmla="*/ 5646 h 10000"/>
                <a:gd name="connsiteX17" fmla="*/ 8042 w 9668"/>
                <a:gd name="connsiteY17" fmla="*/ 5575 h 10000"/>
                <a:gd name="connsiteX18" fmla="*/ 8006 w 9668"/>
                <a:gd name="connsiteY18" fmla="*/ 5501 h 10000"/>
                <a:gd name="connsiteX19" fmla="*/ 7981 w 9668"/>
                <a:gd name="connsiteY19" fmla="*/ 5424 h 10000"/>
                <a:gd name="connsiteX20" fmla="*/ 7946 w 9668"/>
                <a:gd name="connsiteY20" fmla="*/ 5353 h 10000"/>
                <a:gd name="connsiteX21" fmla="*/ 7927 w 9668"/>
                <a:gd name="connsiteY21" fmla="*/ 5274 h 10000"/>
                <a:gd name="connsiteX22" fmla="*/ 7892 w 9668"/>
                <a:gd name="connsiteY22" fmla="*/ 5200 h 10000"/>
                <a:gd name="connsiteX23" fmla="*/ 7875 w 9668"/>
                <a:gd name="connsiteY23" fmla="*/ 5122 h 10000"/>
                <a:gd name="connsiteX24" fmla="*/ 7859 w 9668"/>
                <a:gd name="connsiteY24" fmla="*/ 5048 h 10000"/>
                <a:gd name="connsiteX25" fmla="*/ 7839 w 9668"/>
                <a:gd name="connsiteY25" fmla="*/ 4966 h 10000"/>
                <a:gd name="connsiteX26" fmla="*/ 7824 w 9668"/>
                <a:gd name="connsiteY26" fmla="*/ 4893 h 10000"/>
                <a:gd name="connsiteX27" fmla="*/ 7807 w 9668"/>
                <a:gd name="connsiteY27" fmla="*/ 4815 h 10000"/>
                <a:gd name="connsiteX28" fmla="*/ 7796 w 9668"/>
                <a:gd name="connsiteY28" fmla="*/ 4739 h 10000"/>
                <a:gd name="connsiteX29" fmla="*/ 7787 w 9668"/>
                <a:gd name="connsiteY29" fmla="*/ 4656 h 10000"/>
                <a:gd name="connsiteX30" fmla="*/ 7777 w 9668"/>
                <a:gd name="connsiteY30" fmla="*/ 4573 h 10000"/>
                <a:gd name="connsiteX31" fmla="*/ 7777 w 9668"/>
                <a:gd name="connsiteY31" fmla="*/ 4497 h 10000"/>
                <a:gd name="connsiteX32" fmla="*/ 7769 w 9668"/>
                <a:gd name="connsiteY32" fmla="*/ 4413 h 10000"/>
                <a:gd name="connsiteX33" fmla="*/ 7777 w 9668"/>
                <a:gd name="connsiteY33" fmla="*/ 4334 h 10000"/>
                <a:gd name="connsiteX34" fmla="*/ 7787 w 9668"/>
                <a:gd name="connsiteY34" fmla="*/ 4248 h 10000"/>
                <a:gd name="connsiteX35" fmla="*/ 7787 w 9668"/>
                <a:gd name="connsiteY35" fmla="*/ 4160 h 10000"/>
                <a:gd name="connsiteX36" fmla="*/ 7796 w 9668"/>
                <a:gd name="connsiteY36" fmla="*/ 4075 h 10000"/>
                <a:gd name="connsiteX37" fmla="*/ 7807 w 9668"/>
                <a:gd name="connsiteY37" fmla="*/ 3990 h 10000"/>
                <a:gd name="connsiteX38" fmla="*/ 7824 w 9668"/>
                <a:gd name="connsiteY38" fmla="*/ 3915 h 10000"/>
                <a:gd name="connsiteX39" fmla="*/ 7839 w 9668"/>
                <a:gd name="connsiteY39" fmla="*/ 3830 h 10000"/>
                <a:gd name="connsiteX40" fmla="*/ 7859 w 9668"/>
                <a:gd name="connsiteY40" fmla="*/ 3750 h 10000"/>
                <a:gd name="connsiteX41" fmla="*/ 7883 w 9668"/>
                <a:gd name="connsiteY41" fmla="*/ 3665 h 10000"/>
                <a:gd name="connsiteX42" fmla="*/ 7910 w 9668"/>
                <a:gd name="connsiteY42" fmla="*/ 3589 h 10000"/>
                <a:gd name="connsiteX43" fmla="*/ 7938 w 9668"/>
                <a:gd name="connsiteY43" fmla="*/ 3508 h 10000"/>
                <a:gd name="connsiteX44" fmla="*/ 7962 w 9668"/>
                <a:gd name="connsiteY44" fmla="*/ 3424 h 10000"/>
                <a:gd name="connsiteX45" fmla="*/ 7997 w 9668"/>
                <a:gd name="connsiteY45" fmla="*/ 3355 h 10000"/>
                <a:gd name="connsiteX46" fmla="*/ 8033 w 9668"/>
                <a:gd name="connsiteY46" fmla="*/ 3275 h 10000"/>
                <a:gd name="connsiteX47" fmla="*/ 8068 w 9668"/>
                <a:gd name="connsiteY47" fmla="*/ 3194 h 10000"/>
                <a:gd name="connsiteX48" fmla="*/ 8111 w 9668"/>
                <a:gd name="connsiteY48" fmla="*/ 3118 h 10000"/>
                <a:gd name="connsiteX49" fmla="*/ 8148 w 9668"/>
                <a:gd name="connsiteY49" fmla="*/ 3046 h 10000"/>
                <a:gd name="connsiteX50" fmla="*/ 8190 w 9668"/>
                <a:gd name="connsiteY50" fmla="*/ 2964 h 10000"/>
                <a:gd name="connsiteX51" fmla="*/ 8241 w 9668"/>
                <a:gd name="connsiteY51" fmla="*/ 2898 h 10000"/>
                <a:gd name="connsiteX52" fmla="*/ 8285 w 9668"/>
                <a:gd name="connsiteY52" fmla="*/ 2823 h 10000"/>
                <a:gd name="connsiteX53" fmla="*/ 8338 w 9668"/>
                <a:gd name="connsiteY53" fmla="*/ 2754 h 10000"/>
                <a:gd name="connsiteX54" fmla="*/ 8384 w 9668"/>
                <a:gd name="connsiteY54" fmla="*/ 2676 h 10000"/>
                <a:gd name="connsiteX55" fmla="*/ 8445 w 9668"/>
                <a:gd name="connsiteY55" fmla="*/ 2613 h 10000"/>
                <a:gd name="connsiteX56" fmla="*/ 8506 w 9668"/>
                <a:gd name="connsiteY56" fmla="*/ 2538 h 10000"/>
                <a:gd name="connsiteX57" fmla="*/ 8558 w 9668"/>
                <a:gd name="connsiteY57" fmla="*/ 2471 h 10000"/>
                <a:gd name="connsiteX58" fmla="*/ 8617 w 9668"/>
                <a:gd name="connsiteY58" fmla="*/ 2404 h 10000"/>
                <a:gd name="connsiteX59" fmla="*/ 8681 w 9668"/>
                <a:gd name="connsiteY59" fmla="*/ 2331 h 10000"/>
                <a:gd name="connsiteX60" fmla="*/ 8741 w 9668"/>
                <a:gd name="connsiteY60" fmla="*/ 2269 h 10000"/>
                <a:gd name="connsiteX61" fmla="*/ 8812 w 9668"/>
                <a:gd name="connsiteY61" fmla="*/ 2203 h 10000"/>
                <a:gd name="connsiteX62" fmla="*/ 8872 w 9668"/>
                <a:gd name="connsiteY62" fmla="*/ 2145 h 10000"/>
                <a:gd name="connsiteX63" fmla="*/ 8941 w 9668"/>
                <a:gd name="connsiteY63" fmla="*/ 2077 h 10000"/>
                <a:gd name="connsiteX64" fmla="*/ 8973 w 9668"/>
                <a:gd name="connsiteY64" fmla="*/ 2042 h 10000"/>
                <a:gd name="connsiteX65" fmla="*/ 6356 w 9668"/>
                <a:gd name="connsiteY65" fmla="*/ 6 h 10000"/>
                <a:gd name="connsiteX66" fmla="*/ 1652 w 9668"/>
                <a:gd name="connsiteY66" fmla="*/ 0 h 10000"/>
                <a:gd name="connsiteX67" fmla="*/ 1539 w 9668"/>
                <a:gd name="connsiteY67" fmla="*/ 154 h 10000"/>
                <a:gd name="connsiteX68" fmla="*/ 1443 w 9668"/>
                <a:gd name="connsiteY68" fmla="*/ 269 h 10000"/>
                <a:gd name="connsiteX69" fmla="*/ 1354 w 9668"/>
                <a:gd name="connsiteY69" fmla="*/ 397 h 10000"/>
                <a:gd name="connsiteX70" fmla="*/ 1258 w 9668"/>
                <a:gd name="connsiteY70" fmla="*/ 523 h 10000"/>
                <a:gd name="connsiteX71" fmla="*/ 1179 w 9668"/>
                <a:gd name="connsiteY71" fmla="*/ 650 h 10000"/>
                <a:gd name="connsiteX72" fmla="*/ 1093 w 9668"/>
                <a:gd name="connsiteY72" fmla="*/ 775 h 10000"/>
                <a:gd name="connsiteX73" fmla="*/ 1014 w 9668"/>
                <a:gd name="connsiteY73" fmla="*/ 910 h 10000"/>
                <a:gd name="connsiteX74" fmla="*/ 935 w 9668"/>
                <a:gd name="connsiteY74" fmla="*/ 1043 h 10000"/>
                <a:gd name="connsiteX75" fmla="*/ 867 w 9668"/>
                <a:gd name="connsiteY75" fmla="*/ 1166 h 10000"/>
                <a:gd name="connsiteX76" fmla="*/ 796 w 9668"/>
                <a:gd name="connsiteY76" fmla="*/ 1304 h 10000"/>
                <a:gd name="connsiteX77" fmla="*/ 725 w 9668"/>
                <a:gd name="connsiteY77" fmla="*/ 1432 h 10000"/>
                <a:gd name="connsiteX78" fmla="*/ 655 w 9668"/>
                <a:gd name="connsiteY78" fmla="*/ 1572 h 10000"/>
                <a:gd name="connsiteX79" fmla="*/ 595 w 9668"/>
                <a:gd name="connsiteY79" fmla="*/ 1699 h 10000"/>
                <a:gd name="connsiteX80" fmla="*/ 533 w 9668"/>
                <a:gd name="connsiteY80" fmla="*/ 1833 h 10000"/>
                <a:gd name="connsiteX81" fmla="*/ 482 w 9668"/>
                <a:gd name="connsiteY81" fmla="*/ 1968 h 10000"/>
                <a:gd name="connsiteX82" fmla="*/ 428 w 9668"/>
                <a:gd name="connsiteY82" fmla="*/ 2104 h 10000"/>
                <a:gd name="connsiteX83" fmla="*/ 375 w 9668"/>
                <a:gd name="connsiteY83" fmla="*/ 2248 h 10000"/>
                <a:gd name="connsiteX84" fmla="*/ 335 w 9668"/>
                <a:gd name="connsiteY84" fmla="*/ 2384 h 10000"/>
                <a:gd name="connsiteX85" fmla="*/ 278 w 9668"/>
                <a:gd name="connsiteY85" fmla="*/ 2526 h 10000"/>
                <a:gd name="connsiteX86" fmla="*/ 245 w 9668"/>
                <a:gd name="connsiteY86" fmla="*/ 2666 h 10000"/>
                <a:gd name="connsiteX87" fmla="*/ 202 w 9668"/>
                <a:gd name="connsiteY87" fmla="*/ 2809 h 10000"/>
                <a:gd name="connsiteX88" fmla="*/ 173 w 9668"/>
                <a:gd name="connsiteY88" fmla="*/ 2953 h 10000"/>
                <a:gd name="connsiteX89" fmla="*/ 138 w 9668"/>
                <a:gd name="connsiteY89" fmla="*/ 3095 h 10000"/>
                <a:gd name="connsiteX90" fmla="*/ 114 w 9668"/>
                <a:gd name="connsiteY90" fmla="*/ 3235 h 10000"/>
                <a:gd name="connsiteX91" fmla="*/ 89 w 9668"/>
                <a:gd name="connsiteY91" fmla="*/ 3382 h 10000"/>
                <a:gd name="connsiteX92" fmla="*/ 59 w 9668"/>
                <a:gd name="connsiteY92" fmla="*/ 3534 h 10000"/>
                <a:gd name="connsiteX93" fmla="*/ 42 w 9668"/>
                <a:gd name="connsiteY93" fmla="*/ 3678 h 10000"/>
                <a:gd name="connsiteX94" fmla="*/ 23 w 9668"/>
                <a:gd name="connsiteY94" fmla="*/ 3822 h 10000"/>
                <a:gd name="connsiteX95" fmla="*/ 16 w 9668"/>
                <a:gd name="connsiteY95" fmla="*/ 3966 h 10000"/>
                <a:gd name="connsiteX96" fmla="*/ 7 w 9668"/>
                <a:gd name="connsiteY96" fmla="*/ 4116 h 10000"/>
                <a:gd name="connsiteX97" fmla="*/ 0 w 9668"/>
                <a:gd name="connsiteY97" fmla="*/ 4261 h 10000"/>
                <a:gd name="connsiteX98" fmla="*/ 0 w 9668"/>
                <a:gd name="connsiteY98" fmla="*/ 4413 h 10000"/>
                <a:gd name="connsiteX99" fmla="*/ 7 w 9668"/>
                <a:gd name="connsiteY99" fmla="*/ 4606 h 10000"/>
                <a:gd name="connsiteX100" fmla="*/ 7 w 9668"/>
                <a:gd name="connsiteY100" fmla="*/ 4798 h 10000"/>
                <a:gd name="connsiteX101" fmla="*/ 23 w 9668"/>
                <a:gd name="connsiteY101" fmla="*/ 4977 h 10000"/>
                <a:gd name="connsiteX102" fmla="*/ 42 w 9668"/>
                <a:gd name="connsiteY102" fmla="*/ 5166 h 10000"/>
                <a:gd name="connsiteX103" fmla="*/ 72 w 9668"/>
                <a:gd name="connsiteY103" fmla="*/ 5353 h 10000"/>
                <a:gd name="connsiteX104" fmla="*/ 107 w 9668"/>
                <a:gd name="connsiteY104" fmla="*/ 5540 h 10000"/>
                <a:gd name="connsiteX105" fmla="*/ 138 w 9668"/>
                <a:gd name="connsiteY105" fmla="*/ 5725 h 10000"/>
                <a:gd name="connsiteX106" fmla="*/ 173 w 9668"/>
                <a:gd name="connsiteY106" fmla="*/ 5909 h 10000"/>
                <a:gd name="connsiteX107" fmla="*/ 229 w 9668"/>
                <a:gd name="connsiteY107" fmla="*/ 6093 h 10000"/>
                <a:gd name="connsiteX108" fmla="*/ 278 w 9668"/>
                <a:gd name="connsiteY108" fmla="*/ 6273 h 10000"/>
                <a:gd name="connsiteX109" fmla="*/ 335 w 9668"/>
                <a:gd name="connsiteY109" fmla="*/ 6456 h 10000"/>
                <a:gd name="connsiteX110" fmla="*/ 393 w 9668"/>
                <a:gd name="connsiteY110" fmla="*/ 6633 h 10000"/>
                <a:gd name="connsiteX111" fmla="*/ 464 w 9668"/>
                <a:gd name="connsiteY111" fmla="*/ 6805 h 10000"/>
                <a:gd name="connsiteX112" fmla="*/ 533 w 9668"/>
                <a:gd name="connsiteY112" fmla="*/ 6984 h 10000"/>
                <a:gd name="connsiteX113" fmla="*/ 611 w 9668"/>
                <a:gd name="connsiteY113" fmla="*/ 7156 h 10000"/>
                <a:gd name="connsiteX114" fmla="*/ 691 w 9668"/>
                <a:gd name="connsiteY114" fmla="*/ 7336 h 10000"/>
                <a:gd name="connsiteX115" fmla="*/ 777 w 9668"/>
                <a:gd name="connsiteY115" fmla="*/ 7502 h 10000"/>
                <a:gd name="connsiteX116" fmla="*/ 875 w 9668"/>
                <a:gd name="connsiteY116" fmla="*/ 7665 h 10000"/>
                <a:gd name="connsiteX117" fmla="*/ 971 w 9668"/>
                <a:gd name="connsiteY117" fmla="*/ 7844 h 10000"/>
                <a:gd name="connsiteX118" fmla="*/ 1065 w 9668"/>
                <a:gd name="connsiteY118" fmla="*/ 8007 h 10000"/>
                <a:gd name="connsiteX119" fmla="*/ 1171 w 9668"/>
                <a:gd name="connsiteY119" fmla="*/ 8168 h 10000"/>
                <a:gd name="connsiteX120" fmla="*/ 1286 w 9668"/>
                <a:gd name="connsiteY120" fmla="*/ 8323 h 10000"/>
                <a:gd name="connsiteX121" fmla="*/ 1398 w 9668"/>
                <a:gd name="connsiteY121" fmla="*/ 8490 h 10000"/>
                <a:gd name="connsiteX122" fmla="*/ 1520 w 9668"/>
                <a:gd name="connsiteY122" fmla="*/ 8651 h 10000"/>
                <a:gd name="connsiteX123" fmla="*/ 1633 w 9668"/>
                <a:gd name="connsiteY123" fmla="*/ 8808 h 10000"/>
                <a:gd name="connsiteX124" fmla="*/ 1766 w 9668"/>
                <a:gd name="connsiteY124" fmla="*/ 8966 h 10000"/>
                <a:gd name="connsiteX125" fmla="*/ 1898 w 9668"/>
                <a:gd name="connsiteY125" fmla="*/ 9114 h 10000"/>
                <a:gd name="connsiteX126" fmla="*/ 2037 w 9668"/>
                <a:gd name="connsiteY126" fmla="*/ 9273 h 10000"/>
                <a:gd name="connsiteX127" fmla="*/ 2175 w 9668"/>
                <a:gd name="connsiteY127" fmla="*/ 9420 h 10000"/>
                <a:gd name="connsiteX128" fmla="*/ 2315 w 9668"/>
                <a:gd name="connsiteY128" fmla="*/ 9566 h 10000"/>
                <a:gd name="connsiteX129" fmla="*/ 2464 w 9668"/>
                <a:gd name="connsiteY129" fmla="*/ 9706 h 10000"/>
                <a:gd name="connsiteX130" fmla="*/ 2623 w 9668"/>
                <a:gd name="connsiteY130" fmla="*/ 9855 h 10000"/>
                <a:gd name="connsiteX131" fmla="*/ 2769 w 9668"/>
                <a:gd name="connsiteY131" fmla="*/ 10000 h 10000"/>
                <a:gd name="connsiteX132" fmla="*/ 5127 w 9668"/>
                <a:gd name="connsiteY132" fmla="*/ 7469 h 10000"/>
                <a:gd name="connsiteX0" fmla="*/ 5303 w 9826"/>
                <a:gd name="connsiteY0" fmla="*/ 7469 h 10000"/>
                <a:gd name="connsiteX1" fmla="*/ 9826 w 9826"/>
                <a:gd name="connsiteY1" fmla="*/ 7161 h 10000"/>
                <a:gd name="connsiteX2" fmla="*/ 9665 w 9826"/>
                <a:gd name="connsiteY2" fmla="*/ 7056 h 10000"/>
                <a:gd name="connsiteX3" fmla="*/ 9512 w 9826"/>
                <a:gd name="connsiteY3" fmla="*/ 6942 h 10000"/>
                <a:gd name="connsiteX4" fmla="*/ 9358 w 9826"/>
                <a:gd name="connsiteY4" fmla="*/ 6833 h 10000"/>
                <a:gd name="connsiteX5" fmla="*/ 9213 w 9826"/>
                <a:gd name="connsiteY5" fmla="*/ 6719 h 10000"/>
                <a:gd name="connsiteX6" fmla="*/ 9087 w 9826"/>
                <a:gd name="connsiteY6" fmla="*/ 6593 h 10000"/>
                <a:gd name="connsiteX7" fmla="*/ 8959 w 9826"/>
                <a:gd name="connsiteY7" fmla="*/ 6467 h 10000"/>
                <a:gd name="connsiteX8" fmla="*/ 8844 w 9826"/>
                <a:gd name="connsiteY8" fmla="*/ 6338 h 10000"/>
                <a:gd name="connsiteX9" fmla="*/ 8735 w 9826"/>
                <a:gd name="connsiteY9" fmla="*/ 6209 h 10000"/>
                <a:gd name="connsiteX10" fmla="*/ 8624 w 9826"/>
                <a:gd name="connsiteY10" fmla="*/ 6073 h 10000"/>
                <a:gd name="connsiteX11" fmla="*/ 8524 w 9826"/>
                <a:gd name="connsiteY11" fmla="*/ 5928 h 10000"/>
                <a:gd name="connsiteX12" fmla="*/ 8481 w 9826"/>
                <a:gd name="connsiteY12" fmla="*/ 5865 h 10000"/>
                <a:gd name="connsiteX13" fmla="*/ 8435 w 9826"/>
                <a:gd name="connsiteY13" fmla="*/ 5789 h 10000"/>
                <a:gd name="connsiteX14" fmla="*/ 8399 w 9826"/>
                <a:gd name="connsiteY14" fmla="*/ 5721 h 10000"/>
                <a:gd name="connsiteX15" fmla="*/ 8353 w 9826"/>
                <a:gd name="connsiteY15" fmla="*/ 5646 h 10000"/>
                <a:gd name="connsiteX16" fmla="*/ 8318 w 9826"/>
                <a:gd name="connsiteY16" fmla="*/ 5575 h 10000"/>
                <a:gd name="connsiteX17" fmla="*/ 8281 w 9826"/>
                <a:gd name="connsiteY17" fmla="*/ 5501 h 10000"/>
                <a:gd name="connsiteX18" fmla="*/ 8255 w 9826"/>
                <a:gd name="connsiteY18" fmla="*/ 5424 h 10000"/>
                <a:gd name="connsiteX19" fmla="*/ 8219 w 9826"/>
                <a:gd name="connsiteY19" fmla="*/ 5353 h 10000"/>
                <a:gd name="connsiteX20" fmla="*/ 8199 w 9826"/>
                <a:gd name="connsiteY20" fmla="*/ 5274 h 10000"/>
                <a:gd name="connsiteX21" fmla="*/ 8163 w 9826"/>
                <a:gd name="connsiteY21" fmla="*/ 5200 h 10000"/>
                <a:gd name="connsiteX22" fmla="*/ 8145 w 9826"/>
                <a:gd name="connsiteY22" fmla="*/ 5122 h 10000"/>
                <a:gd name="connsiteX23" fmla="*/ 8129 w 9826"/>
                <a:gd name="connsiteY23" fmla="*/ 5048 h 10000"/>
                <a:gd name="connsiteX24" fmla="*/ 8108 w 9826"/>
                <a:gd name="connsiteY24" fmla="*/ 4966 h 10000"/>
                <a:gd name="connsiteX25" fmla="*/ 8093 w 9826"/>
                <a:gd name="connsiteY25" fmla="*/ 4893 h 10000"/>
                <a:gd name="connsiteX26" fmla="*/ 8075 w 9826"/>
                <a:gd name="connsiteY26" fmla="*/ 4815 h 10000"/>
                <a:gd name="connsiteX27" fmla="*/ 8064 w 9826"/>
                <a:gd name="connsiteY27" fmla="*/ 4739 h 10000"/>
                <a:gd name="connsiteX28" fmla="*/ 8054 w 9826"/>
                <a:gd name="connsiteY28" fmla="*/ 4656 h 10000"/>
                <a:gd name="connsiteX29" fmla="*/ 8044 w 9826"/>
                <a:gd name="connsiteY29" fmla="*/ 4573 h 10000"/>
                <a:gd name="connsiteX30" fmla="*/ 8044 w 9826"/>
                <a:gd name="connsiteY30" fmla="*/ 4497 h 10000"/>
                <a:gd name="connsiteX31" fmla="*/ 8036 w 9826"/>
                <a:gd name="connsiteY31" fmla="*/ 4413 h 10000"/>
                <a:gd name="connsiteX32" fmla="*/ 8044 w 9826"/>
                <a:gd name="connsiteY32" fmla="*/ 4334 h 10000"/>
                <a:gd name="connsiteX33" fmla="*/ 8054 w 9826"/>
                <a:gd name="connsiteY33" fmla="*/ 4248 h 10000"/>
                <a:gd name="connsiteX34" fmla="*/ 8054 w 9826"/>
                <a:gd name="connsiteY34" fmla="*/ 4160 h 10000"/>
                <a:gd name="connsiteX35" fmla="*/ 8064 w 9826"/>
                <a:gd name="connsiteY35" fmla="*/ 4075 h 10000"/>
                <a:gd name="connsiteX36" fmla="*/ 8075 w 9826"/>
                <a:gd name="connsiteY36" fmla="*/ 3990 h 10000"/>
                <a:gd name="connsiteX37" fmla="*/ 8093 w 9826"/>
                <a:gd name="connsiteY37" fmla="*/ 3915 h 10000"/>
                <a:gd name="connsiteX38" fmla="*/ 8108 w 9826"/>
                <a:gd name="connsiteY38" fmla="*/ 3830 h 10000"/>
                <a:gd name="connsiteX39" fmla="*/ 8129 w 9826"/>
                <a:gd name="connsiteY39" fmla="*/ 3750 h 10000"/>
                <a:gd name="connsiteX40" fmla="*/ 8154 w 9826"/>
                <a:gd name="connsiteY40" fmla="*/ 3665 h 10000"/>
                <a:gd name="connsiteX41" fmla="*/ 8182 w 9826"/>
                <a:gd name="connsiteY41" fmla="*/ 3589 h 10000"/>
                <a:gd name="connsiteX42" fmla="*/ 8211 w 9826"/>
                <a:gd name="connsiteY42" fmla="*/ 3508 h 10000"/>
                <a:gd name="connsiteX43" fmla="*/ 8235 w 9826"/>
                <a:gd name="connsiteY43" fmla="*/ 3424 h 10000"/>
                <a:gd name="connsiteX44" fmla="*/ 8272 w 9826"/>
                <a:gd name="connsiteY44" fmla="*/ 3355 h 10000"/>
                <a:gd name="connsiteX45" fmla="*/ 8309 w 9826"/>
                <a:gd name="connsiteY45" fmla="*/ 3275 h 10000"/>
                <a:gd name="connsiteX46" fmla="*/ 8345 w 9826"/>
                <a:gd name="connsiteY46" fmla="*/ 3194 h 10000"/>
                <a:gd name="connsiteX47" fmla="*/ 8390 w 9826"/>
                <a:gd name="connsiteY47" fmla="*/ 3118 h 10000"/>
                <a:gd name="connsiteX48" fmla="*/ 8428 w 9826"/>
                <a:gd name="connsiteY48" fmla="*/ 3046 h 10000"/>
                <a:gd name="connsiteX49" fmla="*/ 8471 w 9826"/>
                <a:gd name="connsiteY49" fmla="*/ 2964 h 10000"/>
                <a:gd name="connsiteX50" fmla="*/ 8524 w 9826"/>
                <a:gd name="connsiteY50" fmla="*/ 2898 h 10000"/>
                <a:gd name="connsiteX51" fmla="*/ 8570 w 9826"/>
                <a:gd name="connsiteY51" fmla="*/ 2823 h 10000"/>
                <a:gd name="connsiteX52" fmla="*/ 8624 w 9826"/>
                <a:gd name="connsiteY52" fmla="*/ 2754 h 10000"/>
                <a:gd name="connsiteX53" fmla="*/ 8672 w 9826"/>
                <a:gd name="connsiteY53" fmla="*/ 2676 h 10000"/>
                <a:gd name="connsiteX54" fmla="*/ 8735 w 9826"/>
                <a:gd name="connsiteY54" fmla="*/ 2613 h 10000"/>
                <a:gd name="connsiteX55" fmla="*/ 8798 w 9826"/>
                <a:gd name="connsiteY55" fmla="*/ 2538 h 10000"/>
                <a:gd name="connsiteX56" fmla="*/ 8852 w 9826"/>
                <a:gd name="connsiteY56" fmla="*/ 2471 h 10000"/>
                <a:gd name="connsiteX57" fmla="*/ 8913 w 9826"/>
                <a:gd name="connsiteY57" fmla="*/ 2404 h 10000"/>
                <a:gd name="connsiteX58" fmla="*/ 8979 w 9826"/>
                <a:gd name="connsiteY58" fmla="*/ 2331 h 10000"/>
                <a:gd name="connsiteX59" fmla="*/ 9041 w 9826"/>
                <a:gd name="connsiteY59" fmla="*/ 2269 h 10000"/>
                <a:gd name="connsiteX60" fmla="*/ 9115 w 9826"/>
                <a:gd name="connsiteY60" fmla="*/ 2203 h 10000"/>
                <a:gd name="connsiteX61" fmla="*/ 9177 w 9826"/>
                <a:gd name="connsiteY61" fmla="*/ 2145 h 10000"/>
                <a:gd name="connsiteX62" fmla="*/ 9248 w 9826"/>
                <a:gd name="connsiteY62" fmla="*/ 2077 h 10000"/>
                <a:gd name="connsiteX63" fmla="*/ 9281 w 9826"/>
                <a:gd name="connsiteY63" fmla="*/ 2042 h 10000"/>
                <a:gd name="connsiteX64" fmla="*/ 6574 w 9826"/>
                <a:gd name="connsiteY64" fmla="*/ 6 h 10000"/>
                <a:gd name="connsiteX65" fmla="*/ 1709 w 9826"/>
                <a:gd name="connsiteY65" fmla="*/ 0 h 10000"/>
                <a:gd name="connsiteX66" fmla="*/ 1592 w 9826"/>
                <a:gd name="connsiteY66" fmla="*/ 154 h 10000"/>
                <a:gd name="connsiteX67" fmla="*/ 1493 w 9826"/>
                <a:gd name="connsiteY67" fmla="*/ 269 h 10000"/>
                <a:gd name="connsiteX68" fmla="*/ 1400 w 9826"/>
                <a:gd name="connsiteY68" fmla="*/ 397 h 10000"/>
                <a:gd name="connsiteX69" fmla="*/ 1301 w 9826"/>
                <a:gd name="connsiteY69" fmla="*/ 523 h 10000"/>
                <a:gd name="connsiteX70" fmla="*/ 1219 w 9826"/>
                <a:gd name="connsiteY70" fmla="*/ 650 h 10000"/>
                <a:gd name="connsiteX71" fmla="*/ 1131 w 9826"/>
                <a:gd name="connsiteY71" fmla="*/ 775 h 10000"/>
                <a:gd name="connsiteX72" fmla="*/ 1049 w 9826"/>
                <a:gd name="connsiteY72" fmla="*/ 910 h 10000"/>
                <a:gd name="connsiteX73" fmla="*/ 967 w 9826"/>
                <a:gd name="connsiteY73" fmla="*/ 1043 h 10000"/>
                <a:gd name="connsiteX74" fmla="*/ 897 w 9826"/>
                <a:gd name="connsiteY74" fmla="*/ 1166 h 10000"/>
                <a:gd name="connsiteX75" fmla="*/ 823 w 9826"/>
                <a:gd name="connsiteY75" fmla="*/ 1304 h 10000"/>
                <a:gd name="connsiteX76" fmla="*/ 750 w 9826"/>
                <a:gd name="connsiteY76" fmla="*/ 1432 h 10000"/>
                <a:gd name="connsiteX77" fmla="*/ 677 w 9826"/>
                <a:gd name="connsiteY77" fmla="*/ 1572 h 10000"/>
                <a:gd name="connsiteX78" fmla="*/ 615 w 9826"/>
                <a:gd name="connsiteY78" fmla="*/ 1699 h 10000"/>
                <a:gd name="connsiteX79" fmla="*/ 551 w 9826"/>
                <a:gd name="connsiteY79" fmla="*/ 1833 h 10000"/>
                <a:gd name="connsiteX80" fmla="*/ 499 w 9826"/>
                <a:gd name="connsiteY80" fmla="*/ 1968 h 10000"/>
                <a:gd name="connsiteX81" fmla="*/ 443 w 9826"/>
                <a:gd name="connsiteY81" fmla="*/ 2104 h 10000"/>
                <a:gd name="connsiteX82" fmla="*/ 388 w 9826"/>
                <a:gd name="connsiteY82" fmla="*/ 2248 h 10000"/>
                <a:gd name="connsiteX83" fmla="*/ 347 w 9826"/>
                <a:gd name="connsiteY83" fmla="*/ 2384 h 10000"/>
                <a:gd name="connsiteX84" fmla="*/ 288 w 9826"/>
                <a:gd name="connsiteY84" fmla="*/ 2526 h 10000"/>
                <a:gd name="connsiteX85" fmla="*/ 253 w 9826"/>
                <a:gd name="connsiteY85" fmla="*/ 2666 h 10000"/>
                <a:gd name="connsiteX86" fmla="*/ 209 w 9826"/>
                <a:gd name="connsiteY86" fmla="*/ 2809 h 10000"/>
                <a:gd name="connsiteX87" fmla="*/ 179 w 9826"/>
                <a:gd name="connsiteY87" fmla="*/ 2953 h 10000"/>
                <a:gd name="connsiteX88" fmla="*/ 143 w 9826"/>
                <a:gd name="connsiteY88" fmla="*/ 3095 h 10000"/>
                <a:gd name="connsiteX89" fmla="*/ 118 w 9826"/>
                <a:gd name="connsiteY89" fmla="*/ 3235 h 10000"/>
                <a:gd name="connsiteX90" fmla="*/ 92 w 9826"/>
                <a:gd name="connsiteY90" fmla="*/ 3382 h 10000"/>
                <a:gd name="connsiteX91" fmla="*/ 61 w 9826"/>
                <a:gd name="connsiteY91" fmla="*/ 3534 h 10000"/>
                <a:gd name="connsiteX92" fmla="*/ 43 w 9826"/>
                <a:gd name="connsiteY92" fmla="*/ 3678 h 10000"/>
                <a:gd name="connsiteX93" fmla="*/ 24 w 9826"/>
                <a:gd name="connsiteY93" fmla="*/ 3822 h 10000"/>
                <a:gd name="connsiteX94" fmla="*/ 17 w 9826"/>
                <a:gd name="connsiteY94" fmla="*/ 3966 h 10000"/>
                <a:gd name="connsiteX95" fmla="*/ 7 w 9826"/>
                <a:gd name="connsiteY95" fmla="*/ 4116 h 10000"/>
                <a:gd name="connsiteX96" fmla="*/ 0 w 9826"/>
                <a:gd name="connsiteY96" fmla="*/ 4261 h 10000"/>
                <a:gd name="connsiteX97" fmla="*/ 0 w 9826"/>
                <a:gd name="connsiteY97" fmla="*/ 4413 h 10000"/>
                <a:gd name="connsiteX98" fmla="*/ 7 w 9826"/>
                <a:gd name="connsiteY98" fmla="*/ 4606 h 10000"/>
                <a:gd name="connsiteX99" fmla="*/ 7 w 9826"/>
                <a:gd name="connsiteY99" fmla="*/ 4798 h 10000"/>
                <a:gd name="connsiteX100" fmla="*/ 24 w 9826"/>
                <a:gd name="connsiteY100" fmla="*/ 4977 h 10000"/>
                <a:gd name="connsiteX101" fmla="*/ 43 w 9826"/>
                <a:gd name="connsiteY101" fmla="*/ 5166 h 10000"/>
                <a:gd name="connsiteX102" fmla="*/ 74 w 9826"/>
                <a:gd name="connsiteY102" fmla="*/ 5353 h 10000"/>
                <a:gd name="connsiteX103" fmla="*/ 111 w 9826"/>
                <a:gd name="connsiteY103" fmla="*/ 5540 h 10000"/>
                <a:gd name="connsiteX104" fmla="*/ 143 w 9826"/>
                <a:gd name="connsiteY104" fmla="*/ 5725 h 10000"/>
                <a:gd name="connsiteX105" fmla="*/ 179 w 9826"/>
                <a:gd name="connsiteY105" fmla="*/ 5909 h 10000"/>
                <a:gd name="connsiteX106" fmla="*/ 237 w 9826"/>
                <a:gd name="connsiteY106" fmla="*/ 6093 h 10000"/>
                <a:gd name="connsiteX107" fmla="*/ 288 w 9826"/>
                <a:gd name="connsiteY107" fmla="*/ 6273 h 10000"/>
                <a:gd name="connsiteX108" fmla="*/ 347 w 9826"/>
                <a:gd name="connsiteY108" fmla="*/ 6456 h 10000"/>
                <a:gd name="connsiteX109" fmla="*/ 406 w 9826"/>
                <a:gd name="connsiteY109" fmla="*/ 6633 h 10000"/>
                <a:gd name="connsiteX110" fmla="*/ 480 w 9826"/>
                <a:gd name="connsiteY110" fmla="*/ 6805 h 10000"/>
                <a:gd name="connsiteX111" fmla="*/ 551 w 9826"/>
                <a:gd name="connsiteY111" fmla="*/ 6984 h 10000"/>
                <a:gd name="connsiteX112" fmla="*/ 632 w 9826"/>
                <a:gd name="connsiteY112" fmla="*/ 7156 h 10000"/>
                <a:gd name="connsiteX113" fmla="*/ 715 w 9826"/>
                <a:gd name="connsiteY113" fmla="*/ 7336 h 10000"/>
                <a:gd name="connsiteX114" fmla="*/ 804 w 9826"/>
                <a:gd name="connsiteY114" fmla="*/ 7502 h 10000"/>
                <a:gd name="connsiteX115" fmla="*/ 905 w 9826"/>
                <a:gd name="connsiteY115" fmla="*/ 7665 h 10000"/>
                <a:gd name="connsiteX116" fmla="*/ 1004 w 9826"/>
                <a:gd name="connsiteY116" fmla="*/ 7844 h 10000"/>
                <a:gd name="connsiteX117" fmla="*/ 1102 w 9826"/>
                <a:gd name="connsiteY117" fmla="*/ 8007 h 10000"/>
                <a:gd name="connsiteX118" fmla="*/ 1211 w 9826"/>
                <a:gd name="connsiteY118" fmla="*/ 8168 h 10000"/>
                <a:gd name="connsiteX119" fmla="*/ 1330 w 9826"/>
                <a:gd name="connsiteY119" fmla="*/ 8323 h 10000"/>
                <a:gd name="connsiteX120" fmla="*/ 1446 w 9826"/>
                <a:gd name="connsiteY120" fmla="*/ 8490 h 10000"/>
                <a:gd name="connsiteX121" fmla="*/ 1572 w 9826"/>
                <a:gd name="connsiteY121" fmla="*/ 8651 h 10000"/>
                <a:gd name="connsiteX122" fmla="*/ 1689 w 9826"/>
                <a:gd name="connsiteY122" fmla="*/ 8808 h 10000"/>
                <a:gd name="connsiteX123" fmla="*/ 1827 w 9826"/>
                <a:gd name="connsiteY123" fmla="*/ 8966 h 10000"/>
                <a:gd name="connsiteX124" fmla="*/ 1963 w 9826"/>
                <a:gd name="connsiteY124" fmla="*/ 9114 h 10000"/>
                <a:gd name="connsiteX125" fmla="*/ 2107 w 9826"/>
                <a:gd name="connsiteY125" fmla="*/ 9273 h 10000"/>
                <a:gd name="connsiteX126" fmla="*/ 2250 w 9826"/>
                <a:gd name="connsiteY126" fmla="*/ 9420 h 10000"/>
                <a:gd name="connsiteX127" fmla="*/ 2394 w 9826"/>
                <a:gd name="connsiteY127" fmla="*/ 9566 h 10000"/>
                <a:gd name="connsiteX128" fmla="*/ 2549 w 9826"/>
                <a:gd name="connsiteY128" fmla="*/ 9706 h 10000"/>
                <a:gd name="connsiteX129" fmla="*/ 2713 w 9826"/>
                <a:gd name="connsiteY129" fmla="*/ 9855 h 10000"/>
                <a:gd name="connsiteX130" fmla="*/ 2864 w 9826"/>
                <a:gd name="connsiteY130" fmla="*/ 10000 h 10000"/>
                <a:gd name="connsiteX131" fmla="*/ 5303 w 9826"/>
                <a:gd name="connsiteY131" fmla="*/ 7469 h 10000"/>
                <a:gd name="connsiteX0" fmla="*/ 5397 w 9836"/>
                <a:gd name="connsiteY0" fmla="*/ 7469 h 10000"/>
                <a:gd name="connsiteX1" fmla="*/ 9836 w 9836"/>
                <a:gd name="connsiteY1" fmla="*/ 7056 h 10000"/>
                <a:gd name="connsiteX2" fmla="*/ 9680 w 9836"/>
                <a:gd name="connsiteY2" fmla="*/ 6942 h 10000"/>
                <a:gd name="connsiteX3" fmla="*/ 9524 w 9836"/>
                <a:gd name="connsiteY3" fmla="*/ 6833 h 10000"/>
                <a:gd name="connsiteX4" fmla="*/ 9376 w 9836"/>
                <a:gd name="connsiteY4" fmla="*/ 6719 h 10000"/>
                <a:gd name="connsiteX5" fmla="*/ 9248 w 9836"/>
                <a:gd name="connsiteY5" fmla="*/ 6593 h 10000"/>
                <a:gd name="connsiteX6" fmla="*/ 9118 w 9836"/>
                <a:gd name="connsiteY6" fmla="*/ 6467 h 10000"/>
                <a:gd name="connsiteX7" fmla="*/ 9001 w 9836"/>
                <a:gd name="connsiteY7" fmla="*/ 6338 h 10000"/>
                <a:gd name="connsiteX8" fmla="*/ 8890 w 9836"/>
                <a:gd name="connsiteY8" fmla="*/ 6209 h 10000"/>
                <a:gd name="connsiteX9" fmla="*/ 8777 w 9836"/>
                <a:gd name="connsiteY9" fmla="*/ 6073 h 10000"/>
                <a:gd name="connsiteX10" fmla="*/ 8675 w 9836"/>
                <a:gd name="connsiteY10" fmla="*/ 5928 h 10000"/>
                <a:gd name="connsiteX11" fmla="*/ 8631 w 9836"/>
                <a:gd name="connsiteY11" fmla="*/ 5865 h 10000"/>
                <a:gd name="connsiteX12" fmla="*/ 8584 w 9836"/>
                <a:gd name="connsiteY12" fmla="*/ 5789 h 10000"/>
                <a:gd name="connsiteX13" fmla="*/ 8548 w 9836"/>
                <a:gd name="connsiteY13" fmla="*/ 5721 h 10000"/>
                <a:gd name="connsiteX14" fmla="*/ 8501 w 9836"/>
                <a:gd name="connsiteY14" fmla="*/ 5646 h 10000"/>
                <a:gd name="connsiteX15" fmla="*/ 8465 w 9836"/>
                <a:gd name="connsiteY15" fmla="*/ 5575 h 10000"/>
                <a:gd name="connsiteX16" fmla="*/ 8428 w 9836"/>
                <a:gd name="connsiteY16" fmla="*/ 5501 h 10000"/>
                <a:gd name="connsiteX17" fmla="*/ 8401 w 9836"/>
                <a:gd name="connsiteY17" fmla="*/ 5424 h 10000"/>
                <a:gd name="connsiteX18" fmla="*/ 8365 w 9836"/>
                <a:gd name="connsiteY18" fmla="*/ 5353 h 10000"/>
                <a:gd name="connsiteX19" fmla="*/ 8344 w 9836"/>
                <a:gd name="connsiteY19" fmla="*/ 5274 h 10000"/>
                <a:gd name="connsiteX20" fmla="*/ 8308 w 9836"/>
                <a:gd name="connsiteY20" fmla="*/ 5200 h 10000"/>
                <a:gd name="connsiteX21" fmla="*/ 8289 w 9836"/>
                <a:gd name="connsiteY21" fmla="*/ 5122 h 10000"/>
                <a:gd name="connsiteX22" fmla="*/ 8273 w 9836"/>
                <a:gd name="connsiteY22" fmla="*/ 5048 h 10000"/>
                <a:gd name="connsiteX23" fmla="*/ 8252 w 9836"/>
                <a:gd name="connsiteY23" fmla="*/ 4966 h 10000"/>
                <a:gd name="connsiteX24" fmla="*/ 8236 w 9836"/>
                <a:gd name="connsiteY24" fmla="*/ 4893 h 10000"/>
                <a:gd name="connsiteX25" fmla="*/ 8218 w 9836"/>
                <a:gd name="connsiteY25" fmla="*/ 4815 h 10000"/>
                <a:gd name="connsiteX26" fmla="*/ 8207 w 9836"/>
                <a:gd name="connsiteY26" fmla="*/ 4739 h 10000"/>
                <a:gd name="connsiteX27" fmla="*/ 8197 w 9836"/>
                <a:gd name="connsiteY27" fmla="*/ 4656 h 10000"/>
                <a:gd name="connsiteX28" fmla="*/ 8186 w 9836"/>
                <a:gd name="connsiteY28" fmla="*/ 4573 h 10000"/>
                <a:gd name="connsiteX29" fmla="*/ 8186 w 9836"/>
                <a:gd name="connsiteY29" fmla="*/ 4497 h 10000"/>
                <a:gd name="connsiteX30" fmla="*/ 8178 w 9836"/>
                <a:gd name="connsiteY30" fmla="*/ 4413 h 10000"/>
                <a:gd name="connsiteX31" fmla="*/ 8186 w 9836"/>
                <a:gd name="connsiteY31" fmla="*/ 4334 h 10000"/>
                <a:gd name="connsiteX32" fmla="*/ 8197 w 9836"/>
                <a:gd name="connsiteY32" fmla="*/ 4248 h 10000"/>
                <a:gd name="connsiteX33" fmla="*/ 8197 w 9836"/>
                <a:gd name="connsiteY33" fmla="*/ 4160 h 10000"/>
                <a:gd name="connsiteX34" fmla="*/ 8207 w 9836"/>
                <a:gd name="connsiteY34" fmla="*/ 4075 h 10000"/>
                <a:gd name="connsiteX35" fmla="*/ 8218 w 9836"/>
                <a:gd name="connsiteY35" fmla="*/ 3990 h 10000"/>
                <a:gd name="connsiteX36" fmla="*/ 8236 w 9836"/>
                <a:gd name="connsiteY36" fmla="*/ 3915 h 10000"/>
                <a:gd name="connsiteX37" fmla="*/ 8252 w 9836"/>
                <a:gd name="connsiteY37" fmla="*/ 3830 h 10000"/>
                <a:gd name="connsiteX38" fmla="*/ 8273 w 9836"/>
                <a:gd name="connsiteY38" fmla="*/ 3750 h 10000"/>
                <a:gd name="connsiteX39" fmla="*/ 8298 w 9836"/>
                <a:gd name="connsiteY39" fmla="*/ 3665 h 10000"/>
                <a:gd name="connsiteX40" fmla="*/ 8327 w 9836"/>
                <a:gd name="connsiteY40" fmla="*/ 3589 h 10000"/>
                <a:gd name="connsiteX41" fmla="*/ 8356 w 9836"/>
                <a:gd name="connsiteY41" fmla="*/ 3508 h 10000"/>
                <a:gd name="connsiteX42" fmla="*/ 8381 w 9836"/>
                <a:gd name="connsiteY42" fmla="*/ 3424 h 10000"/>
                <a:gd name="connsiteX43" fmla="*/ 8418 w 9836"/>
                <a:gd name="connsiteY43" fmla="*/ 3355 h 10000"/>
                <a:gd name="connsiteX44" fmla="*/ 8456 w 9836"/>
                <a:gd name="connsiteY44" fmla="*/ 3275 h 10000"/>
                <a:gd name="connsiteX45" fmla="*/ 8493 w 9836"/>
                <a:gd name="connsiteY45" fmla="*/ 3194 h 10000"/>
                <a:gd name="connsiteX46" fmla="*/ 8539 w 9836"/>
                <a:gd name="connsiteY46" fmla="*/ 3118 h 10000"/>
                <a:gd name="connsiteX47" fmla="*/ 8577 w 9836"/>
                <a:gd name="connsiteY47" fmla="*/ 3046 h 10000"/>
                <a:gd name="connsiteX48" fmla="*/ 8621 w 9836"/>
                <a:gd name="connsiteY48" fmla="*/ 2964 h 10000"/>
                <a:gd name="connsiteX49" fmla="*/ 8675 w 9836"/>
                <a:gd name="connsiteY49" fmla="*/ 2898 h 10000"/>
                <a:gd name="connsiteX50" fmla="*/ 8722 w 9836"/>
                <a:gd name="connsiteY50" fmla="*/ 2823 h 10000"/>
                <a:gd name="connsiteX51" fmla="*/ 8777 w 9836"/>
                <a:gd name="connsiteY51" fmla="*/ 2754 h 10000"/>
                <a:gd name="connsiteX52" fmla="*/ 8826 w 9836"/>
                <a:gd name="connsiteY52" fmla="*/ 2676 h 10000"/>
                <a:gd name="connsiteX53" fmla="*/ 8890 w 9836"/>
                <a:gd name="connsiteY53" fmla="*/ 2613 h 10000"/>
                <a:gd name="connsiteX54" fmla="*/ 8954 w 9836"/>
                <a:gd name="connsiteY54" fmla="*/ 2538 h 10000"/>
                <a:gd name="connsiteX55" fmla="*/ 9009 w 9836"/>
                <a:gd name="connsiteY55" fmla="*/ 2471 h 10000"/>
                <a:gd name="connsiteX56" fmla="*/ 9071 w 9836"/>
                <a:gd name="connsiteY56" fmla="*/ 2404 h 10000"/>
                <a:gd name="connsiteX57" fmla="*/ 9138 w 9836"/>
                <a:gd name="connsiteY57" fmla="*/ 2331 h 10000"/>
                <a:gd name="connsiteX58" fmla="*/ 9201 w 9836"/>
                <a:gd name="connsiteY58" fmla="*/ 2269 h 10000"/>
                <a:gd name="connsiteX59" fmla="*/ 9276 w 9836"/>
                <a:gd name="connsiteY59" fmla="*/ 2203 h 10000"/>
                <a:gd name="connsiteX60" fmla="*/ 9340 w 9836"/>
                <a:gd name="connsiteY60" fmla="*/ 2145 h 10000"/>
                <a:gd name="connsiteX61" fmla="*/ 9412 w 9836"/>
                <a:gd name="connsiteY61" fmla="*/ 2077 h 10000"/>
                <a:gd name="connsiteX62" fmla="*/ 9445 w 9836"/>
                <a:gd name="connsiteY62" fmla="*/ 2042 h 10000"/>
                <a:gd name="connsiteX63" fmla="*/ 6690 w 9836"/>
                <a:gd name="connsiteY63" fmla="*/ 6 h 10000"/>
                <a:gd name="connsiteX64" fmla="*/ 1739 w 9836"/>
                <a:gd name="connsiteY64" fmla="*/ 0 h 10000"/>
                <a:gd name="connsiteX65" fmla="*/ 1620 w 9836"/>
                <a:gd name="connsiteY65" fmla="*/ 154 h 10000"/>
                <a:gd name="connsiteX66" fmla="*/ 1519 w 9836"/>
                <a:gd name="connsiteY66" fmla="*/ 269 h 10000"/>
                <a:gd name="connsiteX67" fmla="*/ 1425 w 9836"/>
                <a:gd name="connsiteY67" fmla="*/ 397 h 10000"/>
                <a:gd name="connsiteX68" fmla="*/ 1324 w 9836"/>
                <a:gd name="connsiteY68" fmla="*/ 523 h 10000"/>
                <a:gd name="connsiteX69" fmla="*/ 1241 w 9836"/>
                <a:gd name="connsiteY69" fmla="*/ 650 h 10000"/>
                <a:gd name="connsiteX70" fmla="*/ 1151 w 9836"/>
                <a:gd name="connsiteY70" fmla="*/ 775 h 10000"/>
                <a:gd name="connsiteX71" fmla="*/ 1068 w 9836"/>
                <a:gd name="connsiteY71" fmla="*/ 910 h 10000"/>
                <a:gd name="connsiteX72" fmla="*/ 984 w 9836"/>
                <a:gd name="connsiteY72" fmla="*/ 1043 h 10000"/>
                <a:gd name="connsiteX73" fmla="*/ 913 w 9836"/>
                <a:gd name="connsiteY73" fmla="*/ 1166 h 10000"/>
                <a:gd name="connsiteX74" fmla="*/ 838 w 9836"/>
                <a:gd name="connsiteY74" fmla="*/ 1304 h 10000"/>
                <a:gd name="connsiteX75" fmla="*/ 763 w 9836"/>
                <a:gd name="connsiteY75" fmla="*/ 1432 h 10000"/>
                <a:gd name="connsiteX76" fmla="*/ 689 w 9836"/>
                <a:gd name="connsiteY76" fmla="*/ 1572 h 10000"/>
                <a:gd name="connsiteX77" fmla="*/ 626 w 9836"/>
                <a:gd name="connsiteY77" fmla="*/ 1699 h 10000"/>
                <a:gd name="connsiteX78" fmla="*/ 561 w 9836"/>
                <a:gd name="connsiteY78" fmla="*/ 1833 h 10000"/>
                <a:gd name="connsiteX79" fmla="*/ 508 w 9836"/>
                <a:gd name="connsiteY79" fmla="*/ 1968 h 10000"/>
                <a:gd name="connsiteX80" fmla="*/ 451 w 9836"/>
                <a:gd name="connsiteY80" fmla="*/ 2104 h 10000"/>
                <a:gd name="connsiteX81" fmla="*/ 395 w 9836"/>
                <a:gd name="connsiteY81" fmla="*/ 2248 h 10000"/>
                <a:gd name="connsiteX82" fmla="*/ 353 w 9836"/>
                <a:gd name="connsiteY82" fmla="*/ 2384 h 10000"/>
                <a:gd name="connsiteX83" fmla="*/ 293 w 9836"/>
                <a:gd name="connsiteY83" fmla="*/ 2526 h 10000"/>
                <a:gd name="connsiteX84" fmla="*/ 257 w 9836"/>
                <a:gd name="connsiteY84" fmla="*/ 2666 h 10000"/>
                <a:gd name="connsiteX85" fmla="*/ 213 w 9836"/>
                <a:gd name="connsiteY85" fmla="*/ 2809 h 10000"/>
                <a:gd name="connsiteX86" fmla="*/ 182 w 9836"/>
                <a:gd name="connsiteY86" fmla="*/ 2953 h 10000"/>
                <a:gd name="connsiteX87" fmla="*/ 146 w 9836"/>
                <a:gd name="connsiteY87" fmla="*/ 3095 h 10000"/>
                <a:gd name="connsiteX88" fmla="*/ 120 w 9836"/>
                <a:gd name="connsiteY88" fmla="*/ 3235 h 10000"/>
                <a:gd name="connsiteX89" fmla="*/ 94 w 9836"/>
                <a:gd name="connsiteY89" fmla="*/ 3382 h 10000"/>
                <a:gd name="connsiteX90" fmla="*/ 62 w 9836"/>
                <a:gd name="connsiteY90" fmla="*/ 3534 h 10000"/>
                <a:gd name="connsiteX91" fmla="*/ 44 w 9836"/>
                <a:gd name="connsiteY91" fmla="*/ 3678 h 10000"/>
                <a:gd name="connsiteX92" fmla="*/ 24 w 9836"/>
                <a:gd name="connsiteY92" fmla="*/ 3822 h 10000"/>
                <a:gd name="connsiteX93" fmla="*/ 17 w 9836"/>
                <a:gd name="connsiteY93" fmla="*/ 3966 h 10000"/>
                <a:gd name="connsiteX94" fmla="*/ 7 w 9836"/>
                <a:gd name="connsiteY94" fmla="*/ 4116 h 10000"/>
                <a:gd name="connsiteX95" fmla="*/ 0 w 9836"/>
                <a:gd name="connsiteY95" fmla="*/ 4261 h 10000"/>
                <a:gd name="connsiteX96" fmla="*/ 0 w 9836"/>
                <a:gd name="connsiteY96" fmla="*/ 4413 h 10000"/>
                <a:gd name="connsiteX97" fmla="*/ 7 w 9836"/>
                <a:gd name="connsiteY97" fmla="*/ 4606 h 10000"/>
                <a:gd name="connsiteX98" fmla="*/ 7 w 9836"/>
                <a:gd name="connsiteY98" fmla="*/ 4798 h 10000"/>
                <a:gd name="connsiteX99" fmla="*/ 24 w 9836"/>
                <a:gd name="connsiteY99" fmla="*/ 4977 h 10000"/>
                <a:gd name="connsiteX100" fmla="*/ 44 w 9836"/>
                <a:gd name="connsiteY100" fmla="*/ 5166 h 10000"/>
                <a:gd name="connsiteX101" fmla="*/ 75 w 9836"/>
                <a:gd name="connsiteY101" fmla="*/ 5353 h 10000"/>
                <a:gd name="connsiteX102" fmla="*/ 113 w 9836"/>
                <a:gd name="connsiteY102" fmla="*/ 5540 h 10000"/>
                <a:gd name="connsiteX103" fmla="*/ 146 w 9836"/>
                <a:gd name="connsiteY103" fmla="*/ 5725 h 10000"/>
                <a:gd name="connsiteX104" fmla="*/ 182 w 9836"/>
                <a:gd name="connsiteY104" fmla="*/ 5909 h 10000"/>
                <a:gd name="connsiteX105" fmla="*/ 241 w 9836"/>
                <a:gd name="connsiteY105" fmla="*/ 6093 h 10000"/>
                <a:gd name="connsiteX106" fmla="*/ 293 w 9836"/>
                <a:gd name="connsiteY106" fmla="*/ 6273 h 10000"/>
                <a:gd name="connsiteX107" fmla="*/ 353 w 9836"/>
                <a:gd name="connsiteY107" fmla="*/ 6456 h 10000"/>
                <a:gd name="connsiteX108" fmla="*/ 413 w 9836"/>
                <a:gd name="connsiteY108" fmla="*/ 6633 h 10000"/>
                <a:gd name="connsiteX109" fmla="*/ 488 w 9836"/>
                <a:gd name="connsiteY109" fmla="*/ 6805 h 10000"/>
                <a:gd name="connsiteX110" fmla="*/ 561 w 9836"/>
                <a:gd name="connsiteY110" fmla="*/ 6984 h 10000"/>
                <a:gd name="connsiteX111" fmla="*/ 643 w 9836"/>
                <a:gd name="connsiteY111" fmla="*/ 7156 h 10000"/>
                <a:gd name="connsiteX112" fmla="*/ 728 w 9836"/>
                <a:gd name="connsiteY112" fmla="*/ 7336 h 10000"/>
                <a:gd name="connsiteX113" fmla="*/ 818 w 9836"/>
                <a:gd name="connsiteY113" fmla="*/ 7502 h 10000"/>
                <a:gd name="connsiteX114" fmla="*/ 921 w 9836"/>
                <a:gd name="connsiteY114" fmla="*/ 7665 h 10000"/>
                <a:gd name="connsiteX115" fmla="*/ 1022 w 9836"/>
                <a:gd name="connsiteY115" fmla="*/ 7844 h 10000"/>
                <a:gd name="connsiteX116" fmla="*/ 1122 w 9836"/>
                <a:gd name="connsiteY116" fmla="*/ 8007 h 10000"/>
                <a:gd name="connsiteX117" fmla="*/ 1232 w 9836"/>
                <a:gd name="connsiteY117" fmla="*/ 8168 h 10000"/>
                <a:gd name="connsiteX118" fmla="*/ 1354 w 9836"/>
                <a:gd name="connsiteY118" fmla="*/ 8323 h 10000"/>
                <a:gd name="connsiteX119" fmla="*/ 1472 w 9836"/>
                <a:gd name="connsiteY119" fmla="*/ 8490 h 10000"/>
                <a:gd name="connsiteX120" fmla="*/ 1600 w 9836"/>
                <a:gd name="connsiteY120" fmla="*/ 8651 h 10000"/>
                <a:gd name="connsiteX121" fmla="*/ 1719 w 9836"/>
                <a:gd name="connsiteY121" fmla="*/ 8808 h 10000"/>
                <a:gd name="connsiteX122" fmla="*/ 1859 w 9836"/>
                <a:gd name="connsiteY122" fmla="*/ 8966 h 10000"/>
                <a:gd name="connsiteX123" fmla="*/ 1998 w 9836"/>
                <a:gd name="connsiteY123" fmla="*/ 9114 h 10000"/>
                <a:gd name="connsiteX124" fmla="*/ 2144 w 9836"/>
                <a:gd name="connsiteY124" fmla="*/ 9273 h 10000"/>
                <a:gd name="connsiteX125" fmla="*/ 2290 w 9836"/>
                <a:gd name="connsiteY125" fmla="*/ 9420 h 10000"/>
                <a:gd name="connsiteX126" fmla="*/ 2436 w 9836"/>
                <a:gd name="connsiteY126" fmla="*/ 9566 h 10000"/>
                <a:gd name="connsiteX127" fmla="*/ 2594 w 9836"/>
                <a:gd name="connsiteY127" fmla="*/ 9706 h 10000"/>
                <a:gd name="connsiteX128" fmla="*/ 2761 w 9836"/>
                <a:gd name="connsiteY128" fmla="*/ 9855 h 10000"/>
                <a:gd name="connsiteX129" fmla="*/ 2915 w 9836"/>
                <a:gd name="connsiteY129" fmla="*/ 10000 h 10000"/>
                <a:gd name="connsiteX130" fmla="*/ 5397 w 9836"/>
                <a:gd name="connsiteY130" fmla="*/ 7469 h 10000"/>
                <a:gd name="connsiteX0" fmla="*/ 5487 w 9841"/>
                <a:gd name="connsiteY0" fmla="*/ 7469 h 10000"/>
                <a:gd name="connsiteX1" fmla="*/ 9841 w 9841"/>
                <a:gd name="connsiteY1" fmla="*/ 6942 h 10000"/>
                <a:gd name="connsiteX2" fmla="*/ 9683 w 9841"/>
                <a:gd name="connsiteY2" fmla="*/ 6833 h 10000"/>
                <a:gd name="connsiteX3" fmla="*/ 9532 w 9841"/>
                <a:gd name="connsiteY3" fmla="*/ 6719 h 10000"/>
                <a:gd name="connsiteX4" fmla="*/ 9402 w 9841"/>
                <a:gd name="connsiteY4" fmla="*/ 6593 h 10000"/>
                <a:gd name="connsiteX5" fmla="*/ 9270 w 9841"/>
                <a:gd name="connsiteY5" fmla="*/ 6467 h 10000"/>
                <a:gd name="connsiteX6" fmla="*/ 9151 w 9841"/>
                <a:gd name="connsiteY6" fmla="*/ 6338 h 10000"/>
                <a:gd name="connsiteX7" fmla="*/ 9038 w 9841"/>
                <a:gd name="connsiteY7" fmla="*/ 6209 h 10000"/>
                <a:gd name="connsiteX8" fmla="*/ 8923 w 9841"/>
                <a:gd name="connsiteY8" fmla="*/ 6073 h 10000"/>
                <a:gd name="connsiteX9" fmla="*/ 8820 w 9841"/>
                <a:gd name="connsiteY9" fmla="*/ 5928 h 10000"/>
                <a:gd name="connsiteX10" fmla="*/ 8775 w 9841"/>
                <a:gd name="connsiteY10" fmla="*/ 5865 h 10000"/>
                <a:gd name="connsiteX11" fmla="*/ 8727 w 9841"/>
                <a:gd name="connsiteY11" fmla="*/ 5789 h 10000"/>
                <a:gd name="connsiteX12" fmla="*/ 8691 w 9841"/>
                <a:gd name="connsiteY12" fmla="*/ 5721 h 10000"/>
                <a:gd name="connsiteX13" fmla="*/ 8643 w 9841"/>
                <a:gd name="connsiteY13" fmla="*/ 5646 h 10000"/>
                <a:gd name="connsiteX14" fmla="*/ 8606 w 9841"/>
                <a:gd name="connsiteY14" fmla="*/ 5575 h 10000"/>
                <a:gd name="connsiteX15" fmla="*/ 8569 w 9841"/>
                <a:gd name="connsiteY15" fmla="*/ 5501 h 10000"/>
                <a:gd name="connsiteX16" fmla="*/ 8541 w 9841"/>
                <a:gd name="connsiteY16" fmla="*/ 5424 h 10000"/>
                <a:gd name="connsiteX17" fmla="*/ 8504 w 9841"/>
                <a:gd name="connsiteY17" fmla="*/ 5353 h 10000"/>
                <a:gd name="connsiteX18" fmla="*/ 8483 w 9841"/>
                <a:gd name="connsiteY18" fmla="*/ 5274 h 10000"/>
                <a:gd name="connsiteX19" fmla="*/ 8447 w 9841"/>
                <a:gd name="connsiteY19" fmla="*/ 5200 h 10000"/>
                <a:gd name="connsiteX20" fmla="*/ 8427 w 9841"/>
                <a:gd name="connsiteY20" fmla="*/ 5122 h 10000"/>
                <a:gd name="connsiteX21" fmla="*/ 8411 w 9841"/>
                <a:gd name="connsiteY21" fmla="*/ 5048 h 10000"/>
                <a:gd name="connsiteX22" fmla="*/ 8390 w 9841"/>
                <a:gd name="connsiteY22" fmla="*/ 4966 h 10000"/>
                <a:gd name="connsiteX23" fmla="*/ 8373 w 9841"/>
                <a:gd name="connsiteY23" fmla="*/ 4893 h 10000"/>
                <a:gd name="connsiteX24" fmla="*/ 8355 w 9841"/>
                <a:gd name="connsiteY24" fmla="*/ 4815 h 10000"/>
                <a:gd name="connsiteX25" fmla="*/ 8344 w 9841"/>
                <a:gd name="connsiteY25" fmla="*/ 4739 h 10000"/>
                <a:gd name="connsiteX26" fmla="*/ 8334 w 9841"/>
                <a:gd name="connsiteY26" fmla="*/ 4656 h 10000"/>
                <a:gd name="connsiteX27" fmla="*/ 8322 w 9841"/>
                <a:gd name="connsiteY27" fmla="*/ 4573 h 10000"/>
                <a:gd name="connsiteX28" fmla="*/ 8322 w 9841"/>
                <a:gd name="connsiteY28" fmla="*/ 4497 h 10000"/>
                <a:gd name="connsiteX29" fmla="*/ 8314 w 9841"/>
                <a:gd name="connsiteY29" fmla="*/ 4413 h 10000"/>
                <a:gd name="connsiteX30" fmla="*/ 8322 w 9841"/>
                <a:gd name="connsiteY30" fmla="*/ 4334 h 10000"/>
                <a:gd name="connsiteX31" fmla="*/ 8334 w 9841"/>
                <a:gd name="connsiteY31" fmla="*/ 4248 h 10000"/>
                <a:gd name="connsiteX32" fmla="*/ 8334 w 9841"/>
                <a:gd name="connsiteY32" fmla="*/ 4160 h 10000"/>
                <a:gd name="connsiteX33" fmla="*/ 8344 w 9841"/>
                <a:gd name="connsiteY33" fmla="*/ 4075 h 10000"/>
                <a:gd name="connsiteX34" fmla="*/ 8355 w 9841"/>
                <a:gd name="connsiteY34" fmla="*/ 3990 h 10000"/>
                <a:gd name="connsiteX35" fmla="*/ 8373 w 9841"/>
                <a:gd name="connsiteY35" fmla="*/ 3915 h 10000"/>
                <a:gd name="connsiteX36" fmla="*/ 8390 w 9841"/>
                <a:gd name="connsiteY36" fmla="*/ 3830 h 10000"/>
                <a:gd name="connsiteX37" fmla="*/ 8411 w 9841"/>
                <a:gd name="connsiteY37" fmla="*/ 3750 h 10000"/>
                <a:gd name="connsiteX38" fmla="*/ 8436 w 9841"/>
                <a:gd name="connsiteY38" fmla="*/ 3665 h 10000"/>
                <a:gd name="connsiteX39" fmla="*/ 8466 w 9841"/>
                <a:gd name="connsiteY39" fmla="*/ 3589 h 10000"/>
                <a:gd name="connsiteX40" fmla="*/ 8495 w 9841"/>
                <a:gd name="connsiteY40" fmla="*/ 3508 h 10000"/>
                <a:gd name="connsiteX41" fmla="*/ 8521 w 9841"/>
                <a:gd name="connsiteY41" fmla="*/ 3424 h 10000"/>
                <a:gd name="connsiteX42" fmla="*/ 8558 w 9841"/>
                <a:gd name="connsiteY42" fmla="*/ 3355 h 10000"/>
                <a:gd name="connsiteX43" fmla="*/ 8597 w 9841"/>
                <a:gd name="connsiteY43" fmla="*/ 3275 h 10000"/>
                <a:gd name="connsiteX44" fmla="*/ 8635 w 9841"/>
                <a:gd name="connsiteY44" fmla="*/ 3194 h 10000"/>
                <a:gd name="connsiteX45" fmla="*/ 8681 w 9841"/>
                <a:gd name="connsiteY45" fmla="*/ 3118 h 10000"/>
                <a:gd name="connsiteX46" fmla="*/ 8720 w 9841"/>
                <a:gd name="connsiteY46" fmla="*/ 3046 h 10000"/>
                <a:gd name="connsiteX47" fmla="*/ 8765 w 9841"/>
                <a:gd name="connsiteY47" fmla="*/ 2964 h 10000"/>
                <a:gd name="connsiteX48" fmla="*/ 8820 w 9841"/>
                <a:gd name="connsiteY48" fmla="*/ 2898 h 10000"/>
                <a:gd name="connsiteX49" fmla="*/ 8867 w 9841"/>
                <a:gd name="connsiteY49" fmla="*/ 2823 h 10000"/>
                <a:gd name="connsiteX50" fmla="*/ 8923 w 9841"/>
                <a:gd name="connsiteY50" fmla="*/ 2754 h 10000"/>
                <a:gd name="connsiteX51" fmla="*/ 8973 w 9841"/>
                <a:gd name="connsiteY51" fmla="*/ 2676 h 10000"/>
                <a:gd name="connsiteX52" fmla="*/ 9038 w 9841"/>
                <a:gd name="connsiteY52" fmla="*/ 2613 h 10000"/>
                <a:gd name="connsiteX53" fmla="*/ 9103 w 9841"/>
                <a:gd name="connsiteY53" fmla="*/ 2538 h 10000"/>
                <a:gd name="connsiteX54" fmla="*/ 9159 w 9841"/>
                <a:gd name="connsiteY54" fmla="*/ 2471 h 10000"/>
                <a:gd name="connsiteX55" fmla="*/ 9222 w 9841"/>
                <a:gd name="connsiteY55" fmla="*/ 2404 h 10000"/>
                <a:gd name="connsiteX56" fmla="*/ 9290 w 9841"/>
                <a:gd name="connsiteY56" fmla="*/ 2331 h 10000"/>
                <a:gd name="connsiteX57" fmla="*/ 9354 w 9841"/>
                <a:gd name="connsiteY57" fmla="*/ 2269 h 10000"/>
                <a:gd name="connsiteX58" fmla="*/ 9431 w 9841"/>
                <a:gd name="connsiteY58" fmla="*/ 2203 h 10000"/>
                <a:gd name="connsiteX59" fmla="*/ 9496 w 9841"/>
                <a:gd name="connsiteY59" fmla="*/ 2145 h 10000"/>
                <a:gd name="connsiteX60" fmla="*/ 9569 w 9841"/>
                <a:gd name="connsiteY60" fmla="*/ 2077 h 10000"/>
                <a:gd name="connsiteX61" fmla="*/ 9602 w 9841"/>
                <a:gd name="connsiteY61" fmla="*/ 2042 h 10000"/>
                <a:gd name="connsiteX62" fmla="*/ 6802 w 9841"/>
                <a:gd name="connsiteY62" fmla="*/ 6 h 10000"/>
                <a:gd name="connsiteX63" fmla="*/ 1768 w 9841"/>
                <a:gd name="connsiteY63" fmla="*/ 0 h 10000"/>
                <a:gd name="connsiteX64" fmla="*/ 1647 w 9841"/>
                <a:gd name="connsiteY64" fmla="*/ 154 h 10000"/>
                <a:gd name="connsiteX65" fmla="*/ 1544 w 9841"/>
                <a:gd name="connsiteY65" fmla="*/ 269 h 10000"/>
                <a:gd name="connsiteX66" fmla="*/ 1449 w 9841"/>
                <a:gd name="connsiteY66" fmla="*/ 397 h 10000"/>
                <a:gd name="connsiteX67" fmla="*/ 1346 w 9841"/>
                <a:gd name="connsiteY67" fmla="*/ 523 h 10000"/>
                <a:gd name="connsiteX68" fmla="*/ 1262 w 9841"/>
                <a:gd name="connsiteY68" fmla="*/ 650 h 10000"/>
                <a:gd name="connsiteX69" fmla="*/ 1170 w 9841"/>
                <a:gd name="connsiteY69" fmla="*/ 775 h 10000"/>
                <a:gd name="connsiteX70" fmla="*/ 1086 w 9841"/>
                <a:gd name="connsiteY70" fmla="*/ 910 h 10000"/>
                <a:gd name="connsiteX71" fmla="*/ 1000 w 9841"/>
                <a:gd name="connsiteY71" fmla="*/ 1043 h 10000"/>
                <a:gd name="connsiteX72" fmla="*/ 928 w 9841"/>
                <a:gd name="connsiteY72" fmla="*/ 1166 h 10000"/>
                <a:gd name="connsiteX73" fmla="*/ 852 w 9841"/>
                <a:gd name="connsiteY73" fmla="*/ 1304 h 10000"/>
                <a:gd name="connsiteX74" fmla="*/ 776 w 9841"/>
                <a:gd name="connsiteY74" fmla="*/ 1432 h 10000"/>
                <a:gd name="connsiteX75" fmla="*/ 700 w 9841"/>
                <a:gd name="connsiteY75" fmla="*/ 1572 h 10000"/>
                <a:gd name="connsiteX76" fmla="*/ 636 w 9841"/>
                <a:gd name="connsiteY76" fmla="*/ 1699 h 10000"/>
                <a:gd name="connsiteX77" fmla="*/ 570 w 9841"/>
                <a:gd name="connsiteY77" fmla="*/ 1833 h 10000"/>
                <a:gd name="connsiteX78" fmla="*/ 516 w 9841"/>
                <a:gd name="connsiteY78" fmla="*/ 1968 h 10000"/>
                <a:gd name="connsiteX79" fmla="*/ 459 w 9841"/>
                <a:gd name="connsiteY79" fmla="*/ 2104 h 10000"/>
                <a:gd name="connsiteX80" fmla="*/ 402 w 9841"/>
                <a:gd name="connsiteY80" fmla="*/ 2248 h 10000"/>
                <a:gd name="connsiteX81" fmla="*/ 359 w 9841"/>
                <a:gd name="connsiteY81" fmla="*/ 2384 h 10000"/>
                <a:gd name="connsiteX82" fmla="*/ 298 w 9841"/>
                <a:gd name="connsiteY82" fmla="*/ 2526 h 10000"/>
                <a:gd name="connsiteX83" fmla="*/ 261 w 9841"/>
                <a:gd name="connsiteY83" fmla="*/ 2666 h 10000"/>
                <a:gd name="connsiteX84" fmla="*/ 217 w 9841"/>
                <a:gd name="connsiteY84" fmla="*/ 2809 h 10000"/>
                <a:gd name="connsiteX85" fmla="*/ 185 w 9841"/>
                <a:gd name="connsiteY85" fmla="*/ 2953 h 10000"/>
                <a:gd name="connsiteX86" fmla="*/ 148 w 9841"/>
                <a:gd name="connsiteY86" fmla="*/ 3095 h 10000"/>
                <a:gd name="connsiteX87" fmla="*/ 122 w 9841"/>
                <a:gd name="connsiteY87" fmla="*/ 3235 h 10000"/>
                <a:gd name="connsiteX88" fmla="*/ 96 w 9841"/>
                <a:gd name="connsiteY88" fmla="*/ 3382 h 10000"/>
                <a:gd name="connsiteX89" fmla="*/ 63 w 9841"/>
                <a:gd name="connsiteY89" fmla="*/ 3534 h 10000"/>
                <a:gd name="connsiteX90" fmla="*/ 45 w 9841"/>
                <a:gd name="connsiteY90" fmla="*/ 3678 h 10000"/>
                <a:gd name="connsiteX91" fmla="*/ 24 w 9841"/>
                <a:gd name="connsiteY91" fmla="*/ 3822 h 10000"/>
                <a:gd name="connsiteX92" fmla="*/ 17 w 9841"/>
                <a:gd name="connsiteY92" fmla="*/ 3966 h 10000"/>
                <a:gd name="connsiteX93" fmla="*/ 7 w 9841"/>
                <a:gd name="connsiteY93" fmla="*/ 4116 h 10000"/>
                <a:gd name="connsiteX94" fmla="*/ 0 w 9841"/>
                <a:gd name="connsiteY94" fmla="*/ 4261 h 10000"/>
                <a:gd name="connsiteX95" fmla="*/ 0 w 9841"/>
                <a:gd name="connsiteY95" fmla="*/ 4413 h 10000"/>
                <a:gd name="connsiteX96" fmla="*/ 7 w 9841"/>
                <a:gd name="connsiteY96" fmla="*/ 4606 h 10000"/>
                <a:gd name="connsiteX97" fmla="*/ 7 w 9841"/>
                <a:gd name="connsiteY97" fmla="*/ 4798 h 10000"/>
                <a:gd name="connsiteX98" fmla="*/ 24 w 9841"/>
                <a:gd name="connsiteY98" fmla="*/ 4977 h 10000"/>
                <a:gd name="connsiteX99" fmla="*/ 45 w 9841"/>
                <a:gd name="connsiteY99" fmla="*/ 5166 h 10000"/>
                <a:gd name="connsiteX100" fmla="*/ 76 w 9841"/>
                <a:gd name="connsiteY100" fmla="*/ 5353 h 10000"/>
                <a:gd name="connsiteX101" fmla="*/ 115 w 9841"/>
                <a:gd name="connsiteY101" fmla="*/ 5540 h 10000"/>
                <a:gd name="connsiteX102" fmla="*/ 148 w 9841"/>
                <a:gd name="connsiteY102" fmla="*/ 5725 h 10000"/>
                <a:gd name="connsiteX103" fmla="*/ 185 w 9841"/>
                <a:gd name="connsiteY103" fmla="*/ 5909 h 10000"/>
                <a:gd name="connsiteX104" fmla="*/ 245 w 9841"/>
                <a:gd name="connsiteY104" fmla="*/ 6093 h 10000"/>
                <a:gd name="connsiteX105" fmla="*/ 298 w 9841"/>
                <a:gd name="connsiteY105" fmla="*/ 6273 h 10000"/>
                <a:gd name="connsiteX106" fmla="*/ 359 w 9841"/>
                <a:gd name="connsiteY106" fmla="*/ 6456 h 10000"/>
                <a:gd name="connsiteX107" fmla="*/ 420 w 9841"/>
                <a:gd name="connsiteY107" fmla="*/ 6633 h 10000"/>
                <a:gd name="connsiteX108" fmla="*/ 496 w 9841"/>
                <a:gd name="connsiteY108" fmla="*/ 6805 h 10000"/>
                <a:gd name="connsiteX109" fmla="*/ 570 w 9841"/>
                <a:gd name="connsiteY109" fmla="*/ 6984 h 10000"/>
                <a:gd name="connsiteX110" fmla="*/ 654 w 9841"/>
                <a:gd name="connsiteY110" fmla="*/ 7156 h 10000"/>
                <a:gd name="connsiteX111" fmla="*/ 740 w 9841"/>
                <a:gd name="connsiteY111" fmla="*/ 7336 h 10000"/>
                <a:gd name="connsiteX112" fmla="*/ 832 w 9841"/>
                <a:gd name="connsiteY112" fmla="*/ 7502 h 10000"/>
                <a:gd name="connsiteX113" fmla="*/ 936 w 9841"/>
                <a:gd name="connsiteY113" fmla="*/ 7665 h 10000"/>
                <a:gd name="connsiteX114" fmla="*/ 1039 w 9841"/>
                <a:gd name="connsiteY114" fmla="*/ 7844 h 10000"/>
                <a:gd name="connsiteX115" fmla="*/ 1141 w 9841"/>
                <a:gd name="connsiteY115" fmla="*/ 8007 h 10000"/>
                <a:gd name="connsiteX116" fmla="*/ 1253 w 9841"/>
                <a:gd name="connsiteY116" fmla="*/ 8168 h 10000"/>
                <a:gd name="connsiteX117" fmla="*/ 1377 w 9841"/>
                <a:gd name="connsiteY117" fmla="*/ 8323 h 10000"/>
                <a:gd name="connsiteX118" fmla="*/ 1497 w 9841"/>
                <a:gd name="connsiteY118" fmla="*/ 8490 h 10000"/>
                <a:gd name="connsiteX119" fmla="*/ 1627 w 9841"/>
                <a:gd name="connsiteY119" fmla="*/ 8651 h 10000"/>
                <a:gd name="connsiteX120" fmla="*/ 1748 w 9841"/>
                <a:gd name="connsiteY120" fmla="*/ 8808 h 10000"/>
                <a:gd name="connsiteX121" fmla="*/ 1890 w 9841"/>
                <a:gd name="connsiteY121" fmla="*/ 8966 h 10000"/>
                <a:gd name="connsiteX122" fmla="*/ 2031 w 9841"/>
                <a:gd name="connsiteY122" fmla="*/ 9114 h 10000"/>
                <a:gd name="connsiteX123" fmla="*/ 2180 w 9841"/>
                <a:gd name="connsiteY123" fmla="*/ 9273 h 10000"/>
                <a:gd name="connsiteX124" fmla="*/ 2328 w 9841"/>
                <a:gd name="connsiteY124" fmla="*/ 9420 h 10000"/>
                <a:gd name="connsiteX125" fmla="*/ 2477 w 9841"/>
                <a:gd name="connsiteY125" fmla="*/ 9566 h 10000"/>
                <a:gd name="connsiteX126" fmla="*/ 2637 w 9841"/>
                <a:gd name="connsiteY126" fmla="*/ 9706 h 10000"/>
                <a:gd name="connsiteX127" fmla="*/ 2807 w 9841"/>
                <a:gd name="connsiteY127" fmla="*/ 9855 h 10000"/>
                <a:gd name="connsiteX128" fmla="*/ 2964 w 9841"/>
                <a:gd name="connsiteY128" fmla="*/ 10000 h 10000"/>
                <a:gd name="connsiteX129" fmla="*/ 5487 w 9841"/>
                <a:gd name="connsiteY129" fmla="*/ 7469 h 10000"/>
                <a:gd name="connsiteX0" fmla="*/ 5576 w 9839"/>
                <a:gd name="connsiteY0" fmla="*/ 7469 h 10000"/>
                <a:gd name="connsiteX1" fmla="*/ 9839 w 9839"/>
                <a:gd name="connsiteY1" fmla="*/ 6833 h 10000"/>
                <a:gd name="connsiteX2" fmla="*/ 9686 w 9839"/>
                <a:gd name="connsiteY2" fmla="*/ 6719 h 10000"/>
                <a:gd name="connsiteX3" fmla="*/ 9554 w 9839"/>
                <a:gd name="connsiteY3" fmla="*/ 6593 h 10000"/>
                <a:gd name="connsiteX4" fmla="*/ 9420 w 9839"/>
                <a:gd name="connsiteY4" fmla="*/ 6467 h 10000"/>
                <a:gd name="connsiteX5" fmla="*/ 9299 w 9839"/>
                <a:gd name="connsiteY5" fmla="*/ 6338 h 10000"/>
                <a:gd name="connsiteX6" fmla="*/ 9184 w 9839"/>
                <a:gd name="connsiteY6" fmla="*/ 6209 h 10000"/>
                <a:gd name="connsiteX7" fmla="*/ 9067 w 9839"/>
                <a:gd name="connsiteY7" fmla="*/ 6073 h 10000"/>
                <a:gd name="connsiteX8" fmla="*/ 8963 w 9839"/>
                <a:gd name="connsiteY8" fmla="*/ 5928 h 10000"/>
                <a:gd name="connsiteX9" fmla="*/ 8917 w 9839"/>
                <a:gd name="connsiteY9" fmla="*/ 5865 h 10000"/>
                <a:gd name="connsiteX10" fmla="*/ 8868 w 9839"/>
                <a:gd name="connsiteY10" fmla="*/ 5789 h 10000"/>
                <a:gd name="connsiteX11" fmla="*/ 8831 w 9839"/>
                <a:gd name="connsiteY11" fmla="*/ 5721 h 10000"/>
                <a:gd name="connsiteX12" fmla="*/ 8783 w 9839"/>
                <a:gd name="connsiteY12" fmla="*/ 5646 h 10000"/>
                <a:gd name="connsiteX13" fmla="*/ 8745 w 9839"/>
                <a:gd name="connsiteY13" fmla="*/ 5575 h 10000"/>
                <a:gd name="connsiteX14" fmla="*/ 8707 w 9839"/>
                <a:gd name="connsiteY14" fmla="*/ 5501 h 10000"/>
                <a:gd name="connsiteX15" fmla="*/ 8679 w 9839"/>
                <a:gd name="connsiteY15" fmla="*/ 5424 h 10000"/>
                <a:gd name="connsiteX16" fmla="*/ 8641 w 9839"/>
                <a:gd name="connsiteY16" fmla="*/ 5353 h 10000"/>
                <a:gd name="connsiteX17" fmla="*/ 8620 w 9839"/>
                <a:gd name="connsiteY17" fmla="*/ 5274 h 10000"/>
                <a:gd name="connsiteX18" fmla="*/ 8583 w 9839"/>
                <a:gd name="connsiteY18" fmla="*/ 5200 h 10000"/>
                <a:gd name="connsiteX19" fmla="*/ 8563 w 9839"/>
                <a:gd name="connsiteY19" fmla="*/ 5122 h 10000"/>
                <a:gd name="connsiteX20" fmla="*/ 8547 w 9839"/>
                <a:gd name="connsiteY20" fmla="*/ 5048 h 10000"/>
                <a:gd name="connsiteX21" fmla="*/ 8526 w 9839"/>
                <a:gd name="connsiteY21" fmla="*/ 4966 h 10000"/>
                <a:gd name="connsiteX22" fmla="*/ 8508 w 9839"/>
                <a:gd name="connsiteY22" fmla="*/ 4893 h 10000"/>
                <a:gd name="connsiteX23" fmla="*/ 8490 w 9839"/>
                <a:gd name="connsiteY23" fmla="*/ 4815 h 10000"/>
                <a:gd name="connsiteX24" fmla="*/ 8479 w 9839"/>
                <a:gd name="connsiteY24" fmla="*/ 4739 h 10000"/>
                <a:gd name="connsiteX25" fmla="*/ 8469 w 9839"/>
                <a:gd name="connsiteY25" fmla="*/ 4656 h 10000"/>
                <a:gd name="connsiteX26" fmla="*/ 8456 w 9839"/>
                <a:gd name="connsiteY26" fmla="*/ 4573 h 10000"/>
                <a:gd name="connsiteX27" fmla="*/ 8456 w 9839"/>
                <a:gd name="connsiteY27" fmla="*/ 4497 h 10000"/>
                <a:gd name="connsiteX28" fmla="*/ 8448 w 9839"/>
                <a:gd name="connsiteY28" fmla="*/ 4413 h 10000"/>
                <a:gd name="connsiteX29" fmla="*/ 8456 w 9839"/>
                <a:gd name="connsiteY29" fmla="*/ 4334 h 10000"/>
                <a:gd name="connsiteX30" fmla="*/ 8469 w 9839"/>
                <a:gd name="connsiteY30" fmla="*/ 4248 h 10000"/>
                <a:gd name="connsiteX31" fmla="*/ 8469 w 9839"/>
                <a:gd name="connsiteY31" fmla="*/ 4160 h 10000"/>
                <a:gd name="connsiteX32" fmla="*/ 8479 w 9839"/>
                <a:gd name="connsiteY32" fmla="*/ 4075 h 10000"/>
                <a:gd name="connsiteX33" fmla="*/ 8490 w 9839"/>
                <a:gd name="connsiteY33" fmla="*/ 3990 h 10000"/>
                <a:gd name="connsiteX34" fmla="*/ 8508 w 9839"/>
                <a:gd name="connsiteY34" fmla="*/ 3915 h 10000"/>
                <a:gd name="connsiteX35" fmla="*/ 8526 w 9839"/>
                <a:gd name="connsiteY35" fmla="*/ 3830 h 10000"/>
                <a:gd name="connsiteX36" fmla="*/ 8547 w 9839"/>
                <a:gd name="connsiteY36" fmla="*/ 3750 h 10000"/>
                <a:gd name="connsiteX37" fmla="*/ 8572 w 9839"/>
                <a:gd name="connsiteY37" fmla="*/ 3665 h 10000"/>
                <a:gd name="connsiteX38" fmla="*/ 8603 w 9839"/>
                <a:gd name="connsiteY38" fmla="*/ 3589 h 10000"/>
                <a:gd name="connsiteX39" fmla="*/ 8632 w 9839"/>
                <a:gd name="connsiteY39" fmla="*/ 3508 h 10000"/>
                <a:gd name="connsiteX40" fmla="*/ 8659 w 9839"/>
                <a:gd name="connsiteY40" fmla="*/ 3424 h 10000"/>
                <a:gd name="connsiteX41" fmla="*/ 8696 w 9839"/>
                <a:gd name="connsiteY41" fmla="*/ 3355 h 10000"/>
                <a:gd name="connsiteX42" fmla="*/ 8736 w 9839"/>
                <a:gd name="connsiteY42" fmla="*/ 3275 h 10000"/>
                <a:gd name="connsiteX43" fmla="*/ 8775 w 9839"/>
                <a:gd name="connsiteY43" fmla="*/ 3194 h 10000"/>
                <a:gd name="connsiteX44" fmla="*/ 8821 w 9839"/>
                <a:gd name="connsiteY44" fmla="*/ 3118 h 10000"/>
                <a:gd name="connsiteX45" fmla="*/ 8861 w 9839"/>
                <a:gd name="connsiteY45" fmla="*/ 3046 h 10000"/>
                <a:gd name="connsiteX46" fmla="*/ 8907 w 9839"/>
                <a:gd name="connsiteY46" fmla="*/ 2964 h 10000"/>
                <a:gd name="connsiteX47" fmla="*/ 8963 w 9839"/>
                <a:gd name="connsiteY47" fmla="*/ 2898 h 10000"/>
                <a:gd name="connsiteX48" fmla="*/ 9010 w 9839"/>
                <a:gd name="connsiteY48" fmla="*/ 2823 h 10000"/>
                <a:gd name="connsiteX49" fmla="*/ 9067 w 9839"/>
                <a:gd name="connsiteY49" fmla="*/ 2754 h 10000"/>
                <a:gd name="connsiteX50" fmla="*/ 9118 w 9839"/>
                <a:gd name="connsiteY50" fmla="*/ 2676 h 10000"/>
                <a:gd name="connsiteX51" fmla="*/ 9184 w 9839"/>
                <a:gd name="connsiteY51" fmla="*/ 2613 h 10000"/>
                <a:gd name="connsiteX52" fmla="*/ 9250 w 9839"/>
                <a:gd name="connsiteY52" fmla="*/ 2538 h 10000"/>
                <a:gd name="connsiteX53" fmla="*/ 9307 w 9839"/>
                <a:gd name="connsiteY53" fmla="*/ 2471 h 10000"/>
                <a:gd name="connsiteX54" fmla="*/ 9371 w 9839"/>
                <a:gd name="connsiteY54" fmla="*/ 2404 h 10000"/>
                <a:gd name="connsiteX55" fmla="*/ 9440 w 9839"/>
                <a:gd name="connsiteY55" fmla="*/ 2331 h 10000"/>
                <a:gd name="connsiteX56" fmla="*/ 9505 w 9839"/>
                <a:gd name="connsiteY56" fmla="*/ 2269 h 10000"/>
                <a:gd name="connsiteX57" fmla="*/ 9583 w 9839"/>
                <a:gd name="connsiteY57" fmla="*/ 2203 h 10000"/>
                <a:gd name="connsiteX58" fmla="*/ 9649 w 9839"/>
                <a:gd name="connsiteY58" fmla="*/ 2145 h 10000"/>
                <a:gd name="connsiteX59" fmla="*/ 9724 w 9839"/>
                <a:gd name="connsiteY59" fmla="*/ 2077 h 10000"/>
                <a:gd name="connsiteX60" fmla="*/ 9757 w 9839"/>
                <a:gd name="connsiteY60" fmla="*/ 2042 h 10000"/>
                <a:gd name="connsiteX61" fmla="*/ 6912 w 9839"/>
                <a:gd name="connsiteY61" fmla="*/ 6 h 10000"/>
                <a:gd name="connsiteX62" fmla="*/ 1797 w 9839"/>
                <a:gd name="connsiteY62" fmla="*/ 0 h 10000"/>
                <a:gd name="connsiteX63" fmla="*/ 1674 w 9839"/>
                <a:gd name="connsiteY63" fmla="*/ 154 h 10000"/>
                <a:gd name="connsiteX64" fmla="*/ 1569 w 9839"/>
                <a:gd name="connsiteY64" fmla="*/ 269 h 10000"/>
                <a:gd name="connsiteX65" fmla="*/ 1472 w 9839"/>
                <a:gd name="connsiteY65" fmla="*/ 397 h 10000"/>
                <a:gd name="connsiteX66" fmla="*/ 1368 w 9839"/>
                <a:gd name="connsiteY66" fmla="*/ 523 h 10000"/>
                <a:gd name="connsiteX67" fmla="*/ 1282 w 9839"/>
                <a:gd name="connsiteY67" fmla="*/ 650 h 10000"/>
                <a:gd name="connsiteX68" fmla="*/ 1189 w 9839"/>
                <a:gd name="connsiteY68" fmla="*/ 775 h 10000"/>
                <a:gd name="connsiteX69" fmla="*/ 1104 w 9839"/>
                <a:gd name="connsiteY69" fmla="*/ 910 h 10000"/>
                <a:gd name="connsiteX70" fmla="*/ 1016 w 9839"/>
                <a:gd name="connsiteY70" fmla="*/ 1043 h 10000"/>
                <a:gd name="connsiteX71" fmla="*/ 943 w 9839"/>
                <a:gd name="connsiteY71" fmla="*/ 1166 h 10000"/>
                <a:gd name="connsiteX72" fmla="*/ 866 w 9839"/>
                <a:gd name="connsiteY72" fmla="*/ 1304 h 10000"/>
                <a:gd name="connsiteX73" fmla="*/ 789 w 9839"/>
                <a:gd name="connsiteY73" fmla="*/ 1432 h 10000"/>
                <a:gd name="connsiteX74" fmla="*/ 711 w 9839"/>
                <a:gd name="connsiteY74" fmla="*/ 1572 h 10000"/>
                <a:gd name="connsiteX75" fmla="*/ 646 w 9839"/>
                <a:gd name="connsiteY75" fmla="*/ 1699 h 10000"/>
                <a:gd name="connsiteX76" fmla="*/ 579 w 9839"/>
                <a:gd name="connsiteY76" fmla="*/ 1833 h 10000"/>
                <a:gd name="connsiteX77" fmla="*/ 524 w 9839"/>
                <a:gd name="connsiteY77" fmla="*/ 1968 h 10000"/>
                <a:gd name="connsiteX78" fmla="*/ 466 w 9839"/>
                <a:gd name="connsiteY78" fmla="*/ 2104 h 10000"/>
                <a:gd name="connsiteX79" fmla="*/ 408 w 9839"/>
                <a:gd name="connsiteY79" fmla="*/ 2248 h 10000"/>
                <a:gd name="connsiteX80" fmla="*/ 365 w 9839"/>
                <a:gd name="connsiteY80" fmla="*/ 2384 h 10000"/>
                <a:gd name="connsiteX81" fmla="*/ 303 w 9839"/>
                <a:gd name="connsiteY81" fmla="*/ 2526 h 10000"/>
                <a:gd name="connsiteX82" fmla="*/ 265 w 9839"/>
                <a:gd name="connsiteY82" fmla="*/ 2666 h 10000"/>
                <a:gd name="connsiteX83" fmla="*/ 221 w 9839"/>
                <a:gd name="connsiteY83" fmla="*/ 2809 h 10000"/>
                <a:gd name="connsiteX84" fmla="*/ 188 w 9839"/>
                <a:gd name="connsiteY84" fmla="*/ 2953 h 10000"/>
                <a:gd name="connsiteX85" fmla="*/ 150 w 9839"/>
                <a:gd name="connsiteY85" fmla="*/ 3095 h 10000"/>
                <a:gd name="connsiteX86" fmla="*/ 124 w 9839"/>
                <a:gd name="connsiteY86" fmla="*/ 3235 h 10000"/>
                <a:gd name="connsiteX87" fmla="*/ 98 w 9839"/>
                <a:gd name="connsiteY87" fmla="*/ 3382 h 10000"/>
                <a:gd name="connsiteX88" fmla="*/ 64 w 9839"/>
                <a:gd name="connsiteY88" fmla="*/ 3534 h 10000"/>
                <a:gd name="connsiteX89" fmla="*/ 46 w 9839"/>
                <a:gd name="connsiteY89" fmla="*/ 3678 h 10000"/>
                <a:gd name="connsiteX90" fmla="*/ 24 w 9839"/>
                <a:gd name="connsiteY90" fmla="*/ 3822 h 10000"/>
                <a:gd name="connsiteX91" fmla="*/ 17 w 9839"/>
                <a:gd name="connsiteY91" fmla="*/ 3966 h 10000"/>
                <a:gd name="connsiteX92" fmla="*/ 7 w 9839"/>
                <a:gd name="connsiteY92" fmla="*/ 4116 h 10000"/>
                <a:gd name="connsiteX93" fmla="*/ 0 w 9839"/>
                <a:gd name="connsiteY93" fmla="*/ 4261 h 10000"/>
                <a:gd name="connsiteX94" fmla="*/ 0 w 9839"/>
                <a:gd name="connsiteY94" fmla="*/ 4413 h 10000"/>
                <a:gd name="connsiteX95" fmla="*/ 7 w 9839"/>
                <a:gd name="connsiteY95" fmla="*/ 4606 h 10000"/>
                <a:gd name="connsiteX96" fmla="*/ 7 w 9839"/>
                <a:gd name="connsiteY96" fmla="*/ 4798 h 10000"/>
                <a:gd name="connsiteX97" fmla="*/ 24 w 9839"/>
                <a:gd name="connsiteY97" fmla="*/ 4977 h 10000"/>
                <a:gd name="connsiteX98" fmla="*/ 46 w 9839"/>
                <a:gd name="connsiteY98" fmla="*/ 5166 h 10000"/>
                <a:gd name="connsiteX99" fmla="*/ 77 w 9839"/>
                <a:gd name="connsiteY99" fmla="*/ 5353 h 10000"/>
                <a:gd name="connsiteX100" fmla="*/ 117 w 9839"/>
                <a:gd name="connsiteY100" fmla="*/ 5540 h 10000"/>
                <a:gd name="connsiteX101" fmla="*/ 150 w 9839"/>
                <a:gd name="connsiteY101" fmla="*/ 5725 h 10000"/>
                <a:gd name="connsiteX102" fmla="*/ 188 w 9839"/>
                <a:gd name="connsiteY102" fmla="*/ 5909 h 10000"/>
                <a:gd name="connsiteX103" fmla="*/ 249 w 9839"/>
                <a:gd name="connsiteY103" fmla="*/ 6093 h 10000"/>
                <a:gd name="connsiteX104" fmla="*/ 303 w 9839"/>
                <a:gd name="connsiteY104" fmla="*/ 6273 h 10000"/>
                <a:gd name="connsiteX105" fmla="*/ 365 w 9839"/>
                <a:gd name="connsiteY105" fmla="*/ 6456 h 10000"/>
                <a:gd name="connsiteX106" fmla="*/ 427 w 9839"/>
                <a:gd name="connsiteY106" fmla="*/ 6633 h 10000"/>
                <a:gd name="connsiteX107" fmla="*/ 504 w 9839"/>
                <a:gd name="connsiteY107" fmla="*/ 6805 h 10000"/>
                <a:gd name="connsiteX108" fmla="*/ 579 w 9839"/>
                <a:gd name="connsiteY108" fmla="*/ 6984 h 10000"/>
                <a:gd name="connsiteX109" fmla="*/ 665 w 9839"/>
                <a:gd name="connsiteY109" fmla="*/ 7156 h 10000"/>
                <a:gd name="connsiteX110" fmla="*/ 752 w 9839"/>
                <a:gd name="connsiteY110" fmla="*/ 7336 h 10000"/>
                <a:gd name="connsiteX111" fmla="*/ 845 w 9839"/>
                <a:gd name="connsiteY111" fmla="*/ 7502 h 10000"/>
                <a:gd name="connsiteX112" fmla="*/ 951 w 9839"/>
                <a:gd name="connsiteY112" fmla="*/ 7665 h 10000"/>
                <a:gd name="connsiteX113" fmla="*/ 1056 w 9839"/>
                <a:gd name="connsiteY113" fmla="*/ 7844 h 10000"/>
                <a:gd name="connsiteX114" fmla="*/ 1159 w 9839"/>
                <a:gd name="connsiteY114" fmla="*/ 8007 h 10000"/>
                <a:gd name="connsiteX115" fmla="*/ 1273 w 9839"/>
                <a:gd name="connsiteY115" fmla="*/ 8168 h 10000"/>
                <a:gd name="connsiteX116" fmla="*/ 1399 w 9839"/>
                <a:gd name="connsiteY116" fmla="*/ 8323 h 10000"/>
                <a:gd name="connsiteX117" fmla="*/ 1521 w 9839"/>
                <a:gd name="connsiteY117" fmla="*/ 8490 h 10000"/>
                <a:gd name="connsiteX118" fmla="*/ 1653 w 9839"/>
                <a:gd name="connsiteY118" fmla="*/ 8651 h 10000"/>
                <a:gd name="connsiteX119" fmla="*/ 1776 w 9839"/>
                <a:gd name="connsiteY119" fmla="*/ 8808 h 10000"/>
                <a:gd name="connsiteX120" fmla="*/ 1921 w 9839"/>
                <a:gd name="connsiteY120" fmla="*/ 8966 h 10000"/>
                <a:gd name="connsiteX121" fmla="*/ 2064 w 9839"/>
                <a:gd name="connsiteY121" fmla="*/ 9114 h 10000"/>
                <a:gd name="connsiteX122" fmla="*/ 2215 w 9839"/>
                <a:gd name="connsiteY122" fmla="*/ 9273 h 10000"/>
                <a:gd name="connsiteX123" fmla="*/ 2366 w 9839"/>
                <a:gd name="connsiteY123" fmla="*/ 9420 h 10000"/>
                <a:gd name="connsiteX124" fmla="*/ 2517 w 9839"/>
                <a:gd name="connsiteY124" fmla="*/ 9566 h 10000"/>
                <a:gd name="connsiteX125" fmla="*/ 2680 w 9839"/>
                <a:gd name="connsiteY125" fmla="*/ 9706 h 10000"/>
                <a:gd name="connsiteX126" fmla="*/ 2852 w 9839"/>
                <a:gd name="connsiteY126" fmla="*/ 9855 h 10000"/>
                <a:gd name="connsiteX127" fmla="*/ 3012 w 9839"/>
                <a:gd name="connsiteY127" fmla="*/ 10000 h 10000"/>
                <a:gd name="connsiteX128" fmla="*/ 5576 w 9839"/>
                <a:gd name="connsiteY128" fmla="*/ 7469 h 10000"/>
                <a:gd name="connsiteX0" fmla="*/ 5667 w 10000"/>
                <a:gd name="connsiteY0" fmla="*/ 7469 h 9999"/>
                <a:gd name="connsiteX1" fmla="*/ 10000 w 10000"/>
                <a:gd name="connsiteY1" fmla="*/ 6833 h 9999"/>
                <a:gd name="connsiteX2" fmla="*/ 9844 w 10000"/>
                <a:gd name="connsiteY2" fmla="*/ 6719 h 9999"/>
                <a:gd name="connsiteX3" fmla="*/ 9710 w 10000"/>
                <a:gd name="connsiteY3" fmla="*/ 6593 h 9999"/>
                <a:gd name="connsiteX4" fmla="*/ 9574 w 10000"/>
                <a:gd name="connsiteY4" fmla="*/ 6467 h 9999"/>
                <a:gd name="connsiteX5" fmla="*/ 9451 w 10000"/>
                <a:gd name="connsiteY5" fmla="*/ 6338 h 9999"/>
                <a:gd name="connsiteX6" fmla="*/ 9334 w 10000"/>
                <a:gd name="connsiteY6" fmla="*/ 6209 h 9999"/>
                <a:gd name="connsiteX7" fmla="*/ 9215 w 10000"/>
                <a:gd name="connsiteY7" fmla="*/ 6073 h 9999"/>
                <a:gd name="connsiteX8" fmla="*/ 9110 w 10000"/>
                <a:gd name="connsiteY8" fmla="*/ 5928 h 9999"/>
                <a:gd name="connsiteX9" fmla="*/ 9063 w 10000"/>
                <a:gd name="connsiteY9" fmla="*/ 5865 h 9999"/>
                <a:gd name="connsiteX10" fmla="*/ 9013 w 10000"/>
                <a:gd name="connsiteY10" fmla="*/ 5789 h 9999"/>
                <a:gd name="connsiteX11" fmla="*/ 8976 w 10000"/>
                <a:gd name="connsiteY11" fmla="*/ 5721 h 9999"/>
                <a:gd name="connsiteX12" fmla="*/ 8927 w 10000"/>
                <a:gd name="connsiteY12" fmla="*/ 5646 h 9999"/>
                <a:gd name="connsiteX13" fmla="*/ 8888 w 10000"/>
                <a:gd name="connsiteY13" fmla="*/ 5575 h 9999"/>
                <a:gd name="connsiteX14" fmla="*/ 8849 w 10000"/>
                <a:gd name="connsiteY14" fmla="*/ 5501 h 9999"/>
                <a:gd name="connsiteX15" fmla="*/ 8821 w 10000"/>
                <a:gd name="connsiteY15" fmla="*/ 5424 h 9999"/>
                <a:gd name="connsiteX16" fmla="*/ 8782 w 10000"/>
                <a:gd name="connsiteY16" fmla="*/ 5353 h 9999"/>
                <a:gd name="connsiteX17" fmla="*/ 8761 w 10000"/>
                <a:gd name="connsiteY17" fmla="*/ 5274 h 9999"/>
                <a:gd name="connsiteX18" fmla="*/ 8723 w 10000"/>
                <a:gd name="connsiteY18" fmla="*/ 5200 h 9999"/>
                <a:gd name="connsiteX19" fmla="*/ 8703 w 10000"/>
                <a:gd name="connsiteY19" fmla="*/ 5122 h 9999"/>
                <a:gd name="connsiteX20" fmla="*/ 8687 w 10000"/>
                <a:gd name="connsiteY20" fmla="*/ 5048 h 9999"/>
                <a:gd name="connsiteX21" fmla="*/ 8666 w 10000"/>
                <a:gd name="connsiteY21" fmla="*/ 4966 h 9999"/>
                <a:gd name="connsiteX22" fmla="*/ 8647 w 10000"/>
                <a:gd name="connsiteY22" fmla="*/ 4893 h 9999"/>
                <a:gd name="connsiteX23" fmla="*/ 8629 w 10000"/>
                <a:gd name="connsiteY23" fmla="*/ 4815 h 9999"/>
                <a:gd name="connsiteX24" fmla="*/ 8618 w 10000"/>
                <a:gd name="connsiteY24" fmla="*/ 4739 h 9999"/>
                <a:gd name="connsiteX25" fmla="*/ 8608 w 10000"/>
                <a:gd name="connsiteY25" fmla="*/ 4656 h 9999"/>
                <a:gd name="connsiteX26" fmla="*/ 8594 w 10000"/>
                <a:gd name="connsiteY26" fmla="*/ 4573 h 9999"/>
                <a:gd name="connsiteX27" fmla="*/ 8594 w 10000"/>
                <a:gd name="connsiteY27" fmla="*/ 4497 h 9999"/>
                <a:gd name="connsiteX28" fmla="*/ 8586 w 10000"/>
                <a:gd name="connsiteY28" fmla="*/ 4413 h 9999"/>
                <a:gd name="connsiteX29" fmla="*/ 8594 w 10000"/>
                <a:gd name="connsiteY29" fmla="*/ 4334 h 9999"/>
                <a:gd name="connsiteX30" fmla="*/ 8608 w 10000"/>
                <a:gd name="connsiteY30" fmla="*/ 4248 h 9999"/>
                <a:gd name="connsiteX31" fmla="*/ 8608 w 10000"/>
                <a:gd name="connsiteY31" fmla="*/ 4160 h 9999"/>
                <a:gd name="connsiteX32" fmla="*/ 8618 w 10000"/>
                <a:gd name="connsiteY32" fmla="*/ 4075 h 9999"/>
                <a:gd name="connsiteX33" fmla="*/ 8629 w 10000"/>
                <a:gd name="connsiteY33" fmla="*/ 3990 h 9999"/>
                <a:gd name="connsiteX34" fmla="*/ 8647 w 10000"/>
                <a:gd name="connsiteY34" fmla="*/ 3915 h 9999"/>
                <a:gd name="connsiteX35" fmla="*/ 8666 w 10000"/>
                <a:gd name="connsiteY35" fmla="*/ 3830 h 9999"/>
                <a:gd name="connsiteX36" fmla="*/ 8687 w 10000"/>
                <a:gd name="connsiteY36" fmla="*/ 3750 h 9999"/>
                <a:gd name="connsiteX37" fmla="*/ 8712 w 10000"/>
                <a:gd name="connsiteY37" fmla="*/ 3665 h 9999"/>
                <a:gd name="connsiteX38" fmla="*/ 8744 w 10000"/>
                <a:gd name="connsiteY38" fmla="*/ 3589 h 9999"/>
                <a:gd name="connsiteX39" fmla="*/ 8773 w 10000"/>
                <a:gd name="connsiteY39" fmla="*/ 3508 h 9999"/>
                <a:gd name="connsiteX40" fmla="*/ 8801 w 10000"/>
                <a:gd name="connsiteY40" fmla="*/ 3424 h 9999"/>
                <a:gd name="connsiteX41" fmla="*/ 8838 w 10000"/>
                <a:gd name="connsiteY41" fmla="*/ 3355 h 9999"/>
                <a:gd name="connsiteX42" fmla="*/ 8879 w 10000"/>
                <a:gd name="connsiteY42" fmla="*/ 3275 h 9999"/>
                <a:gd name="connsiteX43" fmla="*/ 8919 w 10000"/>
                <a:gd name="connsiteY43" fmla="*/ 3194 h 9999"/>
                <a:gd name="connsiteX44" fmla="*/ 8965 w 10000"/>
                <a:gd name="connsiteY44" fmla="*/ 3118 h 9999"/>
                <a:gd name="connsiteX45" fmla="*/ 9006 w 10000"/>
                <a:gd name="connsiteY45" fmla="*/ 3046 h 9999"/>
                <a:gd name="connsiteX46" fmla="*/ 9053 w 10000"/>
                <a:gd name="connsiteY46" fmla="*/ 2964 h 9999"/>
                <a:gd name="connsiteX47" fmla="*/ 9110 w 10000"/>
                <a:gd name="connsiteY47" fmla="*/ 2898 h 9999"/>
                <a:gd name="connsiteX48" fmla="*/ 9157 w 10000"/>
                <a:gd name="connsiteY48" fmla="*/ 2823 h 9999"/>
                <a:gd name="connsiteX49" fmla="*/ 9215 w 10000"/>
                <a:gd name="connsiteY49" fmla="*/ 2754 h 9999"/>
                <a:gd name="connsiteX50" fmla="*/ 9267 w 10000"/>
                <a:gd name="connsiteY50" fmla="*/ 2676 h 9999"/>
                <a:gd name="connsiteX51" fmla="*/ 9334 w 10000"/>
                <a:gd name="connsiteY51" fmla="*/ 2613 h 9999"/>
                <a:gd name="connsiteX52" fmla="*/ 9401 w 10000"/>
                <a:gd name="connsiteY52" fmla="*/ 2538 h 9999"/>
                <a:gd name="connsiteX53" fmla="*/ 9459 w 10000"/>
                <a:gd name="connsiteY53" fmla="*/ 2471 h 9999"/>
                <a:gd name="connsiteX54" fmla="*/ 9524 w 10000"/>
                <a:gd name="connsiteY54" fmla="*/ 2404 h 9999"/>
                <a:gd name="connsiteX55" fmla="*/ 9594 w 10000"/>
                <a:gd name="connsiteY55" fmla="*/ 2331 h 9999"/>
                <a:gd name="connsiteX56" fmla="*/ 9661 w 10000"/>
                <a:gd name="connsiteY56" fmla="*/ 2269 h 9999"/>
                <a:gd name="connsiteX57" fmla="*/ 9740 w 10000"/>
                <a:gd name="connsiteY57" fmla="*/ 2203 h 9999"/>
                <a:gd name="connsiteX58" fmla="*/ 9807 w 10000"/>
                <a:gd name="connsiteY58" fmla="*/ 2145 h 9999"/>
                <a:gd name="connsiteX59" fmla="*/ 9883 w 10000"/>
                <a:gd name="connsiteY59" fmla="*/ 2077 h 9999"/>
                <a:gd name="connsiteX60" fmla="*/ 9917 w 10000"/>
                <a:gd name="connsiteY60" fmla="*/ 2042 h 9999"/>
                <a:gd name="connsiteX61" fmla="*/ 7025 w 10000"/>
                <a:gd name="connsiteY61" fmla="*/ 6 h 9999"/>
                <a:gd name="connsiteX62" fmla="*/ 1826 w 10000"/>
                <a:gd name="connsiteY62" fmla="*/ 0 h 9999"/>
                <a:gd name="connsiteX63" fmla="*/ 1701 w 10000"/>
                <a:gd name="connsiteY63" fmla="*/ 154 h 9999"/>
                <a:gd name="connsiteX64" fmla="*/ 1595 w 10000"/>
                <a:gd name="connsiteY64" fmla="*/ 269 h 9999"/>
                <a:gd name="connsiteX65" fmla="*/ 1496 w 10000"/>
                <a:gd name="connsiteY65" fmla="*/ 397 h 9999"/>
                <a:gd name="connsiteX66" fmla="*/ 1390 w 10000"/>
                <a:gd name="connsiteY66" fmla="*/ 523 h 9999"/>
                <a:gd name="connsiteX67" fmla="*/ 1303 w 10000"/>
                <a:gd name="connsiteY67" fmla="*/ 650 h 9999"/>
                <a:gd name="connsiteX68" fmla="*/ 1208 w 10000"/>
                <a:gd name="connsiteY68" fmla="*/ 775 h 9999"/>
                <a:gd name="connsiteX69" fmla="*/ 1122 w 10000"/>
                <a:gd name="connsiteY69" fmla="*/ 910 h 9999"/>
                <a:gd name="connsiteX70" fmla="*/ 1033 w 10000"/>
                <a:gd name="connsiteY70" fmla="*/ 1043 h 9999"/>
                <a:gd name="connsiteX71" fmla="*/ 958 w 10000"/>
                <a:gd name="connsiteY71" fmla="*/ 1166 h 9999"/>
                <a:gd name="connsiteX72" fmla="*/ 880 w 10000"/>
                <a:gd name="connsiteY72" fmla="*/ 1304 h 9999"/>
                <a:gd name="connsiteX73" fmla="*/ 802 w 10000"/>
                <a:gd name="connsiteY73" fmla="*/ 1432 h 9999"/>
                <a:gd name="connsiteX74" fmla="*/ 723 w 10000"/>
                <a:gd name="connsiteY74" fmla="*/ 1572 h 9999"/>
                <a:gd name="connsiteX75" fmla="*/ 657 w 10000"/>
                <a:gd name="connsiteY75" fmla="*/ 1699 h 9999"/>
                <a:gd name="connsiteX76" fmla="*/ 588 w 10000"/>
                <a:gd name="connsiteY76" fmla="*/ 1833 h 9999"/>
                <a:gd name="connsiteX77" fmla="*/ 533 w 10000"/>
                <a:gd name="connsiteY77" fmla="*/ 1968 h 9999"/>
                <a:gd name="connsiteX78" fmla="*/ 474 w 10000"/>
                <a:gd name="connsiteY78" fmla="*/ 2104 h 9999"/>
                <a:gd name="connsiteX79" fmla="*/ 415 w 10000"/>
                <a:gd name="connsiteY79" fmla="*/ 2248 h 9999"/>
                <a:gd name="connsiteX80" fmla="*/ 371 w 10000"/>
                <a:gd name="connsiteY80" fmla="*/ 2384 h 9999"/>
                <a:gd name="connsiteX81" fmla="*/ 308 w 10000"/>
                <a:gd name="connsiteY81" fmla="*/ 2526 h 9999"/>
                <a:gd name="connsiteX82" fmla="*/ 269 w 10000"/>
                <a:gd name="connsiteY82" fmla="*/ 2666 h 9999"/>
                <a:gd name="connsiteX83" fmla="*/ 225 w 10000"/>
                <a:gd name="connsiteY83" fmla="*/ 2809 h 9999"/>
                <a:gd name="connsiteX84" fmla="*/ 191 w 10000"/>
                <a:gd name="connsiteY84" fmla="*/ 2953 h 9999"/>
                <a:gd name="connsiteX85" fmla="*/ 152 w 10000"/>
                <a:gd name="connsiteY85" fmla="*/ 3095 h 9999"/>
                <a:gd name="connsiteX86" fmla="*/ 126 w 10000"/>
                <a:gd name="connsiteY86" fmla="*/ 3235 h 9999"/>
                <a:gd name="connsiteX87" fmla="*/ 100 w 10000"/>
                <a:gd name="connsiteY87" fmla="*/ 3382 h 9999"/>
                <a:gd name="connsiteX88" fmla="*/ 65 w 10000"/>
                <a:gd name="connsiteY88" fmla="*/ 3534 h 9999"/>
                <a:gd name="connsiteX89" fmla="*/ 47 w 10000"/>
                <a:gd name="connsiteY89" fmla="*/ 3678 h 9999"/>
                <a:gd name="connsiteX90" fmla="*/ 24 w 10000"/>
                <a:gd name="connsiteY90" fmla="*/ 3822 h 9999"/>
                <a:gd name="connsiteX91" fmla="*/ 17 w 10000"/>
                <a:gd name="connsiteY91" fmla="*/ 3966 h 9999"/>
                <a:gd name="connsiteX92" fmla="*/ 7 w 10000"/>
                <a:gd name="connsiteY92" fmla="*/ 4116 h 9999"/>
                <a:gd name="connsiteX93" fmla="*/ 0 w 10000"/>
                <a:gd name="connsiteY93" fmla="*/ 4261 h 9999"/>
                <a:gd name="connsiteX94" fmla="*/ 0 w 10000"/>
                <a:gd name="connsiteY94" fmla="*/ 4413 h 9999"/>
                <a:gd name="connsiteX95" fmla="*/ 7 w 10000"/>
                <a:gd name="connsiteY95" fmla="*/ 4606 h 9999"/>
                <a:gd name="connsiteX96" fmla="*/ 7 w 10000"/>
                <a:gd name="connsiteY96" fmla="*/ 4798 h 9999"/>
                <a:gd name="connsiteX97" fmla="*/ 24 w 10000"/>
                <a:gd name="connsiteY97" fmla="*/ 4977 h 9999"/>
                <a:gd name="connsiteX98" fmla="*/ 47 w 10000"/>
                <a:gd name="connsiteY98" fmla="*/ 5166 h 9999"/>
                <a:gd name="connsiteX99" fmla="*/ 78 w 10000"/>
                <a:gd name="connsiteY99" fmla="*/ 5353 h 9999"/>
                <a:gd name="connsiteX100" fmla="*/ 119 w 10000"/>
                <a:gd name="connsiteY100" fmla="*/ 5540 h 9999"/>
                <a:gd name="connsiteX101" fmla="*/ 152 w 10000"/>
                <a:gd name="connsiteY101" fmla="*/ 5725 h 9999"/>
                <a:gd name="connsiteX102" fmla="*/ 191 w 10000"/>
                <a:gd name="connsiteY102" fmla="*/ 5909 h 9999"/>
                <a:gd name="connsiteX103" fmla="*/ 253 w 10000"/>
                <a:gd name="connsiteY103" fmla="*/ 6093 h 9999"/>
                <a:gd name="connsiteX104" fmla="*/ 308 w 10000"/>
                <a:gd name="connsiteY104" fmla="*/ 6273 h 9999"/>
                <a:gd name="connsiteX105" fmla="*/ 371 w 10000"/>
                <a:gd name="connsiteY105" fmla="*/ 6456 h 9999"/>
                <a:gd name="connsiteX106" fmla="*/ 434 w 10000"/>
                <a:gd name="connsiteY106" fmla="*/ 6633 h 9999"/>
                <a:gd name="connsiteX107" fmla="*/ 512 w 10000"/>
                <a:gd name="connsiteY107" fmla="*/ 6805 h 9999"/>
                <a:gd name="connsiteX108" fmla="*/ 588 w 10000"/>
                <a:gd name="connsiteY108" fmla="*/ 6984 h 9999"/>
                <a:gd name="connsiteX109" fmla="*/ 676 w 10000"/>
                <a:gd name="connsiteY109" fmla="*/ 7156 h 9999"/>
                <a:gd name="connsiteX110" fmla="*/ 764 w 10000"/>
                <a:gd name="connsiteY110" fmla="*/ 7336 h 9999"/>
                <a:gd name="connsiteX111" fmla="*/ 859 w 10000"/>
                <a:gd name="connsiteY111" fmla="*/ 7502 h 9999"/>
                <a:gd name="connsiteX112" fmla="*/ 967 w 10000"/>
                <a:gd name="connsiteY112" fmla="*/ 7665 h 9999"/>
                <a:gd name="connsiteX113" fmla="*/ 1073 w 10000"/>
                <a:gd name="connsiteY113" fmla="*/ 7844 h 9999"/>
                <a:gd name="connsiteX114" fmla="*/ 1178 w 10000"/>
                <a:gd name="connsiteY114" fmla="*/ 8007 h 9999"/>
                <a:gd name="connsiteX115" fmla="*/ 1294 w 10000"/>
                <a:gd name="connsiteY115" fmla="*/ 8168 h 9999"/>
                <a:gd name="connsiteX116" fmla="*/ 1422 w 10000"/>
                <a:gd name="connsiteY116" fmla="*/ 8323 h 9999"/>
                <a:gd name="connsiteX117" fmla="*/ 1546 w 10000"/>
                <a:gd name="connsiteY117" fmla="*/ 8490 h 9999"/>
                <a:gd name="connsiteX118" fmla="*/ 1680 w 10000"/>
                <a:gd name="connsiteY118" fmla="*/ 8651 h 9999"/>
                <a:gd name="connsiteX119" fmla="*/ 1805 w 10000"/>
                <a:gd name="connsiteY119" fmla="*/ 8808 h 9999"/>
                <a:gd name="connsiteX120" fmla="*/ 1952 w 10000"/>
                <a:gd name="connsiteY120" fmla="*/ 8966 h 9999"/>
                <a:gd name="connsiteX121" fmla="*/ 2098 w 10000"/>
                <a:gd name="connsiteY121" fmla="*/ 9114 h 9999"/>
                <a:gd name="connsiteX122" fmla="*/ 2251 w 10000"/>
                <a:gd name="connsiteY122" fmla="*/ 9273 h 9999"/>
                <a:gd name="connsiteX123" fmla="*/ 2405 w 10000"/>
                <a:gd name="connsiteY123" fmla="*/ 9420 h 9999"/>
                <a:gd name="connsiteX124" fmla="*/ 2558 w 10000"/>
                <a:gd name="connsiteY124" fmla="*/ 9566 h 9999"/>
                <a:gd name="connsiteX125" fmla="*/ 2724 w 10000"/>
                <a:gd name="connsiteY125" fmla="*/ 9706 h 9999"/>
                <a:gd name="connsiteX126" fmla="*/ 2899 w 10000"/>
                <a:gd name="connsiteY126" fmla="*/ 9855 h 9999"/>
                <a:gd name="connsiteX127" fmla="*/ 3062 w 10000"/>
                <a:gd name="connsiteY127" fmla="*/ 9999 h 9999"/>
                <a:gd name="connsiteX128" fmla="*/ 5667 w 10000"/>
                <a:gd name="connsiteY128" fmla="*/ 7469 h 9999"/>
                <a:gd name="connsiteX0" fmla="*/ 5667 w 10000"/>
                <a:gd name="connsiteY0" fmla="*/ 7470 h 10001"/>
                <a:gd name="connsiteX1" fmla="*/ 10000 w 10000"/>
                <a:gd name="connsiteY1" fmla="*/ 6834 h 10001"/>
                <a:gd name="connsiteX2" fmla="*/ 9844 w 10000"/>
                <a:gd name="connsiteY2" fmla="*/ 6720 h 10001"/>
                <a:gd name="connsiteX3" fmla="*/ 9710 w 10000"/>
                <a:gd name="connsiteY3" fmla="*/ 6594 h 10001"/>
                <a:gd name="connsiteX4" fmla="*/ 9574 w 10000"/>
                <a:gd name="connsiteY4" fmla="*/ 6468 h 10001"/>
                <a:gd name="connsiteX5" fmla="*/ 9451 w 10000"/>
                <a:gd name="connsiteY5" fmla="*/ 6339 h 10001"/>
                <a:gd name="connsiteX6" fmla="*/ 9334 w 10000"/>
                <a:gd name="connsiteY6" fmla="*/ 6210 h 10001"/>
                <a:gd name="connsiteX7" fmla="*/ 9215 w 10000"/>
                <a:gd name="connsiteY7" fmla="*/ 6074 h 10001"/>
                <a:gd name="connsiteX8" fmla="*/ 9110 w 10000"/>
                <a:gd name="connsiteY8" fmla="*/ 5929 h 10001"/>
                <a:gd name="connsiteX9" fmla="*/ 9063 w 10000"/>
                <a:gd name="connsiteY9" fmla="*/ 5866 h 10001"/>
                <a:gd name="connsiteX10" fmla="*/ 9013 w 10000"/>
                <a:gd name="connsiteY10" fmla="*/ 5790 h 10001"/>
                <a:gd name="connsiteX11" fmla="*/ 8976 w 10000"/>
                <a:gd name="connsiteY11" fmla="*/ 5722 h 10001"/>
                <a:gd name="connsiteX12" fmla="*/ 8927 w 10000"/>
                <a:gd name="connsiteY12" fmla="*/ 5647 h 10001"/>
                <a:gd name="connsiteX13" fmla="*/ 8888 w 10000"/>
                <a:gd name="connsiteY13" fmla="*/ 5576 h 10001"/>
                <a:gd name="connsiteX14" fmla="*/ 8849 w 10000"/>
                <a:gd name="connsiteY14" fmla="*/ 5502 h 10001"/>
                <a:gd name="connsiteX15" fmla="*/ 8821 w 10000"/>
                <a:gd name="connsiteY15" fmla="*/ 5425 h 10001"/>
                <a:gd name="connsiteX16" fmla="*/ 8782 w 10000"/>
                <a:gd name="connsiteY16" fmla="*/ 5354 h 10001"/>
                <a:gd name="connsiteX17" fmla="*/ 8761 w 10000"/>
                <a:gd name="connsiteY17" fmla="*/ 5275 h 10001"/>
                <a:gd name="connsiteX18" fmla="*/ 8723 w 10000"/>
                <a:gd name="connsiteY18" fmla="*/ 5201 h 10001"/>
                <a:gd name="connsiteX19" fmla="*/ 8703 w 10000"/>
                <a:gd name="connsiteY19" fmla="*/ 5123 h 10001"/>
                <a:gd name="connsiteX20" fmla="*/ 8687 w 10000"/>
                <a:gd name="connsiteY20" fmla="*/ 5049 h 10001"/>
                <a:gd name="connsiteX21" fmla="*/ 8666 w 10000"/>
                <a:gd name="connsiteY21" fmla="*/ 4966 h 10001"/>
                <a:gd name="connsiteX22" fmla="*/ 8647 w 10000"/>
                <a:gd name="connsiteY22" fmla="*/ 4893 h 10001"/>
                <a:gd name="connsiteX23" fmla="*/ 8629 w 10000"/>
                <a:gd name="connsiteY23" fmla="*/ 4815 h 10001"/>
                <a:gd name="connsiteX24" fmla="*/ 8618 w 10000"/>
                <a:gd name="connsiteY24" fmla="*/ 4739 h 10001"/>
                <a:gd name="connsiteX25" fmla="*/ 8608 w 10000"/>
                <a:gd name="connsiteY25" fmla="*/ 4656 h 10001"/>
                <a:gd name="connsiteX26" fmla="*/ 8594 w 10000"/>
                <a:gd name="connsiteY26" fmla="*/ 4573 h 10001"/>
                <a:gd name="connsiteX27" fmla="*/ 8594 w 10000"/>
                <a:gd name="connsiteY27" fmla="*/ 4497 h 10001"/>
                <a:gd name="connsiteX28" fmla="*/ 8586 w 10000"/>
                <a:gd name="connsiteY28" fmla="*/ 4413 h 10001"/>
                <a:gd name="connsiteX29" fmla="*/ 8594 w 10000"/>
                <a:gd name="connsiteY29" fmla="*/ 4334 h 10001"/>
                <a:gd name="connsiteX30" fmla="*/ 8608 w 10000"/>
                <a:gd name="connsiteY30" fmla="*/ 4248 h 10001"/>
                <a:gd name="connsiteX31" fmla="*/ 8608 w 10000"/>
                <a:gd name="connsiteY31" fmla="*/ 4160 h 10001"/>
                <a:gd name="connsiteX32" fmla="*/ 8618 w 10000"/>
                <a:gd name="connsiteY32" fmla="*/ 4075 h 10001"/>
                <a:gd name="connsiteX33" fmla="*/ 8629 w 10000"/>
                <a:gd name="connsiteY33" fmla="*/ 3990 h 10001"/>
                <a:gd name="connsiteX34" fmla="*/ 8647 w 10000"/>
                <a:gd name="connsiteY34" fmla="*/ 3915 h 10001"/>
                <a:gd name="connsiteX35" fmla="*/ 8666 w 10000"/>
                <a:gd name="connsiteY35" fmla="*/ 3830 h 10001"/>
                <a:gd name="connsiteX36" fmla="*/ 8687 w 10000"/>
                <a:gd name="connsiteY36" fmla="*/ 3750 h 10001"/>
                <a:gd name="connsiteX37" fmla="*/ 8712 w 10000"/>
                <a:gd name="connsiteY37" fmla="*/ 3665 h 10001"/>
                <a:gd name="connsiteX38" fmla="*/ 8744 w 10000"/>
                <a:gd name="connsiteY38" fmla="*/ 3589 h 10001"/>
                <a:gd name="connsiteX39" fmla="*/ 8773 w 10000"/>
                <a:gd name="connsiteY39" fmla="*/ 3508 h 10001"/>
                <a:gd name="connsiteX40" fmla="*/ 8801 w 10000"/>
                <a:gd name="connsiteY40" fmla="*/ 3424 h 10001"/>
                <a:gd name="connsiteX41" fmla="*/ 8838 w 10000"/>
                <a:gd name="connsiteY41" fmla="*/ 3355 h 10001"/>
                <a:gd name="connsiteX42" fmla="*/ 8879 w 10000"/>
                <a:gd name="connsiteY42" fmla="*/ 3275 h 10001"/>
                <a:gd name="connsiteX43" fmla="*/ 8919 w 10000"/>
                <a:gd name="connsiteY43" fmla="*/ 3194 h 10001"/>
                <a:gd name="connsiteX44" fmla="*/ 8965 w 10000"/>
                <a:gd name="connsiteY44" fmla="*/ 3118 h 10001"/>
                <a:gd name="connsiteX45" fmla="*/ 9006 w 10000"/>
                <a:gd name="connsiteY45" fmla="*/ 3046 h 10001"/>
                <a:gd name="connsiteX46" fmla="*/ 9053 w 10000"/>
                <a:gd name="connsiteY46" fmla="*/ 2964 h 10001"/>
                <a:gd name="connsiteX47" fmla="*/ 9110 w 10000"/>
                <a:gd name="connsiteY47" fmla="*/ 2898 h 10001"/>
                <a:gd name="connsiteX48" fmla="*/ 9157 w 10000"/>
                <a:gd name="connsiteY48" fmla="*/ 2823 h 10001"/>
                <a:gd name="connsiteX49" fmla="*/ 9215 w 10000"/>
                <a:gd name="connsiteY49" fmla="*/ 2754 h 10001"/>
                <a:gd name="connsiteX50" fmla="*/ 9267 w 10000"/>
                <a:gd name="connsiteY50" fmla="*/ 2676 h 10001"/>
                <a:gd name="connsiteX51" fmla="*/ 9334 w 10000"/>
                <a:gd name="connsiteY51" fmla="*/ 2613 h 10001"/>
                <a:gd name="connsiteX52" fmla="*/ 9401 w 10000"/>
                <a:gd name="connsiteY52" fmla="*/ 2538 h 10001"/>
                <a:gd name="connsiteX53" fmla="*/ 9459 w 10000"/>
                <a:gd name="connsiteY53" fmla="*/ 2471 h 10001"/>
                <a:gd name="connsiteX54" fmla="*/ 9524 w 10000"/>
                <a:gd name="connsiteY54" fmla="*/ 2404 h 10001"/>
                <a:gd name="connsiteX55" fmla="*/ 9594 w 10000"/>
                <a:gd name="connsiteY55" fmla="*/ 2331 h 10001"/>
                <a:gd name="connsiteX56" fmla="*/ 9661 w 10000"/>
                <a:gd name="connsiteY56" fmla="*/ 2269 h 10001"/>
                <a:gd name="connsiteX57" fmla="*/ 9740 w 10000"/>
                <a:gd name="connsiteY57" fmla="*/ 2203 h 10001"/>
                <a:gd name="connsiteX58" fmla="*/ 9807 w 10000"/>
                <a:gd name="connsiteY58" fmla="*/ 2145 h 10001"/>
                <a:gd name="connsiteX59" fmla="*/ 9883 w 10000"/>
                <a:gd name="connsiteY59" fmla="*/ 2077 h 10001"/>
                <a:gd name="connsiteX60" fmla="*/ 9917 w 10000"/>
                <a:gd name="connsiteY60" fmla="*/ 2042 h 10001"/>
                <a:gd name="connsiteX61" fmla="*/ 7025 w 10000"/>
                <a:gd name="connsiteY61" fmla="*/ 6 h 10001"/>
                <a:gd name="connsiteX62" fmla="*/ 1826 w 10000"/>
                <a:gd name="connsiteY62" fmla="*/ 0 h 10001"/>
                <a:gd name="connsiteX63" fmla="*/ 1701 w 10000"/>
                <a:gd name="connsiteY63" fmla="*/ 154 h 10001"/>
                <a:gd name="connsiteX64" fmla="*/ 1595 w 10000"/>
                <a:gd name="connsiteY64" fmla="*/ 269 h 10001"/>
                <a:gd name="connsiteX65" fmla="*/ 1496 w 10000"/>
                <a:gd name="connsiteY65" fmla="*/ 397 h 10001"/>
                <a:gd name="connsiteX66" fmla="*/ 1390 w 10000"/>
                <a:gd name="connsiteY66" fmla="*/ 523 h 10001"/>
                <a:gd name="connsiteX67" fmla="*/ 1303 w 10000"/>
                <a:gd name="connsiteY67" fmla="*/ 650 h 10001"/>
                <a:gd name="connsiteX68" fmla="*/ 1208 w 10000"/>
                <a:gd name="connsiteY68" fmla="*/ 775 h 10001"/>
                <a:gd name="connsiteX69" fmla="*/ 1122 w 10000"/>
                <a:gd name="connsiteY69" fmla="*/ 910 h 10001"/>
                <a:gd name="connsiteX70" fmla="*/ 1033 w 10000"/>
                <a:gd name="connsiteY70" fmla="*/ 1043 h 10001"/>
                <a:gd name="connsiteX71" fmla="*/ 958 w 10000"/>
                <a:gd name="connsiteY71" fmla="*/ 1166 h 10001"/>
                <a:gd name="connsiteX72" fmla="*/ 880 w 10000"/>
                <a:gd name="connsiteY72" fmla="*/ 1304 h 10001"/>
                <a:gd name="connsiteX73" fmla="*/ 802 w 10000"/>
                <a:gd name="connsiteY73" fmla="*/ 1432 h 10001"/>
                <a:gd name="connsiteX74" fmla="*/ 723 w 10000"/>
                <a:gd name="connsiteY74" fmla="*/ 1572 h 10001"/>
                <a:gd name="connsiteX75" fmla="*/ 657 w 10000"/>
                <a:gd name="connsiteY75" fmla="*/ 1699 h 10001"/>
                <a:gd name="connsiteX76" fmla="*/ 588 w 10000"/>
                <a:gd name="connsiteY76" fmla="*/ 1833 h 10001"/>
                <a:gd name="connsiteX77" fmla="*/ 533 w 10000"/>
                <a:gd name="connsiteY77" fmla="*/ 1968 h 10001"/>
                <a:gd name="connsiteX78" fmla="*/ 474 w 10000"/>
                <a:gd name="connsiteY78" fmla="*/ 2104 h 10001"/>
                <a:gd name="connsiteX79" fmla="*/ 415 w 10000"/>
                <a:gd name="connsiteY79" fmla="*/ 2248 h 10001"/>
                <a:gd name="connsiteX80" fmla="*/ 371 w 10000"/>
                <a:gd name="connsiteY80" fmla="*/ 2384 h 10001"/>
                <a:gd name="connsiteX81" fmla="*/ 308 w 10000"/>
                <a:gd name="connsiteY81" fmla="*/ 2526 h 10001"/>
                <a:gd name="connsiteX82" fmla="*/ 269 w 10000"/>
                <a:gd name="connsiteY82" fmla="*/ 2666 h 10001"/>
                <a:gd name="connsiteX83" fmla="*/ 225 w 10000"/>
                <a:gd name="connsiteY83" fmla="*/ 2809 h 10001"/>
                <a:gd name="connsiteX84" fmla="*/ 191 w 10000"/>
                <a:gd name="connsiteY84" fmla="*/ 2953 h 10001"/>
                <a:gd name="connsiteX85" fmla="*/ 152 w 10000"/>
                <a:gd name="connsiteY85" fmla="*/ 3095 h 10001"/>
                <a:gd name="connsiteX86" fmla="*/ 126 w 10000"/>
                <a:gd name="connsiteY86" fmla="*/ 3235 h 10001"/>
                <a:gd name="connsiteX87" fmla="*/ 100 w 10000"/>
                <a:gd name="connsiteY87" fmla="*/ 3382 h 10001"/>
                <a:gd name="connsiteX88" fmla="*/ 65 w 10000"/>
                <a:gd name="connsiteY88" fmla="*/ 3534 h 10001"/>
                <a:gd name="connsiteX89" fmla="*/ 47 w 10000"/>
                <a:gd name="connsiteY89" fmla="*/ 3678 h 10001"/>
                <a:gd name="connsiteX90" fmla="*/ 24 w 10000"/>
                <a:gd name="connsiteY90" fmla="*/ 3822 h 10001"/>
                <a:gd name="connsiteX91" fmla="*/ 17 w 10000"/>
                <a:gd name="connsiteY91" fmla="*/ 3966 h 10001"/>
                <a:gd name="connsiteX92" fmla="*/ 7 w 10000"/>
                <a:gd name="connsiteY92" fmla="*/ 4116 h 10001"/>
                <a:gd name="connsiteX93" fmla="*/ 0 w 10000"/>
                <a:gd name="connsiteY93" fmla="*/ 4261 h 10001"/>
                <a:gd name="connsiteX94" fmla="*/ 0 w 10000"/>
                <a:gd name="connsiteY94" fmla="*/ 4413 h 10001"/>
                <a:gd name="connsiteX95" fmla="*/ 7 w 10000"/>
                <a:gd name="connsiteY95" fmla="*/ 4606 h 10001"/>
                <a:gd name="connsiteX96" fmla="*/ 7 w 10000"/>
                <a:gd name="connsiteY96" fmla="*/ 4798 h 10001"/>
                <a:gd name="connsiteX97" fmla="*/ 24 w 10000"/>
                <a:gd name="connsiteY97" fmla="*/ 4977 h 10001"/>
                <a:gd name="connsiteX98" fmla="*/ 47 w 10000"/>
                <a:gd name="connsiteY98" fmla="*/ 5167 h 10001"/>
                <a:gd name="connsiteX99" fmla="*/ 78 w 10000"/>
                <a:gd name="connsiteY99" fmla="*/ 5354 h 10001"/>
                <a:gd name="connsiteX100" fmla="*/ 119 w 10000"/>
                <a:gd name="connsiteY100" fmla="*/ 5541 h 10001"/>
                <a:gd name="connsiteX101" fmla="*/ 152 w 10000"/>
                <a:gd name="connsiteY101" fmla="*/ 5726 h 10001"/>
                <a:gd name="connsiteX102" fmla="*/ 191 w 10000"/>
                <a:gd name="connsiteY102" fmla="*/ 5910 h 10001"/>
                <a:gd name="connsiteX103" fmla="*/ 253 w 10000"/>
                <a:gd name="connsiteY103" fmla="*/ 6094 h 10001"/>
                <a:gd name="connsiteX104" fmla="*/ 308 w 10000"/>
                <a:gd name="connsiteY104" fmla="*/ 6274 h 10001"/>
                <a:gd name="connsiteX105" fmla="*/ 371 w 10000"/>
                <a:gd name="connsiteY105" fmla="*/ 6457 h 10001"/>
                <a:gd name="connsiteX106" fmla="*/ 434 w 10000"/>
                <a:gd name="connsiteY106" fmla="*/ 6634 h 10001"/>
                <a:gd name="connsiteX107" fmla="*/ 512 w 10000"/>
                <a:gd name="connsiteY107" fmla="*/ 6806 h 10001"/>
                <a:gd name="connsiteX108" fmla="*/ 588 w 10000"/>
                <a:gd name="connsiteY108" fmla="*/ 6985 h 10001"/>
                <a:gd name="connsiteX109" fmla="*/ 676 w 10000"/>
                <a:gd name="connsiteY109" fmla="*/ 7157 h 10001"/>
                <a:gd name="connsiteX110" fmla="*/ 764 w 10000"/>
                <a:gd name="connsiteY110" fmla="*/ 7337 h 10001"/>
                <a:gd name="connsiteX111" fmla="*/ 859 w 10000"/>
                <a:gd name="connsiteY111" fmla="*/ 7503 h 10001"/>
                <a:gd name="connsiteX112" fmla="*/ 967 w 10000"/>
                <a:gd name="connsiteY112" fmla="*/ 7666 h 10001"/>
                <a:gd name="connsiteX113" fmla="*/ 1073 w 10000"/>
                <a:gd name="connsiteY113" fmla="*/ 7845 h 10001"/>
                <a:gd name="connsiteX114" fmla="*/ 1178 w 10000"/>
                <a:gd name="connsiteY114" fmla="*/ 8008 h 10001"/>
                <a:gd name="connsiteX115" fmla="*/ 1294 w 10000"/>
                <a:gd name="connsiteY115" fmla="*/ 8169 h 10001"/>
                <a:gd name="connsiteX116" fmla="*/ 1422 w 10000"/>
                <a:gd name="connsiteY116" fmla="*/ 8324 h 10001"/>
                <a:gd name="connsiteX117" fmla="*/ 1546 w 10000"/>
                <a:gd name="connsiteY117" fmla="*/ 8491 h 10001"/>
                <a:gd name="connsiteX118" fmla="*/ 1680 w 10000"/>
                <a:gd name="connsiteY118" fmla="*/ 8652 h 10001"/>
                <a:gd name="connsiteX119" fmla="*/ 1805 w 10000"/>
                <a:gd name="connsiteY119" fmla="*/ 8809 h 10001"/>
                <a:gd name="connsiteX120" fmla="*/ 1952 w 10000"/>
                <a:gd name="connsiteY120" fmla="*/ 8967 h 10001"/>
                <a:gd name="connsiteX121" fmla="*/ 2098 w 10000"/>
                <a:gd name="connsiteY121" fmla="*/ 9115 h 10001"/>
                <a:gd name="connsiteX122" fmla="*/ 2251 w 10000"/>
                <a:gd name="connsiteY122" fmla="*/ 9274 h 10001"/>
                <a:gd name="connsiteX123" fmla="*/ 2405 w 10000"/>
                <a:gd name="connsiteY123" fmla="*/ 9421 h 10001"/>
                <a:gd name="connsiteX124" fmla="*/ 2558 w 10000"/>
                <a:gd name="connsiteY124" fmla="*/ 9567 h 10001"/>
                <a:gd name="connsiteX125" fmla="*/ 2724 w 10000"/>
                <a:gd name="connsiteY125" fmla="*/ 9707 h 10001"/>
                <a:gd name="connsiteX126" fmla="*/ 2899 w 10000"/>
                <a:gd name="connsiteY126" fmla="*/ 9856 h 10001"/>
                <a:gd name="connsiteX127" fmla="*/ 3062 w 10000"/>
                <a:gd name="connsiteY127" fmla="*/ 10001 h 10001"/>
                <a:gd name="connsiteX128" fmla="*/ 5667 w 10000"/>
                <a:gd name="connsiteY128" fmla="*/ 7470 h 10001"/>
                <a:gd name="connsiteX0" fmla="*/ 5667 w 10000"/>
                <a:gd name="connsiteY0" fmla="*/ 7470 h 10001"/>
                <a:gd name="connsiteX1" fmla="*/ 10000 w 10000"/>
                <a:gd name="connsiteY1" fmla="*/ 6834 h 10001"/>
                <a:gd name="connsiteX2" fmla="*/ 9844 w 10000"/>
                <a:gd name="connsiteY2" fmla="*/ 6720 h 10001"/>
                <a:gd name="connsiteX3" fmla="*/ 9710 w 10000"/>
                <a:gd name="connsiteY3" fmla="*/ 6594 h 10001"/>
                <a:gd name="connsiteX4" fmla="*/ 9574 w 10000"/>
                <a:gd name="connsiteY4" fmla="*/ 6468 h 10001"/>
                <a:gd name="connsiteX5" fmla="*/ 9451 w 10000"/>
                <a:gd name="connsiteY5" fmla="*/ 6339 h 10001"/>
                <a:gd name="connsiteX6" fmla="*/ 9334 w 10000"/>
                <a:gd name="connsiteY6" fmla="*/ 6210 h 10001"/>
                <a:gd name="connsiteX7" fmla="*/ 9215 w 10000"/>
                <a:gd name="connsiteY7" fmla="*/ 6074 h 10001"/>
                <a:gd name="connsiteX8" fmla="*/ 9110 w 10000"/>
                <a:gd name="connsiteY8" fmla="*/ 5929 h 10001"/>
                <a:gd name="connsiteX9" fmla="*/ 9063 w 10000"/>
                <a:gd name="connsiteY9" fmla="*/ 5866 h 10001"/>
                <a:gd name="connsiteX10" fmla="*/ 9013 w 10000"/>
                <a:gd name="connsiteY10" fmla="*/ 5790 h 10001"/>
                <a:gd name="connsiteX11" fmla="*/ 8976 w 10000"/>
                <a:gd name="connsiteY11" fmla="*/ 5722 h 10001"/>
                <a:gd name="connsiteX12" fmla="*/ 8927 w 10000"/>
                <a:gd name="connsiteY12" fmla="*/ 5647 h 10001"/>
                <a:gd name="connsiteX13" fmla="*/ 8888 w 10000"/>
                <a:gd name="connsiteY13" fmla="*/ 5576 h 10001"/>
                <a:gd name="connsiteX14" fmla="*/ 8849 w 10000"/>
                <a:gd name="connsiteY14" fmla="*/ 5502 h 10001"/>
                <a:gd name="connsiteX15" fmla="*/ 8821 w 10000"/>
                <a:gd name="connsiteY15" fmla="*/ 5425 h 10001"/>
                <a:gd name="connsiteX16" fmla="*/ 8782 w 10000"/>
                <a:gd name="connsiteY16" fmla="*/ 5354 h 10001"/>
                <a:gd name="connsiteX17" fmla="*/ 8761 w 10000"/>
                <a:gd name="connsiteY17" fmla="*/ 5275 h 10001"/>
                <a:gd name="connsiteX18" fmla="*/ 8723 w 10000"/>
                <a:gd name="connsiteY18" fmla="*/ 5201 h 10001"/>
                <a:gd name="connsiteX19" fmla="*/ 8703 w 10000"/>
                <a:gd name="connsiteY19" fmla="*/ 5123 h 10001"/>
                <a:gd name="connsiteX20" fmla="*/ 8687 w 10000"/>
                <a:gd name="connsiteY20" fmla="*/ 5049 h 10001"/>
                <a:gd name="connsiteX21" fmla="*/ 8666 w 10000"/>
                <a:gd name="connsiteY21" fmla="*/ 4966 h 10001"/>
                <a:gd name="connsiteX22" fmla="*/ 8647 w 10000"/>
                <a:gd name="connsiteY22" fmla="*/ 4893 h 10001"/>
                <a:gd name="connsiteX23" fmla="*/ 8629 w 10000"/>
                <a:gd name="connsiteY23" fmla="*/ 4815 h 10001"/>
                <a:gd name="connsiteX24" fmla="*/ 8618 w 10000"/>
                <a:gd name="connsiteY24" fmla="*/ 4739 h 10001"/>
                <a:gd name="connsiteX25" fmla="*/ 8608 w 10000"/>
                <a:gd name="connsiteY25" fmla="*/ 4656 h 10001"/>
                <a:gd name="connsiteX26" fmla="*/ 8594 w 10000"/>
                <a:gd name="connsiteY26" fmla="*/ 4573 h 10001"/>
                <a:gd name="connsiteX27" fmla="*/ 8594 w 10000"/>
                <a:gd name="connsiteY27" fmla="*/ 4497 h 10001"/>
                <a:gd name="connsiteX28" fmla="*/ 8586 w 10000"/>
                <a:gd name="connsiteY28" fmla="*/ 4413 h 10001"/>
                <a:gd name="connsiteX29" fmla="*/ 8594 w 10000"/>
                <a:gd name="connsiteY29" fmla="*/ 4334 h 10001"/>
                <a:gd name="connsiteX30" fmla="*/ 8608 w 10000"/>
                <a:gd name="connsiteY30" fmla="*/ 4248 h 10001"/>
                <a:gd name="connsiteX31" fmla="*/ 8608 w 10000"/>
                <a:gd name="connsiteY31" fmla="*/ 4160 h 10001"/>
                <a:gd name="connsiteX32" fmla="*/ 8618 w 10000"/>
                <a:gd name="connsiteY32" fmla="*/ 4075 h 10001"/>
                <a:gd name="connsiteX33" fmla="*/ 8629 w 10000"/>
                <a:gd name="connsiteY33" fmla="*/ 3990 h 10001"/>
                <a:gd name="connsiteX34" fmla="*/ 8647 w 10000"/>
                <a:gd name="connsiteY34" fmla="*/ 3915 h 10001"/>
                <a:gd name="connsiteX35" fmla="*/ 8666 w 10000"/>
                <a:gd name="connsiteY35" fmla="*/ 3830 h 10001"/>
                <a:gd name="connsiteX36" fmla="*/ 8687 w 10000"/>
                <a:gd name="connsiteY36" fmla="*/ 3750 h 10001"/>
                <a:gd name="connsiteX37" fmla="*/ 8712 w 10000"/>
                <a:gd name="connsiteY37" fmla="*/ 3665 h 10001"/>
                <a:gd name="connsiteX38" fmla="*/ 8744 w 10000"/>
                <a:gd name="connsiteY38" fmla="*/ 3589 h 10001"/>
                <a:gd name="connsiteX39" fmla="*/ 8773 w 10000"/>
                <a:gd name="connsiteY39" fmla="*/ 3508 h 10001"/>
                <a:gd name="connsiteX40" fmla="*/ 8801 w 10000"/>
                <a:gd name="connsiteY40" fmla="*/ 3424 h 10001"/>
                <a:gd name="connsiteX41" fmla="*/ 8838 w 10000"/>
                <a:gd name="connsiteY41" fmla="*/ 3355 h 10001"/>
                <a:gd name="connsiteX42" fmla="*/ 8879 w 10000"/>
                <a:gd name="connsiteY42" fmla="*/ 3275 h 10001"/>
                <a:gd name="connsiteX43" fmla="*/ 8919 w 10000"/>
                <a:gd name="connsiteY43" fmla="*/ 3194 h 10001"/>
                <a:gd name="connsiteX44" fmla="*/ 8965 w 10000"/>
                <a:gd name="connsiteY44" fmla="*/ 3118 h 10001"/>
                <a:gd name="connsiteX45" fmla="*/ 9006 w 10000"/>
                <a:gd name="connsiteY45" fmla="*/ 3046 h 10001"/>
                <a:gd name="connsiteX46" fmla="*/ 9053 w 10000"/>
                <a:gd name="connsiteY46" fmla="*/ 2964 h 10001"/>
                <a:gd name="connsiteX47" fmla="*/ 9110 w 10000"/>
                <a:gd name="connsiteY47" fmla="*/ 2898 h 10001"/>
                <a:gd name="connsiteX48" fmla="*/ 9157 w 10000"/>
                <a:gd name="connsiteY48" fmla="*/ 2823 h 10001"/>
                <a:gd name="connsiteX49" fmla="*/ 9215 w 10000"/>
                <a:gd name="connsiteY49" fmla="*/ 2754 h 10001"/>
                <a:gd name="connsiteX50" fmla="*/ 9267 w 10000"/>
                <a:gd name="connsiteY50" fmla="*/ 2676 h 10001"/>
                <a:gd name="connsiteX51" fmla="*/ 9334 w 10000"/>
                <a:gd name="connsiteY51" fmla="*/ 2613 h 10001"/>
                <a:gd name="connsiteX52" fmla="*/ 9401 w 10000"/>
                <a:gd name="connsiteY52" fmla="*/ 2538 h 10001"/>
                <a:gd name="connsiteX53" fmla="*/ 9459 w 10000"/>
                <a:gd name="connsiteY53" fmla="*/ 2471 h 10001"/>
                <a:gd name="connsiteX54" fmla="*/ 9524 w 10000"/>
                <a:gd name="connsiteY54" fmla="*/ 2404 h 10001"/>
                <a:gd name="connsiteX55" fmla="*/ 9594 w 10000"/>
                <a:gd name="connsiteY55" fmla="*/ 2331 h 10001"/>
                <a:gd name="connsiteX56" fmla="*/ 9661 w 10000"/>
                <a:gd name="connsiteY56" fmla="*/ 2269 h 10001"/>
                <a:gd name="connsiteX57" fmla="*/ 9740 w 10000"/>
                <a:gd name="connsiteY57" fmla="*/ 2203 h 10001"/>
                <a:gd name="connsiteX58" fmla="*/ 9807 w 10000"/>
                <a:gd name="connsiteY58" fmla="*/ 2145 h 10001"/>
                <a:gd name="connsiteX59" fmla="*/ 9883 w 10000"/>
                <a:gd name="connsiteY59" fmla="*/ 2077 h 10001"/>
                <a:gd name="connsiteX60" fmla="*/ 9917 w 10000"/>
                <a:gd name="connsiteY60" fmla="*/ 2042 h 10001"/>
                <a:gd name="connsiteX61" fmla="*/ 7025 w 10000"/>
                <a:gd name="connsiteY61" fmla="*/ 6 h 10001"/>
                <a:gd name="connsiteX62" fmla="*/ 1826 w 10000"/>
                <a:gd name="connsiteY62" fmla="*/ 0 h 10001"/>
                <a:gd name="connsiteX63" fmla="*/ 1701 w 10000"/>
                <a:gd name="connsiteY63" fmla="*/ 154 h 10001"/>
                <a:gd name="connsiteX64" fmla="*/ 1595 w 10000"/>
                <a:gd name="connsiteY64" fmla="*/ 269 h 10001"/>
                <a:gd name="connsiteX65" fmla="*/ 1496 w 10000"/>
                <a:gd name="connsiteY65" fmla="*/ 397 h 10001"/>
                <a:gd name="connsiteX66" fmla="*/ 1390 w 10000"/>
                <a:gd name="connsiteY66" fmla="*/ 523 h 10001"/>
                <a:gd name="connsiteX67" fmla="*/ 1303 w 10000"/>
                <a:gd name="connsiteY67" fmla="*/ 650 h 10001"/>
                <a:gd name="connsiteX68" fmla="*/ 1208 w 10000"/>
                <a:gd name="connsiteY68" fmla="*/ 775 h 10001"/>
                <a:gd name="connsiteX69" fmla="*/ 1122 w 10000"/>
                <a:gd name="connsiteY69" fmla="*/ 910 h 10001"/>
                <a:gd name="connsiteX70" fmla="*/ 1033 w 10000"/>
                <a:gd name="connsiteY70" fmla="*/ 1043 h 10001"/>
                <a:gd name="connsiteX71" fmla="*/ 958 w 10000"/>
                <a:gd name="connsiteY71" fmla="*/ 1166 h 10001"/>
                <a:gd name="connsiteX72" fmla="*/ 880 w 10000"/>
                <a:gd name="connsiteY72" fmla="*/ 1304 h 10001"/>
                <a:gd name="connsiteX73" fmla="*/ 802 w 10000"/>
                <a:gd name="connsiteY73" fmla="*/ 1432 h 10001"/>
                <a:gd name="connsiteX74" fmla="*/ 723 w 10000"/>
                <a:gd name="connsiteY74" fmla="*/ 1572 h 10001"/>
                <a:gd name="connsiteX75" fmla="*/ 657 w 10000"/>
                <a:gd name="connsiteY75" fmla="*/ 1699 h 10001"/>
                <a:gd name="connsiteX76" fmla="*/ 588 w 10000"/>
                <a:gd name="connsiteY76" fmla="*/ 1833 h 10001"/>
                <a:gd name="connsiteX77" fmla="*/ 533 w 10000"/>
                <a:gd name="connsiteY77" fmla="*/ 1968 h 10001"/>
                <a:gd name="connsiteX78" fmla="*/ 474 w 10000"/>
                <a:gd name="connsiteY78" fmla="*/ 2104 h 10001"/>
                <a:gd name="connsiteX79" fmla="*/ 415 w 10000"/>
                <a:gd name="connsiteY79" fmla="*/ 2248 h 10001"/>
                <a:gd name="connsiteX80" fmla="*/ 371 w 10000"/>
                <a:gd name="connsiteY80" fmla="*/ 2384 h 10001"/>
                <a:gd name="connsiteX81" fmla="*/ 308 w 10000"/>
                <a:gd name="connsiteY81" fmla="*/ 2526 h 10001"/>
                <a:gd name="connsiteX82" fmla="*/ 269 w 10000"/>
                <a:gd name="connsiteY82" fmla="*/ 2666 h 10001"/>
                <a:gd name="connsiteX83" fmla="*/ 225 w 10000"/>
                <a:gd name="connsiteY83" fmla="*/ 2809 h 10001"/>
                <a:gd name="connsiteX84" fmla="*/ 191 w 10000"/>
                <a:gd name="connsiteY84" fmla="*/ 2953 h 10001"/>
                <a:gd name="connsiteX85" fmla="*/ 152 w 10000"/>
                <a:gd name="connsiteY85" fmla="*/ 3095 h 10001"/>
                <a:gd name="connsiteX86" fmla="*/ 126 w 10000"/>
                <a:gd name="connsiteY86" fmla="*/ 3235 h 10001"/>
                <a:gd name="connsiteX87" fmla="*/ 100 w 10000"/>
                <a:gd name="connsiteY87" fmla="*/ 3382 h 10001"/>
                <a:gd name="connsiteX88" fmla="*/ 65 w 10000"/>
                <a:gd name="connsiteY88" fmla="*/ 3534 h 10001"/>
                <a:gd name="connsiteX89" fmla="*/ 47 w 10000"/>
                <a:gd name="connsiteY89" fmla="*/ 3678 h 10001"/>
                <a:gd name="connsiteX90" fmla="*/ 24 w 10000"/>
                <a:gd name="connsiteY90" fmla="*/ 3822 h 10001"/>
                <a:gd name="connsiteX91" fmla="*/ 17 w 10000"/>
                <a:gd name="connsiteY91" fmla="*/ 3966 h 10001"/>
                <a:gd name="connsiteX92" fmla="*/ 7 w 10000"/>
                <a:gd name="connsiteY92" fmla="*/ 4116 h 10001"/>
                <a:gd name="connsiteX93" fmla="*/ 0 w 10000"/>
                <a:gd name="connsiteY93" fmla="*/ 4261 h 10001"/>
                <a:gd name="connsiteX94" fmla="*/ 0 w 10000"/>
                <a:gd name="connsiteY94" fmla="*/ 4413 h 10001"/>
                <a:gd name="connsiteX95" fmla="*/ 7 w 10000"/>
                <a:gd name="connsiteY95" fmla="*/ 4606 h 10001"/>
                <a:gd name="connsiteX96" fmla="*/ 7 w 10000"/>
                <a:gd name="connsiteY96" fmla="*/ 4798 h 10001"/>
                <a:gd name="connsiteX97" fmla="*/ 24 w 10000"/>
                <a:gd name="connsiteY97" fmla="*/ 4977 h 10001"/>
                <a:gd name="connsiteX98" fmla="*/ 47 w 10000"/>
                <a:gd name="connsiteY98" fmla="*/ 5167 h 10001"/>
                <a:gd name="connsiteX99" fmla="*/ 78 w 10000"/>
                <a:gd name="connsiteY99" fmla="*/ 5354 h 10001"/>
                <a:gd name="connsiteX100" fmla="*/ 119 w 10000"/>
                <a:gd name="connsiteY100" fmla="*/ 5541 h 10001"/>
                <a:gd name="connsiteX101" fmla="*/ 152 w 10000"/>
                <a:gd name="connsiteY101" fmla="*/ 5726 h 10001"/>
                <a:gd name="connsiteX102" fmla="*/ 191 w 10000"/>
                <a:gd name="connsiteY102" fmla="*/ 5910 h 10001"/>
                <a:gd name="connsiteX103" fmla="*/ 253 w 10000"/>
                <a:gd name="connsiteY103" fmla="*/ 6094 h 10001"/>
                <a:gd name="connsiteX104" fmla="*/ 308 w 10000"/>
                <a:gd name="connsiteY104" fmla="*/ 6274 h 10001"/>
                <a:gd name="connsiteX105" fmla="*/ 371 w 10000"/>
                <a:gd name="connsiteY105" fmla="*/ 6457 h 10001"/>
                <a:gd name="connsiteX106" fmla="*/ 434 w 10000"/>
                <a:gd name="connsiteY106" fmla="*/ 6634 h 10001"/>
                <a:gd name="connsiteX107" fmla="*/ 512 w 10000"/>
                <a:gd name="connsiteY107" fmla="*/ 6806 h 10001"/>
                <a:gd name="connsiteX108" fmla="*/ 588 w 10000"/>
                <a:gd name="connsiteY108" fmla="*/ 6985 h 10001"/>
                <a:gd name="connsiteX109" fmla="*/ 676 w 10000"/>
                <a:gd name="connsiteY109" fmla="*/ 7157 h 10001"/>
                <a:gd name="connsiteX110" fmla="*/ 764 w 10000"/>
                <a:gd name="connsiteY110" fmla="*/ 7337 h 10001"/>
                <a:gd name="connsiteX111" fmla="*/ 859 w 10000"/>
                <a:gd name="connsiteY111" fmla="*/ 7503 h 10001"/>
                <a:gd name="connsiteX112" fmla="*/ 967 w 10000"/>
                <a:gd name="connsiteY112" fmla="*/ 7666 h 10001"/>
                <a:gd name="connsiteX113" fmla="*/ 1073 w 10000"/>
                <a:gd name="connsiteY113" fmla="*/ 7845 h 10001"/>
                <a:gd name="connsiteX114" fmla="*/ 1178 w 10000"/>
                <a:gd name="connsiteY114" fmla="*/ 8008 h 10001"/>
                <a:gd name="connsiteX115" fmla="*/ 1294 w 10000"/>
                <a:gd name="connsiteY115" fmla="*/ 8169 h 10001"/>
                <a:gd name="connsiteX116" fmla="*/ 1422 w 10000"/>
                <a:gd name="connsiteY116" fmla="*/ 8324 h 10001"/>
                <a:gd name="connsiteX117" fmla="*/ 1546 w 10000"/>
                <a:gd name="connsiteY117" fmla="*/ 8491 h 10001"/>
                <a:gd name="connsiteX118" fmla="*/ 1680 w 10000"/>
                <a:gd name="connsiteY118" fmla="*/ 8652 h 10001"/>
                <a:gd name="connsiteX119" fmla="*/ 1805 w 10000"/>
                <a:gd name="connsiteY119" fmla="*/ 8809 h 10001"/>
                <a:gd name="connsiteX120" fmla="*/ 1952 w 10000"/>
                <a:gd name="connsiteY120" fmla="*/ 8967 h 10001"/>
                <a:gd name="connsiteX121" fmla="*/ 2098 w 10000"/>
                <a:gd name="connsiteY121" fmla="*/ 9115 h 10001"/>
                <a:gd name="connsiteX122" fmla="*/ 2251 w 10000"/>
                <a:gd name="connsiteY122" fmla="*/ 9274 h 10001"/>
                <a:gd name="connsiteX123" fmla="*/ 2405 w 10000"/>
                <a:gd name="connsiteY123" fmla="*/ 9421 h 10001"/>
                <a:gd name="connsiteX124" fmla="*/ 2558 w 10000"/>
                <a:gd name="connsiteY124" fmla="*/ 9567 h 10001"/>
                <a:gd name="connsiteX125" fmla="*/ 2724 w 10000"/>
                <a:gd name="connsiteY125" fmla="*/ 9707 h 10001"/>
                <a:gd name="connsiteX126" fmla="*/ 2899 w 10000"/>
                <a:gd name="connsiteY126" fmla="*/ 9856 h 10001"/>
                <a:gd name="connsiteX127" fmla="*/ 3062 w 10000"/>
                <a:gd name="connsiteY127" fmla="*/ 10001 h 10001"/>
                <a:gd name="connsiteX128" fmla="*/ 5667 w 10000"/>
                <a:gd name="connsiteY128" fmla="*/ 7470 h 10001"/>
                <a:gd name="connsiteX0" fmla="*/ 5667 w 10000"/>
                <a:gd name="connsiteY0" fmla="*/ 7470 h 10001"/>
                <a:gd name="connsiteX1" fmla="*/ 10000 w 10000"/>
                <a:gd name="connsiteY1" fmla="*/ 6834 h 10001"/>
                <a:gd name="connsiteX2" fmla="*/ 9844 w 10000"/>
                <a:gd name="connsiteY2" fmla="*/ 6720 h 10001"/>
                <a:gd name="connsiteX3" fmla="*/ 9710 w 10000"/>
                <a:gd name="connsiteY3" fmla="*/ 6594 h 10001"/>
                <a:gd name="connsiteX4" fmla="*/ 9574 w 10000"/>
                <a:gd name="connsiteY4" fmla="*/ 6468 h 10001"/>
                <a:gd name="connsiteX5" fmla="*/ 9451 w 10000"/>
                <a:gd name="connsiteY5" fmla="*/ 6339 h 10001"/>
                <a:gd name="connsiteX6" fmla="*/ 9334 w 10000"/>
                <a:gd name="connsiteY6" fmla="*/ 6210 h 10001"/>
                <a:gd name="connsiteX7" fmla="*/ 9215 w 10000"/>
                <a:gd name="connsiteY7" fmla="*/ 6074 h 10001"/>
                <a:gd name="connsiteX8" fmla="*/ 9110 w 10000"/>
                <a:gd name="connsiteY8" fmla="*/ 5929 h 10001"/>
                <a:gd name="connsiteX9" fmla="*/ 9063 w 10000"/>
                <a:gd name="connsiteY9" fmla="*/ 5866 h 10001"/>
                <a:gd name="connsiteX10" fmla="*/ 9013 w 10000"/>
                <a:gd name="connsiteY10" fmla="*/ 5790 h 10001"/>
                <a:gd name="connsiteX11" fmla="*/ 8976 w 10000"/>
                <a:gd name="connsiteY11" fmla="*/ 5722 h 10001"/>
                <a:gd name="connsiteX12" fmla="*/ 8927 w 10000"/>
                <a:gd name="connsiteY12" fmla="*/ 5647 h 10001"/>
                <a:gd name="connsiteX13" fmla="*/ 8888 w 10000"/>
                <a:gd name="connsiteY13" fmla="*/ 5576 h 10001"/>
                <a:gd name="connsiteX14" fmla="*/ 8849 w 10000"/>
                <a:gd name="connsiteY14" fmla="*/ 5502 h 10001"/>
                <a:gd name="connsiteX15" fmla="*/ 8821 w 10000"/>
                <a:gd name="connsiteY15" fmla="*/ 5425 h 10001"/>
                <a:gd name="connsiteX16" fmla="*/ 8782 w 10000"/>
                <a:gd name="connsiteY16" fmla="*/ 5354 h 10001"/>
                <a:gd name="connsiteX17" fmla="*/ 8761 w 10000"/>
                <a:gd name="connsiteY17" fmla="*/ 5275 h 10001"/>
                <a:gd name="connsiteX18" fmla="*/ 8723 w 10000"/>
                <a:gd name="connsiteY18" fmla="*/ 5201 h 10001"/>
                <a:gd name="connsiteX19" fmla="*/ 8703 w 10000"/>
                <a:gd name="connsiteY19" fmla="*/ 5123 h 10001"/>
                <a:gd name="connsiteX20" fmla="*/ 8687 w 10000"/>
                <a:gd name="connsiteY20" fmla="*/ 5049 h 10001"/>
                <a:gd name="connsiteX21" fmla="*/ 8666 w 10000"/>
                <a:gd name="connsiteY21" fmla="*/ 4966 h 10001"/>
                <a:gd name="connsiteX22" fmla="*/ 8647 w 10000"/>
                <a:gd name="connsiteY22" fmla="*/ 4893 h 10001"/>
                <a:gd name="connsiteX23" fmla="*/ 8629 w 10000"/>
                <a:gd name="connsiteY23" fmla="*/ 4815 h 10001"/>
                <a:gd name="connsiteX24" fmla="*/ 8618 w 10000"/>
                <a:gd name="connsiteY24" fmla="*/ 4739 h 10001"/>
                <a:gd name="connsiteX25" fmla="*/ 8608 w 10000"/>
                <a:gd name="connsiteY25" fmla="*/ 4656 h 10001"/>
                <a:gd name="connsiteX26" fmla="*/ 8594 w 10000"/>
                <a:gd name="connsiteY26" fmla="*/ 4573 h 10001"/>
                <a:gd name="connsiteX27" fmla="*/ 8594 w 10000"/>
                <a:gd name="connsiteY27" fmla="*/ 4497 h 10001"/>
                <a:gd name="connsiteX28" fmla="*/ 8586 w 10000"/>
                <a:gd name="connsiteY28" fmla="*/ 4413 h 10001"/>
                <a:gd name="connsiteX29" fmla="*/ 8594 w 10000"/>
                <a:gd name="connsiteY29" fmla="*/ 4334 h 10001"/>
                <a:gd name="connsiteX30" fmla="*/ 8608 w 10000"/>
                <a:gd name="connsiteY30" fmla="*/ 4248 h 10001"/>
                <a:gd name="connsiteX31" fmla="*/ 8608 w 10000"/>
                <a:gd name="connsiteY31" fmla="*/ 4160 h 10001"/>
                <a:gd name="connsiteX32" fmla="*/ 8618 w 10000"/>
                <a:gd name="connsiteY32" fmla="*/ 4075 h 10001"/>
                <a:gd name="connsiteX33" fmla="*/ 8629 w 10000"/>
                <a:gd name="connsiteY33" fmla="*/ 3990 h 10001"/>
                <a:gd name="connsiteX34" fmla="*/ 8647 w 10000"/>
                <a:gd name="connsiteY34" fmla="*/ 3915 h 10001"/>
                <a:gd name="connsiteX35" fmla="*/ 8666 w 10000"/>
                <a:gd name="connsiteY35" fmla="*/ 3830 h 10001"/>
                <a:gd name="connsiteX36" fmla="*/ 8687 w 10000"/>
                <a:gd name="connsiteY36" fmla="*/ 3750 h 10001"/>
                <a:gd name="connsiteX37" fmla="*/ 8712 w 10000"/>
                <a:gd name="connsiteY37" fmla="*/ 3665 h 10001"/>
                <a:gd name="connsiteX38" fmla="*/ 8744 w 10000"/>
                <a:gd name="connsiteY38" fmla="*/ 3589 h 10001"/>
                <a:gd name="connsiteX39" fmla="*/ 8773 w 10000"/>
                <a:gd name="connsiteY39" fmla="*/ 3508 h 10001"/>
                <a:gd name="connsiteX40" fmla="*/ 8801 w 10000"/>
                <a:gd name="connsiteY40" fmla="*/ 3424 h 10001"/>
                <a:gd name="connsiteX41" fmla="*/ 8838 w 10000"/>
                <a:gd name="connsiteY41" fmla="*/ 3355 h 10001"/>
                <a:gd name="connsiteX42" fmla="*/ 8879 w 10000"/>
                <a:gd name="connsiteY42" fmla="*/ 3275 h 10001"/>
                <a:gd name="connsiteX43" fmla="*/ 8919 w 10000"/>
                <a:gd name="connsiteY43" fmla="*/ 3194 h 10001"/>
                <a:gd name="connsiteX44" fmla="*/ 8965 w 10000"/>
                <a:gd name="connsiteY44" fmla="*/ 3118 h 10001"/>
                <a:gd name="connsiteX45" fmla="*/ 9006 w 10000"/>
                <a:gd name="connsiteY45" fmla="*/ 3046 h 10001"/>
                <a:gd name="connsiteX46" fmla="*/ 9053 w 10000"/>
                <a:gd name="connsiteY46" fmla="*/ 2964 h 10001"/>
                <a:gd name="connsiteX47" fmla="*/ 9110 w 10000"/>
                <a:gd name="connsiteY47" fmla="*/ 2898 h 10001"/>
                <a:gd name="connsiteX48" fmla="*/ 9157 w 10000"/>
                <a:gd name="connsiteY48" fmla="*/ 2823 h 10001"/>
                <a:gd name="connsiteX49" fmla="*/ 9215 w 10000"/>
                <a:gd name="connsiteY49" fmla="*/ 2754 h 10001"/>
                <a:gd name="connsiteX50" fmla="*/ 9267 w 10000"/>
                <a:gd name="connsiteY50" fmla="*/ 2676 h 10001"/>
                <a:gd name="connsiteX51" fmla="*/ 9334 w 10000"/>
                <a:gd name="connsiteY51" fmla="*/ 2613 h 10001"/>
                <a:gd name="connsiteX52" fmla="*/ 9401 w 10000"/>
                <a:gd name="connsiteY52" fmla="*/ 2538 h 10001"/>
                <a:gd name="connsiteX53" fmla="*/ 9459 w 10000"/>
                <a:gd name="connsiteY53" fmla="*/ 2471 h 10001"/>
                <a:gd name="connsiteX54" fmla="*/ 9524 w 10000"/>
                <a:gd name="connsiteY54" fmla="*/ 2404 h 10001"/>
                <a:gd name="connsiteX55" fmla="*/ 9594 w 10000"/>
                <a:gd name="connsiteY55" fmla="*/ 2331 h 10001"/>
                <a:gd name="connsiteX56" fmla="*/ 9661 w 10000"/>
                <a:gd name="connsiteY56" fmla="*/ 2269 h 10001"/>
                <a:gd name="connsiteX57" fmla="*/ 9740 w 10000"/>
                <a:gd name="connsiteY57" fmla="*/ 2203 h 10001"/>
                <a:gd name="connsiteX58" fmla="*/ 9807 w 10000"/>
                <a:gd name="connsiteY58" fmla="*/ 2145 h 10001"/>
                <a:gd name="connsiteX59" fmla="*/ 9883 w 10000"/>
                <a:gd name="connsiteY59" fmla="*/ 2077 h 10001"/>
                <a:gd name="connsiteX60" fmla="*/ 9917 w 10000"/>
                <a:gd name="connsiteY60" fmla="*/ 2042 h 10001"/>
                <a:gd name="connsiteX61" fmla="*/ 7025 w 10000"/>
                <a:gd name="connsiteY61" fmla="*/ 6 h 10001"/>
                <a:gd name="connsiteX62" fmla="*/ 1826 w 10000"/>
                <a:gd name="connsiteY62" fmla="*/ 0 h 10001"/>
                <a:gd name="connsiteX63" fmla="*/ 1701 w 10000"/>
                <a:gd name="connsiteY63" fmla="*/ 154 h 10001"/>
                <a:gd name="connsiteX64" fmla="*/ 1595 w 10000"/>
                <a:gd name="connsiteY64" fmla="*/ 269 h 10001"/>
                <a:gd name="connsiteX65" fmla="*/ 1496 w 10000"/>
                <a:gd name="connsiteY65" fmla="*/ 397 h 10001"/>
                <a:gd name="connsiteX66" fmla="*/ 1390 w 10000"/>
                <a:gd name="connsiteY66" fmla="*/ 523 h 10001"/>
                <a:gd name="connsiteX67" fmla="*/ 1303 w 10000"/>
                <a:gd name="connsiteY67" fmla="*/ 650 h 10001"/>
                <a:gd name="connsiteX68" fmla="*/ 1208 w 10000"/>
                <a:gd name="connsiteY68" fmla="*/ 775 h 10001"/>
                <a:gd name="connsiteX69" fmla="*/ 1122 w 10000"/>
                <a:gd name="connsiteY69" fmla="*/ 910 h 10001"/>
                <a:gd name="connsiteX70" fmla="*/ 1033 w 10000"/>
                <a:gd name="connsiteY70" fmla="*/ 1043 h 10001"/>
                <a:gd name="connsiteX71" fmla="*/ 958 w 10000"/>
                <a:gd name="connsiteY71" fmla="*/ 1166 h 10001"/>
                <a:gd name="connsiteX72" fmla="*/ 880 w 10000"/>
                <a:gd name="connsiteY72" fmla="*/ 1304 h 10001"/>
                <a:gd name="connsiteX73" fmla="*/ 802 w 10000"/>
                <a:gd name="connsiteY73" fmla="*/ 1432 h 10001"/>
                <a:gd name="connsiteX74" fmla="*/ 723 w 10000"/>
                <a:gd name="connsiteY74" fmla="*/ 1572 h 10001"/>
                <a:gd name="connsiteX75" fmla="*/ 657 w 10000"/>
                <a:gd name="connsiteY75" fmla="*/ 1699 h 10001"/>
                <a:gd name="connsiteX76" fmla="*/ 588 w 10000"/>
                <a:gd name="connsiteY76" fmla="*/ 1833 h 10001"/>
                <a:gd name="connsiteX77" fmla="*/ 533 w 10000"/>
                <a:gd name="connsiteY77" fmla="*/ 1968 h 10001"/>
                <a:gd name="connsiteX78" fmla="*/ 474 w 10000"/>
                <a:gd name="connsiteY78" fmla="*/ 2104 h 10001"/>
                <a:gd name="connsiteX79" fmla="*/ 415 w 10000"/>
                <a:gd name="connsiteY79" fmla="*/ 2248 h 10001"/>
                <a:gd name="connsiteX80" fmla="*/ 371 w 10000"/>
                <a:gd name="connsiteY80" fmla="*/ 2384 h 10001"/>
                <a:gd name="connsiteX81" fmla="*/ 308 w 10000"/>
                <a:gd name="connsiteY81" fmla="*/ 2526 h 10001"/>
                <a:gd name="connsiteX82" fmla="*/ 269 w 10000"/>
                <a:gd name="connsiteY82" fmla="*/ 2666 h 10001"/>
                <a:gd name="connsiteX83" fmla="*/ 225 w 10000"/>
                <a:gd name="connsiteY83" fmla="*/ 2809 h 10001"/>
                <a:gd name="connsiteX84" fmla="*/ 191 w 10000"/>
                <a:gd name="connsiteY84" fmla="*/ 2953 h 10001"/>
                <a:gd name="connsiteX85" fmla="*/ 152 w 10000"/>
                <a:gd name="connsiteY85" fmla="*/ 3095 h 10001"/>
                <a:gd name="connsiteX86" fmla="*/ 126 w 10000"/>
                <a:gd name="connsiteY86" fmla="*/ 3235 h 10001"/>
                <a:gd name="connsiteX87" fmla="*/ 100 w 10000"/>
                <a:gd name="connsiteY87" fmla="*/ 3382 h 10001"/>
                <a:gd name="connsiteX88" fmla="*/ 65 w 10000"/>
                <a:gd name="connsiteY88" fmla="*/ 3534 h 10001"/>
                <a:gd name="connsiteX89" fmla="*/ 47 w 10000"/>
                <a:gd name="connsiteY89" fmla="*/ 3678 h 10001"/>
                <a:gd name="connsiteX90" fmla="*/ 24 w 10000"/>
                <a:gd name="connsiteY90" fmla="*/ 3822 h 10001"/>
                <a:gd name="connsiteX91" fmla="*/ 17 w 10000"/>
                <a:gd name="connsiteY91" fmla="*/ 3966 h 10001"/>
                <a:gd name="connsiteX92" fmla="*/ 7 w 10000"/>
                <a:gd name="connsiteY92" fmla="*/ 4116 h 10001"/>
                <a:gd name="connsiteX93" fmla="*/ 0 w 10000"/>
                <a:gd name="connsiteY93" fmla="*/ 4261 h 10001"/>
                <a:gd name="connsiteX94" fmla="*/ 0 w 10000"/>
                <a:gd name="connsiteY94" fmla="*/ 4413 h 10001"/>
                <a:gd name="connsiteX95" fmla="*/ 7 w 10000"/>
                <a:gd name="connsiteY95" fmla="*/ 4606 h 10001"/>
                <a:gd name="connsiteX96" fmla="*/ 7 w 10000"/>
                <a:gd name="connsiteY96" fmla="*/ 4798 h 10001"/>
                <a:gd name="connsiteX97" fmla="*/ 24 w 10000"/>
                <a:gd name="connsiteY97" fmla="*/ 4977 h 10001"/>
                <a:gd name="connsiteX98" fmla="*/ 47 w 10000"/>
                <a:gd name="connsiteY98" fmla="*/ 5167 h 10001"/>
                <a:gd name="connsiteX99" fmla="*/ 78 w 10000"/>
                <a:gd name="connsiteY99" fmla="*/ 5354 h 10001"/>
                <a:gd name="connsiteX100" fmla="*/ 119 w 10000"/>
                <a:gd name="connsiteY100" fmla="*/ 5541 h 10001"/>
                <a:gd name="connsiteX101" fmla="*/ 152 w 10000"/>
                <a:gd name="connsiteY101" fmla="*/ 5726 h 10001"/>
                <a:gd name="connsiteX102" fmla="*/ 191 w 10000"/>
                <a:gd name="connsiteY102" fmla="*/ 5910 h 10001"/>
                <a:gd name="connsiteX103" fmla="*/ 253 w 10000"/>
                <a:gd name="connsiteY103" fmla="*/ 6094 h 10001"/>
                <a:gd name="connsiteX104" fmla="*/ 308 w 10000"/>
                <a:gd name="connsiteY104" fmla="*/ 6274 h 10001"/>
                <a:gd name="connsiteX105" fmla="*/ 371 w 10000"/>
                <a:gd name="connsiteY105" fmla="*/ 6457 h 10001"/>
                <a:gd name="connsiteX106" fmla="*/ 434 w 10000"/>
                <a:gd name="connsiteY106" fmla="*/ 6634 h 10001"/>
                <a:gd name="connsiteX107" fmla="*/ 512 w 10000"/>
                <a:gd name="connsiteY107" fmla="*/ 6806 h 10001"/>
                <a:gd name="connsiteX108" fmla="*/ 588 w 10000"/>
                <a:gd name="connsiteY108" fmla="*/ 6985 h 10001"/>
                <a:gd name="connsiteX109" fmla="*/ 676 w 10000"/>
                <a:gd name="connsiteY109" fmla="*/ 7157 h 10001"/>
                <a:gd name="connsiteX110" fmla="*/ 764 w 10000"/>
                <a:gd name="connsiteY110" fmla="*/ 7337 h 10001"/>
                <a:gd name="connsiteX111" fmla="*/ 859 w 10000"/>
                <a:gd name="connsiteY111" fmla="*/ 7503 h 10001"/>
                <a:gd name="connsiteX112" fmla="*/ 967 w 10000"/>
                <a:gd name="connsiteY112" fmla="*/ 7666 h 10001"/>
                <a:gd name="connsiteX113" fmla="*/ 1073 w 10000"/>
                <a:gd name="connsiteY113" fmla="*/ 7845 h 10001"/>
                <a:gd name="connsiteX114" fmla="*/ 1178 w 10000"/>
                <a:gd name="connsiteY114" fmla="*/ 8008 h 10001"/>
                <a:gd name="connsiteX115" fmla="*/ 1294 w 10000"/>
                <a:gd name="connsiteY115" fmla="*/ 8169 h 10001"/>
                <a:gd name="connsiteX116" fmla="*/ 1422 w 10000"/>
                <a:gd name="connsiteY116" fmla="*/ 8324 h 10001"/>
                <a:gd name="connsiteX117" fmla="*/ 1546 w 10000"/>
                <a:gd name="connsiteY117" fmla="*/ 8491 h 10001"/>
                <a:gd name="connsiteX118" fmla="*/ 1680 w 10000"/>
                <a:gd name="connsiteY118" fmla="*/ 8652 h 10001"/>
                <a:gd name="connsiteX119" fmla="*/ 1805 w 10000"/>
                <a:gd name="connsiteY119" fmla="*/ 8809 h 10001"/>
                <a:gd name="connsiteX120" fmla="*/ 1952 w 10000"/>
                <a:gd name="connsiteY120" fmla="*/ 8967 h 10001"/>
                <a:gd name="connsiteX121" fmla="*/ 2098 w 10000"/>
                <a:gd name="connsiteY121" fmla="*/ 9115 h 10001"/>
                <a:gd name="connsiteX122" fmla="*/ 2251 w 10000"/>
                <a:gd name="connsiteY122" fmla="*/ 9274 h 10001"/>
                <a:gd name="connsiteX123" fmla="*/ 2405 w 10000"/>
                <a:gd name="connsiteY123" fmla="*/ 9421 h 10001"/>
                <a:gd name="connsiteX124" fmla="*/ 2558 w 10000"/>
                <a:gd name="connsiteY124" fmla="*/ 9567 h 10001"/>
                <a:gd name="connsiteX125" fmla="*/ 2724 w 10000"/>
                <a:gd name="connsiteY125" fmla="*/ 9707 h 10001"/>
                <a:gd name="connsiteX126" fmla="*/ 2899 w 10000"/>
                <a:gd name="connsiteY126" fmla="*/ 9856 h 10001"/>
                <a:gd name="connsiteX127" fmla="*/ 3062 w 10000"/>
                <a:gd name="connsiteY127" fmla="*/ 10001 h 10001"/>
                <a:gd name="connsiteX128" fmla="*/ 5667 w 10000"/>
                <a:gd name="connsiteY128" fmla="*/ 747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10000" h="10001">
                  <a:moveTo>
                    <a:pt x="5667" y="7470"/>
                  </a:moveTo>
                  <a:lnTo>
                    <a:pt x="10000" y="6834"/>
                  </a:lnTo>
                  <a:cubicBezTo>
                    <a:pt x="9947" y="6793"/>
                    <a:pt x="9894" y="6759"/>
                    <a:pt x="9844" y="6720"/>
                  </a:cubicBezTo>
                  <a:cubicBezTo>
                    <a:pt x="9800" y="6678"/>
                    <a:pt x="9755" y="6634"/>
                    <a:pt x="9710" y="6594"/>
                  </a:cubicBezTo>
                  <a:cubicBezTo>
                    <a:pt x="9664" y="6548"/>
                    <a:pt x="9619" y="6506"/>
                    <a:pt x="9574" y="6468"/>
                  </a:cubicBezTo>
                  <a:cubicBezTo>
                    <a:pt x="9531" y="6423"/>
                    <a:pt x="9490" y="6384"/>
                    <a:pt x="9451" y="6339"/>
                  </a:cubicBezTo>
                  <a:cubicBezTo>
                    <a:pt x="9411" y="6297"/>
                    <a:pt x="9371" y="6253"/>
                    <a:pt x="9334" y="6210"/>
                  </a:cubicBezTo>
                  <a:cubicBezTo>
                    <a:pt x="9294" y="6164"/>
                    <a:pt x="9256" y="6118"/>
                    <a:pt x="9215" y="6074"/>
                  </a:cubicBezTo>
                  <a:cubicBezTo>
                    <a:pt x="9183" y="6023"/>
                    <a:pt x="9146" y="5978"/>
                    <a:pt x="9110" y="5929"/>
                  </a:cubicBezTo>
                  <a:cubicBezTo>
                    <a:pt x="9093" y="5906"/>
                    <a:pt x="9077" y="5889"/>
                    <a:pt x="9063" y="5866"/>
                  </a:cubicBezTo>
                  <a:cubicBezTo>
                    <a:pt x="9048" y="5842"/>
                    <a:pt x="9029" y="5813"/>
                    <a:pt x="9013" y="5790"/>
                  </a:cubicBezTo>
                  <a:cubicBezTo>
                    <a:pt x="9000" y="5768"/>
                    <a:pt x="8988" y="5742"/>
                    <a:pt x="8976" y="5722"/>
                  </a:cubicBezTo>
                  <a:cubicBezTo>
                    <a:pt x="8958" y="5696"/>
                    <a:pt x="8944" y="5671"/>
                    <a:pt x="8927" y="5647"/>
                  </a:cubicBezTo>
                  <a:cubicBezTo>
                    <a:pt x="8916" y="5625"/>
                    <a:pt x="8902" y="5601"/>
                    <a:pt x="8888" y="5576"/>
                  </a:cubicBezTo>
                  <a:cubicBezTo>
                    <a:pt x="8877" y="5551"/>
                    <a:pt x="8862" y="5527"/>
                    <a:pt x="8849" y="5502"/>
                  </a:cubicBezTo>
                  <a:cubicBezTo>
                    <a:pt x="8838" y="5476"/>
                    <a:pt x="8829" y="5451"/>
                    <a:pt x="8821" y="5425"/>
                  </a:cubicBezTo>
                  <a:cubicBezTo>
                    <a:pt x="8808" y="5403"/>
                    <a:pt x="8795" y="5377"/>
                    <a:pt x="8782" y="5354"/>
                  </a:cubicBezTo>
                  <a:cubicBezTo>
                    <a:pt x="8775" y="5329"/>
                    <a:pt x="8769" y="5301"/>
                    <a:pt x="8761" y="5275"/>
                  </a:cubicBezTo>
                  <a:cubicBezTo>
                    <a:pt x="8750" y="5251"/>
                    <a:pt x="8736" y="5226"/>
                    <a:pt x="8723" y="5201"/>
                  </a:cubicBezTo>
                  <a:cubicBezTo>
                    <a:pt x="8715" y="5177"/>
                    <a:pt x="8710" y="5147"/>
                    <a:pt x="8703" y="5123"/>
                  </a:cubicBezTo>
                  <a:cubicBezTo>
                    <a:pt x="8698" y="5099"/>
                    <a:pt x="8693" y="5070"/>
                    <a:pt x="8687" y="5049"/>
                  </a:cubicBezTo>
                  <a:cubicBezTo>
                    <a:pt x="8681" y="5018"/>
                    <a:pt x="8673" y="4991"/>
                    <a:pt x="8666" y="4966"/>
                  </a:cubicBezTo>
                  <a:cubicBezTo>
                    <a:pt x="8657" y="4944"/>
                    <a:pt x="8652" y="4919"/>
                    <a:pt x="8647" y="4893"/>
                  </a:cubicBezTo>
                  <a:cubicBezTo>
                    <a:pt x="8642" y="4869"/>
                    <a:pt x="8635" y="4841"/>
                    <a:pt x="8629" y="4815"/>
                  </a:cubicBezTo>
                  <a:cubicBezTo>
                    <a:pt x="8624" y="4790"/>
                    <a:pt x="8621" y="4763"/>
                    <a:pt x="8618" y="4739"/>
                  </a:cubicBezTo>
                  <a:cubicBezTo>
                    <a:pt x="8616" y="4714"/>
                    <a:pt x="8613" y="4689"/>
                    <a:pt x="8608" y="4656"/>
                  </a:cubicBezTo>
                  <a:cubicBezTo>
                    <a:pt x="8603" y="4630"/>
                    <a:pt x="8599" y="4604"/>
                    <a:pt x="8594" y="4573"/>
                  </a:cubicBezTo>
                  <a:lnTo>
                    <a:pt x="8594" y="4497"/>
                  </a:lnTo>
                  <a:cubicBezTo>
                    <a:pt x="8592" y="4471"/>
                    <a:pt x="8588" y="4443"/>
                    <a:pt x="8586" y="4413"/>
                  </a:cubicBezTo>
                  <a:cubicBezTo>
                    <a:pt x="8588" y="4383"/>
                    <a:pt x="8592" y="4359"/>
                    <a:pt x="8594" y="4334"/>
                  </a:cubicBezTo>
                  <a:cubicBezTo>
                    <a:pt x="8599" y="4304"/>
                    <a:pt x="8603" y="4272"/>
                    <a:pt x="8608" y="4248"/>
                  </a:cubicBezTo>
                  <a:lnTo>
                    <a:pt x="8608" y="4160"/>
                  </a:lnTo>
                  <a:cubicBezTo>
                    <a:pt x="8613" y="4129"/>
                    <a:pt x="8616" y="4102"/>
                    <a:pt x="8618" y="4075"/>
                  </a:cubicBezTo>
                  <a:cubicBezTo>
                    <a:pt x="8621" y="4044"/>
                    <a:pt x="8624" y="4019"/>
                    <a:pt x="8629" y="3990"/>
                  </a:cubicBezTo>
                  <a:cubicBezTo>
                    <a:pt x="8634" y="3965"/>
                    <a:pt x="8642" y="3940"/>
                    <a:pt x="8647" y="3915"/>
                  </a:cubicBezTo>
                  <a:cubicBezTo>
                    <a:pt x="8652" y="3888"/>
                    <a:pt x="8657" y="3856"/>
                    <a:pt x="8666" y="3830"/>
                  </a:cubicBezTo>
                  <a:cubicBezTo>
                    <a:pt x="8673" y="3801"/>
                    <a:pt x="8681" y="3778"/>
                    <a:pt x="8687" y="3750"/>
                  </a:cubicBezTo>
                  <a:cubicBezTo>
                    <a:pt x="8695" y="3722"/>
                    <a:pt x="8703" y="3692"/>
                    <a:pt x="8712" y="3665"/>
                  </a:cubicBezTo>
                  <a:cubicBezTo>
                    <a:pt x="8723" y="3642"/>
                    <a:pt x="8732" y="3615"/>
                    <a:pt x="8744" y="3589"/>
                  </a:cubicBezTo>
                  <a:cubicBezTo>
                    <a:pt x="8754" y="3563"/>
                    <a:pt x="8762" y="3536"/>
                    <a:pt x="8773" y="3508"/>
                  </a:cubicBezTo>
                  <a:cubicBezTo>
                    <a:pt x="8782" y="3482"/>
                    <a:pt x="8793" y="3453"/>
                    <a:pt x="8801" y="3424"/>
                  </a:cubicBezTo>
                  <a:cubicBezTo>
                    <a:pt x="8815" y="3402"/>
                    <a:pt x="8827" y="3376"/>
                    <a:pt x="8838" y="3355"/>
                  </a:cubicBezTo>
                  <a:cubicBezTo>
                    <a:pt x="8853" y="3327"/>
                    <a:pt x="8864" y="3301"/>
                    <a:pt x="8879" y="3275"/>
                  </a:cubicBezTo>
                  <a:cubicBezTo>
                    <a:pt x="8891" y="3248"/>
                    <a:pt x="8904" y="3221"/>
                    <a:pt x="8919" y="3194"/>
                  </a:cubicBezTo>
                  <a:cubicBezTo>
                    <a:pt x="8933" y="3171"/>
                    <a:pt x="8949" y="3144"/>
                    <a:pt x="8965" y="3118"/>
                  </a:cubicBezTo>
                  <a:cubicBezTo>
                    <a:pt x="8978" y="3097"/>
                    <a:pt x="8990" y="3070"/>
                    <a:pt x="9006" y="3046"/>
                  </a:cubicBezTo>
                  <a:cubicBezTo>
                    <a:pt x="9019" y="3020"/>
                    <a:pt x="9039" y="2994"/>
                    <a:pt x="9053" y="2964"/>
                  </a:cubicBezTo>
                  <a:cubicBezTo>
                    <a:pt x="9073" y="2941"/>
                    <a:pt x="9088" y="2920"/>
                    <a:pt x="9110" y="2898"/>
                  </a:cubicBezTo>
                  <a:cubicBezTo>
                    <a:pt x="9126" y="2873"/>
                    <a:pt x="9144" y="2845"/>
                    <a:pt x="9157" y="2823"/>
                  </a:cubicBezTo>
                  <a:cubicBezTo>
                    <a:pt x="9178" y="2799"/>
                    <a:pt x="9198" y="2776"/>
                    <a:pt x="9215" y="2754"/>
                  </a:cubicBezTo>
                  <a:cubicBezTo>
                    <a:pt x="9232" y="2728"/>
                    <a:pt x="9247" y="2704"/>
                    <a:pt x="9267" y="2676"/>
                  </a:cubicBezTo>
                  <a:cubicBezTo>
                    <a:pt x="9288" y="2654"/>
                    <a:pt x="9311" y="2637"/>
                    <a:pt x="9334" y="2613"/>
                  </a:cubicBezTo>
                  <a:cubicBezTo>
                    <a:pt x="9355" y="2588"/>
                    <a:pt x="9376" y="2565"/>
                    <a:pt x="9401" y="2538"/>
                  </a:cubicBezTo>
                  <a:cubicBezTo>
                    <a:pt x="9421" y="2516"/>
                    <a:pt x="9439" y="2493"/>
                    <a:pt x="9459" y="2471"/>
                  </a:cubicBezTo>
                  <a:cubicBezTo>
                    <a:pt x="9481" y="2448"/>
                    <a:pt x="9501" y="2425"/>
                    <a:pt x="9524" y="2404"/>
                  </a:cubicBezTo>
                  <a:cubicBezTo>
                    <a:pt x="9550" y="2380"/>
                    <a:pt x="9572" y="2355"/>
                    <a:pt x="9594" y="2331"/>
                  </a:cubicBezTo>
                  <a:cubicBezTo>
                    <a:pt x="9616" y="2308"/>
                    <a:pt x="9637" y="2290"/>
                    <a:pt x="9661" y="2269"/>
                  </a:cubicBezTo>
                  <a:cubicBezTo>
                    <a:pt x="9689" y="2251"/>
                    <a:pt x="9712" y="2224"/>
                    <a:pt x="9740" y="2203"/>
                  </a:cubicBezTo>
                  <a:cubicBezTo>
                    <a:pt x="9760" y="2181"/>
                    <a:pt x="9781" y="2164"/>
                    <a:pt x="9807" y="2145"/>
                  </a:cubicBezTo>
                  <a:cubicBezTo>
                    <a:pt x="9831" y="2123"/>
                    <a:pt x="9858" y="2096"/>
                    <a:pt x="9883" y="2077"/>
                  </a:cubicBezTo>
                  <a:cubicBezTo>
                    <a:pt x="9908" y="2058"/>
                    <a:pt x="9891" y="2063"/>
                    <a:pt x="9917" y="2042"/>
                  </a:cubicBezTo>
                  <a:lnTo>
                    <a:pt x="7025" y="6"/>
                  </a:lnTo>
                  <a:lnTo>
                    <a:pt x="1826" y="0"/>
                  </a:lnTo>
                  <a:cubicBezTo>
                    <a:pt x="1784" y="52"/>
                    <a:pt x="1742" y="94"/>
                    <a:pt x="1701" y="154"/>
                  </a:cubicBezTo>
                  <a:cubicBezTo>
                    <a:pt x="1666" y="191"/>
                    <a:pt x="1631" y="229"/>
                    <a:pt x="1595" y="269"/>
                  </a:cubicBezTo>
                  <a:cubicBezTo>
                    <a:pt x="1562" y="308"/>
                    <a:pt x="1531" y="354"/>
                    <a:pt x="1496" y="397"/>
                  </a:cubicBezTo>
                  <a:cubicBezTo>
                    <a:pt x="1462" y="441"/>
                    <a:pt x="1426" y="480"/>
                    <a:pt x="1390" y="523"/>
                  </a:cubicBezTo>
                  <a:cubicBezTo>
                    <a:pt x="1362" y="563"/>
                    <a:pt x="1333" y="608"/>
                    <a:pt x="1303" y="650"/>
                  </a:cubicBezTo>
                  <a:cubicBezTo>
                    <a:pt x="1270" y="689"/>
                    <a:pt x="1241" y="736"/>
                    <a:pt x="1208" y="775"/>
                  </a:cubicBezTo>
                  <a:cubicBezTo>
                    <a:pt x="1179" y="826"/>
                    <a:pt x="1150" y="862"/>
                    <a:pt x="1122" y="910"/>
                  </a:cubicBezTo>
                  <a:cubicBezTo>
                    <a:pt x="1094" y="954"/>
                    <a:pt x="1062" y="998"/>
                    <a:pt x="1033" y="1043"/>
                  </a:cubicBezTo>
                  <a:cubicBezTo>
                    <a:pt x="1008" y="1086"/>
                    <a:pt x="981" y="1127"/>
                    <a:pt x="958" y="1166"/>
                  </a:cubicBezTo>
                  <a:cubicBezTo>
                    <a:pt x="929" y="1210"/>
                    <a:pt x="907" y="1256"/>
                    <a:pt x="880" y="1304"/>
                  </a:cubicBezTo>
                  <a:cubicBezTo>
                    <a:pt x="852" y="1344"/>
                    <a:pt x="828" y="1388"/>
                    <a:pt x="802" y="1432"/>
                  </a:cubicBezTo>
                  <a:cubicBezTo>
                    <a:pt x="777" y="1481"/>
                    <a:pt x="750" y="1526"/>
                    <a:pt x="723" y="1572"/>
                  </a:cubicBezTo>
                  <a:cubicBezTo>
                    <a:pt x="702" y="1616"/>
                    <a:pt x="679" y="1655"/>
                    <a:pt x="657" y="1699"/>
                  </a:cubicBezTo>
                  <a:cubicBezTo>
                    <a:pt x="636" y="1745"/>
                    <a:pt x="611" y="1788"/>
                    <a:pt x="588" y="1833"/>
                  </a:cubicBezTo>
                  <a:cubicBezTo>
                    <a:pt x="569" y="1879"/>
                    <a:pt x="550" y="1928"/>
                    <a:pt x="533" y="1968"/>
                  </a:cubicBezTo>
                  <a:cubicBezTo>
                    <a:pt x="512" y="2013"/>
                    <a:pt x="494" y="2058"/>
                    <a:pt x="474" y="2104"/>
                  </a:cubicBezTo>
                  <a:cubicBezTo>
                    <a:pt x="451" y="2156"/>
                    <a:pt x="434" y="2200"/>
                    <a:pt x="415" y="2248"/>
                  </a:cubicBezTo>
                  <a:cubicBezTo>
                    <a:pt x="400" y="2289"/>
                    <a:pt x="384" y="2334"/>
                    <a:pt x="371" y="2384"/>
                  </a:cubicBezTo>
                  <a:cubicBezTo>
                    <a:pt x="350" y="2431"/>
                    <a:pt x="326" y="2479"/>
                    <a:pt x="308" y="2526"/>
                  </a:cubicBezTo>
                  <a:cubicBezTo>
                    <a:pt x="295" y="2575"/>
                    <a:pt x="284" y="2622"/>
                    <a:pt x="269" y="2666"/>
                  </a:cubicBezTo>
                  <a:cubicBezTo>
                    <a:pt x="255" y="2715"/>
                    <a:pt x="241" y="2764"/>
                    <a:pt x="225" y="2809"/>
                  </a:cubicBezTo>
                  <a:cubicBezTo>
                    <a:pt x="213" y="2858"/>
                    <a:pt x="200" y="2910"/>
                    <a:pt x="191" y="2953"/>
                  </a:cubicBezTo>
                  <a:cubicBezTo>
                    <a:pt x="180" y="3001"/>
                    <a:pt x="168" y="3049"/>
                    <a:pt x="152" y="3095"/>
                  </a:cubicBezTo>
                  <a:cubicBezTo>
                    <a:pt x="142" y="3141"/>
                    <a:pt x="134" y="3187"/>
                    <a:pt x="126" y="3235"/>
                  </a:cubicBezTo>
                  <a:cubicBezTo>
                    <a:pt x="119" y="3287"/>
                    <a:pt x="109" y="3335"/>
                    <a:pt x="100" y="3382"/>
                  </a:cubicBezTo>
                  <a:cubicBezTo>
                    <a:pt x="87" y="3431"/>
                    <a:pt x="78" y="3484"/>
                    <a:pt x="65" y="3534"/>
                  </a:cubicBezTo>
                  <a:cubicBezTo>
                    <a:pt x="59" y="3585"/>
                    <a:pt x="54" y="3629"/>
                    <a:pt x="47" y="3678"/>
                  </a:cubicBezTo>
                  <a:cubicBezTo>
                    <a:pt x="42" y="3725"/>
                    <a:pt x="37" y="3776"/>
                    <a:pt x="24" y="3822"/>
                  </a:cubicBezTo>
                  <a:cubicBezTo>
                    <a:pt x="22" y="3868"/>
                    <a:pt x="19" y="3921"/>
                    <a:pt x="17" y="3966"/>
                  </a:cubicBezTo>
                  <a:cubicBezTo>
                    <a:pt x="12" y="4015"/>
                    <a:pt x="10" y="4064"/>
                    <a:pt x="7" y="4116"/>
                  </a:cubicBezTo>
                  <a:cubicBezTo>
                    <a:pt x="5" y="4164"/>
                    <a:pt x="2" y="4214"/>
                    <a:pt x="0" y="4261"/>
                  </a:cubicBezTo>
                  <a:lnTo>
                    <a:pt x="0" y="4413"/>
                  </a:lnTo>
                  <a:cubicBezTo>
                    <a:pt x="2" y="4477"/>
                    <a:pt x="5" y="4540"/>
                    <a:pt x="7" y="4606"/>
                  </a:cubicBezTo>
                  <a:lnTo>
                    <a:pt x="7" y="4798"/>
                  </a:lnTo>
                  <a:cubicBezTo>
                    <a:pt x="12" y="4856"/>
                    <a:pt x="19" y="4920"/>
                    <a:pt x="24" y="4977"/>
                  </a:cubicBezTo>
                  <a:cubicBezTo>
                    <a:pt x="37" y="5043"/>
                    <a:pt x="42" y="5106"/>
                    <a:pt x="47" y="5167"/>
                  </a:cubicBezTo>
                  <a:cubicBezTo>
                    <a:pt x="56" y="5228"/>
                    <a:pt x="65" y="5289"/>
                    <a:pt x="78" y="5354"/>
                  </a:cubicBezTo>
                  <a:cubicBezTo>
                    <a:pt x="90" y="5413"/>
                    <a:pt x="106" y="5476"/>
                    <a:pt x="119" y="5541"/>
                  </a:cubicBezTo>
                  <a:cubicBezTo>
                    <a:pt x="129" y="5603"/>
                    <a:pt x="139" y="5661"/>
                    <a:pt x="152" y="5726"/>
                  </a:cubicBezTo>
                  <a:cubicBezTo>
                    <a:pt x="168" y="5785"/>
                    <a:pt x="180" y="5852"/>
                    <a:pt x="191" y="5910"/>
                  </a:cubicBezTo>
                  <a:cubicBezTo>
                    <a:pt x="213" y="5973"/>
                    <a:pt x="235" y="6032"/>
                    <a:pt x="253" y="6094"/>
                  </a:cubicBezTo>
                  <a:cubicBezTo>
                    <a:pt x="269" y="6156"/>
                    <a:pt x="289" y="6214"/>
                    <a:pt x="308" y="6274"/>
                  </a:cubicBezTo>
                  <a:cubicBezTo>
                    <a:pt x="325" y="6334"/>
                    <a:pt x="349" y="6394"/>
                    <a:pt x="371" y="6457"/>
                  </a:cubicBezTo>
                  <a:cubicBezTo>
                    <a:pt x="389" y="6516"/>
                    <a:pt x="414" y="6575"/>
                    <a:pt x="434" y="6634"/>
                  </a:cubicBezTo>
                  <a:cubicBezTo>
                    <a:pt x="461" y="6691"/>
                    <a:pt x="486" y="6753"/>
                    <a:pt x="512" y="6806"/>
                  </a:cubicBezTo>
                  <a:cubicBezTo>
                    <a:pt x="539" y="6868"/>
                    <a:pt x="562" y="6925"/>
                    <a:pt x="588" y="6985"/>
                  </a:cubicBezTo>
                  <a:cubicBezTo>
                    <a:pt x="618" y="7044"/>
                    <a:pt x="649" y="7103"/>
                    <a:pt x="676" y="7157"/>
                  </a:cubicBezTo>
                  <a:cubicBezTo>
                    <a:pt x="704" y="7221"/>
                    <a:pt x="734" y="7273"/>
                    <a:pt x="764" y="7337"/>
                  </a:cubicBezTo>
                  <a:cubicBezTo>
                    <a:pt x="797" y="7389"/>
                    <a:pt x="828" y="7444"/>
                    <a:pt x="859" y="7503"/>
                  </a:cubicBezTo>
                  <a:cubicBezTo>
                    <a:pt x="895" y="7556"/>
                    <a:pt x="929" y="7613"/>
                    <a:pt x="967" y="7666"/>
                  </a:cubicBezTo>
                  <a:cubicBezTo>
                    <a:pt x="1000" y="7730"/>
                    <a:pt x="1037" y="7784"/>
                    <a:pt x="1073" y="7845"/>
                  </a:cubicBezTo>
                  <a:cubicBezTo>
                    <a:pt x="1107" y="7897"/>
                    <a:pt x="1144" y="7951"/>
                    <a:pt x="1178" y="8008"/>
                  </a:cubicBezTo>
                  <a:cubicBezTo>
                    <a:pt x="1218" y="8063"/>
                    <a:pt x="1255" y="8120"/>
                    <a:pt x="1294" y="8169"/>
                  </a:cubicBezTo>
                  <a:cubicBezTo>
                    <a:pt x="1337" y="8225"/>
                    <a:pt x="1379" y="8275"/>
                    <a:pt x="1422" y="8324"/>
                  </a:cubicBezTo>
                  <a:cubicBezTo>
                    <a:pt x="1462" y="8384"/>
                    <a:pt x="1504" y="8433"/>
                    <a:pt x="1546" y="8491"/>
                  </a:cubicBezTo>
                  <a:cubicBezTo>
                    <a:pt x="1591" y="8545"/>
                    <a:pt x="1636" y="8594"/>
                    <a:pt x="1680" y="8652"/>
                  </a:cubicBezTo>
                  <a:cubicBezTo>
                    <a:pt x="1724" y="8701"/>
                    <a:pt x="1765" y="8755"/>
                    <a:pt x="1805" y="8809"/>
                  </a:cubicBezTo>
                  <a:cubicBezTo>
                    <a:pt x="1854" y="8862"/>
                    <a:pt x="1904" y="8914"/>
                    <a:pt x="1952" y="8967"/>
                  </a:cubicBezTo>
                  <a:cubicBezTo>
                    <a:pt x="1998" y="9017"/>
                    <a:pt x="2050" y="9065"/>
                    <a:pt x="2098" y="9115"/>
                  </a:cubicBezTo>
                  <a:cubicBezTo>
                    <a:pt x="2149" y="9167"/>
                    <a:pt x="2198" y="9218"/>
                    <a:pt x="2251" y="9274"/>
                  </a:cubicBezTo>
                  <a:cubicBezTo>
                    <a:pt x="2304" y="9321"/>
                    <a:pt x="2354" y="9374"/>
                    <a:pt x="2405" y="9421"/>
                  </a:cubicBezTo>
                  <a:cubicBezTo>
                    <a:pt x="2456" y="9470"/>
                    <a:pt x="2509" y="9518"/>
                    <a:pt x="2558" y="9567"/>
                  </a:cubicBezTo>
                  <a:cubicBezTo>
                    <a:pt x="2613" y="9614"/>
                    <a:pt x="2669" y="9660"/>
                    <a:pt x="2724" y="9707"/>
                  </a:cubicBezTo>
                  <a:cubicBezTo>
                    <a:pt x="2780" y="9757"/>
                    <a:pt x="2840" y="9810"/>
                    <a:pt x="2899" y="9856"/>
                  </a:cubicBezTo>
                  <a:cubicBezTo>
                    <a:pt x="2954" y="9904"/>
                    <a:pt x="3043" y="9985"/>
                    <a:pt x="3062" y="10001"/>
                  </a:cubicBezTo>
                  <a:lnTo>
                    <a:pt x="5667" y="7470"/>
                  </a:lnTo>
                  <a:close/>
                </a:path>
              </a:pathLst>
            </a:custGeom>
            <a:grpFill/>
            <a:ln w="9525">
              <a:solidFill>
                <a:schemeClr val="tx2">
                  <a:lumMod val="10000"/>
                  <a:lumOff val="90000"/>
                </a:schemeClr>
              </a:solidFill>
              <a:round/>
              <a:headEnd/>
              <a:tailEnd/>
            </a:ln>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93" name="Freeform 6">
              <a:extLst>
                <a:ext uri="{FF2B5EF4-FFF2-40B4-BE49-F238E27FC236}">
                  <a16:creationId xmlns:a16="http://schemas.microsoft.com/office/drawing/2014/main" id="{2BBF25D9-EBB8-4D90-906F-F50E89741C8B}"/>
                </a:ext>
              </a:extLst>
            </p:cNvPr>
            <p:cNvSpPr>
              <a:spLocks/>
            </p:cNvSpPr>
            <p:nvPr>
              <p:custDataLst>
                <p:tags r:id="rId16"/>
              </p:custDataLst>
            </p:nvPr>
          </p:nvSpPr>
          <p:spPr bwMode="auto">
            <a:xfrm rot="4772980">
              <a:off x="21015137" y="-40011179"/>
              <a:ext cx="60905584" cy="90238762"/>
            </a:xfrm>
            <a:custGeom>
              <a:avLst/>
              <a:gdLst>
                <a:gd name="T0" fmla="*/ 2147483647 w 5608"/>
                <a:gd name="T1" fmla="*/ 2147483647 h 4036"/>
                <a:gd name="T2" fmla="*/ 2147483647 w 5608"/>
                <a:gd name="T3" fmla="*/ 2147483647 h 4036"/>
                <a:gd name="T4" fmla="*/ 2147483647 w 5608"/>
                <a:gd name="T5" fmla="*/ 2147483647 h 4036"/>
                <a:gd name="T6" fmla="*/ 2147483647 w 5608"/>
                <a:gd name="T7" fmla="*/ 2147483647 h 4036"/>
                <a:gd name="T8" fmla="*/ 2147483647 w 5608"/>
                <a:gd name="T9" fmla="*/ 2147483647 h 4036"/>
                <a:gd name="T10" fmla="*/ 2147483647 w 5608"/>
                <a:gd name="T11" fmla="*/ 2147483647 h 4036"/>
                <a:gd name="T12" fmla="*/ 2147483647 w 5608"/>
                <a:gd name="T13" fmla="*/ 2147483647 h 4036"/>
                <a:gd name="T14" fmla="*/ 2147483647 w 5608"/>
                <a:gd name="T15" fmla="*/ 2147483647 h 4036"/>
                <a:gd name="T16" fmla="*/ 2147483647 w 5608"/>
                <a:gd name="T17" fmla="*/ 2147483647 h 4036"/>
                <a:gd name="T18" fmla="*/ 2147483647 w 5608"/>
                <a:gd name="T19" fmla="*/ 2147483647 h 4036"/>
                <a:gd name="T20" fmla="*/ 2147483647 w 5608"/>
                <a:gd name="T21" fmla="*/ 2147483647 h 4036"/>
                <a:gd name="T22" fmla="*/ 2147483647 w 5608"/>
                <a:gd name="T23" fmla="*/ 2147483647 h 4036"/>
                <a:gd name="T24" fmla="*/ 2147483647 w 5608"/>
                <a:gd name="T25" fmla="*/ 2147483647 h 4036"/>
                <a:gd name="T26" fmla="*/ 2147483647 w 5608"/>
                <a:gd name="T27" fmla="*/ 2147483647 h 4036"/>
                <a:gd name="T28" fmla="*/ 2147483647 w 5608"/>
                <a:gd name="T29" fmla="*/ 2147483647 h 4036"/>
                <a:gd name="T30" fmla="*/ 2147483647 w 5608"/>
                <a:gd name="T31" fmla="*/ 2147483647 h 4036"/>
                <a:gd name="T32" fmla="*/ 2147483647 w 5608"/>
                <a:gd name="T33" fmla="*/ 2147483647 h 4036"/>
                <a:gd name="T34" fmla="*/ 2147483647 w 5608"/>
                <a:gd name="T35" fmla="*/ 2147483647 h 4036"/>
                <a:gd name="T36" fmla="*/ 2147483647 w 5608"/>
                <a:gd name="T37" fmla="*/ 2147483647 h 4036"/>
                <a:gd name="T38" fmla="*/ 2147483647 w 5608"/>
                <a:gd name="T39" fmla="*/ 2147483647 h 4036"/>
                <a:gd name="T40" fmla="*/ 2147483647 w 5608"/>
                <a:gd name="T41" fmla="*/ 2147483647 h 4036"/>
                <a:gd name="T42" fmla="*/ 2147483647 w 5608"/>
                <a:gd name="T43" fmla="*/ 2147483647 h 4036"/>
                <a:gd name="T44" fmla="*/ 2147483647 w 5608"/>
                <a:gd name="T45" fmla="*/ 2147483647 h 4036"/>
                <a:gd name="T46" fmla="*/ 2147483647 w 5608"/>
                <a:gd name="T47" fmla="*/ 2147483647 h 4036"/>
                <a:gd name="T48" fmla="*/ 2147483647 w 5608"/>
                <a:gd name="T49" fmla="*/ 2147483647 h 4036"/>
                <a:gd name="T50" fmla="*/ 2147483647 w 5608"/>
                <a:gd name="T51" fmla="*/ 2147483647 h 4036"/>
                <a:gd name="T52" fmla="*/ 2147483647 w 5608"/>
                <a:gd name="T53" fmla="*/ 2147483647 h 4036"/>
                <a:gd name="T54" fmla="*/ 2147483647 w 5608"/>
                <a:gd name="T55" fmla="*/ 2147483647 h 4036"/>
                <a:gd name="T56" fmla="*/ 2147483647 w 5608"/>
                <a:gd name="T57" fmla="*/ 2147483647 h 4036"/>
                <a:gd name="T58" fmla="*/ 2147483647 w 5608"/>
                <a:gd name="T59" fmla="*/ 2147483647 h 4036"/>
                <a:gd name="T60" fmla="*/ 2147483647 w 5608"/>
                <a:gd name="T61" fmla="*/ 2147483647 h 4036"/>
                <a:gd name="T62" fmla="*/ 2147483647 w 5608"/>
                <a:gd name="T63" fmla="*/ 2147483647 h 4036"/>
                <a:gd name="T64" fmla="*/ 2147483647 w 5608"/>
                <a:gd name="T65" fmla="*/ 2147483647 h 4036"/>
                <a:gd name="T66" fmla="*/ 2147483647 w 5608"/>
                <a:gd name="T67" fmla="*/ 2147483647 h 4036"/>
                <a:gd name="T68" fmla="*/ 2147483647 w 5608"/>
                <a:gd name="T69" fmla="*/ 2147483647 h 4036"/>
                <a:gd name="T70" fmla="*/ 2147483647 w 5608"/>
                <a:gd name="T71" fmla="*/ 2147483647 h 4036"/>
                <a:gd name="T72" fmla="*/ 2147483647 w 5608"/>
                <a:gd name="T73" fmla="*/ 2147483647 h 4036"/>
                <a:gd name="T74" fmla="*/ 2147483647 w 5608"/>
                <a:gd name="T75" fmla="*/ 2147483647 h 4036"/>
                <a:gd name="T76" fmla="*/ 2147483647 w 5608"/>
                <a:gd name="T77" fmla="*/ 2147483647 h 4036"/>
                <a:gd name="T78" fmla="*/ 2147483647 w 5608"/>
                <a:gd name="T79" fmla="*/ 2147483647 h 4036"/>
                <a:gd name="T80" fmla="*/ 2147483647 w 5608"/>
                <a:gd name="T81" fmla="*/ 2147483647 h 4036"/>
                <a:gd name="T82" fmla="*/ 2147483647 w 5608"/>
                <a:gd name="T83" fmla="*/ 2147483647 h 4036"/>
                <a:gd name="T84" fmla="*/ 2147483647 w 5608"/>
                <a:gd name="T85" fmla="*/ 2147483647 h 4036"/>
                <a:gd name="T86" fmla="*/ 2147483647 w 5608"/>
                <a:gd name="T87" fmla="*/ 2147483647 h 4036"/>
                <a:gd name="T88" fmla="*/ 2147483647 w 5608"/>
                <a:gd name="T89" fmla="*/ 2147483647 h 4036"/>
                <a:gd name="T90" fmla="*/ 2147483647 w 5608"/>
                <a:gd name="T91" fmla="*/ 2147483647 h 4036"/>
                <a:gd name="T92" fmla="*/ 2147483647 w 5608"/>
                <a:gd name="T93" fmla="*/ 2147483647 h 4036"/>
                <a:gd name="T94" fmla="*/ 2147483647 w 5608"/>
                <a:gd name="T95" fmla="*/ 2147483647 h 4036"/>
                <a:gd name="T96" fmla="*/ 2147483647 w 5608"/>
                <a:gd name="T97" fmla="*/ 2147483647 h 4036"/>
                <a:gd name="T98" fmla="*/ 2147483647 w 5608"/>
                <a:gd name="T99" fmla="*/ 2147483647 h 4036"/>
                <a:gd name="T100" fmla="*/ 2147483647 w 5608"/>
                <a:gd name="T101" fmla="*/ 2147483647 h 4036"/>
                <a:gd name="T102" fmla="*/ 2147483647 w 5608"/>
                <a:gd name="T103" fmla="*/ 2147483647 h 4036"/>
                <a:gd name="T104" fmla="*/ 2147483647 w 5608"/>
                <a:gd name="T105" fmla="*/ 2147483647 h 40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608"/>
                <a:gd name="T160" fmla="*/ 0 h 4036"/>
                <a:gd name="T161" fmla="*/ 5608 w 5608"/>
                <a:gd name="T162" fmla="*/ 4036 h 4036"/>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2284 w 10000"/>
                <a:gd name="connsiteY67" fmla="*/ 3771 h 10000"/>
                <a:gd name="connsiteX68" fmla="*/ 2179 w 10000"/>
                <a:gd name="connsiteY68" fmla="*/ 3759 h 10000"/>
                <a:gd name="connsiteX69" fmla="*/ 2074 w 10000"/>
                <a:gd name="connsiteY69" fmla="*/ 3741 h 10000"/>
                <a:gd name="connsiteX70" fmla="*/ 1970 w 10000"/>
                <a:gd name="connsiteY70" fmla="*/ 3719 h 10000"/>
                <a:gd name="connsiteX71" fmla="*/ 1867 w 10000"/>
                <a:gd name="connsiteY71" fmla="*/ 3692 h 10000"/>
                <a:gd name="connsiteX72" fmla="*/ 1765 w 10000"/>
                <a:gd name="connsiteY72" fmla="*/ 3662 h 10000"/>
                <a:gd name="connsiteX73" fmla="*/ 0 w 10000"/>
                <a:gd name="connsiteY73" fmla="*/ 6085 h 10000"/>
                <a:gd name="connsiteX74" fmla="*/ 209 w 10000"/>
                <a:gd name="connsiteY74" fmla="*/ 9512 h 10000"/>
                <a:gd name="connsiteX75" fmla="*/ 344 w 10000"/>
                <a:gd name="connsiteY75" fmla="*/ 9569 h 10000"/>
                <a:gd name="connsiteX76" fmla="*/ 481 w 10000"/>
                <a:gd name="connsiteY76" fmla="*/ 9623 h 10000"/>
                <a:gd name="connsiteX77" fmla="*/ 621 w 10000"/>
                <a:gd name="connsiteY77" fmla="*/ 9673 h 10000"/>
                <a:gd name="connsiteX78" fmla="*/ 758 w 10000"/>
                <a:gd name="connsiteY78" fmla="*/ 9720 h 10000"/>
                <a:gd name="connsiteX79" fmla="*/ 899 w 10000"/>
                <a:gd name="connsiteY79" fmla="*/ 9765 h 10000"/>
                <a:gd name="connsiteX80" fmla="*/ 1040 w 10000"/>
                <a:gd name="connsiteY80" fmla="*/ 9804 h 10000"/>
                <a:gd name="connsiteX81" fmla="*/ 1182 w 10000"/>
                <a:gd name="connsiteY81" fmla="*/ 9839 h 10000"/>
                <a:gd name="connsiteX82" fmla="*/ 1325 w 10000"/>
                <a:gd name="connsiteY82" fmla="*/ 9874 h 10000"/>
                <a:gd name="connsiteX83" fmla="*/ 1471 w 10000"/>
                <a:gd name="connsiteY83" fmla="*/ 9903 h 10000"/>
                <a:gd name="connsiteX84" fmla="*/ 1614 w 10000"/>
                <a:gd name="connsiteY84" fmla="*/ 9926 h 10000"/>
                <a:gd name="connsiteX85" fmla="*/ 1760 w 10000"/>
                <a:gd name="connsiteY85" fmla="*/ 9948 h 10000"/>
                <a:gd name="connsiteX86" fmla="*/ 1906 w 10000"/>
                <a:gd name="connsiteY86" fmla="*/ 9965 h 10000"/>
                <a:gd name="connsiteX87" fmla="*/ 2052 w 10000"/>
                <a:gd name="connsiteY87" fmla="*/ 9980 h 10000"/>
                <a:gd name="connsiteX88" fmla="*/ 2202 w 10000"/>
                <a:gd name="connsiteY88" fmla="*/ 9990 h 10000"/>
                <a:gd name="connsiteX89" fmla="*/ 2350 w 10000"/>
                <a:gd name="connsiteY89" fmla="*/ 9995 h 10000"/>
                <a:gd name="connsiteX90" fmla="*/ 2498 w 10000"/>
                <a:gd name="connsiteY90" fmla="*/ 10000 h 10000"/>
                <a:gd name="connsiteX91" fmla="*/ 2677 w 10000"/>
                <a:gd name="connsiteY91" fmla="*/ 9995 h 10000"/>
                <a:gd name="connsiteX92" fmla="*/ 2850 w 10000"/>
                <a:gd name="connsiteY92" fmla="*/ 9988 h 10000"/>
                <a:gd name="connsiteX93" fmla="*/ 3024 w 10000"/>
                <a:gd name="connsiteY93" fmla="*/ 9975 h 10000"/>
                <a:gd name="connsiteX94" fmla="*/ 3195 w 10000"/>
                <a:gd name="connsiteY94" fmla="*/ 9953 h 10000"/>
                <a:gd name="connsiteX95" fmla="*/ 3368 w 10000"/>
                <a:gd name="connsiteY95" fmla="*/ 9931 h 10000"/>
                <a:gd name="connsiteX96" fmla="*/ 3538 w 10000"/>
                <a:gd name="connsiteY96" fmla="*/ 9898 h 10000"/>
                <a:gd name="connsiteX97" fmla="*/ 3709 w 10000"/>
                <a:gd name="connsiteY97" fmla="*/ 9866 h 10000"/>
                <a:gd name="connsiteX98" fmla="*/ 3877 w 10000"/>
                <a:gd name="connsiteY98" fmla="*/ 9824 h 10000"/>
                <a:gd name="connsiteX99" fmla="*/ 4042 w 10000"/>
                <a:gd name="connsiteY99" fmla="*/ 9779 h 10000"/>
                <a:gd name="connsiteX100" fmla="*/ 4210 w 10000"/>
                <a:gd name="connsiteY100" fmla="*/ 9730 h 10000"/>
                <a:gd name="connsiteX101" fmla="*/ 4372 w 10000"/>
                <a:gd name="connsiteY101" fmla="*/ 9673 h 10000"/>
                <a:gd name="connsiteX102" fmla="*/ 4536 w 10000"/>
                <a:gd name="connsiteY102" fmla="*/ 9616 h 10000"/>
                <a:gd name="connsiteX103" fmla="*/ 4697 w 10000"/>
                <a:gd name="connsiteY103" fmla="*/ 9552 h 10000"/>
                <a:gd name="connsiteX104" fmla="*/ 4857 w 10000"/>
                <a:gd name="connsiteY104" fmla="*/ 9482 h 10000"/>
                <a:gd name="connsiteX105" fmla="*/ 5014 w 10000"/>
                <a:gd name="connsiteY105" fmla="*/ 9405 h 10000"/>
                <a:gd name="connsiteX106" fmla="*/ 5171 w 10000"/>
                <a:gd name="connsiteY106" fmla="*/ 9329 h 10000"/>
                <a:gd name="connsiteX107" fmla="*/ 5326 w 10000"/>
                <a:gd name="connsiteY107" fmla="*/ 9244 h 10000"/>
                <a:gd name="connsiteX108" fmla="*/ 5480 w 10000"/>
                <a:gd name="connsiteY108" fmla="*/ 9158 h 10000"/>
                <a:gd name="connsiteX109" fmla="*/ 5631 w 10000"/>
                <a:gd name="connsiteY109" fmla="*/ 9063 h 10000"/>
                <a:gd name="connsiteX110" fmla="*/ 5781 w 10000"/>
                <a:gd name="connsiteY110" fmla="*/ 8967 h 10000"/>
                <a:gd name="connsiteX111" fmla="*/ 5931 w 10000"/>
                <a:gd name="connsiteY111" fmla="*/ 8865 h 10000"/>
                <a:gd name="connsiteX112" fmla="*/ 6075 w 10000"/>
                <a:gd name="connsiteY112" fmla="*/ 8759 h 10000"/>
                <a:gd name="connsiteX113" fmla="*/ 6221 w 10000"/>
                <a:gd name="connsiteY113" fmla="*/ 8652 h 10000"/>
                <a:gd name="connsiteX114" fmla="*/ 6364 w 10000"/>
                <a:gd name="connsiteY114" fmla="*/ 8536 h 10000"/>
                <a:gd name="connsiteX115" fmla="*/ 6505 w 10000"/>
                <a:gd name="connsiteY115" fmla="*/ 8417 h 10000"/>
                <a:gd name="connsiteX116" fmla="*/ 6642 w 10000"/>
                <a:gd name="connsiteY116" fmla="*/ 8295 h 10000"/>
                <a:gd name="connsiteX117" fmla="*/ 6780 w 10000"/>
                <a:gd name="connsiteY117" fmla="*/ 8169 h 10000"/>
                <a:gd name="connsiteX118" fmla="*/ 6913 w 10000"/>
                <a:gd name="connsiteY118" fmla="*/ 8040 h 10000"/>
                <a:gd name="connsiteX119" fmla="*/ 7045 w 10000"/>
                <a:gd name="connsiteY119" fmla="*/ 7904 h 10000"/>
                <a:gd name="connsiteX120" fmla="*/ 7175 w 10000"/>
                <a:gd name="connsiteY120" fmla="*/ 7768 h 10000"/>
                <a:gd name="connsiteX121" fmla="*/ 7304 w 10000"/>
                <a:gd name="connsiteY121" fmla="*/ 7624 h 10000"/>
                <a:gd name="connsiteX122" fmla="*/ 7429 w 10000"/>
                <a:gd name="connsiteY122" fmla="*/ 7480 h 10000"/>
                <a:gd name="connsiteX123" fmla="*/ 7552 w 10000"/>
                <a:gd name="connsiteY123" fmla="*/ 7329 h 10000"/>
                <a:gd name="connsiteX124" fmla="*/ 7673 w 10000"/>
                <a:gd name="connsiteY124" fmla="*/ 7178 h 10000"/>
                <a:gd name="connsiteX125" fmla="*/ 7792 w 10000"/>
                <a:gd name="connsiteY125" fmla="*/ 7024 h 10000"/>
                <a:gd name="connsiteX126" fmla="*/ 7907 w 10000"/>
                <a:gd name="connsiteY126" fmla="*/ 6861 h 10000"/>
                <a:gd name="connsiteX127" fmla="*/ 8022 w 10000"/>
                <a:gd name="connsiteY127" fmla="*/ 6697 h 10000"/>
                <a:gd name="connsiteX128" fmla="*/ 8133 w 10000"/>
                <a:gd name="connsiteY128" fmla="*/ 6534 h 10000"/>
                <a:gd name="connsiteX129" fmla="*/ 8240 w 10000"/>
                <a:gd name="connsiteY129" fmla="*/ 6365 h 10000"/>
                <a:gd name="connsiteX130" fmla="*/ 8347 w 10000"/>
                <a:gd name="connsiteY130" fmla="*/ 6189 h 10000"/>
                <a:gd name="connsiteX131" fmla="*/ 8450 w 10000"/>
                <a:gd name="connsiteY131" fmla="*/ 6016 h 10000"/>
                <a:gd name="connsiteX132" fmla="*/ 8552 w 10000"/>
                <a:gd name="connsiteY132" fmla="*/ 5835 h 10000"/>
                <a:gd name="connsiteX133" fmla="*/ 8650 w 10000"/>
                <a:gd name="connsiteY133" fmla="*/ 5652 h 10000"/>
                <a:gd name="connsiteX134" fmla="*/ 8745 w 10000"/>
                <a:gd name="connsiteY134" fmla="*/ 5468 h 10000"/>
                <a:gd name="connsiteX135" fmla="*/ 8837 w 10000"/>
                <a:gd name="connsiteY135" fmla="*/ 5278 h 10000"/>
                <a:gd name="connsiteX136" fmla="*/ 8927 w 10000"/>
                <a:gd name="connsiteY136" fmla="*/ 5089 h 10000"/>
                <a:gd name="connsiteX137" fmla="*/ 9014 w 10000"/>
                <a:gd name="connsiteY137" fmla="*/ 4893 h 10000"/>
                <a:gd name="connsiteX138" fmla="*/ 9098 w 10000"/>
                <a:gd name="connsiteY138" fmla="*/ 4698 h 10000"/>
                <a:gd name="connsiteX139" fmla="*/ 9178 w 10000"/>
                <a:gd name="connsiteY139" fmla="*/ 4500 h 10000"/>
                <a:gd name="connsiteX140" fmla="*/ 9256 w 10000"/>
                <a:gd name="connsiteY140" fmla="*/ 4294 h 10000"/>
                <a:gd name="connsiteX141" fmla="*/ 9330 w 10000"/>
                <a:gd name="connsiteY141" fmla="*/ 4091 h 10000"/>
                <a:gd name="connsiteX142" fmla="*/ 9401 w 10000"/>
                <a:gd name="connsiteY142" fmla="*/ 3885 h 10000"/>
                <a:gd name="connsiteX143" fmla="*/ 9470 w 10000"/>
                <a:gd name="connsiteY143" fmla="*/ 3674 h 10000"/>
                <a:gd name="connsiteX144" fmla="*/ 9535 w 10000"/>
                <a:gd name="connsiteY144" fmla="*/ 3464 h 10000"/>
                <a:gd name="connsiteX145" fmla="*/ 9599 w 10000"/>
                <a:gd name="connsiteY145" fmla="*/ 3248 h 10000"/>
                <a:gd name="connsiteX146" fmla="*/ 9656 w 10000"/>
                <a:gd name="connsiteY146" fmla="*/ 3030 h 10000"/>
                <a:gd name="connsiteX147" fmla="*/ 9711 w 10000"/>
                <a:gd name="connsiteY147" fmla="*/ 2815 h 10000"/>
                <a:gd name="connsiteX148" fmla="*/ 9763 w 10000"/>
                <a:gd name="connsiteY148" fmla="*/ 2592 h 10000"/>
                <a:gd name="connsiteX149" fmla="*/ 9813 w 10000"/>
                <a:gd name="connsiteY149" fmla="*/ 2369 h 10000"/>
                <a:gd name="connsiteX150" fmla="*/ 9856 w 10000"/>
                <a:gd name="connsiteY150" fmla="*/ 2143 h 10000"/>
                <a:gd name="connsiteX151" fmla="*/ 9898 w 10000"/>
                <a:gd name="connsiteY151" fmla="*/ 1918 h 10000"/>
                <a:gd name="connsiteX152" fmla="*/ 9936 w 10000"/>
                <a:gd name="connsiteY152" fmla="*/ 1690 h 10000"/>
                <a:gd name="connsiteX153" fmla="*/ 9970 w 10000"/>
                <a:gd name="connsiteY153" fmla="*/ 1457 h 10000"/>
                <a:gd name="connsiteX154" fmla="*/ 10000 w 10000"/>
                <a:gd name="connsiteY154" fmla="*/ 1222 h 10000"/>
                <a:gd name="connsiteX155" fmla="*/ 7611 w 10000"/>
                <a:gd name="connsiteY155" fmla="*/ 1876 h 10000"/>
                <a:gd name="connsiteX156" fmla="*/ 5615 w 10000"/>
                <a:gd name="connsiteY156"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2284 w 10000"/>
                <a:gd name="connsiteY67" fmla="*/ 3771 h 10000"/>
                <a:gd name="connsiteX68" fmla="*/ 2179 w 10000"/>
                <a:gd name="connsiteY68" fmla="*/ 3759 h 10000"/>
                <a:gd name="connsiteX69" fmla="*/ 2074 w 10000"/>
                <a:gd name="connsiteY69" fmla="*/ 3741 h 10000"/>
                <a:gd name="connsiteX70" fmla="*/ 1970 w 10000"/>
                <a:gd name="connsiteY70" fmla="*/ 3719 h 10000"/>
                <a:gd name="connsiteX71" fmla="*/ 1867 w 10000"/>
                <a:gd name="connsiteY71" fmla="*/ 3692 h 10000"/>
                <a:gd name="connsiteX72" fmla="*/ 0 w 10000"/>
                <a:gd name="connsiteY72" fmla="*/ 6085 h 10000"/>
                <a:gd name="connsiteX73" fmla="*/ 209 w 10000"/>
                <a:gd name="connsiteY73" fmla="*/ 9512 h 10000"/>
                <a:gd name="connsiteX74" fmla="*/ 344 w 10000"/>
                <a:gd name="connsiteY74" fmla="*/ 9569 h 10000"/>
                <a:gd name="connsiteX75" fmla="*/ 481 w 10000"/>
                <a:gd name="connsiteY75" fmla="*/ 9623 h 10000"/>
                <a:gd name="connsiteX76" fmla="*/ 621 w 10000"/>
                <a:gd name="connsiteY76" fmla="*/ 9673 h 10000"/>
                <a:gd name="connsiteX77" fmla="*/ 758 w 10000"/>
                <a:gd name="connsiteY77" fmla="*/ 9720 h 10000"/>
                <a:gd name="connsiteX78" fmla="*/ 899 w 10000"/>
                <a:gd name="connsiteY78" fmla="*/ 9765 h 10000"/>
                <a:gd name="connsiteX79" fmla="*/ 1040 w 10000"/>
                <a:gd name="connsiteY79" fmla="*/ 9804 h 10000"/>
                <a:gd name="connsiteX80" fmla="*/ 1182 w 10000"/>
                <a:gd name="connsiteY80" fmla="*/ 9839 h 10000"/>
                <a:gd name="connsiteX81" fmla="*/ 1325 w 10000"/>
                <a:gd name="connsiteY81" fmla="*/ 9874 h 10000"/>
                <a:gd name="connsiteX82" fmla="*/ 1471 w 10000"/>
                <a:gd name="connsiteY82" fmla="*/ 9903 h 10000"/>
                <a:gd name="connsiteX83" fmla="*/ 1614 w 10000"/>
                <a:gd name="connsiteY83" fmla="*/ 9926 h 10000"/>
                <a:gd name="connsiteX84" fmla="*/ 1760 w 10000"/>
                <a:gd name="connsiteY84" fmla="*/ 9948 h 10000"/>
                <a:gd name="connsiteX85" fmla="*/ 1906 w 10000"/>
                <a:gd name="connsiteY85" fmla="*/ 9965 h 10000"/>
                <a:gd name="connsiteX86" fmla="*/ 2052 w 10000"/>
                <a:gd name="connsiteY86" fmla="*/ 9980 h 10000"/>
                <a:gd name="connsiteX87" fmla="*/ 2202 w 10000"/>
                <a:gd name="connsiteY87" fmla="*/ 9990 h 10000"/>
                <a:gd name="connsiteX88" fmla="*/ 2350 w 10000"/>
                <a:gd name="connsiteY88" fmla="*/ 9995 h 10000"/>
                <a:gd name="connsiteX89" fmla="*/ 2498 w 10000"/>
                <a:gd name="connsiteY89" fmla="*/ 10000 h 10000"/>
                <a:gd name="connsiteX90" fmla="*/ 2677 w 10000"/>
                <a:gd name="connsiteY90" fmla="*/ 9995 h 10000"/>
                <a:gd name="connsiteX91" fmla="*/ 2850 w 10000"/>
                <a:gd name="connsiteY91" fmla="*/ 9988 h 10000"/>
                <a:gd name="connsiteX92" fmla="*/ 3024 w 10000"/>
                <a:gd name="connsiteY92" fmla="*/ 9975 h 10000"/>
                <a:gd name="connsiteX93" fmla="*/ 3195 w 10000"/>
                <a:gd name="connsiteY93" fmla="*/ 9953 h 10000"/>
                <a:gd name="connsiteX94" fmla="*/ 3368 w 10000"/>
                <a:gd name="connsiteY94" fmla="*/ 9931 h 10000"/>
                <a:gd name="connsiteX95" fmla="*/ 3538 w 10000"/>
                <a:gd name="connsiteY95" fmla="*/ 9898 h 10000"/>
                <a:gd name="connsiteX96" fmla="*/ 3709 w 10000"/>
                <a:gd name="connsiteY96" fmla="*/ 9866 h 10000"/>
                <a:gd name="connsiteX97" fmla="*/ 3877 w 10000"/>
                <a:gd name="connsiteY97" fmla="*/ 9824 h 10000"/>
                <a:gd name="connsiteX98" fmla="*/ 4042 w 10000"/>
                <a:gd name="connsiteY98" fmla="*/ 9779 h 10000"/>
                <a:gd name="connsiteX99" fmla="*/ 4210 w 10000"/>
                <a:gd name="connsiteY99" fmla="*/ 9730 h 10000"/>
                <a:gd name="connsiteX100" fmla="*/ 4372 w 10000"/>
                <a:gd name="connsiteY100" fmla="*/ 9673 h 10000"/>
                <a:gd name="connsiteX101" fmla="*/ 4536 w 10000"/>
                <a:gd name="connsiteY101" fmla="*/ 9616 h 10000"/>
                <a:gd name="connsiteX102" fmla="*/ 4697 w 10000"/>
                <a:gd name="connsiteY102" fmla="*/ 9552 h 10000"/>
                <a:gd name="connsiteX103" fmla="*/ 4857 w 10000"/>
                <a:gd name="connsiteY103" fmla="*/ 9482 h 10000"/>
                <a:gd name="connsiteX104" fmla="*/ 5014 w 10000"/>
                <a:gd name="connsiteY104" fmla="*/ 9405 h 10000"/>
                <a:gd name="connsiteX105" fmla="*/ 5171 w 10000"/>
                <a:gd name="connsiteY105" fmla="*/ 9329 h 10000"/>
                <a:gd name="connsiteX106" fmla="*/ 5326 w 10000"/>
                <a:gd name="connsiteY106" fmla="*/ 9244 h 10000"/>
                <a:gd name="connsiteX107" fmla="*/ 5480 w 10000"/>
                <a:gd name="connsiteY107" fmla="*/ 9158 h 10000"/>
                <a:gd name="connsiteX108" fmla="*/ 5631 w 10000"/>
                <a:gd name="connsiteY108" fmla="*/ 9063 h 10000"/>
                <a:gd name="connsiteX109" fmla="*/ 5781 w 10000"/>
                <a:gd name="connsiteY109" fmla="*/ 8967 h 10000"/>
                <a:gd name="connsiteX110" fmla="*/ 5931 w 10000"/>
                <a:gd name="connsiteY110" fmla="*/ 8865 h 10000"/>
                <a:gd name="connsiteX111" fmla="*/ 6075 w 10000"/>
                <a:gd name="connsiteY111" fmla="*/ 8759 h 10000"/>
                <a:gd name="connsiteX112" fmla="*/ 6221 w 10000"/>
                <a:gd name="connsiteY112" fmla="*/ 8652 h 10000"/>
                <a:gd name="connsiteX113" fmla="*/ 6364 w 10000"/>
                <a:gd name="connsiteY113" fmla="*/ 8536 h 10000"/>
                <a:gd name="connsiteX114" fmla="*/ 6505 w 10000"/>
                <a:gd name="connsiteY114" fmla="*/ 8417 h 10000"/>
                <a:gd name="connsiteX115" fmla="*/ 6642 w 10000"/>
                <a:gd name="connsiteY115" fmla="*/ 8295 h 10000"/>
                <a:gd name="connsiteX116" fmla="*/ 6780 w 10000"/>
                <a:gd name="connsiteY116" fmla="*/ 8169 h 10000"/>
                <a:gd name="connsiteX117" fmla="*/ 6913 w 10000"/>
                <a:gd name="connsiteY117" fmla="*/ 8040 h 10000"/>
                <a:gd name="connsiteX118" fmla="*/ 7045 w 10000"/>
                <a:gd name="connsiteY118" fmla="*/ 7904 h 10000"/>
                <a:gd name="connsiteX119" fmla="*/ 7175 w 10000"/>
                <a:gd name="connsiteY119" fmla="*/ 7768 h 10000"/>
                <a:gd name="connsiteX120" fmla="*/ 7304 w 10000"/>
                <a:gd name="connsiteY120" fmla="*/ 7624 h 10000"/>
                <a:gd name="connsiteX121" fmla="*/ 7429 w 10000"/>
                <a:gd name="connsiteY121" fmla="*/ 7480 h 10000"/>
                <a:gd name="connsiteX122" fmla="*/ 7552 w 10000"/>
                <a:gd name="connsiteY122" fmla="*/ 7329 h 10000"/>
                <a:gd name="connsiteX123" fmla="*/ 7673 w 10000"/>
                <a:gd name="connsiteY123" fmla="*/ 7178 h 10000"/>
                <a:gd name="connsiteX124" fmla="*/ 7792 w 10000"/>
                <a:gd name="connsiteY124" fmla="*/ 7024 h 10000"/>
                <a:gd name="connsiteX125" fmla="*/ 7907 w 10000"/>
                <a:gd name="connsiteY125" fmla="*/ 6861 h 10000"/>
                <a:gd name="connsiteX126" fmla="*/ 8022 w 10000"/>
                <a:gd name="connsiteY126" fmla="*/ 6697 h 10000"/>
                <a:gd name="connsiteX127" fmla="*/ 8133 w 10000"/>
                <a:gd name="connsiteY127" fmla="*/ 6534 h 10000"/>
                <a:gd name="connsiteX128" fmla="*/ 8240 w 10000"/>
                <a:gd name="connsiteY128" fmla="*/ 6365 h 10000"/>
                <a:gd name="connsiteX129" fmla="*/ 8347 w 10000"/>
                <a:gd name="connsiteY129" fmla="*/ 6189 h 10000"/>
                <a:gd name="connsiteX130" fmla="*/ 8450 w 10000"/>
                <a:gd name="connsiteY130" fmla="*/ 6016 h 10000"/>
                <a:gd name="connsiteX131" fmla="*/ 8552 w 10000"/>
                <a:gd name="connsiteY131" fmla="*/ 5835 h 10000"/>
                <a:gd name="connsiteX132" fmla="*/ 8650 w 10000"/>
                <a:gd name="connsiteY132" fmla="*/ 5652 h 10000"/>
                <a:gd name="connsiteX133" fmla="*/ 8745 w 10000"/>
                <a:gd name="connsiteY133" fmla="*/ 5468 h 10000"/>
                <a:gd name="connsiteX134" fmla="*/ 8837 w 10000"/>
                <a:gd name="connsiteY134" fmla="*/ 5278 h 10000"/>
                <a:gd name="connsiteX135" fmla="*/ 8927 w 10000"/>
                <a:gd name="connsiteY135" fmla="*/ 5089 h 10000"/>
                <a:gd name="connsiteX136" fmla="*/ 9014 w 10000"/>
                <a:gd name="connsiteY136" fmla="*/ 4893 h 10000"/>
                <a:gd name="connsiteX137" fmla="*/ 9098 w 10000"/>
                <a:gd name="connsiteY137" fmla="*/ 4698 h 10000"/>
                <a:gd name="connsiteX138" fmla="*/ 9178 w 10000"/>
                <a:gd name="connsiteY138" fmla="*/ 4500 h 10000"/>
                <a:gd name="connsiteX139" fmla="*/ 9256 w 10000"/>
                <a:gd name="connsiteY139" fmla="*/ 4294 h 10000"/>
                <a:gd name="connsiteX140" fmla="*/ 9330 w 10000"/>
                <a:gd name="connsiteY140" fmla="*/ 4091 h 10000"/>
                <a:gd name="connsiteX141" fmla="*/ 9401 w 10000"/>
                <a:gd name="connsiteY141" fmla="*/ 3885 h 10000"/>
                <a:gd name="connsiteX142" fmla="*/ 9470 w 10000"/>
                <a:gd name="connsiteY142" fmla="*/ 3674 h 10000"/>
                <a:gd name="connsiteX143" fmla="*/ 9535 w 10000"/>
                <a:gd name="connsiteY143" fmla="*/ 3464 h 10000"/>
                <a:gd name="connsiteX144" fmla="*/ 9599 w 10000"/>
                <a:gd name="connsiteY144" fmla="*/ 3248 h 10000"/>
                <a:gd name="connsiteX145" fmla="*/ 9656 w 10000"/>
                <a:gd name="connsiteY145" fmla="*/ 3030 h 10000"/>
                <a:gd name="connsiteX146" fmla="*/ 9711 w 10000"/>
                <a:gd name="connsiteY146" fmla="*/ 2815 h 10000"/>
                <a:gd name="connsiteX147" fmla="*/ 9763 w 10000"/>
                <a:gd name="connsiteY147" fmla="*/ 2592 h 10000"/>
                <a:gd name="connsiteX148" fmla="*/ 9813 w 10000"/>
                <a:gd name="connsiteY148" fmla="*/ 2369 h 10000"/>
                <a:gd name="connsiteX149" fmla="*/ 9856 w 10000"/>
                <a:gd name="connsiteY149" fmla="*/ 2143 h 10000"/>
                <a:gd name="connsiteX150" fmla="*/ 9898 w 10000"/>
                <a:gd name="connsiteY150" fmla="*/ 1918 h 10000"/>
                <a:gd name="connsiteX151" fmla="*/ 9936 w 10000"/>
                <a:gd name="connsiteY151" fmla="*/ 1690 h 10000"/>
                <a:gd name="connsiteX152" fmla="*/ 9970 w 10000"/>
                <a:gd name="connsiteY152" fmla="*/ 1457 h 10000"/>
                <a:gd name="connsiteX153" fmla="*/ 10000 w 10000"/>
                <a:gd name="connsiteY153" fmla="*/ 1222 h 10000"/>
                <a:gd name="connsiteX154" fmla="*/ 7611 w 10000"/>
                <a:gd name="connsiteY154" fmla="*/ 1876 h 10000"/>
                <a:gd name="connsiteX155" fmla="*/ 5615 w 10000"/>
                <a:gd name="connsiteY155"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2284 w 10000"/>
                <a:gd name="connsiteY67" fmla="*/ 3771 h 10000"/>
                <a:gd name="connsiteX68" fmla="*/ 2179 w 10000"/>
                <a:gd name="connsiteY68" fmla="*/ 3759 h 10000"/>
                <a:gd name="connsiteX69" fmla="*/ 2074 w 10000"/>
                <a:gd name="connsiteY69" fmla="*/ 3741 h 10000"/>
                <a:gd name="connsiteX70" fmla="*/ 1970 w 10000"/>
                <a:gd name="connsiteY70" fmla="*/ 3719 h 10000"/>
                <a:gd name="connsiteX71" fmla="*/ 0 w 10000"/>
                <a:gd name="connsiteY71" fmla="*/ 6085 h 10000"/>
                <a:gd name="connsiteX72" fmla="*/ 209 w 10000"/>
                <a:gd name="connsiteY72" fmla="*/ 9512 h 10000"/>
                <a:gd name="connsiteX73" fmla="*/ 344 w 10000"/>
                <a:gd name="connsiteY73" fmla="*/ 9569 h 10000"/>
                <a:gd name="connsiteX74" fmla="*/ 481 w 10000"/>
                <a:gd name="connsiteY74" fmla="*/ 9623 h 10000"/>
                <a:gd name="connsiteX75" fmla="*/ 621 w 10000"/>
                <a:gd name="connsiteY75" fmla="*/ 9673 h 10000"/>
                <a:gd name="connsiteX76" fmla="*/ 758 w 10000"/>
                <a:gd name="connsiteY76" fmla="*/ 9720 h 10000"/>
                <a:gd name="connsiteX77" fmla="*/ 899 w 10000"/>
                <a:gd name="connsiteY77" fmla="*/ 9765 h 10000"/>
                <a:gd name="connsiteX78" fmla="*/ 1040 w 10000"/>
                <a:gd name="connsiteY78" fmla="*/ 9804 h 10000"/>
                <a:gd name="connsiteX79" fmla="*/ 1182 w 10000"/>
                <a:gd name="connsiteY79" fmla="*/ 9839 h 10000"/>
                <a:gd name="connsiteX80" fmla="*/ 1325 w 10000"/>
                <a:gd name="connsiteY80" fmla="*/ 9874 h 10000"/>
                <a:gd name="connsiteX81" fmla="*/ 1471 w 10000"/>
                <a:gd name="connsiteY81" fmla="*/ 9903 h 10000"/>
                <a:gd name="connsiteX82" fmla="*/ 1614 w 10000"/>
                <a:gd name="connsiteY82" fmla="*/ 9926 h 10000"/>
                <a:gd name="connsiteX83" fmla="*/ 1760 w 10000"/>
                <a:gd name="connsiteY83" fmla="*/ 9948 h 10000"/>
                <a:gd name="connsiteX84" fmla="*/ 1906 w 10000"/>
                <a:gd name="connsiteY84" fmla="*/ 9965 h 10000"/>
                <a:gd name="connsiteX85" fmla="*/ 2052 w 10000"/>
                <a:gd name="connsiteY85" fmla="*/ 9980 h 10000"/>
                <a:gd name="connsiteX86" fmla="*/ 2202 w 10000"/>
                <a:gd name="connsiteY86" fmla="*/ 9990 h 10000"/>
                <a:gd name="connsiteX87" fmla="*/ 2350 w 10000"/>
                <a:gd name="connsiteY87" fmla="*/ 9995 h 10000"/>
                <a:gd name="connsiteX88" fmla="*/ 2498 w 10000"/>
                <a:gd name="connsiteY88" fmla="*/ 10000 h 10000"/>
                <a:gd name="connsiteX89" fmla="*/ 2677 w 10000"/>
                <a:gd name="connsiteY89" fmla="*/ 9995 h 10000"/>
                <a:gd name="connsiteX90" fmla="*/ 2850 w 10000"/>
                <a:gd name="connsiteY90" fmla="*/ 9988 h 10000"/>
                <a:gd name="connsiteX91" fmla="*/ 3024 w 10000"/>
                <a:gd name="connsiteY91" fmla="*/ 9975 h 10000"/>
                <a:gd name="connsiteX92" fmla="*/ 3195 w 10000"/>
                <a:gd name="connsiteY92" fmla="*/ 9953 h 10000"/>
                <a:gd name="connsiteX93" fmla="*/ 3368 w 10000"/>
                <a:gd name="connsiteY93" fmla="*/ 9931 h 10000"/>
                <a:gd name="connsiteX94" fmla="*/ 3538 w 10000"/>
                <a:gd name="connsiteY94" fmla="*/ 9898 h 10000"/>
                <a:gd name="connsiteX95" fmla="*/ 3709 w 10000"/>
                <a:gd name="connsiteY95" fmla="*/ 9866 h 10000"/>
                <a:gd name="connsiteX96" fmla="*/ 3877 w 10000"/>
                <a:gd name="connsiteY96" fmla="*/ 9824 h 10000"/>
                <a:gd name="connsiteX97" fmla="*/ 4042 w 10000"/>
                <a:gd name="connsiteY97" fmla="*/ 9779 h 10000"/>
                <a:gd name="connsiteX98" fmla="*/ 4210 w 10000"/>
                <a:gd name="connsiteY98" fmla="*/ 9730 h 10000"/>
                <a:gd name="connsiteX99" fmla="*/ 4372 w 10000"/>
                <a:gd name="connsiteY99" fmla="*/ 9673 h 10000"/>
                <a:gd name="connsiteX100" fmla="*/ 4536 w 10000"/>
                <a:gd name="connsiteY100" fmla="*/ 9616 h 10000"/>
                <a:gd name="connsiteX101" fmla="*/ 4697 w 10000"/>
                <a:gd name="connsiteY101" fmla="*/ 9552 h 10000"/>
                <a:gd name="connsiteX102" fmla="*/ 4857 w 10000"/>
                <a:gd name="connsiteY102" fmla="*/ 9482 h 10000"/>
                <a:gd name="connsiteX103" fmla="*/ 5014 w 10000"/>
                <a:gd name="connsiteY103" fmla="*/ 9405 h 10000"/>
                <a:gd name="connsiteX104" fmla="*/ 5171 w 10000"/>
                <a:gd name="connsiteY104" fmla="*/ 9329 h 10000"/>
                <a:gd name="connsiteX105" fmla="*/ 5326 w 10000"/>
                <a:gd name="connsiteY105" fmla="*/ 9244 h 10000"/>
                <a:gd name="connsiteX106" fmla="*/ 5480 w 10000"/>
                <a:gd name="connsiteY106" fmla="*/ 9158 h 10000"/>
                <a:gd name="connsiteX107" fmla="*/ 5631 w 10000"/>
                <a:gd name="connsiteY107" fmla="*/ 9063 h 10000"/>
                <a:gd name="connsiteX108" fmla="*/ 5781 w 10000"/>
                <a:gd name="connsiteY108" fmla="*/ 8967 h 10000"/>
                <a:gd name="connsiteX109" fmla="*/ 5931 w 10000"/>
                <a:gd name="connsiteY109" fmla="*/ 8865 h 10000"/>
                <a:gd name="connsiteX110" fmla="*/ 6075 w 10000"/>
                <a:gd name="connsiteY110" fmla="*/ 8759 h 10000"/>
                <a:gd name="connsiteX111" fmla="*/ 6221 w 10000"/>
                <a:gd name="connsiteY111" fmla="*/ 8652 h 10000"/>
                <a:gd name="connsiteX112" fmla="*/ 6364 w 10000"/>
                <a:gd name="connsiteY112" fmla="*/ 8536 h 10000"/>
                <a:gd name="connsiteX113" fmla="*/ 6505 w 10000"/>
                <a:gd name="connsiteY113" fmla="*/ 8417 h 10000"/>
                <a:gd name="connsiteX114" fmla="*/ 6642 w 10000"/>
                <a:gd name="connsiteY114" fmla="*/ 8295 h 10000"/>
                <a:gd name="connsiteX115" fmla="*/ 6780 w 10000"/>
                <a:gd name="connsiteY115" fmla="*/ 8169 h 10000"/>
                <a:gd name="connsiteX116" fmla="*/ 6913 w 10000"/>
                <a:gd name="connsiteY116" fmla="*/ 8040 h 10000"/>
                <a:gd name="connsiteX117" fmla="*/ 7045 w 10000"/>
                <a:gd name="connsiteY117" fmla="*/ 7904 h 10000"/>
                <a:gd name="connsiteX118" fmla="*/ 7175 w 10000"/>
                <a:gd name="connsiteY118" fmla="*/ 7768 h 10000"/>
                <a:gd name="connsiteX119" fmla="*/ 7304 w 10000"/>
                <a:gd name="connsiteY119" fmla="*/ 7624 h 10000"/>
                <a:gd name="connsiteX120" fmla="*/ 7429 w 10000"/>
                <a:gd name="connsiteY120" fmla="*/ 7480 h 10000"/>
                <a:gd name="connsiteX121" fmla="*/ 7552 w 10000"/>
                <a:gd name="connsiteY121" fmla="*/ 7329 h 10000"/>
                <a:gd name="connsiteX122" fmla="*/ 7673 w 10000"/>
                <a:gd name="connsiteY122" fmla="*/ 7178 h 10000"/>
                <a:gd name="connsiteX123" fmla="*/ 7792 w 10000"/>
                <a:gd name="connsiteY123" fmla="*/ 7024 h 10000"/>
                <a:gd name="connsiteX124" fmla="*/ 7907 w 10000"/>
                <a:gd name="connsiteY124" fmla="*/ 6861 h 10000"/>
                <a:gd name="connsiteX125" fmla="*/ 8022 w 10000"/>
                <a:gd name="connsiteY125" fmla="*/ 6697 h 10000"/>
                <a:gd name="connsiteX126" fmla="*/ 8133 w 10000"/>
                <a:gd name="connsiteY126" fmla="*/ 6534 h 10000"/>
                <a:gd name="connsiteX127" fmla="*/ 8240 w 10000"/>
                <a:gd name="connsiteY127" fmla="*/ 6365 h 10000"/>
                <a:gd name="connsiteX128" fmla="*/ 8347 w 10000"/>
                <a:gd name="connsiteY128" fmla="*/ 6189 h 10000"/>
                <a:gd name="connsiteX129" fmla="*/ 8450 w 10000"/>
                <a:gd name="connsiteY129" fmla="*/ 6016 h 10000"/>
                <a:gd name="connsiteX130" fmla="*/ 8552 w 10000"/>
                <a:gd name="connsiteY130" fmla="*/ 5835 h 10000"/>
                <a:gd name="connsiteX131" fmla="*/ 8650 w 10000"/>
                <a:gd name="connsiteY131" fmla="*/ 5652 h 10000"/>
                <a:gd name="connsiteX132" fmla="*/ 8745 w 10000"/>
                <a:gd name="connsiteY132" fmla="*/ 5468 h 10000"/>
                <a:gd name="connsiteX133" fmla="*/ 8837 w 10000"/>
                <a:gd name="connsiteY133" fmla="*/ 5278 h 10000"/>
                <a:gd name="connsiteX134" fmla="*/ 8927 w 10000"/>
                <a:gd name="connsiteY134" fmla="*/ 5089 h 10000"/>
                <a:gd name="connsiteX135" fmla="*/ 9014 w 10000"/>
                <a:gd name="connsiteY135" fmla="*/ 4893 h 10000"/>
                <a:gd name="connsiteX136" fmla="*/ 9098 w 10000"/>
                <a:gd name="connsiteY136" fmla="*/ 4698 h 10000"/>
                <a:gd name="connsiteX137" fmla="*/ 9178 w 10000"/>
                <a:gd name="connsiteY137" fmla="*/ 4500 h 10000"/>
                <a:gd name="connsiteX138" fmla="*/ 9256 w 10000"/>
                <a:gd name="connsiteY138" fmla="*/ 4294 h 10000"/>
                <a:gd name="connsiteX139" fmla="*/ 9330 w 10000"/>
                <a:gd name="connsiteY139" fmla="*/ 4091 h 10000"/>
                <a:gd name="connsiteX140" fmla="*/ 9401 w 10000"/>
                <a:gd name="connsiteY140" fmla="*/ 3885 h 10000"/>
                <a:gd name="connsiteX141" fmla="*/ 9470 w 10000"/>
                <a:gd name="connsiteY141" fmla="*/ 3674 h 10000"/>
                <a:gd name="connsiteX142" fmla="*/ 9535 w 10000"/>
                <a:gd name="connsiteY142" fmla="*/ 3464 h 10000"/>
                <a:gd name="connsiteX143" fmla="*/ 9599 w 10000"/>
                <a:gd name="connsiteY143" fmla="*/ 3248 h 10000"/>
                <a:gd name="connsiteX144" fmla="*/ 9656 w 10000"/>
                <a:gd name="connsiteY144" fmla="*/ 3030 h 10000"/>
                <a:gd name="connsiteX145" fmla="*/ 9711 w 10000"/>
                <a:gd name="connsiteY145" fmla="*/ 2815 h 10000"/>
                <a:gd name="connsiteX146" fmla="*/ 9763 w 10000"/>
                <a:gd name="connsiteY146" fmla="*/ 2592 h 10000"/>
                <a:gd name="connsiteX147" fmla="*/ 9813 w 10000"/>
                <a:gd name="connsiteY147" fmla="*/ 2369 h 10000"/>
                <a:gd name="connsiteX148" fmla="*/ 9856 w 10000"/>
                <a:gd name="connsiteY148" fmla="*/ 2143 h 10000"/>
                <a:gd name="connsiteX149" fmla="*/ 9898 w 10000"/>
                <a:gd name="connsiteY149" fmla="*/ 1918 h 10000"/>
                <a:gd name="connsiteX150" fmla="*/ 9936 w 10000"/>
                <a:gd name="connsiteY150" fmla="*/ 1690 h 10000"/>
                <a:gd name="connsiteX151" fmla="*/ 9970 w 10000"/>
                <a:gd name="connsiteY151" fmla="*/ 1457 h 10000"/>
                <a:gd name="connsiteX152" fmla="*/ 10000 w 10000"/>
                <a:gd name="connsiteY152" fmla="*/ 1222 h 10000"/>
                <a:gd name="connsiteX153" fmla="*/ 7611 w 10000"/>
                <a:gd name="connsiteY153" fmla="*/ 1876 h 10000"/>
                <a:gd name="connsiteX154" fmla="*/ 5615 w 10000"/>
                <a:gd name="connsiteY154"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2284 w 10000"/>
                <a:gd name="connsiteY67" fmla="*/ 3771 h 10000"/>
                <a:gd name="connsiteX68" fmla="*/ 2179 w 10000"/>
                <a:gd name="connsiteY68" fmla="*/ 3759 h 10000"/>
                <a:gd name="connsiteX69" fmla="*/ 2074 w 10000"/>
                <a:gd name="connsiteY69" fmla="*/ 3741 h 10000"/>
                <a:gd name="connsiteX70" fmla="*/ 0 w 10000"/>
                <a:gd name="connsiteY70" fmla="*/ 6085 h 10000"/>
                <a:gd name="connsiteX71" fmla="*/ 209 w 10000"/>
                <a:gd name="connsiteY71" fmla="*/ 9512 h 10000"/>
                <a:gd name="connsiteX72" fmla="*/ 344 w 10000"/>
                <a:gd name="connsiteY72" fmla="*/ 9569 h 10000"/>
                <a:gd name="connsiteX73" fmla="*/ 481 w 10000"/>
                <a:gd name="connsiteY73" fmla="*/ 9623 h 10000"/>
                <a:gd name="connsiteX74" fmla="*/ 621 w 10000"/>
                <a:gd name="connsiteY74" fmla="*/ 9673 h 10000"/>
                <a:gd name="connsiteX75" fmla="*/ 758 w 10000"/>
                <a:gd name="connsiteY75" fmla="*/ 9720 h 10000"/>
                <a:gd name="connsiteX76" fmla="*/ 899 w 10000"/>
                <a:gd name="connsiteY76" fmla="*/ 9765 h 10000"/>
                <a:gd name="connsiteX77" fmla="*/ 1040 w 10000"/>
                <a:gd name="connsiteY77" fmla="*/ 9804 h 10000"/>
                <a:gd name="connsiteX78" fmla="*/ 1182 w 10000"/>
                <a:gd name="connsiteY78" fmla="*/ 9839 h 10000"/>
                <a:gd name="connsiteX79" fmla="*/ 1325 w 10000"/>
                <a:gd name="connsiteY79" fmla="*/ 9874 h 10000"/>
                <a:gd name="connsiteX80" fmla="*/ 1471 w 10000"/>
                <a:gd name="connsiteY80" fmla="*/ 9903 h 10000"/>
                <a:gd name="connsiteX81" fmla="*/ 1614 w 10000"/>
                <a:gd name="connsiteY81" fmla="*/ 9926 h 10000"/>
                <a:gd name="connsiteX82" fmla="*/ 1760 w 10000"/>
                <a:gd name="connsiteY82" fmla="*/ 9948 h 10000"/>
                <a:gd name="connsiteX83" fmla="*/ 1906 w 10000"/>
                <a:gd name="connsiteY83" fmla="*/ 9965 h 10000"/>
                <a:gd name="connsiteX84" fmla="*/ 2052 w 10000"/>
                <a:gd name="connsiteY84" fmla="*/ 9980 h 10000"/>
                <a:gd name="connsiteX85" fmla="*/ 2202 w 10000"/>
                <a:gd name="connsiteY85" fmla="*/ 9990 h 10000"/>
                <a:gd name="connsiteX86" fmla="*/ 2350 w 10000"/>
                <a:gd name="connsiteY86" fmla="*/ 9995 h 10000"/>
                <a:gd name="connsiteX87" fmla="*/ 2498 w 10000"/>
                <a:gd name="connsiteY87" fmla="*/ 10000 h 10000"/>
                <a:gd name="connsiteX88" fmla="*/ 2677 w 10000"/>
                <a:gd name="connsiteY88" fmla="*/ 9995 h 10000"/>
                <a:gd name="connsiteX89" fmla="*/ 2850 w 10000"/>
                <a:gd name="connsiteY89" fmla="*/ 9988 h 10000"/>
                <a:gd name="connsiteX90" fmla="*/ 3024 w 10000"/>
                <a:gd name="connsiteY90" fmla="*/ 9975 h 10000"/>
                <a:gd name="connsiteX91" fmla="*/ 3195 w 10000"/>
                <a:gd name="connsiteY91" fmla="*/ 9953 h 10000"/>
                <a:gd name="connsiteX92" fmla="*/ 3368 w 10000"/>
                <a:gd name="connsiteY92" fmla="*/ 9931 h 10000"/>
                <a:gd name="connsiteX93" fmla="*/ 3538 w 10000"/>
                <a:gd name="connsiteY93" fmla="*/ 9898 h 10000"/>
                <a:gd name="connsiteX94" fmla="*/ 3709 w 10000"/>
                <a:gd name="connsiteY94" fmla="*/ 9866 h 10000"/>
                <a:gd name="connsiteX95" fmla="*/ 3877 w 10000"/>
                <a:gd name="connsiteY95" fmla="*/ 9824 h 10000"/>
                <a:gd name="connsiteX96" fmla="*/ 4042 w 10000"/>
                <a:gd name="connsiteY96" fmla="*/ 9779 h 10000"/>
                <a:gd name="connsiteX97" fmla="*/ 4210 w 10000"/>
                <a:gd name="connsiteY97" fmla="*/ 9730 h 10000"/>
                <a:gd name="connsiteX98" fmla="*/ 4372 w 10000"/>
                <a:gd name="connsiteY98" fmla="*/ 9673 h 10000"/>
                <a:gd name="connsiteX99" fmla="*/ 4536 w 10000"/>
                <a:gd name="connsiteY99" fmla="*/ 9616 h 10000"/>
                <a:gd name="connsiteX100" fmla="*/ 4697 w 10000"/>
                <a:gd name="connsiteY100" fmla="*/ 9552 h 10000"/>
                <a:gd name="connsiteX101" fmla="*/ 4857 w 10000"/>
                <a:gd name="connsiteY101" fmla="*/ 9482 h 10000"/>
                <a:gd name="connsiteX102" fmla="*/ 5014 w 10000"/>
                <a:gd name="connsiteY102" fmla="*/ 9405 h 10000"/>
                <a:gd name="connsiteX103" fmla="*/ 5171 w 10000"/>
                <a:gd name="connsiteY103" fmla="*/ 9329 h 10000"/>
                <a:gd name="connsiteX104" fmla="*/ 5326 w 10000"/>
                <a:gd name="connsiteY104" fmla="*/ 9244 h 10000"/>
                <a:gd name="connsiteX105" fmla="*/ 5480 w 10000"/>
                <a:gd name="connsiteY105" fmla="*/ 9158 h 10000"/>
                <a:gd name="connsiteX106" fmla="*/ 5631 w 10000"/>
                <a:gd name="connsiteY106" fmla="*/ 9063 h 10000"/>
                <a:gd name="connsiteX107" fmla="*/ 5781 w 10000"/>
                <a:gd name="connsiteY107" fmla="*/ 8967 h 10000"/>
                <a:gd name="connsiteX108" fmla="*/ 5931 w 10000"/>
                <a:gd name="connsiteY108" fmla="*/ 8865 h 10000"/>
                <a:gd name="connsiteX109" fmla="*/ 6075 w 10000"/>
                <a:gd name="connsiteY109" fmla="*/ 8759 h 10000"/>
                <a:gd name="connsiteX110" fmla="*/ 6221 w 10000"/>
                <a:gd name="connsiteY110" fmla="*/ 8652 h 10000"/>
                <a:gd name="connsiteX111" fmla="*/ 6364 w 10000"/>
                <a:gd name="connsiteY111" fmla="*/ 8536 h 10000"/>
                <a:gd name="connsiteX112" fmla="*/ 6505 w 10000"/>
                <a:gd name="connsiteY112" fmla="*/ 8417 h 10000"/>
                <a:gd name="connsiteX113" fmla="*/ 6642 w 10000"/>
                <a:gd name="connsiteY113" fmla="*/ 8295 h 10000"/>
                <a:gd name="connsiteX114" fmla="*/ 6780 w 10000"/>
                <a:gd name="connsiteY114" fmla="*/ 8169 h 10000"/>
                <a:gd name="connsiteX115" fmla="*/ 6913 w 10000"/>
                <a:gd name="connsiteY115" fmla="*/ 8040 h 10000"/>
                <a:gd name="connsiteX116" fmla="*/ 7045 w 10000"/>
                <a:gd name="connsiteY116" fmla="*/ 7904 h 10000"/>
                <a:gd name="connsiteX117" fmla="*/ 7175 w 10000"/>
                <a:gd name="connsiteY117" fmla="*/ 7768 h 10000"/>
                <a:gd name="connsiteX118" fmla="*/ 7304 w 10000"/>
                <a:gd name="connsiteY118" fmla="*/ 7624 h 10000"/>
                <a:gd name="connsiteX119" fmla="*/ 7429 w 10000"/>
                <a:gd name="connsiteY119" fmla="*/ 7480 h 10000"/>
                <a:gd name="connsiteX120" fmla="*/ 7552 w 10000"/>
                <a:gd name="connsiteY120" fmla="*/ 7329 h 10000"/>
                <a:gd name="connsiteX121" fmla="*/ 7673 w 10000"/>
                <a:gd name="connsiteY121" fmla="*/ 7178 h 10000"/>
                <a:gd name="connsiteX122" fmla="*/ 7792 w 10000"/>
                <a:gd name="connsiteY122" fmla="*/ 7024 h 10000"/>
                <a:gd name="connsiteX123" fmla="*/ 7907 w 10000"/>
                <a:gd name="connsiteY123" fmla="*/ 6861 h 10000"/>
                <a:gd name="connsiteX124" fmla="*/ 8022 w 10000"/>
                <a:gd name="connsiteY124" fmla="*/ 6697 h 10000"/>
                <a:gd name="connsiteX125" fmla="*/ 8133 w 10000"/>
                <a:gd name="connsiteY125" fmla="*/ 6534 h 10000"/>
                <a:gd name="connsiteX126" fmla="*/ 8240 w 10000"/>
                <a:gd name="connsiteY126" fmla="*/ 6365 h 10000"/>
                <a:gd name="connsiteX127" fmla="*/ 8347 w 10000"/>
                <a:gd name="connsiteY127" fmla="*/ 6189 h 10000"/>
                <a:gd name="connsiteX128" fmla="*/ 8450 w 10000"/>
                <a:gd name="connsiteY128" fmla="*/ 6016 h 10000"/>
                <a:gd name="connsiteX129" fmla="*/ 8552 w 10000"/>
                <a:gd name="connsiteY129" fmla="*/ 5835 h 10000"/>
                <a:gd name="connsiteX130" fmla="*/ 8650 w 10000"/>
                <a:gd name="connsiteY130" fmla="*/ 5652 h 10000"/>
                <a:gd name="connsiteX131" fmla="*/ 8745 w 10000"/>
                <a:gd name="connsiteY131" fmla="*/ 5468 h 10000"/>
                <a:gd name="connsiteX132" fmla="*/ 8837 w 10000"/>
                <a:gd name="connsiteY132" fmla="*/ 5278 h 10000"/>
                <a:gd name="connsiteX133" fmla="*/ 8927 w 10000"/>
                <a:gd name="connsiteY133" fmla="*/ 5089 h 10000"/>
                <a:gd name="connsiteX134" fmla="*/ 9014 w 10000"/>
                <a:gd name="connsiteY134" fmla="*/ 4893 h 10000"/>
                <a:gd name="connsiteX135" fmla="*/ 9098 w 10000"/>
                <a:gd name="connsiteY135" fmla="*/ 4698 h 10000"/>
                <a:gd name="connsiteX136" fmla="*/ 9178 w 10000"/>
                <a:gd name="connsiteY136" fmla="*/ 4500 h 10000"/>
                <a:gd name="connsiteX137" fmla="*/ 9256 w 10000"/>
                <a:gd name="connsiteY137" fmla="*/ 4294 h 10000"/>
                <a:gd name="connsiteX138" fmla="*/ 9330 w 10000"/>
                <a:gd name="connsiteY138" fmla="*/ 4091 h 10000"/>
                <a:gd name="connsiteX139" fmla="*/ 9401 w 10000"/>
                <a:gd name="connsiteY139" fmla="*/ 3885 h 10000"/>
                <a:gd name="connsiteX140" fmla="*/ 9470 w 10000"/>
                <a:gd name="connsiteY140" fmla="*/ 3674 h 10000"/>
                <a:gd name="connsiteX141" fmla="*/ 9535 w 10000"/>
                <a:gd name="connsiteY141" fmla="*/ 3464 h 10000"/>
                <a:gd name="connsiteX142" fmla="*/ 9599 w 10000"/>
                <a:gd name="connsiteY142" fmla="*/ 3248 h 10000"/>
                <a:gd name="connsiteX143" fmla="*/ 9656 w 10000"/>
                <a:gd name="connsiteY143" fmla="*/ 3030 h 10000"/>
                <a:gd name="connsiteX144" fmla="*/ 9711 w 10000"/>
                <a:gd name="connsiteY144" fmla="*/ 2815 h 10000"/>
                <a:gd name="connsiteX145" fmla="*/ 9763 w 10000"/>
                <a:gd name="connsiteY145" fmla="*/ 2592 h 10000"/>
                <a:gd name="connsiteX146" fmla="*/ 9813 w 10000"/>
                <a:gd name="connsiteY146" fmla="*/ 2369 h 10000"/>
                <a:gd name="connsiteX147" fmla="*/ 9856 w 10000"/>
                <a:gd name="connsiteY147" fmla="*/ 2143 h 10000"/>
                <a:gd name="connsiteX148" fmla="*/ 9898 w 10000"/>
                <a:gd name="connsiteY148" fmla="*/ 1918 h 10000"/>
                <a:gd name="connsiteX149" fmla="*/ 9936 w 10000"/>
                <a:gd name="connsiteY149" fmla="*/ 1690 h 10000"/>
                <a:gd name="connsiteX150" fmla="*/ 9970 w 10000"/>
                <a:gd name="connsiteY150" fmla="*/ 1457 h 10000"/>
                <a:gd name="connsiteX151" fmla="*/ 10000 w 10000"/>
                <a:gd name="connsiteY151" fmla="*/ 1222 h 10000"/>
                <a:gd name="connsiteX152" fmla="*/ 7611 w 10000"/>
                <a:gd name="connsiteY152" fmla="*/ 1876 h 10000"/>
                <a:gd name="connsiteX153" fmla="*/ 5615 w 10000"/>
                <a:gd name="connsiteY153"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2284 w 10000"/>
                <a:gd name="connsiteY67" fmla="*/ 3771 h 10000"/>
                <a:gd name="connsiteX68" fmla="*/ 2179 w 10000"/>
                <a:gd name="connsiteY68" fmla="*/ 3759 h 10000"/>
                <a:gd name="connsiteX69" fmla="*/ 0 w 10000"/>
                <a:gd name="connsiteY69" fmla="*/ 6085 h 10000"/>
                <a:gd name="connsiteX70" fmla="*/ 209 w 10000"/>
                <a:gd name="connsiteY70" fmla="*/ 9512 h 10000"/>
                <a:gd name="connsiteX71" fmla="*/ 344 w 10000"/>
                <a:gd name="connsiteY71" fmla="*/ 9569 h 10000"/>
                <a:gd name="connsiteX72" fmla="*/ 481 w 10000"/>
                <a:gd name="connsiteY72" fmla="*/ 9623 h 10000"/>
                <a:gd name="connsiteX73" fmla="*/ 621 w 10000"/>
                <a:gd name="connsiteY73" fmla="*/ 9673 h 10000"/>
                <a:gd name="connsiteX74" fmla="*/ 758 w 10000"/>
                <a:gd name="connsiteY74" fmla="*/ 9720 h 10000"/>
                <a:gd name="connsiteX75" fmla="*/ 899 w 10000"/>
                <a:gd name="connsiteY75" fmla="*/ 9765 h 10000"/>
                <a:gd name="connsiteX76" fmla="*/ 1040 w 10000"/>
                <a:gd name="connsiteY76" fmla="*/ 9804 h 10000"/>
                <a:gd name="connsiteX77" fmla="*/ 1182 w 10000"/>
                <a:gd name="connsiteY77" fmla="*/ 9839 h 10000"/>
                <a:gd name="connsiteX78" fmla="*/ 1325 w 10000"/>
                <a:gd name="connsiteY78" fmla="*/ 9874 h 10000"/>
                <a:gd name="connsiteX79" fmla="*/ 1471 w 10000"/>
                <a:gd name="connsiteY79" fmla="*/ 9903 h 10000"/>
                <a:gd name="connsiteX80" fmla="*/ 1614 w 10000"/>
                <a:gd name="connsiteY80" fmla="*/ 9926 h 10000"/>
                <a:gd name="connsiteX81" fmla="*/ 1760 w 10000"/>
                <a:gd name="connsiteY81" fmla="*/ 9948 h 10000"/>
                <a:gd name="connsiteX82" fmla="*/ 1906 w 10000"/>
                <a:gd name="connsiteY82" fmla="*/ 9965 h 10000"/>
                <a:gd name="connsiteX83" fmla="*/ 2052 w 10000"/>
                <a:gd name="connsiteY83" fmla="*/ 9980 h 10000"/>
                <a:gd name="connsiteX84" fmla="*/ 2202 w 10000"/>
                <a:gd name="connsiteY84" fmla="*/ 9990 h 10000"/>
                <a:gd name="connsiteX85" fmla="*/ 2350 w 10000"/>
                <a:gd name="connsiteY85" fmla="*/ 9995 h 10000"/>
                <a:gd name="connsiteX86" fmla="*/ 2498 w 10000"/>
                <a:gd name="connsiteY86" fmla="*/ 10000 h 10000"/>
                <a:gd name="connsiteX87" fmla="*/ 2677 w 10000"/>
                <a:gd name="connsiteY87" fmla="*/ 9995 h 10000"/>
                <a:gd name="connsiteX88" fmla="*/ 2850 w 10000"/>
                <a:gd name="connsiteY88" fmla="*/ 9988 h 10000"/>
                <a:gd name="connsiteX89" fmla="*/ 3024 w 10000"/>
                <a:gd name="connsiteY89" fmla="*/ 9975 h 10000"/>
                <a:gd name="connsiteX90" fmla="*/ 3195 w 10000"/>
                <a:gd name="connsiteY90" fmla="*/ 9953 h 10000"/>
                <a:gd name="connsiteX91" fmla="*/ 3368 w 10000"/>
                <a:gd name="connsiteY91" fmla="*/ 9931 h 10000"/>
                <a:gd name="connsiteX92" fmla="*/ 3538 w 10000"/>
                <a:gd name="connsiteY92" fmla="*/ 9898 h 10000"/>
                <a:gd name="connsiteX93" fmla="*/ 3709 w 10000"/>
                <a:gd name="connsiteY93" fmla="*/ 9866 h 10000"/>
                <a:gd name="connsiteX94" fmla="*/ 3877 w 10000"/>
                <a:gd name="connsiteY94" fmla="*/ 9824 h 10000"/>
                <a:gd name="connsiteX95" fmla="*/ 4042 w 10000"/>
                <a:gd name="connsiteY95" fmla="*/ 9779 h 10000"/>
                <a:gd name="connsiteX96" fmla="*/ 4210 w 10000"/>
                <a:gd name="connsiteY96" fmla="*/ 9730 h 10000"/>
                <a:gd name="connsiteX97" fmla="*/ 4372 w 10000"/>
                <a:gd name="connsiteY97" fmla="*/ 9673 h 10000"/>
                <a:gd name="connsiteX98" fmla="*/ 4536 w 10000"/>
                <a:gd name="connsiteY98" fmla="*/ 9616 h 10000"/>
                <a:gd name="connsiteX99" fmla="*/ 4697 w 10000"/>
                <a:gd name="connsiteY99" fmla="*/ 9552 h 10000"/>
                <a:gd name="connsiteX100" fmla="*/ 4857 w 10000"/>
                <a:gd name="connsiteY100" fmla="*/ 9482 h 10000"/>
                <a:gd name="connsiteX101" fmla="*/ 5014 w 10000"/>
                <a:gd name="connsiteY101" fmla="*/ 9405 h 10000"/>
                <a:gd name="connsiteX102" fmla="*/ 5171 w 10000"/>
                <a:gd name="connsiteY102" fmla="*/ 9329 h 10000"/>
                <a:gd name="connsiteX103" fmla="*/ 5326 w 10000"/>
                <a:gd name="connsiteY103" fmla="*/ 9244 h 10000"/>
                <a:gd name="connsiteX104" fmla="*/ 5480 w 10000"/>
                <a:gd name="connsiteY104" fmla="*/ 9158 h 10000"/>
                <a:gd name="connsiteX105" fmla="*/ 5631 w 10000"/>
                <a:gd name="connsiteY105" fmla="*/ 9063 h 10000"/>
                <a:gd name="connsiteX106" fmla="*/ 5781 w 10000"/>
                <a:gd name="connsiteY106" fmla="*/ 8967 h 10000"/>
                <a:gd name="connsiteX107" fmla="*/ 5931 w 10000"/>
                <a:gd name="connsiteY107" fmla="*/ 8865 h 10000"/>
                <a:gd name="connsiteX108" fmla="*/ 6075 w 10000"/>
                <a:gd name="connsiteY108" fmla="*/ 8759 h 10000"/>
                <a:gd name="connsiteX109" fmla="*/ 6221 w 10000"/>
                <a:gd name="connsiteY109" fmla="*/ 8652 h 10000"/>
                <a:gd name="connsiteX110" fmla="*/ 6364 w 10000"/>
                <a:gd name="connsiteY110" fmla="*/ 8536 h 10000"/>
                <a:gd name="connsiteX111" fmla="*/ 6505 w 10000"/>
                <a:gd name="connsiteY111" fmla="*/ 8417 h 10000"/>
                <a:gd name="connsiteX112" fmla="*/ 6642 w 10000"/>
                <a:gd name="connsiteY112" fmla="*/ 8295 h 10000"/>
                <a:gd name="connsiteX113" fmla="*/ 6780 w 10000"/>
                <a:gd name="connsiteY113" fmla="*/ 8169 h 10000"/>
                <a:gd name="connsiteX114" fmla="*/ 6913 w 10000"/>
                <a:gd name="connsiteY114" fmla="*/ 8040 h 10000"/>
                <a:gd name="connsiteX115" fmla="*/ 7045 w 10000"/>
                <a:gd name="connsiteY115" fmla="*/ 7904 h 10000"/>
                <a:gd name="connsiteX116" fmla="*/ 7175 w 10000"/>
                <a:gd name="connsiteY116" fmla="*/ 7768 h 10000"/>
                <a:gd name="connsiteX117" fmla="*/ 7304 w 10000"/>
                <a:gd name="connsiteY117" fmla="*/ 7624 h 10000"/>
                <a:gd name="connsiteX118" fmla="*/ 7429 w 10000"/>
                <a:gd name="connsiteY118" fmla="*/ 7480 h 10000"/>
                <a:gd name="connsiteX119" fmla="*/ 7552 w 10000"/>
                <a:gd name="connsiteY119" fmla="*/ 7329 h 10000"/>
                <a:gd name="connsiteX120" fmla="*/ 7673 w 10000"/>
                <a:gd name="connsiteY120" fmla="*/ 7178 h 10000"/>
                <a:gd name="connsiteX121" fmla="*/ 7792 w 10000"/>
                <a:gd name="connsiteY121" fmla="*/ 7024 h 10000"/>
                <a:gd name="connsiteX122" fmla="*/ 7907 w 10000"/>
                <a:gd name="connsiteY122" fmla="*/ 6861 h 10000"/>
                <a:gd name="connsiteX123" fmla="*/ 8022 w 10000"/>
                <a:gd name="connsiteY123" fmla="*/ 6697 h 10000"/>
                <a:gd name="connsiteX124" fmla="*/ 8133 w 10000"/>
                <a:gd name="connsiteY124" fmla="*/ 6534 h 10000"/>
                <a:gd name="connsiteX125" fmla="*/ 8240 w 10000"/>
                <a:gd name="connsiteY125" fmla="*/ 6365 h 10000"/>
                <a:gd name="connsiteX126" fmla="*/ 8347 w 10000"/>
                <a:gd name="connsiteY126" fmla="*/ 6189 h 10000"/>
                <a:gd name="connsiteX127" fmla="*/ 8450 w 10000"/>
                <a:gd name="connsiteY127" fmla="*/ 6016 h 10000"/>
                <a:gd name="connsiteX128" fmla="*/ 8552 w 10000"/>
                <a:gd name="connsiteY128" fmla="*/ 5835 h 10000"/>
                <a:gd name="connsiteX129" fmla="*/ 8650 w 10000"/>
                <a:gd name="connsiteY129" fmla="*/ 5652 h 10000"/>
                <a:gd name="connsiteX130" fmla="*/ 8745 w 10000"/>
                <a:gd name="connsiteY130" fmla="*/ 5468 h 10000"/>
                <a:gd name="connsiteX131" fmla="*/ 8837 w 10000"/>
                <a:gd name="connsiteY131" fmla="*/ 5278 h 10000"/>
                <a:gd name="connsiteX132" fmla="*/ 8927 w 10000"/>
                <a:gd name="connsiteY132" fmla="*/ 5089 h 10000"/>
                <a:gd name="connsiteX133" fmla="*/ 9014 w 10000"/>
                <a:gd name="connsiteY133" fmla="*/ 4893 h 10000"/>
                <a:gd name="connsiteX134" fmla="*/ 9098 w 10000"/>
                <a:gd name="connsiteY134" fmla="*/ 4698 h 10000"/>
                <a:gd name="connsiteX135" fmla="*/ 9178 w 10000"/>
                <a:gd name="connsiteY135" fmla="*/ 4500 h 10000"/>
                <a:gd name="connsiteX136" fmla="*/ 9256 w 10000"/>
                <a:gd name="connsiteY136" fmla="*/ 4294 h 10000"/>
                <a:gd name="connsiteX137" fmla="*/ 9330 w 10000"/>
                <a:gd name="connsiteY137" fmla="*/ 4091 h 10000"/>
                <a:gd name="connsiteX138" fmla="*/ 9401 w 10000"/>
                <a:gd name="connsiteY138" fmla="*/ 3885 h 10000"/>
                <a:gd name="connsiteX139" fmla="*/ 9470 w 10000"/>
                <a:gd name="connsiteY139" fmla="*/ 3674 h 10000"/>
                <a:gd name="connsiteX140" fmla="*/ 9535 w 10000"/>
                <a:gd name="connsiteY140" fmla="*/ 3464 h 10000"/>
                <a:gd name="connsiteX141" fmla="*/ 9599 w 10000"/>
                <a:gd name="connsiteY141" fmla="*/ 3248 h 10000"/>
                <a:gd name="connsiteX142" fmla="*/ 9656 w 10000"/>
                <a:gd name="connsiteY142" fmla="*/ 3030 h 10000"/>
                <a:gd name="connsiteX143" fmla="*/ 9711 w 10000"/>
                <a:gd name="connsiteY143" fmla="*/ 2815 h 10000"/>
                <a:gd name="connsiteX144" fmla="*/ 9763 w 10000"/>
                <a:gd name="connsiteY144" fmla="*/ 2592 h 10000"/>
                <a:gd name="connsiteX145" fmla="*/ 9813 w 10000"/>
                <a:gd name="connsiteY145" fmla="*/ 2369 h 10000"/>
                <a:gd name="connsiteX146" fmla="*/ 9856 w 10000"/>
                <a:gd name="connsiteY146" fmla="*/ 2143 h 10000"/>
                <a:gd name="connsiteX147" fmla="*/ 9898 w 10000"/>
                <a:gd name="connsiteY147" fmla="*/ 1918 h 10000"/>
                <a:gd name="connsiteX148" fmla="*/ 9936 w 10000"/>
                <a:gd name="connsiteY148" fmla="*/ 1690 h 10000"/>
                <a:gd name="connsiteX149" fmla="*/ 9970 w 10000"/>
                <a:gd name="connsiteY149" fmla="*/ 1457 h 10000"/>
                <a:gd name="connsiteX150" fmla="*/ 10000 w 10000"/>
                <a:gd name="connsiteY150" fmla="*/ 1222 h 10000"/>
                <a:gd name="connsiteX151" fmla="*/ 7611 w 10000"/>
                <a:gd name="connsiteY151" fmla="*/ 1876 h 10000"/>
                <a:gd name="connsiteX152" fmla="*/ 5615 w 10000"/>
                <a:gd name="connsiteY152"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2284 w 10000"/>
                <a:gd name="connsiteY67" fmla="*/ 3771 h 10000"/>
                <a:gd name="connsiteX68" fmla="*/ 0 w 10000"/>
                <a:gd name="connsiteY68" fmla="*/ 6085 h 10000"/>
                <a:gd name="connsiteX69" fmla="*/ 209 w 10000"/>
                <a:gd name="connsiteY69" fmla="*/ 9512 h 10000"/>
                <a:gd name="connsiteX70" fmla="*/ 344 w 10000"/>
                <a:gd name="connsiteY70" fmla="*/ 9569 h 10000"/>
                <a:gd name="connsiteX71" fmla="*/ 481 w 10000"/>
                <a:gd name="connsiteY71" fmla="*/ 9623 h 10000"/>
                <a:gd name="connsiteX72" fmla="*/ 621 w 10000"/>
                <a:gd name="connsiteY72" fmla="*/ 9673 h 10000"/>
                <a:gd name="connsiteX73" fmla="*/ 758 w 10000"/>
                <a:gd name="connsiteY73" fmla="*/ 9720 h 10000"/>
                <a:gd name="connsiteX74" fmla="*/ 899 w 10000"/>
                <a:gd name="connsiteY74" fmla="*/ 9765 h 10000"/>
                <a:gd name="connsiteX75" fmla="*/ 1040 w 10000"/>
                <a:gd name="connsiteY75" fmla="*/ 9804 h 10000"/>
                <a:gd name="connsiteX76" fmla="*/ 1182 w 10000"/>
                <a:gd name="connsiteY76" fmla="*/ 9839 h 10000"/>
                <a:gd name="connsiteX77" fmla="*/ 1325 w 10000"/>
                <a:gd name="connsiteY77" fmla="*/ 9874 h 10000"/>
                <a:gd name="connsiteX78" fmla="*/ 1471 w 10000"/>
                <a:gd name="connsiteY78" fmla="*/ 9903 h 10000"/>
                <a:gd name="connsiteX79" fmla="*/ 1614 w 10000"/>
                <a:gd name="connsiteY79" fmla="*/ 9926 h 10000"/>
                <a:gd name="connsiteX80" fmla="*/ 1760 w 10000"/>
                <a:gd name="connsiteY80" fmla="*/ 9948 h 10000"/>
                <a:gd name="connsiteX81" fmla="*/ 1906 w 10000"/>
                <a:gd name="connsiteY81" fmla="*/ 9965 h 10000"/>
                <a:gd name="connsiteX82" fmla="*/ 2052 w 10000"/>
                <a:gd name="connsiteY82" fmla="*/ 9980 h 10000"/>
                <a:gd name="connsiteX83" fmla="*/ 2202 w 10000"/>
                <a:gd name="connsiteY83" fmla="*/ 9990 h 10000"/>
                <a:gd name="connsiteX84" fmla="*/ 2350 w 10000"/>
                <a:gd name="connsiteY84" fmla="*/ 9995 h 10000"/>
                <a:gd name="connsiteX85" fmla="*/ 2498 w 10000"/>
                <a:gd name="connsiteY85" fmla="*/ 10000 h 10000"/>
                <a:gd name="connsiteX86" fmla="*/ 2677 w 10000"/>
                <a:gd name="connsiteY86" fmla="*/ 9995 h 10000"/>
                <a:gd name="connsiteX87" fmla="*/ 2850 w 10000"/>
                <a:gd name="connsiteY87" fmla="*/ 9988 h 10000"/>
                <a:gd name="connsiteX88" fmla="*/ 3024 w 10000"/>
                <a:gd name="connsiteY88" fmla="*/ 9975 h 10000"/>
                <a:gd name="connsiteX89" fmla="*/ 3195 w 10000"/>
                <a:gd name="connsiteY89" fmla="*/ 9953 h 10000"/>
                <a:gd name="connsiteX90" fmla="*/ 3368 w 10000"/>
                <a:gd name="connsiteY90" fmla="*/ 9931 h 10000"/>
                <a:gd name="connsiteX91" fmla="*/ 3538 w 10000"/>
                <a:gd name="connsiteY91" fmla="*/ 9898 h 10000"/>
                <a:gd name="connsiteX92" fmla="*/ 3709 w 10000"/>
                <a:gd name="connsiteY92" fmla="*/ 9866 h 10000"/>
                <a:gd name="connsiteX93" fmla="*/ 3877 w 10000"/>
                <a:gd name="connsiteY93" fmla="*/ 9824 h 10000"/>
                <a:gd name="connsiteX94" fmla="*/ 4042 w 10000"/>
                <a:gd name="connsiteY94" fmla="*/ 9779 h 10000"/>
                <a:gd name="connsiteX95" fmla="*/ 4210 w 10000"/>
                <a:gd name="connsiteY95" fmla="*/ 9730 h 10000"/>
                <a:gd name="connsiteX96" fmla="*/ 4372 w 10000"/>
                <a:gd name="connsiteY96" fmla="*/ 9673 h 10000"/>
                <a:gd name="connsiteX97" fmla="*/ 4536 w 10000"/>
                <a:gd name="connsiteY97" fmla="*/ 9616 h 10000"/>
                <a:gd name="connsiteX98" fmla="*/ 4697 w 10000"/>
                <a:gd name="connsiteY98" fmla="*/ 9552 h 10000"/>
                <a:gd name="connsiteX99" fmla="*/ 4857 w 10000"/>
                <a:gd name="connsiteY99" fmla="*/ 9482 h 10000"/>
                <a:gd name="connsiteX100" fmla="*/ 5014 w 10000"/>
                <a:gd name="connsiteY100" fmla="*/ 9405 h 10000"/>
                <a:gd name="connsiteX101" fmla="*/ 5171 w 10000"/>
                <a:gd name="connsiteY101" fmla="*/ 9329 h 10000"/>
                <a:gd name="connsiteX102" fmla="*/ 5326 w 10000"/>
                <a:gd name="connsiteY102" fmla="*/ 9244 h 10000"/>
                <a:gd name="connsiteX103" fmla="*/ 5480 w 10000"/>
                <a:gd name="connsiteY103" fmla="*/ 9158 h 10000"/>
                <a:gd name="connsiteX104" fmla="*/ 5631 w 10000"/>
                <a:gd name="connsiteY104" fmla="*/ 9063 h 10000"/>
                <a:gd name="connsiteX105" fmla="*/ 5781 w 10000"/>
                <a:gd name="connsiteY105" fmla="*/ 8967 h 10000"/>
                <a:gd name="connsiteX106" fmla="*/ 5931 w 10000"/>
                <a:gd name="connsiteY106" fmla="*/ 8865 h 10000"/>
                <a:gd name="connsiteX107" fmla="*/ 6075 w 10000"/>
                <a:gd name="connsiteY107" fmla="*/ 8759 h 10000"/>
                <a:gd name="connsiteX108" fmla="*/ 6221 w 10000"/>
                <a:gd name="connsiteY108" fmla="*/ 8652 h 10000"/>
                <a:gd name="connsiteX109" fmla="*/ 6364 w 10000"/>
                <a:gd name="connsiteY109" fmla="*/ 8536 h 10000"/>
                <a:gd name="connsiteX110" fmla="*/ 6505 w 10000"/>
                <a:gd name="connsiteY110" fmla="*/ 8417 h 10000"/>
                <a:gd name="connsiteX111" fmla="*/ 6642 w 10000"/>
                <a:gd name="connsiteY111" fmla="*/ 8295 h 10000"/>
                <a:gd name="connsiteX112" fmla="*/ 6780 w 10000"/>
                <a:gd name="connsiteY112" fmla="*/ 8169 h 10000"/>
                <a:gd name="connsiteX113" fmla="*/ 6913 w 10000"/>
                <a:gd name="connsiteY113" fmla="*/ 8040 h 10000"/>
                <a:gd name="connsiteX114" fmla="*/ 7045 w 10000"/>
                <a:gd name="connsiteY114" fmla="*/ 7904 h 10000"/>
                <a:gd name="connsiteX115" fmla="*/ 7175 w 10000"/>
                <a:gd name="connsiteY115" fmla="*/ 7768 h 10000"/>
                <a:gd name="connsiteX116" fmla="*/ 7304 w 10000"/>
                <a:gd name="connsiteY116" fmla="*/ 7624 h 10000"/>
                <a:gd name="connsiteX117" fmla="*/ 7429 w 10000"/>
                <a:gd name="connsiteY117" fmla="*/ 7480 h 10000"/>
                <a:gd name="connsiteX118" fmla="*/ 7552 w 10000"/>
                <a:gd name="connsiteY118" fmla="*/ 7329 h 10000"/>
                <a:gd name="connsiteX119" fmla="*/ 7673 w 10000"/>
                <a:gd name="connsiteY119" fmla="*/ 7178 h 10000"/>
                <a:gd name="connsiteX120" fmla="*/ 7792 w 10000"/>
                <a:gd name="connsiteY120" fmla="*/ 7024 h 10000"/>
                <a:gd name="connsiteX121" fmla="*/ 7907 w 10000"/>
                <a:gd name="connsiteY121" fmla="*/ 6861 h 10000"/>
                <a:gd name="connsiteX122" fmla="*/ 8022 w 10000"/>
                <a:gd name="connsiteY122" fmla="*/ 6697 h 10000"/>
                <a:gd name="connsiteX123" fmla="*/ 8133 w 10000"/>
                <a:gd name="connsiteY123" fmla="*/ 6534 h 10000"/>
                <a:gd name="connsiteX124" fmla="*/ 8240 w 10000"/>
                <a:gd name="connsiteY124" fmla="*/ 6365 h 10000"/>
                <a:gd name="connsiteX125" fmla="*/ 8347 w 10000"/>
                <a:gd name="connsiteY125" fmla="*/ 6189 h 10000"/>
                <a:gd name="connsiteX126" fmla="*/ 8450 w 10000"/>
                <a:gd name="connsiteY126" fmla="*/ 6016 h 10000"/>
                <a:gd name="connsiteX127" fmla="*/ 8552 w 10000"/>
                <a:gd name="connsiteY127" fmla="*/ 5835 h 10000"/>
                <a:gd name="connsiteX128" fmla="*/ 8650 w 10000"/>
                <a:gd name="connsiteY128" fmla="*/ 5652 h 10000"/>
                <a:gd name="connsiteX129" fmla="*/ 8745 w 10000"/>
                <a:gd name="connsiteY129" fmla="*/ 5468 h 10000"/>
                <a:gd name="connsiteX130" fmla="*/ 8837 w 10000"/>
                <a:gd name="connsiteY130" fmla="*/ 5278 h 10000"/>
                <a:gd name="connsiteX131" fmla="*/ 8927 w 10000"/>
                <a:gd name="connsiteY131" fmla="*/ 5089 h 10000"/>
                <a:gd name="connsiteX132" fmla="*/ 9014 w 10000"/>
                <a:gd name="connsiteY132" fmla="*/ 4893 h 10000"/>
                <a:gd name="connsiteX133" fmla="*/ 9098 w 10000"/>
                <a:gd name="connsiteY133" fmla="*/ 4698 h 10000"/>
                <a:gd name="connsiteX134" fmla="*/ 9178 w 10000"/>
                <a:gd name="connsiteY134" fmla="*/ 4500 h 10000"/>
                <a:gd name="connsiteX135" fmla="*/ 9256 w 10000"/>
                <a:gd name="connsiteY135" fmla="*/ 4294 h 10000"/>
                <a:gd name="connsiteX136" fmla="*/ 9330 w 10000"/>
                <a:gd name="connsiteY136" fmla="*/ 4091 h 10000"/>
                <a:gd name="connsiteX137" fmla="*/ 9401 w 10000"/>
                <a:gd name="connsiteY137" fmla="*/ 3885 h 10000"/>
                <a:gd name="connsiteX138" fmla="*/ 9470 w 10000"/>
                <a:gd name="connsiteY138" fmla="*/ 3674 h 10000"/>
                <a:gd name="connsiteX139" fmla="*/ 9535 w 10000"/>
                <a:gd name="connsiteY139" fmla="*/ 3464 h 10000"/>
                <a:gd name="connsiteX140" fmla="*/ 9599 w 10000"/>
                <a:gd name="connsiteY140" fmla="*/ 3248 h 10000"/>
                <a:gd name="connsiteX141" fmla="*/ 9656 w 10000"/>
                <a:gd name="connsiteY141" fmla="*/ 3030 h 10000"/>
                <a:gd name="connsiteX142" fmla="*/ 9711 w 10000"/>
                <a:gd name="connsiteY142" fmla="*/ 2815 h 10000"/>
                <a:gd name="connsiteX143" fmla="*/ 9763 w 10000"/>
                <a:gd name="connsiteY143" fmla="*/ 2592 h 10000"/>
                <a:gd name="connsiteX144" fmla="*/ 9813 w 10000"/>
                <a:gd name="connsiteY144" fmla="*/ 2369 h 10000"/>
                <a:gd name="connsiteX145" fmla="*/ 9856 w 10000"/>
                <a:gd name="connsiteY145" fmla="*/ 2143 h 10000"/>
                <a:gd name="connsiteX146" fmla="*/ 9898 w 10000"/>
                <a:gd name="connsiteY146" fmla="*/ 1918 h 10000"/>
                <a:gd name="connsiteX147" fmla="*/ 9936 w 10000"/>
                <a:gd name="connsiteY147" fmla="*/ 1690 h 10000"/>
                <a:gd name="connsiteX148" fmla="*/ 9970 w 10000"/>
                <a:gd name="connsiteY148" fmla="*/ 1457 h 10000"/>
                <a:gd name="connsiteX149" fmla="*/ 10000 w 10000"/>
                <a:gd name="connsiteY149" fmla="*/ 1222 h 10000"/>
                <a:gd name="connsiteX150" fmla="*/ 7611 w 10000"/>
                <a:gd name="connsiteY150" fmla="*/ 1876 h 10000"/>
                <a:gd name="connsiteX151" fmla="*/ 5615 w 10000"/>
                <a:gd name="connsiteY151"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2393 w 10000"/>
                <a:gd name="connsiteY66" fmla="*/ 3781 h 10000"/>
                <a:gd name="connsiteX67" fmla="*/ 0 w 10000"/>
                <a:gd name="connsiteY67" fmla="*/ 6085 h 10000"/>
                <a:gd name="connsiteX68" fmla="*/ 209 w 10000"/>
                <a:gd name="connsiteY68" fmla="*/ 9512 h 10000"/>
                <a:gd name="connsiteX69" fmla="*/ 344 w 10000"/>
                <a:gd name="connsiteY69" fmla="*/ 9569 h 10000"/>
                <a:gd name="connsiteX70" fmla="*/ 481 w 10000"/>
                <a:gd name="connsiteY70" fmla="*/ 9623 h 10000"/>
                <a:gd name="connsiteX71" fmla="*/ 621 w 10000"/>
                <a:gd name="connsiteY71" fmla="*/ 9673 h 10000"/>
                <a:gd name="connsiteX72" fmla="*/ 758 w 10000"/>
                <a:gd name="connsiteY72" fmla="*/ 9720 h 10000"/>
                <a:gd name="connsiteX73" fmla="*/ 899 w 10000"/>
                <a:gd name="connsiteY73" fmla="*/ 9765 h 10000"/>
                <a:gd name="connsiteX74" fmla="*/ 1040 w 10000"/>
                <a:gd name="connsiteY74" fmla="*/ 9804 h 10000"/>
                <a:gd name="connsiteX75" fmla="*/ 1182 w 10000"/>
                <a:gd name="connsiteY75" fmla="*/ 9839 h 10000"/>
                <a:gd name="connsiteX76" fmla="*/ 1325 w 10000"/>
                <a:gd name="connsiteY76" fmla="*/ 9874 h 10000"/>
                <a:gd name="connsiteX77" fmla="*/ 1471 w 10000"/>
                <a:gd name="connsiteY77" fmla="*/ 9903 h 10000"/>
                <a:gd name="connsiteX78" fmla="*/ 1614 w 10000"/>
                <a:gd name="connsiteY78" fmla="*/ 9926 h 10000"/>
                <a:gd name="connsiteX79" fmla="*/ 1760 w 10000"/>
                <a:gd name="connsiteY79" fmla="*/ 9948 h 10000"/>
                <a:gd name="connsiteX80" fmla="*/ 1906 w 10000"/>
                <a:gd name="connsiteY80" fmla="*/ 9965 h 10000"/>
                <a:gd name="connsiteX81" fmla="*/ 2052 w 10000"/>
                <a:gd name="connsiteY81" fmla="*/ 9980 h 10000"/>
                <a:gd name="connsiteX82" fmla="*/ 2202 w 10000"/>
                <a:gd name="connsiteY82" fmla="*/ 9990 h 10000"/>
                <a:gd name="connsiteX83" fmla="*/ 2350 w 10000"/>
                <a:gd name="connsiteY83" fmla="*/ 9995 h 10000"/>
                <a:gd name="connsiteX84" fmla="*/ 2498 w 10000"/>
                <a:gd name="connsiteY84" fmla="*/ 10000 h 10000"/>
                <a:gd name="connsiteX85" fmla="*/ 2677 w 10000"/>
                <a:gd name="connsiteY85" fmla="*/ 9995 h 10000"/>
                <a:gd name="connsiteX86" fmla="*/ 2850 w 10000"/>
                <a:gd name="connsiteY86" fmla="*/ 9988 h 10000"/>
                <a:gd name="connsiteX87" fmla="*/ 3024 w 10000"/>
                <a:gd name="connsiteY87" fmla="*/ 9975 h 10000"/>
                <a:gd name="connsiteX88" fmla="*/ 3195 w 10000"/>
                <a:gd name="connsiteY88" fmla="*/ 9953 h 10000"/>
                <a:gd name="connsiteX89" fmla="*/ 3368 w 10000"/>
                <a:gd name="connsiteY89" fmla="*/ 9931 h 10000"/>
                <a:gd name="connsiteX90" fmla="*/ 3538 w 10000"/>
                <a:gd name="connsiteY90" fmla="*/ 9898 h 10000"/>
                <a:gd name="connsiteX91" fmla="*/ 3709 w 10000"/>
                <a:gd name="connsiteY91" fmla="*/ 9866 h 10000"/>
                <a:gd name="connsiteX92" fmla="*/ 3877 w 10000"/>
                <a:gd name="connsiteY92" fmla="*/ 9824 h 10000"/>
                <a:gd name="connsiteX93" fmla="*/ 4042 w 10000"/>
                <a:gd name="connsiteY93" fmla="*/ 9779 h 10000"/>
                <a:gd name="connsiteX94" fmla="*/ 4210 w 10000"/>
                <a:gd name="connsiteY94" fmla="*/ 9730 h 10000"/>
                <a:gd name="connsiteX95" fmla="*/ 4372 w 10000"/>
                <a:gd name="connsiteY95" fmla="*/ 9673 h 10000"/>
                <a:gd name="connsiteX96" fmla="*/ 4536 w 10000"/>
                <a:gd name="connsiteY96" fmla="*/ 9616 h 10000"/>
                <a:gd name="connsiteX97" fmla="*/ 4697 w 10000"/>
                <a:gd name="connsiteY97" fmla="*/ 9552 h 10000"/>
                <a:gd name="connsiteX98" fmla="*/ 4857 w 10000"/>
                <a:gd name="connsiteY98" fmla="*/ 9482 h 10000"/>
                <a:gd name="connsiteX99" fmla="*/ 5014 w 10000"/>
                <a:gd name="connsiteY99" fmla="*/ 9405 h 10000"/>
                <a:gd name="connsiteX100" fmla="*/ 5171 w 10000"/>
                <a:gd name="connsiteY100" fmla="*/ 9329 h 10000"/>
                <a:gd name="connsiteX101" fmla="*/ 5326 w 10000"/>
                <a:gd name="connsiteY101" fmla="*/ 9244 h 10000"/>
                <a:gd name="connsiteX102" fmla="*/ 5480 w 10000"/>
                <a:gd name="connsiteY102" fmla="*/ 9158 h 10000"/>
                <a:gd name="connsiteX103" fmla="*/ 5631 w 10000"/>
                <a:gd name="connsiteY103" fmla="*/ 9063 h 10000"/>
                <a:gd name="connsiteX104" fmla="*/ 5781 w 10000"/>
                <a:gd name="connsiteY104" fmla="*/ 8967 h 10000"/>
                <a:gd name="connsiteX105" fmla="*/ 5931 w 10000"/>
                <a:gd name="connsiteY105" fmla="*/ 8865 h 10000"/>
                <a:gd name="connsiteX106" fmla="*/ 6075 w 10000"/>
                <a:gd name="connsiteY106" fmla="*/ 8759 h 10000"/>
                <a:gd name="connsiteX107" fmla="*/ 6221 w 10000"/>
                <a:gd name="connsiteY107" fmla="*/ 8652 h 10000"/>
                <a:gd name="connsiteX108" fmla="*/ 6364 w 10000"/>
                <a:gd name="connsiteY108" fmla="*/ 8536 h 10000"/>
                <a:gd name="connsiteX109" fmla="*/ 6505 w 10000"/>
                <a:gd name="connsiteY109" fmla="*/ 8417 h 10000"/>
                <a:gd name="connsiteX110" fmla="*/ 6642 w 10000"/>
                <a:gd name="connsiteY110" fmla="*/ 8295 h 10000"/>
                <a:gd name="connsiteX111" fmla="*/ 6780 w 10000"/>
                <a:gd name="connsiteY111" fmla="*/ 8169 h 10000"/>
                <a:gd name="connsiteX112" fmla="*/ 6913 w 10000"/>
                <a:gd name="connsiteY112" fmla="*/ 8040 h 10000"/>
                <a:gd name="connsiteX113" fmla="*/ 7045 w 10000"/>
                <a:gd name="connsiteY113" fmla="*/ 7904 h 10000"/>
                <a:gd name="connsiteX114" fmla="*/ 7175 w 10000"/>
                <a:gd name="connsiteY114" fmla="*/ 7768 h 10000"/>
                <a:gd name="connsiteX115" fmla="*/ 7304 w 10000"/>
                <a:gd name="connsiteY115" fmla="*/ 7624 h 10000"/>
                <a:gd name="connsiteX116" fmla="*/ 7429 w 10000"/>
                <a:gd name="connsiteY116" fmla="*/ 7480 h 10000"/>
                <a:gd name="connsiteX117" fmla="*/ 7552 w 10000"/>
                <a:gd name="connsiteY117" fmla="*/ 7329 h 10000"/>
                <a:gd name="connsiteX118" fmla="*/ 7673 w 10000"/>
                <a:gd name="connsiteY118" fmla="*/ 7178 h 10000"/>
                <a:gd name="connsiteX119" fmla="*/ 7792 w 10000"/>
                <a:gd name="connsiteY119" fmla="*/ 7024 h 10000"/>
                <a:gd name="connsiteX120" fmla="*/ 7907 w 10000"/>
                <a:gd name="connsiteY120" fmla="*/ 6861 h 10000"/>
                <a:gd name="connsiteX121" fmla="*/ 8022 w 10000"/>
                <a:gd name="connsiteY121" fmla="*/ 6697 h 10000"/>
                <a:gd name="connsiteX122" fmla="*/ 8133 w 10000"/>
                <a:gd name="connsiteY122" fmla="*/ 6534 h 10000"/>
                <a:gd name="connsiteX123" fmla="*/ 8240 w 10000"/>
                <a:gd name="connsiteY123" fmla="*/ 6365 h 10000"/>
                <a:gd name="connsiteX124" fmla="*/ 8347 w 10000"/>
                <a:gd name="connsiteY124" fmla="*/ 6189 h 10000"/>
                <a:gd name="connsiteX125" fmla="*/ 8450 w 10000"/>
                <a:gd name="connsiteY125" fmla="*/ 6016 h 10000"/>
                <a:gd name="connsiteX126" fmla="*/ 8552 w 10000"/>
                <a:gd name="connsiteY126" fmla="*/ 5835 h 10000"/>
                <a:gd name="connsiteX127" fmla="*/ 8650 w 10000"/>
                <a:gd name="connsiteY127" fmla="*/ 5652 h 10000"/>
                <a:gd name="connsiteX128" fmla="*/ 8745 w 10000"/>
                <a:gd name="connsiteY128" fmla="*/ 5468 h 10000"/>
                <a:gd name="connsiteX129" fmla="*/ 8837 w 10000"/>
                <a:gd name="connsiteY129" fmla="*/ 5278 h 10000"/>
                <a:gd name="connsiteX130" fmla="*/ 8927 w 10000"/>
                <a:gd name="connsiteY130" fmla="*/ 5089 h 10000"/>
                <a:gd name="connsiteX131" fmla="*/ 9014 w 10000"/>
                <a:gd name="connsiteY131" fmla="*/ 4893 h 10000"/>
                <a:gd name="connsiteX132" fmla="*/ 9098 w 10000"/>
                <a:gd name="connsiteY132" fmla="*/ 4698 h 10000"/>
                <a:gd name="connsiteX133" fmla="*/ 9178 w 10000"/>
                <a:gd name="connsiteY133" fmla="*/ 4500 h 10000"/>
                <a:gd name="connsiteX134" fmla="*/ 9256 w 10000"/>
                <a:gd name="connsiteY134" fmla="*/ 4294 h 10000"/>
                <a:gd name="connsiteX135" fmla="*/ 9330 w 10000"/>
                <a:gd name="connsiteY135" fmla="*/ 4091 h 10000"/>
                <a:gd name="connsiteX136" fmla="*/ 9401 w 10000"/>
                <a:gd name="connsiteY136" fmla="*/ 3885 h 10000"/>
                <a:gd name="connsiteX137" fmla="*/ 9470 w 10000"/>
                <a:gd name="connsiteY137" fmla="*/ 3674 h 10000"/>
                <a:gd name="connsiteX138" fmla="*/ 9535 w 10000"/>
                <a:gd name="connsiteY138" fmla="*/ 3464 h 10000"/>
                <a:gd name="connsiteX139" fmla="*/ 9599 w 10000"/>
                <a:gd name="connsiteY139" fmla="*/ 3248 h 10000"/>
                <a:gd name="connsiteX140" fmla="*/ 9656 w 10000"/>
                <a:gd name="connsiteY140" fmla="*/ 3030 h 10000"/>
                <a:gd name="connsiteX141" fmla="*/ 9711 w 10000"/>
                <a:gd name="connsiteY141" fmla="*/ 2815 h 10000"/>
                <a:gd name="connsiteX142" fmla="*/ 9763 w 10000"/>
                <a:gd name="connsiteY142" fmla="*/ 2592 h 10000"/>
                <a:gd name="connsiteX143" fmla="*/ 9813 w 10000"/>
                <a:gd name="connsiteY143" fmla="*/ 2369 h 10000"/>
                <a:gd name="connsiteX144" fmla="*/ 9856 w 10000"/>
                <a:gd name="connsiteY144" fmla="*/ 2143 h 10000"/>
                <a:gd name="connsiteX145" fmla="*/ 9898 w 10000"/>
                <a:gd name="connsiteY145" fmla="*/ 1918 h 10000"/>
                <a:gd name="connsiteX146" fmla="*/ 9936 w 10000"/>
                <a:gd name="connsiteY146" fmla="*/ 1690 h 10000"/>
                <a:gd name="connsiteX147" fmla="*/ 9970 w 10000"/>
                <a:gd name="connsiteY147" fmla="*/ 1457 h 10000"/>
                <a:gd name="connsiteX148" fmla="*/ 10000 w 10000"/>
                <a:gd name="connsiteY148" fmla="*/ 1222 h 10000"/>
                <a:gd name="connsiteX149" fmla="*/ 7611 w 10000"/>
                <a:gd name="connsiteY149" fmla="*/ 1876 h 10000"/>
                <a:gd name="connsiteX150" fmla="*/ 5615 w 10000"/>
                <a:gd name="connsiteY150"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2498 w 10000"/>
                <a:gd name="connsiteY65" fmla="*/ 3781 h 10000"/>
                <a:gd name="connsiteX66" fmla="*/ 0 w 10000"/>
                <a:gd name="connsiteY66" fmla="*/ 6085 h 10000"/>
                <a:gd name="connsiteX67" fmla="*/ 209 w 10000"/>
                <a:gd name="connsiteY67" fmla="*/ 9512 h 10000"/>
                <a:gd name="connsiteX68" fmla="*/ 344 w 10000"/>
                <a:gd name="connsiteY68" fmla="*/ 9569 h 10000"/>
                <a:gd name="connsiteX69" fmla="*/ 481 w 10000"/>
                <a:gd name="connsiteY69" fmla="*/ 9623 h 10000"/>
                <a:gd name="connsiteX70" fmla="*/ 621 w 10000"/>
                <a:gd name="connsiteY70" fmla="*/ 9673 h 10000"/>
                <a:gd name="connsiteX71" fmla="*/ 758 w 10000"/>
                <a:gd name="connsiteY71" fmla="*/ 9720 h 10000"/>
                <a:gd name="connsiteX72" fmla="*/ 899 w 10000"/>
                <a:gd name="connsiteY72" fmla="*/ 9765 h 10000"/>
                <a:gd name="connsiteX73" fmla="*/ 1040 w 10000"/>
                <a:gd name="connsiteY73" fmla="*/ 9804 h 10000"/>
                <a:gd name="connsiteX74" fmla="*/ 1182 w 10000"/>
                <a:gd name="connsiteY74" fmla="*/ 9839 h 10000"/>
                <a:gd name="connsiteX75" fmla="*/ 1325 w 10000"/>
                <a:gd name="connsiteY75" fmla="*/ 9874 h 10000"/>
                <a:gd name="connsiteX76" fmla="*/ 1471 w 10000"/>
                <a:gd name="connsiteY76" fmla="*/ 9903 h 10000"/>
                <a:gd name="connsiteX77" fmla="*/ 1614 w 10000"/>
                <a:gd name="connsiteY77" fmla="*/ 9926 h 10000"/>
                <a:gd name="connsiteX78" fmla="*/ 1760 w 10000"/>
                <a:gd name="connsiteY78" fmla="*/ 9948 h 10000"/>
                <a:gd name="connsiteX79" fmla="*/ 1906 w 10000"/>
                <a:gd name="connsiteY79" fmla="*/ 9965 h 10000"/>
                <a:gd name="connsiteX80" fmla="*/ 2052 w 10000"/>
                <a:gd name="connsiteY80" fmla="*/ 9980 h 10000"/>
                <a:gd name="connsiteX81" fmla="*/ 2202 w 10000"/>
                <a:gd name="connsiteY81" fmla="*/ 9990 h 10000"/>
                <a:gd name="connsiteX82" fmla="*/ 2350 w 10000"/>
                <a:gd name="connsiteY82" fmla="*/ 9995 h 10000"/>
                <a:gd name="connsiteX83" fmla="*/ 2498 w 10000"/>
                <a:gd name="connsiteY83" fmla="*/ 10000 h 10000"/>
                <a:gd name="connsiteX84" fmla="*/ 2677 w 10000"/>
                <a:gd name="connsiteY84" fmla="*/ 9995 h 10000"/>
                <a:gd name="connsiteX85" fmla="*/ 2850 w 10000"/>
                <a:gd name="connsiteY85" fmla="*/ 9988 h 10000"/>
                <a:gd name="connsiteX86" fmla="*/ 3024 w 10000"/>
                <a:gd name="connsiteY86" fmla="*/ 9975 h 10000"/>
                <a:gd name="connsiteX87" fmla="*/ 3195 w 10000"/>
                <a:gd name="connsiteY87" fmla="*/ 9953 h 10000"/>
                <a:gd name="connsiteX88" fmla="*/ 3368 w 10000"/>
                <a:gd name="connsiteY88" fmla="*/ 9931 h 10000"/>
                <a:gd name="connsiteX89" fmla="*/ 3538 w 10000"/>
                <a:gd name="connsiteY89" fmla="*/ 9898 h 10000"/>
                <a:gd name="connsiteX90" fmla="*/ 3709 w 10000"/>
                <a:gd name="connsiteY90" fmla="*/ 9866 h 10000"/>
                <a:gd name="connsiteX91" fmla="*/ 3877 w 10000"/>
                <a:gd name="connsiteY91" fmla="*/ 9824 h 10000"/>
                <a:gd name="connsiteX92" fmla="*/ 4042 w 10000"/>
                <a:gd name="connsiteY92" fmla="*/ 9779 h 10000"/>
                <a:gd name="connsiteX93" fmla="*/ 4210 w 10000"/>
                <a:gd name="connsiteY93" fmla="*/ 9730 h 10000"/>
                <a:gd name="connsiteX94" fmla="*/ 4372 w 10000"/>
                <a:gd name="connsiteY94" fmla="*/ 9673 h 10000"/>
                <a:gd name="connsiteX95" fmla="*/ 4536 w 10000"/>
                <a:gd name="connsiteY95" fmla="*/ 9616 h 10000"/>
                <a:gd name="connsiteX96" fmla="*/ 4697 w 10000"/>
                <a:gd name="connsiteY96" fmla="*/ 9552 h 10000"/>
                <a:gd name="connsiteX97" fmla="*/ 4857 w 10000"/>
                <a:gd name="connsiteY97" fmla="*/ 9482 h 10000"/>
                <a:gd name="connsiteX98" fmla="*/ 5014 w 10000"/>
                <a:gd name="connsiteY98" fmla="*/ 9405 h 10000"/>
                <a:gd name="connsiteX99" fmla="*/ 5171 w 10000"/>
                <a:gd name="connsiteY99" fmla="*/ 9329 h 10000"/>
                <a:gd name="connsiteX100" fmla="*/ 5326 w 10000"/>
                <a:gd name="connsiteY100" fmla="*/ 9244 h 10000"/>
                <a:gd name="connsiteX101" fmla="*/ 5480 w 10000"/>
                <a:gd name="connsiteY101" fmla="*/ 9158 h 10000"/>
                <a:gd name="connsiteX102" fmla="*/ 5631 w 10000"/>
                <a:gd name="connsiteY102" fmla="*/ 9063 h 10000"/>
                <a:gd name="connsiteX103" fmla="*/ 5781 w 10000"/>
                <a:gd name="connsiteY103" fmla="*/ 8967 h 10000"/>
                <a:gd name="connsiteX104" fmla="*/ 5931 w 10000"/>
                <a:gd name="connsiteY104" fmla="*/ 8865 h 10000"/>
                <a:gd name="connsiteX105" fmla="*/ 6075 w 10000"/>
                <a:gd name="connsiteY105" fmla="*/ 8759 h 10000"/>
                <a:gd name="connsiteX106" fmla="*/ 6221 w 10000"/>
                <a:gd name="connsiteY106" fmla="*/ 8652 h 10000"/>
                <a:gd name="connsiteX107" fmla="*/ 6364 w 10000"/>
                <a:gd name="connsiteY107" fmla="*/ 8536 h 10000"/>
                <a:gd name="connsiteX108" fmla="*/ 6505 w 10000"/>
                <a:gd name="connsiteY108" fmla="*/ 8417 h 10000"/>
                <a:gd name="connsiteX109" fmla="*/ 6642 w 10000"/>
                <a:gd name="connsiteY109" fmla="*/ 8295 h 10000"/>
                <a:gd name="connsiteX110" fmla="*/ 6780 w 10000"/>
                <a:gd name="connsiteY110" fmla="*/ 8169 h 10000"/>
                <a:gd name="connsiteX111" fmla="*/ 6913 w 10000"/>
                <a:gd name="connsiteY111" fmla="*/ 8040 h 10000"/>
                <a:gd name="connsiteX112" fmla="*/ 7045 w 10000"/>
                <a:gd name="connsiteY112" fmla="*/ 7904 h 10000"/>
                <a:gd name="connsiteX113" fmla="*/ 7175 w 10000"/>
                <a:gd name="connsiteY113" fmla="*/ 7768 h 10000"/>
                <a:gd name="connsiteX114" fmla="*/ 7304 w 10000"/>
                <a:gd name="connsiteY114" fmla="*/ 7624 h 10000"/>
                <a:gd name="connsiteX115" fmla="*/ 7429 w 10000"/>
                <a:gd name="connsiteY115" fmla="*/ 7480 h 10000"/>
                <a:gd name="connsiteX116" fmla="*/ 7552 w 10000"/>
                <a:gd name="connsiteY116" fmla="*/ 7329 h 10000"/>
                <a:gd name="connsiteX117" fmla="*/ 7673 w 10000"/>
                <a:gd name="connsiteY117" fmla="*/ 7178 h 10000"/>
                <a:gd name="connsiteX118" fmla="*/ 7792 w 10000"/>
                <a:gd name="connsiteY118" fmla="*/ 7024 h 10000"/>
                <a:gd name="connsiteX119" fmla="*/ 7907 w 10000"/>
                <a:gd name="connsiteY119" fmla="*/ 6861 h 10000"/>
                <a:gd name="connsiteX120" fmla="*/ 8022 w 10000"/>
                <a:gd name="connsiteY120" fmla="*/ 6697 h 10000"/>
                <a:gd name="connsiteX121" fmla="*/ 8133 w 10000"/>
                <a:gd name="connsiteY121" fmla="*/ 6534 h 10000"/>
                <a:gd name="connsiteX122" fmla="*/ 8240 w 10000"/>
                <a:gd name="connsiteY122" fmla="*/ 6365 h 10000"/>
                <a:gd name="connsiteX123" fmla="*/ 8347 w 10000"/>
                <a:gd name="connsiteY123" fmla="*/ 6189 h 10000"/>
                <a:gd name="connsiteX124" fmla="*/ 8450 w 10000"/>
                <a:gd name="connsiteY124" fmla="*/ 6016 h 10000"/>
                <a:gd name="connsiteX125" fmla="*/ 8552 w 10000"/>
                <a:gd name="connsiteY125" fmla="*/ 5835 h 10000"/>
                <a:gd name="connsiteX126" fmla="*/ 8650 w 10000"/>
                <a:gd name="connsiteY126" fmla="*/ 5652 h 10000"/>
                <a:gd name="connsiteX127" fmla="*/ 8745 w 10000"/>
                <a:gd name="connsiteY127" fmla="*/ 5468 h 10000"/>
                <a:gd name="connsiteX128" fmla="*/ 8837 w 10000"/>
                <a:gd name="connsiteY128" fmla="*/ 5278 h 10000"/>
                <a:gd name="connsiteX129" fmla="*/ 8927 w 10000"/>
                <a:gd name="connsiteY129" fmla="*/ 5089 h 10000"/>
                <a:gd name="connsiteX130" fmla="*/ 9014 w 10000"/>
                <a:gd name="connsiteY130" fmla="*/ 4893 h 10000"/>
                <a:gd name="connsiteX131" fmla="*/ 9098 w 10000"/>
                <a:gd name="connsiteY131" fmla="*/ 4698 h 10000"/>
                <a:gd name="connsiteX132" fmla="*/ 9178 w 10000"/>
                <a:gd name="connsiteY132" fmla="*/ 4500 h 10000"/>
                <a:gd name="connsiteX133" fmla="*/ 9256 w 10000"/>
                <a:gd name="connsiteY133" fmla="*/ 4294 h 10000"/>
                <a:gd name="connsiteX134" fmla="*/ 9330 w 10000"/>
                <a:gd name="connsiteY134" fmla="*/ 4091 h 10000"/>
                <a:gd name="connsiteX135" fmla="*/ 9401 w 10000"/>
                <a:gd name="connsiteY135" fmla="*/ 3885 h 10000"/>
                <a:gd name="connsiteX136" fmla="*/ 9470 w 10000"/>
                <a:gd name="connsiteY136" fmla="*/ 3674 h 10000"/>
                <a:gd name="connsiteX137" fmla="*/ 9535 w 10000"/>
                <a:gd name="connsiteY137" fmla="*/ 3464 h 10000"/>
                <a:gd name="connsiteX138" fmla="*/ 9599 w 10000"/>
                <a:gd name="connsiteY138" fmla="*/ 3248 h 10000"/>
                <a:gd name="connsiteX139" fmla="*/ 9656 w 10000"/>
                <a:gd name="connsiteY139" fmla="*/ 3030 h 10000"/>
                <a:gd name="connsiteX140" fmla="*/ 9711 w 10000"/>
                <a:gd name="connsiteY140" fmla="*/ 2815 h 10000"/>
                <a:gd name="connsiteX141" fmla="*/ 9763 w 10000"/>
                <a:gd name="connsiteY141" fmla="*/ 2592 h 10000"/>
                <a:gd name="connsiteX142" fmla="*/ 9813 w 10000"/>
                <a:gd name="connsiteY142" fmla="*/ 2369 h 10000"/>
                <a:gd name="connsiteX143" fmla="*/ 9856 w 10000"/>
                <a:gd name="connsiteY143" fmla="*/ 2143 h 10000"/>
                <a:gd name="connsiteX144" fmla="*/ 9898 w 10000"/>
                <a:gd name="connsiteY144" fmla="*/ 1918 h 10000"/>
                <a:gd name="connsiteX145" fmla="*/ 9936 w 10000"/>
                <a:gd name="connsiteY145" fmla="*/ 1690 h 10000"/>
                <a:gd name="connsiteX146" fmla="*/ 9970 w 10000"/>
                <a:gd name="connsiteY146" fmla="*/ 1457 h 10000"/>
                <a:gd name="connsiteX147" fmla="*/ 10000 w 10000"/>
                <a:gd name="connsiteY147" fmla="*/ 1222 h 10000"/>
                <a:gd name="connsiteX148" fmla="*/ 7611 w 10000"/>
                <a:gd name="connsiteY148" fmla="*/ 1876 h 10000"/>
                <a:gd name="connsiteX149" fmla="*/ 5615 w 10000"/>
                <a:gd name="connsiteY149"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2575 w 10000"/>
                <a:gd name="connsiteY64" fmla="*/ 3781 h 10000"/>
                <a:gd name="connsiteX65" fmla="*/ 0 w 10000"/>
                <a:gd name="connsiteY65" fmla="*/ 6085 h 10000"/>
                <a:gd name="connsiteX66" fmla="*/ 209 w 10000"/>
                <a:gd name="connsiteY66" fmla="*/ 9512 h 10000"/>
                <a:gd name="connsiteX67" fmla="*/ 344 w 10000"/>
                <a:gd name="connsiteY67" fmla="*/ 9569 h 10000"/>
                <a:gd name="connsiteX68" fmla="*/ 481 w 10000"/>
                <a:gd name="connsiteY68" fmla="*/ 9623 h 10000"/>
                <a:gd name="connsiteX69" fmla="*/ 621 w 10000"/>
                <a:gd name="connsiteY69" fmla="*/ 9673 h 10000"/>
                <a:gd name="connsiteX70" fmla="*/ 758 w 10000"/>
                <a:gd name="connsiteY70" fmla="*/ 9720 h 10000"/>
                <a:gd name="connsiteX71" fmla="*/ 899 w 10000"/>
                <a:gd name="connsiteY71" fmla="*/ 9765 h 10000"/>
                <a:gd name="connsiteX72" fmla="*/ 1040 w 10000"/>
                <a:gd name="connsiteY72" fmla="*/ 9804 h 10000"/>
                <a:gd name="connsiteX73" fmla="*/ 1182 w 10000"/>
                <a:gd name="connsiteY73" fmla="*/ 9839 h 10000"/>
                <a:gd name="connsiteX74" fmla="*/ 1325 w 10000"/>
                <a:gd name="connsiteY74" fmla="*/ 9874 h 10000"/>
                <a:gd name="connsiteX75" fmla="*/ 1471 w 10000"/>
                <a:gd name="connsiteY75" fmla="*/ 9903 h 10000"/>
                <a:gd name="connsiteX76" fmla="*/ 1614 w 10000"/>
                <a:gd name="connsiteY76" fmla="*/ 9926 h 10000"/>
                <a:gd name="connsiteX77" fmla="*/ 1760 w 10000"/>
                <a:gd name="connsiteY77" fmla="*/ 9948 h 10000"/>
                <a:gd name="connsiteX78" fmla="*/ 1906 w 10000"/>
                <a:gd name="connsiteY78" fmla="*/ 9965 h 10000"/>
                <a:gd name="connsiteX79" fmla="*/ 2052 w 10000"/>
                <a:gd name="connsiteY79" fmla="*/ 9980 h 10000"/>
                <a:gd name="connsiteX80" fmla="*/ 2202 w 10000"/>
                <a:gd name="connsiteY80" fmla="*/ 9990 h 10000"/>
                <a:gd name="connsiteX81" fmla="*/ 2350 w 10000"/>
                <a:gd name="connsiteY81" fmla="*/ 9995 h 10000"/>
                <a:gd name="connsiteX82" fmla="*/ 2498 w 10000"/>
                <a:gd name="connsiteY82" fmla="*/ 10000 h 10000"/>
                <a:gd name="connsiteX83" fmla="*/ 2677 w 10000"/>
                <a:gd name="connsiteY83" fmla="*/ 9995 h 10000"/>
                <a:gd name="connsiteX84" fmla="*/ 2850 w 10000"/>
                <a:gd name="connsiteY84" fmla="*/ 9988 h 10000"/>
                <a:gd name="connsiteX85" fmla="*/ 3024 w 10000"/>
                <a:gd name="connsiteY85" fmla="*/ 9975 h 10000"/>
                <a:gd name="connsiteX86" fmla="*/ 3195 w 10000"/>
                <a:gd name="connsiteY86" fmla="*/ 9953 h 10000"/>
                <a:gd name="connsiteX87" fmla="*/ 3368 w 10000"/>
                <a:gd name="connsiteY87" fmla="*/ 9931 h 10000"/>
                <a:gd name="connsiteX88" fmla="*/ 3538 w 10000"/>
                <a:gd name="connsiteY88" fmla="*/ 9898 h 10000"/>
                <a:gd name="connsiteX89" fmla="*/ 3709 w 10000"/>
                <a:gd name="connsiteY89" fmla="*/ 9866 h 10000"/>
                <a:gd name="connsiteX90" fmla="*/ 3877 w 10000"/>
                <a:gd name="connsiteY90" fmla="*/ 9824 h 10000"/>
                <a:gd name="connsiteX91" fmla="*/ 4042 w 10000"/>
                <a:gd name="connsiteY91" fmla="*/ 9779 h 10000"/>
                <a:gd name="connsiteX92" fmla="*/ 4210 w 10000"/>
                <a:gd name="connsiteY92" fmla="*/ 9730 h 10000"/>
                <a:gd name="connsiteX93" fmla="*/ 4372 w 10000"/>
                <a:gd name="connsiteY93" fmla="*/ 9673 h 10000"/>
                <a:gd name="connsiteX94" fmla="*/ 4536 w 10000"/>
                <a:gd name="connsiteY94" fmla="*/ 9616 h 10000"/>
                <a:gd name="connsiteX95" fmla="*/ 4697 w 10000"/>
                <a:gd name="connsiteY95" fmla="*/ 9552 h 10000"/>
                <a:gd name="connsiteX96" fmla="*/ 4857 w 10000"/>
                <a:gd name="connsiteY96" fmla="*/ 9482 h 10000"/>
                <a:gd name="connsiteX97" fmla="*/ 5014 w 10000"/>
                <a:gd name="connsiteY97" fmla="*/ 9405 h 10000"/>
                <a:gd name="connsiteX98" fmla="*/ 5171 w 10000"/>
                <a:gd name="connsiteY98" fmla="*/ 9329 h 10000"/>
                <a:gd name="connsiteX99" fmla="*/ 5326 w 10000"/>
                <a:gd name="connsiteY99" fmla="*/ 9244 h 10000"/>
                <a:gd name="connsiteX100" fmla="*/ 5480 w 10000"/>
                <a:gd name="connsiteY100" fmla="*/ 9158 h 10000"/>
                <a:gd name="connsiteX101" fmla="*/ 5631 w 10000"/>
                <a:gd name="connsiteY101" fmla="*/ 9063 h 10000"/>
                <a:gd name="connsiteX102" fmla="*/ 5781 w 10000"/>
                <a:gd name="connsiteY102" fmla="*/ 8967 h 10000"/>
                <a:gd name="connsiteX103" fmla="*/ 5931 w 10000"/>
                <a:gd name="connsiteY103" fmla="*/ 8865 h 10000"/>
                <a:gd name="connsiteX104" fmla="*/ 6075 w 10000"/>
                <a:gd name="connsiteY104" fmla="*/ 8759 h 10000"/>
                <a:gd name="connsiteX105" fmla="*/ 6221 w 10000"/>
                <a:gd name="connsiteY105" fmla="*/ 8652 h 10000"/>
                <a:gd name="connsiteX106" fmla="*/ 6364 w 10000"/>
                <a:gd name="connsiteY106" fmla="*/ 8536 h 10000"/>
                <a:gd name="connsiteX107" fmla="*/ 6505 w 10000"/>
                <a:gd name="connsiteY107" fmla="*/ 8417 h 10000"/>
                <a:gd name="connsiteX108" fmla="*/ 6642 w 10000"/>
                <a:gd name="connsiteY108" fmla="*/ 8295 h 10000"/>
                <a:gd name="connsiteX109" fmla="*/ 6780 w 10000"/>
                <a:gd name="connsiteY109" fmla="*/ 8169 h 10000"/>
                <a:gd name="connsiteX110" fmla="*/ 6913 w 10000"/>
                <a:gd name="connsiteY110" fmla="*/ 8040 h 10000"/>
                <a:gd name="connsiteX111" fmla="*/ 7045 w 10000"/>
                <a:gd name="connsiteY111" fmla="*/ 7904 h 10000"/>
                <a:gd name="connsiteX112" fmla="*/ 7175 w 10000"/>
                <a:gd name="connsiteY112" fmla="*/ 7768 h 10000"/>
                <a:gd name="connsiteX113" fmla="*/ 7304 w 10000"/>
                <a:gd name="connsiteY113" fmla="*/ 7624 h 10000"/>
                <a:gd name="connsiteX114" fmla="*/ 7429 w 10000"/>
                <a:gd name="connsiteY114" fmla="*/ 7480 h 10000"/>
                <a:gd name="connsiteX115" fmla="*/ 7552 w 10000"/>
                <a:gd name="connsiteY115" fmla="*/ 7329 h 10000"/>
                <a:gd name="connsiteX116" fmla="*/ 7673 w 10000"/>
                <a:gd name="connsiteY116" fmla="*/ 7178 h 10000"/>
                <a:gd name="connsiteX117" fmla="*/ 7792 w 10000"/>
                <a:gd name="connsiteY117" fmla="*/ 7024 h 10000"/>
                <a:gd name="connsiteX118" fmla="*/ 7907 w 10000"/>
                <a:gd name="connsiteY118" fmla="*/ 6861 h 10000"/>
                <a:gd name="connsiteX119" fmla="*/ 8022 w 10000"/>
                <a:gd name="connsiteY119" fmla="*/ 6697 h 10000"/>
                <a:gd name="connsiteX120" fmla="*/ 8133 w 10000"/>
                <a:gd name="connsiteY120" fmla="*/ 6534 h 10000"/>
                <a:gd name="connsiteX121" fmla="*/ 8240 w 10000"/>
                <a:gd name="connsiteY121" fmla="*/ 6365 h 10000"/>
                <a:gd name="connsiteX122" fmla="*/ 8347 w 10000"/>
                <a:gd name="connsiteY122" fmla="*/ 6189 h 10000"/>
                <a:gd name="connsiteX123" fmla="*/ 8450 w 10000"/>
                <a:gd name="connsiteY123" fmla="*/ 6016 h 10000"/>
                <a:gd name="connsiteX124" fmla="*/ 8552 w 10000"/>
                <a:gd name="connsiteY124" fmla="*/ 5835 h 10000"/>
                <a:gd name="connsiteX125" fmla="*/ 8650 w 10000"/>
                <a:gd name="connsiteY125" fmla="*/ 5652 h 10000"/>
                <a:gd name="connsiteX126" fmla="*/ 8745 w 10000"/>
                <a:gd name="connsiteY126" fmla="*/ 5468 h 10000"/>
                <a:gd name="connsiteX127" fmla="*/ 8837 w 10000"/>
                <a:gd name="connsiteY127" fmla="*/ 5278 h 10000"/>
                <a:gd name="connsiteX128" fmla="*/ 8927 w 10000"/>
                <a:gd name="connsiteY128" fmla="*/ 5089 h 10000"/>
                <a:gd name="connsiteX129" fmla="*/ 9014 w 10000"/>
                <a:gd name="connsiteY129" fmla="*/ 4893 h 10000"/>
                <a:gd name="connsiteX130" fmla="*/ 9098 w 10000"/>
                <a:gd name="connsiteY130" fmla="*/ 4698 h 10000"/>
                <a:gd name="connsiteX131" fmla="*/ 9178 w 10000"/>
                <a:gd name="connsiteY131" fmla="*/ 4500 h 10000"/>
                <a:gd name="connsiteX132" fmla="*/ 9256 w 10000"/>
                <a:gd name="connsiteY132" fmla="*/ 4294 h 10000"/>
                <a:gd name="connsiteX133" fmla="*/ 9330 w 10000"/>
                <a:gd name="connsiteY133" fmla="*/ 4091 h 10000"/>
                <a:gd name="connsiteX134" fmla="*/ 9401 w 10000"/>
                <a:gd name="connsiteY134" fmla="*/ 3885 h 10000"/>
                <a:gd name="connsiteX135" fmla="*/ 9470 w 10000"/>
                <a:gd name="connsiteY135" fmla="*/ 3674 h 10000"/>
                <a:gd name="connsiteX136" fmla="*/ 9535 w 10000"/>
                <a:gd name="connsiteY136" fmla="*/ 3464 h 10000"/>
                <a:gd name="connsiteX137" fmla="*/ 9599 w 10000"/>
                <a:gd name="connsiteY137" fmla="*/ 3248 h 10000"/>
                <a:gd name="connsiteX138" fmla="*/ 9656 w 10000"/>
                <a:gd name="connsiteY138" fmla="*/ 3030 h 10000"/>
                <a:gd name="connsiteX139" fmla="*/ 9711 w 10000"/>
                <a:gd name="connsiteY139" fmla="*/ 2815 h 10000"/>
                <a:gd name="connsiteX140" fmla="*/ 9763 w 10000"/>
                <a:gd name="connsiteY140" fmla="*/ 2592 h 10000"/>
                <a:gd name="connsiteX141" fmla="*/ 9813 w 10000"/>
                <a:gd name="connsiteY141" fmla="*/ 2369 h 10000"/>
                <a:gd name="connsiteX142" fmla="*/ 9856 w 10000"/>
                <a:gd name="connsiteY142" fmla="*/ 2143 h 10000"/>
                <a:gd name="connsiteX143" fmla="*/ 9898 w 10000"/>
                <a:gd name="connsiteY143" fmla="*/ 1918 h 10000"/>
                <a:gd name="connsiteX144" fmla="*/ 9936 w 10000"/>
                <a:gd name="connsiteY144" fmla="*/ 1690 h 10000"/>
                <a:gd name="connsiteX145" fmla="*/ 9970 w 10000"/>
                <a:gd name="connsiteY145" fmla="*/ 1457 h 10000"/>
                <a:gd name="connsiteX146" fmla="*/ 10000 w 10000"/>
                <a:gd name="connsiteY146" fmla="*/ 1222 h 10000"/>
                <a:gd name="connsiteX147" fmla="*/ 7611 w 10000"/>
                <a:gd name="connsiteY147" fmla="*/ 1876 h 10000"/>
                <a:gd name="connsiteX148" fmla="*/ 5615 w 10000"/>
                <a:gd name="connsiteY148"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2648 w 10000"/>
                <a:gd name="connsiteY63" fmla="*/ 3776 h 10000"/>
                <a:gd name="connsiteX64" fmla="*/ 0 w 10000"/>
                <a:gd name="connsiteY64" fmla="*/ 6085 h 10000"/>
                <a:gd name="connsiteX65" fmla="*/ 209 w 10000"/>
                <a:gd name="connsiteY65" fmla="*/ 9512 h 10000"/>
                <a:gd name="connsiteX66" fmla="*/ 344 w 10000"/>
                <a:gd name="connsiteY66" fmla="*/ 9569 h 10000"/>
                <a:gd name="connsiteX67" fmla="*/ 481 w 10000"/>
                <a:gd name="connsiteY67" fmla="*/ 9623 h 10000"/>
                <a:gd name="connsiteX68" fmla="*/ 621 w 10000"/>
                <a:gd name="connsiteY68" fmla="*/ 9673 h 10000"/>
                <a:gd name="connsiteX69" fmla="*/ 758 w 10000"/>
                <a:gd name="connsiteY69" fmla="*/ 9720 h 10000"/>
                <a:gd name="connsiteX70" fmla="*/ 899 w 10000"/>
                <a:gd name="connsiteY70" fmla="*/ 9765 h 10000"/>
                <a:gd name="connsiteX71" fmla="*/ 1040 w 10000"/>
                <a:gd name="connsiteY71" fmla="*/ 9804 h 10000"/>
                <a:gd name="connsiteX72" fmla="*/ 1182 w 10000"/>
                <a:gd name="connsiteY72" fmla="*/ 9839 h 10000"/>
                <a:gd name="connsiteX73" fmla="*/ 1325 w 10000"/>
                <a:gd name="connsiteY73" fmla="*/ 9874 h 10000"/>
                <a:gd name="connsiteX74" fmla="*/ 1471 w 10000"/>
                <a:gd name="connsiteY74" fmla="*/ 9903 h 10000"/>
                <a:gd name="connsiteX75" fmla="*/ 1614 w 10000"/>
                <a:gd name="connsiteY75" fmla="*/ 9926 h 10000"/>
                <a:gd name="connsiteX76" fmla="*/ 1760 w 10000"/>
                <a:gd name="connsiteY76" fmla="*/ 9948 h 10000"/>
                <a:gd name="connsiteX77" fmla="*/ 1906 w 10000"/>
                <a:gd name="connsiteY77" fmla="*/ 9965 h 10000"/>
                <a:gd name="connsiteX78" fmla="*/ 2052 w 10000"/>
                <a:gd name="connsiteY78" fmla="*/ 9980 h 10000"/>
                <a:gd name="connsiteX79" fmla="*/ 2202 w 10000"/>
                <a:gd name="connsiteY79" fmla="*/ 9990 h 10000"/>
                <a:gd name="connsiteX80" fmla="*/ 2350 w 10000"/>
                <a:gd name="connsiteY80" fmla="*/ 9995 h 10000"/>
                <a:gd name="connsiteX81" fmla="*/ 2498 w 10000"/>
                <a:gd name="connsiteY81" fmla="*/ 10000 h 10000"/>
                <a:gd name="connsiteX82" fmla="*/ 2677 w 10000"/>
                <a:gd name="connsiteY82" fmla="*/ 9995 h 10000"/>
                <a:gd name="connsiteX83" fmla="*/ 2850 w 10000"/>
                <a:gd name="connsiteY83" fmla="*/ 9988 h 10000"/>
                <a:gd name="connsiteX84" fmla="*/ 3024 w 10000"/>
                <a:gd name="connsiteY84" fmla="*/ 9975 h 10000"/>
                <a:gd name="connsiteX85" fmla="*/ 3195 w 10000"/>
                <a:gd name="connsiteY85" fmla="*/ 9953 h 10000"/>
                <a:gd name="connsiteX86" fmla="*/ 3368 w 10000"/>
                <a:gd name="connsiteY86" fmla="*/ 9931 h 10000"/>
                <a:gd name="connsiteX87" fmla="*/ 3538 w 10000"/>
                <a:gd name="connsiteY87" fmla="*/ 9898 h 10000"/>
                <a:gd name="connsiteX88" fmla="*/ 3709 w 10000"/>
                <a:gd name="connsiteY88" fmla="*/ 9866 h 10000"/>
                <a:gd name="connsiteX89" fmla="*/ 3877 w 10000"/>
                <a:gd name="connsiteY89" fmla="*/ 9824 h 10000"/>
                <a:gd name="connsiteX90" fmla="*/ 4042 w 10000"/>
                <a:gd name="connsiteY90" fmla="*/ 9779 h 10000"/>
                <a:gd name="connsiteX91" fmla="*/ 4210 w 10000"/>
                <a:gd name="connsiteY91" fmla="*/ 9730 h 10000"/>
                <a:gd name="connsiteX92" fmla="*/ 4372 w 10000"/>
                <a:gd name="connsiteY92" fmla="*/ 9673 h 10000"/>
                <a:gd name="connsiteX93" fmla="*/ 4536 w 10000"/>
                <a:gd name="connsiteY93" fmla="*/ 9616 h 10000"/>
                <a:gd name="connsiteX94" fmla="*/ 4697 w 10000"/>
                <a:gd name="connsiteY94" fmla="*/ 9552 h 10000"/>
                <a:gd name="connsiteX95" fmla="*/ 4857 w 10000"/>
                <a:gd name="connsiteY95" fmla="*/ 9482 h 10000"/>
                <a:gd name="connsiteX96" fmla="*/ 5014 w 10000"/>
                <a:gd name="connsiteY96" fmla="*/ 9405 h 10000"/>
                <a:gd name="connsiteX97" fmla="*/ 5171 w 10000"/>
                <a:gd name="connsiteY97" fmla="*/ 9329 h 10000"/>
                <a:gd name="connsiteX98" fmla="*/ 5326 w 10000"/>
                <a:gd name="connsiteY98" fmla="*/ 9244 h 10000"/>
                <a:gd name="connsiteX99" fmla="*/ 5480 w 10000"/>
                <a:gd name="connsiteY99" fmla="*/ 9158 h 10000"/>
                <a:gd name="connsiteX100" fmla="*/ 5631 w 10000"/>
                <a:gd name="connsiteY100" fmla="*/ 9063 h 10000"/>
                <a:gd name="connsiteX101" fmla="*/ 5781 w 10000"/>
                <a:gd name="connsiteY101" fmla="*/ 8967 h 10000"/>
                <a:gd name="connsiteX102" fmla="*/ 5931 w 10000"/>
                <a:gd name="connsiteY102" fmla="*/ 8865 h 10000"/>
                <a:gd name="connsiteX103" fmla="*/ 6075 w 10000"/>
                <a:gd name="connsiteY103" fmla="*/ 8759 h 10000"/>
                <a:gd name="connsiteX104" fmla="*/ 6221 w 10000"/>
                <a:gd name="connsiteY104" fmla="*/ 8652 h 10000"/>
                <a:gd name="connsiteX105" fmla="*/ 6364 w 10000"/>
                <a:gd name="connsiteY105" fmla="*/ 8536 h 10000"/>
                <a:gd name="connsiteX106" fmla="*/ 6505 w 10000"/>
                <a:gd name="connsiteY106" fmla="*/ 8417 h 10000"/>
                <a:gd name="connsiteX107" fmla="*/ 6642 w 10000"/>
                <a:gd name="connsiteY107" fmla="*/ 8295 h 10000"/>
                <a:gd name="connsiteX108" fmla="*/ 6780 w 10000"/>
                <a:gd name="connsiteY108" fmla="*/ 8169 h 10000"/>
                <a:gd name="connsiteX109" fmla="*/ 6913 w 10000"/>
                <a:gd name="connsiteY109" fmla="*/ 8040 h 10000"/>
                <a:gd name="connsiteX110" fmla="*/ 7045 w 10000"/>
                <a:gd name="connsiteY110" fmla="*/ 7904 h 10000"/>
                <a:gd name="connsiteX111" fmla="*/ 7175 w 10000"/>
                <a:gd name="connsiteY111" fmla="*/ 7768 h 10000"/>
                <a:gd name="connsiteX112" fmla="*/ 7304 w 10000"/>
                <a:gd name="connsiteY112" fmla="*/ 7624 h 10000"/>
                <a:gd name="connsiteX113" fmla="*/ 7429 w 10000"/>
                <a:gd name="connsiteY113" fmla="*/ 7480 h 10000"/>
                <a:gd name="connsiteX114" fmla="*/ 7552 w 10000"/>
                <a:gd name="connsiteY114" fmla="*/ 7329 h 10000"/>
                <a:gd name="connsiteX115" fmla="*/ 7673 w 10000"/>
                <a:gd name="connsiteY115" fmla="*/ 7178 h 10000"/>
                <a:gd name="connsiteX116" fmla="*/ 7792 w 10000"/>
                <a:gd name="connsiteY116" fmla="*/ 7024 h 10000"/>
                <a:gd name="connsiteX117" fmla="*/ 7907 w 10000"/>
                <a:gd name="connsiteY117" fmla="*/ 6861 h 10000"/>
                <a:gd name="connsiteX118" fmla="*/ 8022 w 10000"/>
                <a:gd name="connsiteY118" fmla="*/ 6697 h 10000"/>
                <a:gd name="connsiteX119" fmla="*/ 8133 w 10000"/>
                <a:gd name="connsiteY119" fmla="*/ 6534 h 10000"/>
                <a:gd name="connsiteX120" fmla="*/ 8240 w 10000"/>
                <a:gd name="connsiteY120" fmla="*/ 6365 h 10000"/>
                <a:gd name="connsiteX121" fmla="*/ 8347 w 10000"/>
                <a:gd name="connsiteY121" fmla="*/ 6189 h 10000"/>
                <a:gd name="connsiteX122" fmla="*/ 8450 w 10000"/>
                <a:gd name="connsiteY122" fmla="*/ 6016 h 10000"/>
                <a:gd name="connsiteX123" fmla="*/ 8552 w 10000"/>
                <a:gd name="connsiteY123" fmla="*/ 5835 h 10000"/>
                <a:gd name="connsiteX124" fmla="*/ 8650 w 10000"/>
                <a:gd name="connsiteY124" fmla="*/ 5652 h 10000"/>
                <a:gd name="connsiteX125" fmla="*/ 8745 w 10000"/>
                <a:gd name="connsiteY125" fmla="*/ 5468 h 10000"/>
                <a:gd name="connsiteX126" fmla="*/ 8837 w 10000"/>
                <a:gd name="connsiteY126" fmla="*/ 5278 h 10000"/>
                <a:gd name="connsiteX127" fmla="*/ 8927 w 10000"/>
                <a:gd name="connsiteY127" fmla="*/ 5089 h 10000"/>
                <a:gd name="connsiteX128" fmla="*/ 9014 w 10000"/>
                <a:gd name="connsiteY128" fmla="*/ 4893 h 10000"/>
                <a:gd name="connsiteX129" fmla="*/ 9098 w 10000"/>
                <a:gd name="connsiteY129" fmla="*/ 4698 h 10000"/>
                <a:gd name="connsiteX130" fmla="*/ 9178 w 10000"/>
                <a:gd name="connsiteY130" fmla="*/ 4500 h 10000"/>
                <a:gd name="connsiteX131" fmla="*/ 9256 w 10000"/>
                <a:gd name="connsiteY131" fmla="*/ 4294 h 10000"/>
                <a:gd name="connsiteX132" fmla="*/ 9330 w 10000"/>
                <a:gd name="connsiteY132" fmla="*/ 4091 h 10000"/>
                <a:gd name="connsiteX133" fmla="*/ 9401 w 10000"/>
                <a:gd name="connsiteY133" fmla="*/ 3885 h 10000"/>
                <a:gd name="connsiteX134" fmla="*/ 9470 w 10000"/>
                <a:gd name="connsiteY134" fmla="*/ 3674 h 10000"/>
                <a:gd name="connsiteX135" fmla="*/ 9535 w 10000"/>
                <a:gd name="connsiteY135" fmla="*/ 3464 h 10000"/>
                <a:gd name="connsiteX136" fmla="*/ 9599 w 10000"/>
                <a:gd name="connsiteY136" fmla="*/ 3248 h 10000"/>
                <a:gd name="connsiteX137" fmla="*/ 9656 w 10000"/>
                <a:gd name="connsiteY137" fmla="*/ 3030 h 10000"/>
                <a:gd name="connsiteX138" fmla="*/ 9711 w 10000"/>
                <a:gd name="connsiteY138" fmla="*/ 2815 h 10000"/>
                <a:gd name="connsiteX139" fmla="*/ 9763 w 10000"/>
                <a:gd name="connsiteY139" fmla="*/ 2592 h 10000"/>
                <a:gd name="connsiteX140" fmla="*/ 9813 w 10000"/>
                <a:gd name="connsiteY140" fmla="*/ 2369 h 10000"/>
                <a:gd name="connsiteX141" fmla="*/ 9856 w 10000"/>
                <a:gd name="connsiteY141" fmla="*/ 2143 h 10000"/>
                <a:gd name="connsiteX142" fmla="*/ 9898 w 10000"/>
                <a:gd name="connsiteY142" fmla="*/ 1918 h 10000"/>
                <a:gd name="connsiteX143" fmla="*/ 9936 w 10000"/>
                <a:gd name="connsiteY143" fmla="*/ 1690 h 10000"/>
                <a:gd name="connsiteX144" fmla="*/ 9970 w 10000"/>
                <a:gd name="connsiteY144" fmla="*/ 1457 h 10000"/>
                <a:gd name="connsiteX145" fmla="*/ 10000 w 10000"/>
                <a:gd name="connsiteY145" fmla="*/ 1222 h 10000"/>
                <a:gd name="connsiteX146" fmla="*/ 7611 w 10000"/>
                <a:gd name="connsiteY146" fmla="*/ 1876 h 10000"/>
                <a:gd name="connsiteX147" fmla="*/ 5615 w 10000"/>
                <a:gd name="connsiteY147"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2721 w 10000"/>
                <a:gd name="connsiteY62" fmla="*/ 3771 h 10000"/>
                <a:gd name="connsiteX63" fmla="*/ 0 w 10000"/>
                <a:gd name="connsiteY63" fmla="*/ 6085 h 10000"/>
                <a:gd name="connsiteX64" fmla="*/ 209 w 10000"/>
                <a:gd name="connsiteY64" fmla="*/ 9512 h 10000"/>
                <a:gd name="connsiteX65" fmla="*/ 344 w 10000"/>
                <a:gd name="connsiteY65" fmla="*/ 9569 h 10000"/>
                <a:gd name="connsiteX66" fmla="*/ 481 w 10000"/>
                <a:gd name="connsiteY66" fmla="*/ 9623 h 10000"/>
                <a:gd name="connsiteX67" fmla="*/ 621 w 10000"/>
                <a:gd name="connsiteY67" fmla="*/ 9673 h 10000"/>
                <a:gd name="connsiteX68" fmla="*/ 758 w 10000"/>
                <a:gd name="connsiteY68" fmla="*/ 9720 h 10000"/>
                <a:gd name="connsiteX69" fmla="*/ 899 w 10000"/>
                <a:gd name="connsiteY69" fmla="*/ 9765 h 10000"/>
                <a:gd name="connsiteX70" fmla="*/ 1040 w 10000"/>
                <a:gd name="connsiteY70" fmla="*/ 9804 h 10000"/>
                <a:gd name="connsiteX71" fmla="*/ 1182 w 10000"/>
                <a:gd name="connsiteY71" fmla="*/ 9839 h 10000"/>
                <a:gd name="connsiteX72" fmla="*/ 1325 w 10000"/>
                <a:gd name="connsiteY72" fmla="*/ 9874 h 10000"/>
                <a:gd name="connsiteX73" fmla="*/ 1471 w 10000"/>
                <a:gd name="connsiteY73" fmla="*/ 9903 h 10000"/>
                <a:gd name="connsiteX74" fmla="*/ 1614 w 10000"/>
                <a:gd name="connsiteY74" fmla="*/ 9926 h 10000"/>
                <a:gd name="connsiteX75" fmla="*/ 1760 w 10000"/>
                <a:gd name="connsiteY75" fmla="*/ 9948 h 10000"/>
                <a:gd name="connsiteX76" fmla="*/ 1906 w 10000"/>
                <a:gd name="connsiteY76" fmla="*/ 9965 h 10000"/>
                <a:gd name="connsiteX77" fmla="*/ 2052 w 10000"/>
                <a:gd name="connsiteY77" fmla="*/ 9980 h 10000"/>
                <a:gd name="connsiteX78" fmla="*/ 2202 w 10000"/>
                <a:gd name="connsiteY78" fmla="*/ 9990 h 10000"/>
                <a:gd name="connsiteX79" fmla="*/ 2350 w 10000"/>
                <a:gd name="connsiteY79" fmla="*/ 9995 h 10000"/>
                <a:gd name="connsiteX80" fmla="*/ 2498 w 10000"/>
                <a:gd name="connsiteY80" fmla="*/ 10000 h 10000"/>
                <a:gd name="connsiteX81" fmla="*/ 2677 w 10000"/>
                <a:gd name="connsiteY81" fmla="*/ 9995 h 10000"/>
                <a:gd name="connsiteX82" fmla="*/ 2850 w 10000"/>
                <a:gd name="connsiteY82" fmla="*/ 9988 h 10000"/>
                <a:gd name="connsiteX83" fmla="*/ 3024 w 10000"/>
                <a:gd name="connsiteY83" fmla="*/ 9975 h 10000"/>
                <a:gd name="connsiteX84" fmla="*/ 3195 w 10000"/>
                <a:gd name="connsiteY84" fmla="*/ 9953 h 10000"/>
                <a:gd name="connsiteX85" fmla="*/ 3368 w 10000"/>
                <a:gd name="connsiteY85" fmla="*/ 9931 h 10000"/>
                <a:gd name="connsiteX86" fmla="*/ 3538 w 10000"/>
                <a:gd name="connsiteY86" fmla="*/ 9898 h 10000"/>
                <a:gd name="connsiteX87" fmla="*/ 3709 w 10000"/>
                <a:gd name="connsiteY87" fmla="*/ 9866 h 10000"/>
                <a:gd name="connsiteX88" fmla="*/ 3877 w 10000"/>
                <a:gd name="connsiteY88" fmla="*/ 9824 h 10000"/>
                <a:gd name="connsiteX89" fmla="*/ 4042 w 10000"/>
                <a:gd name="connsiteY89" fmla="*/ 9779 h 10000"/>
                <a:gd name="connsiteX90" fmla="*/ 4210 w 10000"/>
                <a:gd name="connsiteY90" fmla="*/ 9730 h 10000"/>
                <a:gd name="connsiteX91" fmla="*/ 4372 w 10000"/>
                <a:gd name="connsiteY91" fmla="*/ 9673 h 10000"/>
                <a:gd name="connsiteX92" fmla="*/ 4536 w 10000"/>
                <a:gd name="connsiteY92" fmla="*/ 9616 h 10000"/>
                <a:gd name="connsiteX93" fmla="*/ 4697 w 10000"/>
                <a:gd name="connsiteY93" fmla="*/ 9552 h 10000"/>
                <a:gd name="connsiteX94" fmla="*/ 4857 w 10000"/>
                <a:gd name="connsiteY94" fmla="*/ 9482 h 10000"/>
                <a:gd name="connsiteX95" fmla="*/ 5014 w 10000"/>
                <a:gd name="connsiteY95" fmla="*/ 9405 h 10000"/>
                <a:gd name="connsiteX96" fmla="*/ 5171 w 10000"/>
                <a:gd name="connsiteY96" fmla="*/ 9329 h 10000"/>
                <a:gd name="connsiteX97" fmla="*/ 5326 w 10000"/>
                <a:gd name="connsiteY97" fmla="*/ 9244 h 10000"/>
                <a:gd name="connsiteX98" fmla="*/ 5480 w 10000"/>
                <a:gd name="connsiteY98" fmla="*/ 9158 h 10000"/>
                <a:gd name="connsiteX99" fmla="*/ 5631 w 10000"/>
                <a:gd name="connsiteY99" fmla="*/ 9063 h 10000"/>
                <a:gd name="connsiteX100" fmla="*/ 5781 w 10000"/>
                <a:gd name="connsiteY100" fmla="*/ 8967 h 10000"/>
                <a:gd name="connsiteX101" fmla="*/ 5931 w 10000"/>
                <a:gd name="connsiteY101" fmla="*/ 8865 h 10000"/>
                <a:gd name="connsiteX102" fmla="*/ 6075 w 10000"/>
                <a:gd name="connsiteY102" fmla="*/ 8759 h 10000"/>
                <a:gd name="connsiteX103" fmla="*/ 6221 w 10000"/>
                <a:gd name="connsiteY103" fmla="*/ 8652 h 10000"/>
                <a:gd name="connsiteX104" fmla="*/ 6364 w 10000"/>
                <a:gd name="connsiteY104" fmla="*/ 8536 h 10000"/>
                <a:gd name="connsiteX105" fmla="*/ 6505 w 10000"/>
                <a:gd name="connsiteY105" fmla="*/ 8417 h 10000"/>
                <a:gd name="connsiteX106" fmla="*/ 6642 w 10000"/>
                <a:gd name="connsiteY106" fmla="*/ 8295 h 10000"/>
                <a:gd name="connsiteX107" fmla="*/ 6780 w 10000"/>
                <a:gd name="connsiteY107" fmla="*/ 8169 h 10000"/>
                <a:gd name="connsiteX108" fmla="*/ 6913 w 10000"/>
                <a:gd name="connsiteY108" fmla="*/ 8040 h 10000"/>
                <a:gd name="connsiteX109" fmla="*/ 7045 w 10000"/>
                <a:gd name="connsiteY109" fmla="*/ 7904 h 10000"/>
                <a:gd name="connsiteX110" fmla="*/ 7175 w 10000"/>
                <a:gd name="connsiteY110" fmla="*/ 7768 h 10000"/>
                <a:gd name="connsiteX111" fmla="*/ 7304 w 10000"/>
                <a:gd name="connsiteY111" fmla="*/ 7624 h 10000"/>
                <a:gd name="connsiteX112" fmla="*/ 7429 w 10000"/>
                <a:gd name="connsiteY112" fmla="*/ 7480 h 10000"/>
                <a:gd name="connsiteX113" fmla="*/ 7552 w 10000"/>
                <a:gd name="connsiteY113" fmla="*/ 7329 h 10000"/>
                <a:gd name="connsiteX114" fmla="*/ 7673 w 10000"/>
                <a:gd name="connsiteY114" fmla="*/ 7178 h 10000"/>
                <a:gd name="connsiteX115" fmla="*/ 7792 w 10000"/>
                <a:gd name="connsiteY115" fmla="*/ 7024 h 10000"/>
                <a:gd name="connsiteX116" fmla="*/ 7907 w 10000"/>
                <a:gd name="connsiteY116" fmla="*/ 6861 h 10000"/>
                <a:gd name="connsiteX117" fmla="*/ 8022 w 10000"/>
                <a:gd name="connsiteY117" fmla="*/ 6697 h 10000"/>
                <a:gd name="connsiteX118" fmla="*/ 8133 w 10000"/>
                <a:gd name="connsiteY118" fmla="*/ 6534 h 10000"/>
                <a:gd name="connsiteX119" fmla="*/ 8240 w 10000"/>
                <a:gd name="connsiteY119" fmla="*/ 6365 h 10000"/>
                <a:gd name="connsiteX120" fmla="*/ 8347 w 10000"/>
                <a:gd name="connsiteY120" fmla="*/ 6189 h 10000"/>
                <a:gd name="connsiteX121" fmla="*/ 8450 w 10000"/>
                <a:gd name="connsiteY121" fmla="*/ 6016 h 10000"/>
                <a:gd name="connsiteX122" fmla="*/ 8552 w 10000"/>
                <a:gd name="connsiteY122" fmla="*/ 5835 h 10000"/>
                <a:gd name="connsiteX123" fmla="*/ 8650 w 10000"/>
                <a:gd name="connsiteY123" fmla="*/ 5652 h 10000"/>
                <a:gd name="connsiteX124" fmla="*/ 8745 w 10000"/>
                <a:gd name="connsiteY124" fmla="*/ 5468 h 10000"/>
                <a:gd name="connsiteX125" fmla="*/ 8837 w 10000"/>
                <a:gd name="connsiteY125" fmla="*/ 5278 h 10000"/>
                <a:gd name="connsiteX126" fmla="*/ 8927 w 10000"/>
                <a:gd name="connsiteY126" fmla="*/ 5089 h 10000"/>
                <a:gd name="connsiteX127" fmla="*/ 9014 w 10000"/>
                <a:gd name="connsiteY127" fmla="*/ 4893 h 10000"/>
                <a:gd name="connsiteX128" fmla="*/ 9098 w 10000"/>
                <a:gd name="connsiteY128" fmla="*/ 4698 h 10000"/>
                <a:gd name="connsiteX129" fmla="*/ 9178 w 10000"/>
                <a:gd name="connsiteY129" fmla="*/ 4500 h 10000"/>
                <a:gd name="connsiteX130" fmla="*/ 9256 w 10000"/>
                <a:gd name="connsiteY130" fmla="*/ 4294 h 10000"/>
                <a:gd name="connsiteX131" fmla="*/ 9330 w 10000"/>
                <a:gd name="connsiteY131" fmla="*/ 4091 h 10000"/>
                <a:gd name="connsiteX132" fmla="*/ 9401 w 10000"/>
                <a:gd name="connsiteY132" fmla="*/ 3885 h 10000"/>
                <a:gd name="connsiteX133" fmla="*/ 9470 w 10000"/>
                <a:gd name="connsiteY133" fmla="*/ 3674 h 10000"/>
                <a:gd name="connsiteX134" fmla="*/ 9535 w 10000"/>
                <a:gd name="connsiteY134" fmla="*/ 3464 h 10000"/>
                <a:gd name="connsiteX135" fmla="*/ 9599 w 10000"/>
                <a:gd name="connsiteY135" fmla="*/ 3248 h 10000"/>
                <a:gd name="connsiteX136" fmla="*/ 9656 w 10000"/>
                <a:gd name="connsiteY136" fmla="*/ 3030 h 10000"/>
                <a:gd name="connsiteX137" fmla="*/ 9711 w 10000"/>
                <a:gd name="connsiteY137" fmla="*/ 2815 h 10000"/>
                <a:gd name="connsiteX138" fmla="*/ 9763 w 10000"/>
                <a:gd name="connsiteY138" fmla="*/ 2592 h 10000"/>
                <a:gd name="connsiteX139" fmla="*/ 9813 w 10000"/>
                <a:gd name="connsiteY139" fmla="*/ 2369 h 10000"/>
                <a:gd name="connsiteX140" fmla="*/ 9856 w 10000"/>
                <a:gd name="connsiteY140" fmla="*/ 2143 h 10000"/>
                <a:gd name="connsiteX141" fmla="*/ 9898 w 10000"/>
                <a:gd name="connsiteY141" fmla="*/ 1918 h 10000"/>
                <a:gd name="connsiteX142" fmla="*/ 9936 w 10000"/>
                <a:gd name="connsiteY142" fmla="*/ 1690 h 10000"/>
                <a:gd name="connsiteX143" fmla="*/ 9970 w 10000"/>
                <a:gd name="connsiteY143" fmla="*/ 1457 h 10000"/>
                <a:gd name="connsiteX144" fmla="*/ 10000 w 10000"/>
                <a:gd name="connsiteY144" fmla="*/ 1222 h 10000"/>
                <a:gd name="connsiteX145" fmla="*/ 7611 w 10000"/>
                <a:gd name="connsiteY145" fmla="*/ 1876 h 10000"/>
                <a:gd name="connsiteX146" fmla="*/ 5615 w 10000"/>
                <a:gd name="connsiteY146"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2796 w 10000"/>
                <a:gd name="connsiteY61" fmla="*/ 3761 h 10000"/>
                <a:gd name="connsiteX62" fmla="*/ 0 w 10000"/>
                <a:gd name="connsiteY62" fmla="*/ 6085 h 10000"/>
                <a:gd name="connsiteX63" fmla="*/ 209 w 10000"/>
                <a:gd name="connsiteY63" fmla="*/ 9512 h 10000"/>
                <a:gd name="connsiteX64" fmla="*/ 344 w 10000"/>
                <a:gd name="connsiteY64" fmla="*/ 9569 h 10000"/>
                <a:gd name="connsiteX65" fmla="*/ 481 w 10000"/>
                <a:gd name="connsiteY65" fmla="*/ 9623 h 10000"/>
                <a:gd name="connsiteX66" fmla="*/ 621 w 10000"/>
                <a:gd name="connsiteY66" fmla="*/ 9673 h 10000"/>
                <a:gd name="connsiteX67" fmla="*/ 758 w 10000"/>
                <a:gd name="connsiteY67" fmla="*/ 9720 h 10000"/>
                <a:gd name="connsiteX68" fmla="*/ 899 w 10000"/>
                <a:gd name="connsiteY68" fmla="*/ 9765 h 10000"/>
                <a:gd name="connsiteX69" fmla="*/ 1040 w 10000"/>
                <a:gd name="connsiteY69" fmla="*/ 9804 h 10000"/>
                <a:gd name="connsiteX70" fmla="*/ 1182 w 10000"/>
                <a:gd name="connsiteY70" fmla="*/ 9839 h 10000"/>
                <a:gd name="connsiteX71" fmla="*/ 1325 w 10000"/>
                <a:gd name="connsiteY71" fmla="*/ 9874 h 10000"/>
                <a:gd name="connsiteX72" fmla="*/ 1471 w 10000"/>
                <a:gd name="connsiteY72" fmla="*/ 9903 h 10000"/>
                <a:gd name="connsiteX73" fmla="*/ 1614 w 10000"/>
                <a:gd name="connsiteY73" fmla="*/ 9926 h 10000"/>
                <a:gd name="connsiteX74" fmla="*/ 1760 w 10000"/>
                <a:gd name="connsiteY74" fmla="*/ 9948 h 10000"/>
                <a:gd name="connsiteX75" fmla="*/ 1906 w 10000"/>
                <a:gd name="connsiteY75" fmla="*/ 9965 h 10000"/>
                <a:gd name="connsiteX76" fmla="*/ 2052 w 10000"/>
                <a:gd name="connsiteY76" fmla="*/ 9980 h 10000"/>
                <a:gd name="connsiteX77" fmla="*/ 2202 w 10000"/>
                <a:gd name="connsiteY77" fmla="*/ 9990 h 10000"/>
                <a:gd name="connsiteX78" fmla="*/ 2350 w 10000"/>
                <a:gd name="connsiteY78" fmla="*/ 9995 h 10000"/>
                <a:gd name="connsiteX79" fmla="*/ 2498 w 10000"/>
                <a:gd name="connsiteY79" fmla="*/ 10000 h 10000"/>
                <a:gd name="connsiteX80" fmla="*/ 2677 w 10000"/>
                <a:gd name="connsiteY80" fmla="*/ 9995 h 10000"/>
                <a:gd name="connsiteX81" fmla="*/ 2850 w 10000"/>
                <a:gd name="connsiteY81" fmla="*/ 9988 h 10000"/>
                <a:gd name="connsiteX82" fmla="*/ 3024 w 10000"/>
                <a:gd name="connsiteY82" fmla="*/ 9975 h 10000"/>
                <a:gd name="connsiteX83" fmla="*/ 3195 w 10000"/>
                <a:gd name="connsiteY83" fmla="*/ 9953 h 10000"/>
                <a:gd name="connsiteX84" fmla="*/ 3368 w 10000"/>
                <a:gd name="connsiteY84" fmla="*/ 9931 h 10000"/>
                <a:gd name="connsiteX85" fmla="*/ 3538 w 10000"/>
                <a:gd name="connsiteY85" fmla="*/ 9898 h 10000"/>
                <a:gd name="connsiteX86" fmla="*/ 3709 w 10000"/>
                <a:gd name="connsiteY86" fmla="*/ 9866 h 10000"/>
                <a:gd name="connsiteX87" fmla="*/ 3877 w 10000"/>
                <a:gd name="connsiteY87" fmla="*/ 9824 h 10000"/>
                <a:gd name="connsiteX88" fmla="*/ 4042 w 10000"/>
                <a:gd name="connsiteY88" fmla="*/ 9779 h 10000"/>
                <a:gd name="connsiteX89" fmla="*/ 4210 w 10000"/>
                <a:gd name="connsiteY89" fmla="*/ 9730 h 10000"/>
                <a:gd name="connsiteX90" fmla="*/ 4372 w 10000"/>
                <a:gd name="connsiteY90" fmla="*/ 9673 h 10000"/>
                <a:gd name="connsiteX91" fmla="*/ 4536 w 10000"/>
                <a:gd name="connsiteY91" fmla="*/ 9616 h 10000"/>
                <a:gd name="connsiteX92" fmla="*/ 4697 w 10000"/>
                <a:gd name="connsiteY92" fmla="*/ 9552 h 10000"/>
                <a:gd name="connsiteX93" fmla="*/ 4857 w 10000"/>
                <a:gd name="connsiteY93" fmla="*/ 9482 h 10000"/>
                <a:gd name="connsiteX94" fmla="*/ 5014 w 10000"/>
                <a:gd name="connsiteY94" fmla="*/ 9405 h 10000"/>
                <a:gd name="connsiteX95" fmla="*/ 5171 w 10000"/>
                <a:gd name="connsiteY95" fmla="*/ 9329 h 10000"/>
                <a:gd name="connsiteX96" fmla="*/ 5326 w 10000"/>
                <a:gd name="connsiteY96" fmla="*/ 9244 h 10000"/>
                <a:gd name="connsiteX97" fmla="*/ 5480 w 10000"/>
                <a:gd name="connsiteY97" fmla="*/ 9158 h 10000"/>
                <a:gd name="connsiteX98" fmla="*/ 5631 w 10000"/>
                <a:gd name="connsiteY98" fmla="*/ 9063 h 10000"/>
                <a:gd name="connsiteX99" fmla="*/ 5781 w 10000"/>
                <a:gd name="connsiteY99" fmla="*/ 8967 h 10000"/>
                <a:gd name="connsiteX100" fmla="*/ 5931 w 10000"/>
                <a:gd name="connsiteY100" fmla="*/ 8865 h 10000"/>
                <a:gd name="connsiteX101" fmla="*/ 6075 w 10000"/>
                <a:gd name="connsiteY101" fmla="*/ 8759 h 10000"/>
                <a:gd name="connsiteX102" fmla="*/ 6221 w 10000"/>
                <a:gd name="connsiteY102" fmla="*/ 8652 h 10000"/>
                <a:gd name="connsiteX103" fmla="*/ 6364 w 10000"/>
                <a:gd name="connsiteY103" fmla="*/ 8536 h 10000"/>
                <a:gd name="connsiteX104" fmla="*/ 6505 w 10000"/>
                <a:gd name="connsiteY104" fmla="*/ 8417 h 10000"/>
                <a:gd name="connsiteX105" fmla="*/ 6642 w 10000"/>
                <a:gd name="connsiteY105" fmla="*/ 8295 h 10000"/>
                <a:gd name="connsiteX106" fmla="*/ 6780 w 10000"/>
                <a:gd name="connsiteY106" fmla="*/ 8169 h 10000"/>
                <a:gd name="connsiteX107" fmla="*/ 6913 w 10000"/>
                <a:gd name="connsiteY107" fmla="*/ 8040 h 10000"/>
                <a:gd name="connsiteX108" fmla="*/ 7045 w 10000"/>
                <a:gd name="connsiteY108" fmla="*/ 7904 h 10000"/>
                <a:gd name="connsiteX109" fmla="*/ 7175 w 10000"/>
                <a:gd name="connsiteY109" fmla="*/ 7768 h 10000"/>
                <a:gd name="connsiteX110" fmla="*/ 7304 w 10000"/>
                <a:gd name="connsiteY110" fmla="*/ 7624 h 10000"/>
                <a:gd name="connsiteX111" fmla="*/ 7429 w 10000"/>
                <a:gd name="connsiteY111" fmla="*/ 7480 h 10000"/>
                <a:gd name="connsiteX112" fmla="*/ 7552 w 10000"/>
                <a:gd name="connsiteY112" fmla="*/ 7329 h 10000"/>
                <a:gd name="connsiteX113" fmla="*/ 7673 w 10000"/>
                <a:gd name="connsiteY113" fmla="*/ 7178 h 10000"/>
                <a:gd name="connsiteX114" fmla="*/ 7792 w 10000"/>
                <a:gd name="connsiteY114" fmla="*/ 7024 h 10000"/>
                <a:gd name="connsiteX115" fmla="*/ 7907 w 10000"/>
                <a:gd name="connsiteY115" fmla="*/ 6861 h 10000"/>
                <a:gd name="connsiteX116" fmla="*/ 8022 w 10000"/>
                <a:gd name="connsiteY116" fmla="*/ 6697 h 10000"/>
                <a:gd name="connsiteX117" fmla="*/ 8133 w 10000"/>
                <a:gd name="connsiteY117" fmla="*/ 6534 h 10000"/>
                <a:gd name="connsiteX118" fmla="*/ 8240 w 10000"/>
                <a:gd name="connsiteY118" fmla="*/ 6365 h 10000"/>
                <a:gd name="connsiteX119" fmla="*/ 8347 w 10000"/>
                <a:gd name="connsiteY119" fmla="*/ 6189 h 10000"/>
                <a:gd name="connsiteX120" fmla="*/ 8450 w 10000"/>
                <a:gd name="connsiteY120" fmla="*/ 6016 h 10000"/>
                <a:gd name="connsiteX121" fmla="*/ 8552 w 10000"/>
                <a:gd name="connsiteY121" fmla="*/ 5835 h 10000"/>
                <a:gd name="connsiteX122" fmla="*/ 8650 w 10000"/>
                <a:gd name="connsiteY122" fmla="*/ 5652 h 10000"/>
                <a:gd name="connsiteX123" fmla="*/ 8745 w 10000"/>
                <a:gd name="connsiteY123" fmla="*/ 5468 h 10000"/>
                <a:gd name="connsiteX124" fmla="*/ 8837 w 10000"/>
                <a:gd name="connsiteY124" fmla="*/ 5278 h 10000"/>
                <a:gd name="connsiteX125" fmla="*/ 8927 w 10000"/>
                <a:gd name="connsiteY125" fmla="*/ 5089 h 10000"/>
                <a:gd name="connsiteX126" fmla="*/ 9014 w 10000"/>
                <a:gd name="connsiteY126" fmla="*/ 4893 h 10000"/>
                <a:gd name="connsiteX127" fmla="*/ 9098 w 10000"/>
                <a:gd name="connsiteY127" fmla="*/ 4698 h 10000"/>
                <a:gd name="connsiteX128" fmla="*/ 9178 w 10000"/>
                <a:gd name="connsiteY128" fmla="*/ 4500 h 10000"/>
                <a:gd name="connsiteX129" fmla="*/ 9256 w 10000"/>
                <a:gd name="connsiteY129" fmla="*/ 4294 h 10000"/>
                <a:gd name="connsiteX130" fmla="*/ 9330 w 10000"/>
                <a:gd name="connsiteY130" fmla="*/ 4091 h 10000"/>
                <a:gd name="connsiteX131" fmla="*/ 9401 w 10000"/>
                <a:gd name="connsiteY131" fmla="*/ 3885 h 10000"/>
                <a:gd name="connsiteX132" fmla="*/ 9470 w 10000"/>
                <a:gd name="connsiteY132" fmla="*/ 3674 h 10000"/>
                <a:gd name="connsiteX133" fmla="*/ 9535 w 10000"/>
                <a:gd name="connsiteY133" fmla="*/ 3464 h 10000"/>
                <a:gd name="connsiteX134" fmla="*/ 9599 w 10000"/>
                <a:gd name="connsiteY134" fmla="*/ 3248 h 10000"/>
                <a:gd name="connsiteX135" fmla="*/ 9656 w 10000"/>
                <a:gd name="connsiteY135" fmla="*/ 3030 h 10000"/>
                <a:gd name="connsiteX136" fmla="*/ 9711 w 10000"/>
                <a:gd name="connsiteY136" fmla="*/ 2815 h 10000"/>
                <a:gd name="connsiteX137" fmla="*/ 9763 w 10000"/>
                <a:gd name="connsiteY137" fmla="*/ 2592 h 10000"/>
                <a:gd name="connsiteX138" fmla="*/ 9813 w 10000"/>
                <a:gd name="connsiteY138" fmla="*/ 2369 h 10000"/>
                <a:gd name="connsiteX139" fmla="*/ 9856 w 10000"/>
                <a:gd name="connsiteY139" fmla="*/ 2143 h 10000"/>
                <a:gd name="connsiteX140" fmla="*/ 9898 w 10000"/>
                <a:gd name="connsiteY140" fmla="*/ 1918 h 10000"/>
                <a:gd name="connsiteX141" fmla="*/ 9936 w 10000"/>
                <a:gd name="connsiteY141" fmla="*/ 1690 h 10000"/>
                <a:gd name="connsiteX142" fmla="*/ 9970 w 10000"/>
                <a:gd name="connsiteY142" fmla="*/ 1457 h 10000"/>
                <a:gd name="connsiteX143" fmla="*/ 10000 w 10000"/>
                <a:gd name="connsiteY143" fmla="*/ 1222 h 10000"/>
                <a:gd name="connsiteX144" fmla="*/ 7611 w 10000"/>
                <a:gd name="connsiteY144" fmla="*/ 1876 h 10000"/>
                <a:gd name="connsiteX145" fmla="*/ 5615 w 10000"/>
                <a:gd name="connsiteY145"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2867 w 10000"/>
                <a:gd name="connsiteY60" fmla="*/ 3754 h 10000"/>
                <a:gd name="connsiteX61" fmla="*/ 0 w 10000"/>
                <a:gd name="connsiteY61" fmla="*/ 6085 h 10000"/>
                <a:gd name="connsiteX62" fmla="*/ 209 w 10000"/>
                <a:gd name="connsiteY62" fmla="*/ 9512 h 10000"/>
                <a:gd name="connsiteX63" fmla="*/ 344 w 10000"/>
                <a:gd name="connsiteY63" fmla="*/ 9569 h 10000"/>
                <a:gd name="connsiteX64" fmla="*/ 481 w 10000"/>
                <a:gd name="connsiteY64" fmla="*/ 9623 h 10000"/>
                <a:gd name="connsiteX65" fmla="*/ 621 w 10000"/>
                <a:gd name="connsiteY65" fmla="*/ 9673 h 10000"/>
                <a:gd name="connsiteX66" fmla="*/ 758 w 10000"/>
                <a:gd name="connsiteY66" fmla="*/ 9720 h 10000"/>
                <a:gd name="connsiteX67" fmla="*/ 899 w 10000"/>
                <a:gd name="connsiteY67" fmla="*/ 9765 h 10000"/>
                <a:gd name="connsiteX68" fmla="*/ 1040 w 10000"/>
                <a:gd name="connsiteY68" fmla="*/ 9804 h 10000"/>
                <a:gd name="connsiteX69" fmla="*/ 1182 w 10000"/>
                <a:gd name="connsiteY69" fmla="*/ 9839 h 10000"/>
                <a:gd name="connsiteX70" fmla="*/ 1325 w 10000"/>
                <a:gd name="connsiteY70" fmla="*/ 9874 h 10000"/>
                <a:gd name="connsiteX71" fmla="*/ 1471 w 10000"/>
                <a:gd name="connsiteY71" fmla="*/ 9903 h 10000"/>
                <a:gd name="connsiteX72" fmla="*/ 1614 w 10000"/>
                <a:gd name="connsiteY72" fmla="*/ 9926 h 10000"/>
                <a:gd name="connsiteX73" fmla="*/ 1760 w 10000"/>
                <a:gd name="connsiteY73" fmla="*/ 9948 h 10000"/>
                <a:gd name="connsiteX74" fmla="*/ 1906 w 10000"/>
                <a:gd name="connsiteY74" fmla="*/ 9965 h 10000"/>
                <a:gd name="connsiteX75" fmla="*/ 2052 w 10000"/>
                <a:gd name="connsiteY75" fmla="*/ 9980 h 10000"/>
                <a:gd name="connsiteX76" fmla="*/ 2202 w 10000"/>
                <a:gd name="connsiteY76" fmla="*/ 9990 h 10000"/>
                <a:gd name="connsiteX77" fmla="*/ 2350 w 10000"/>
                <a:gd name="connsiteY77" fmla="*/ 9995 h 10000"/>
                <a:gd name="connsiteX78" fmla="*/ 2498 w 10000"/>
                <a:gd name="connsiteY78" fmla="*/ 10000 h 10000"/>
                <a:gd name="connsiteX79" fmla="*/ 2677 w 10000"/>
                <a:gd name="connsiteY79" fmla="*/ 9995 h 10000"/>
                <a:gd name="connsiteX80" fmla="*/ 2850 w 10000"/>
                <a:gd name="connsiteY80" fmla="*/ 9988 h 10000"/>
                <a:gd name="connsiteX81" fmla="*/ 3024 w 10000"/>
                <a:gd name="connsiteY81" fmla="*/ 9975 h 10000"/>
                <a:gd name="connsiteX82" fmla="*/ 3195 w 10000"/>
                <a:gd name="connsiteY82" fmla="*/ 9953 h 10000"/>
                <a:gd name="connsiteX83" fmla="*/ 3368 w 10000"/>
                <a:gd name="connsiteY83" fmla="*/ 9931 h 10000"/>
                <a:gd name="connsiteX84" fmla="*/ 3538 w 10000"/>
                <a:gd name="connsiteY84" fmla="*/ 9898 h 10000"/>
                <a:gd name="connsiteX85" fmla="*/ 3709 w 10000"/>
                <a:gd name="connsiteY85" fmla="*/ 9866 h 10000"/>
                <a:gd name="connsiteX86" fmla="*/ 3877 w 10000"/>
                <a:gd name="connsiteY86" fmla="*/ 9824 h 10000"/>
                <a:gd name="connsiteX87" fmla="*/ 4042 w 10000"/>
                <a:gd name="connsiteY87" fmla="*/ 9779 h 10000"/>
                <a:gd name="connsiteX88" fmla="*/ 4210 w 10000"/>
                <a:gd name="connsiteY88" fmla="*/ 9730 h 10000"/>
                <a:gd name="connsiteX89" fmla="*/ 4372 w 10000"/>
                <a:gd name="connsiteY89" fmla="*/ 9673 h 10000"/>
                <a:gd name="connsiteX90" fmla="*/ 4536 w 10000"/>
                <a:gd name="connsiteY90" fmla="*/ 9616 h 10000"/>
                <a:gd name="connsiteX91" fmla="*/ 4697 w 10000"/>
                <a:gd name="connsiteY91" fmla="*/ 9552 h 10000"/>
                <a:gd name="connsiteX92" fmla="*/ 4857 w 10000"/>
                <a:gd name="connsiteY92" fmla="*/ 9482 h 10000"/>
                <a:gd name="connsiteX93" fmla="*/ 5014 w 10000"/>
                <a:gd name="connsiteY93" fmla="*/ 9405 h 10000"/>
                <a:gd name="connsiteX94" fmla="*/ 5171 w 10000"/>
                <a:gd name="connsiteY94" fmla="*/ 9329 h 10000"/>
                <a:gd name="connsiteX95" fmla="*/ 5326 w 10000"/>
                <a:gd name="connsiteY95" fmla="*/ 9244 h 10000"/>
                <a:gd name="connsiteX96" fmla="*/ 5480 w 10000"/>
                <a:gd name="connsiteY96" fmla="*/ 9158 h 10000"/>
                <a:gd name="connsiteX97" fmla="*/ 5631 w 10000"/>
                <a:gd name="connsiteY97" fmla="*/ 9063 h 10000"/>
                <a:gd name="connsiteX98" fmla="*/ 5781 w 10000"/>
                <a:gd name="connsiteY98" fmla="*/ 8967 h 10000"/>
                <a:gd name="connsiteX99" fmla="*/ 5931 w 10000"/>
                <a:gd name="connsiteY99" fmla="*/ 8865 h 10000"/>
                <a:gd name="connsiteX100" fmla="*/ 6075 w 10000"/>
                <a:gd name="connsiteY100" fmla="*/ 8759 h 10000"/>
                <a:gd name="connsiteX101" fmla="*/ 6221 w 10000"/>
                <a:gd name="connsiteY101" fmla="*/ 8652 h 10000"/>
                <a:gd name="connsiteX102" fmla="*/ 6364 w 10000"/>
                <a:gd name="connsiteY102" fmla="*/ 8536 h 10000"/>
                <a:gd name="connsiteX103" fmla="*/ 6505 w 10000"/>
                <a:gd name="connsiteY103" fmla="*/ 8417 h 10000"/>
                <a:gd name="connsiteX104" fmla="*/ 6642 w 10000"/>
                <a:gd name="connsiteY104" fmla="*/ 8295 h 10000"/>
                <a:gd name="connsiteX105" fmla="*/ 6780 w 10000"/>
                <a:gd name="connsiteY105" fmla="*/ 8169 h 10000"/>
                <a:gd name="connsiteX106" fmla="*/ 6913 w 10000"/>
                <a:gd name="connsiteY106" fmla="*/ 8040 h 10000"/>
                <a:gd name="connsiteX107" fmla="*/ 7045 w 10000"/>
                <a:gd name="connsiteY107" fmla="*/ 7904 h 10000"/>
                <a:gd name="connsiteX108" fmla="*/ 7175 w 10000"/>
                <a:gd name="connsiteY108" fmla="*/ 7768 h 10000"/>
                <a:gd name="connsiteX109" fmla="*/ 7304 w 10000"/>
                <a:gd name="connsiteY109" fmla="*/ 7624 h 10000"/>
                <a:gd name="connsiteX110" fmla="*/ 7429 w 10000"/>
                <a:gd name="connsiteY110" fmla="*/ 7480 h 10000"/>
                <a:gd name="connsiteX111" fmla="*/ 7552 w 10000"/>
                <a:gd name="connsiteY111" fmla="*/ 7329 h 10000"/>
                <a:gd name="connsiteX112" fmla="*/ 7673 w 10000"/>
                <a:gd name="connsiteY112" fmla="*/ 7178 h 10000"/>
                <a:gd name="connsiteX113" fmla="*/ 7792 w 10000"/>
                <a:gd name="connsiteY113" fmla="*/ 7024 h 10000"/>
                <a:gd name="connsiteX114" fmla="*/ 7907 w 10000"/>
                <a:gd name="connsiteY114" fmla="*/ 6861 h 10000"/>
                <a:gd name="connsiteX115" fmla="*/ 8022 w 10000"/>
                <a:gd name="connsiteY115" fmla="*/ 6697 h 10000"/>
                <a:gd name="connsiteX116" fmla="*/ 8133 w 10000"/>
                <a:gd name="connsiteY116" fmla="*/ 6534 h 10000"/>
                <a:gd name="connsiteX117" fmla="*/ 8240 w 10000"/>
                <a:gd name="connsiteY117" fmla="*/ 6365 h 10000"/>
                <a:gd name="connsiteX118" fmla="*/ 8347 w 10000"/>
                <a:gd name="connsiteY118" fmla="*/ 6189 h 10000"/>
                <a:gd name="connsiteX119" fmla="*/ 8450 w 10000"/>
                <a:gd name="connsiteY119" fmla="*/ 6016 h 10000"/>
                <a:gd name="connsiteX120" fmla="*/ 8552 w 10000"/>
                <a:gd name="connsiteY120" fmla="*/ 5835 h 10000"/>
                <a:gd name="connsiteX121" fmla="*/ 8650 w 10000"/>
                <a:gd name="connsiteY121" fmla="*/ 5652 h 10000"/>
                <a:gd name="connsiteX122" fmla="*/ 8745 w 10000"/>
                <a:gd name="connsiteY122" fmla="*/ 5468 h 10000"/>
                <a:gd name="connsiteX123" fmla="*/ 8837 w 10000"/>
                <a:gd name="connsiteY123" fmla="*/ 5278 h 10000"/>
                <a:gd name="connsiteX124" fmla="*/ 8927 w 10000"/>
                <a:gd name="connsiteY124" fmla="*/ 5089 h 10000"/>
                <a:gd name="connsiteX125" fmla="*/ 9014 w 10000"/>
                <a:gd name="connsiteY125" fmla="*/ 4893 h 10000"/>
                <a:gd name="connsiteX126" fmla="*/ 9098 w 10000"/>
                <a:gd name="connsiteY126" fmla="*/ 4698 h 10000"/>
                <a:gd name="connsiteX127" fmla="*/ 9178 w 10000"/>
                <a:gd name="connsiteY127" fmla="*/ 4500 h 10000"/>
                <a:gd name="connsiteX128" fmla="*/ 9256 w 10000"/>
                <a:gd name="connsiteY128" fmla="*/ 4294 h 10000"/>
                <a:gd name="connsiteX129" fmla="*/ 9330 w 10000"/>
                <a:gd name="connsiteY129" fmla="*/ 4091 h 10000"/>
                <a:gd name="connsiteX130" fmla="*/ 9401 w 10000"/>
                <a:gd name="connsiteY130" fmla="*/ 3885 h 10000"/>
                <a:gd name="connsiteX131" fmla="*/ 9470 w 10000"/>
                <a:gd name="connsiteY131" fmla="*/ 3674 h 10000"/>
                <a:gd name="connsiteX132" fmla="*/ 9535 w 10000"/>
                <a:gd name="connsiteY132" fmla="*/ 3464 h 10000"/>
                <a:gd name="connsiteX133" fmla="*/ 9599 w 10000"/>
                <a:gd name="connsiteY133" fmla="*/ 3248 h 10000"/>
                <a:gd name="connsiteX134" fmla="*/ 9656 w 10000"/>
                <a:gd name="connsiteY134" fmla="*/ 3030 h 10000"/>
                <a:gd name="connsiteX135" fmla="*/ 9711 w 10000"/>
                <a:gd name="connsiteY135" fmla="*/ 2815 h 10000"/>
                <a:gd name="connsiteX136" fmla="*/ 9763 w 10000"/>
                <a:gd name="connsiteY136" fmla="*/ 2592 h 10000"/>
                <a:gd name="connsiteX137" fmla="*/ 9813 w 10000"/>
                <a:gd name="connsiteY137" fmla="*/ 2369 h 10000"/>
                <a:gd name="connsiteX138" fmla="*/ 9856 w 10000"/>
                <a:gd name="connsiteY138" fmla="*/ 2143 h 10000"/>
                <a:gd name="connsiteX139" fmla="*/ 9898 w 10000"/>
                <a:gd name="connsiteY139" fmla="*/ 1918 h 10000"/>
                <a:gd name="connsiteX140" fmla="*/ 9936 w 10000"/>
                <a:gd name="connsiteY140" fmla="*/ 1690 h 10000"/>
                <a:gd name="connsiteX141" fmla="*/ 9970 w 10000"/>
                <a:gd name="connsiteY141" fmla="*/ 1457 h 10000"/>
                <a:gd name="connsiteX142" fmla="*/ 10000 w 10000"/>
                <a:gd name="connsiteY142" fmla="*/ 1222 h 10000"/>
                <a:gd name="connsiteX143" fmla="*/ 7611 w 10000"/>
                <a:gd name="connsiteY143" fmla="*/ 1876 h 10000"/>
                <a:gd name="connsiteX144" fmla="*/ 5615 w 10000"/>
                <a:gd name="connsiteY144"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2940 w 10000"/>
                <a:gd name="connsiteY59" fmla="*/ 3739 h 10000"/>
                <a:gd name="connsiteX60" fmla="*/ 0 w 10000"/>
                <a:gd name="connsiteY60" fmla="*/ 6085 h 10000"/>
                <a:gd name="connsiteX61" fmla="*/ 209 w 10000"/>
                <a:gd name="connsiteY61" fmla="*/ 9512 h 10000"/>
                <a:gd name="connsiteX62" fmla="*/ 344 w 10000"/>
                <a:gd name="connsiteY62" fmla="*/ 9569 h 10000"/>
                <a:gd name="connsiteX63" fmla="*/ 481 w 10000"/>
                <a:gd name="connsiteY63" fmla="*/ 9623 h 10000"/>
                <a:gd name="connsiteX64" fmla="*/ 621 w 10000"/>
                <a:gd name="connsiteY64" fmla="*/ 9673 h 10000"/>
                <a:gd name="connsiteX65" fmla="*/ 758 w 10000"/>
                <a:gd name="connsiteY65" fmla="*/ 9720 h 10000"/>
                <a:gd name="connsiteX66" fmla="*/ 899 w 10000"/>
                <a:gd name="connsiteY66" fmla="*/ 9765 h 10000"/>
                <a:gd name="connsiteX67" fmla="*/ 1040 w 10000"/>
                <a:gd name="connsiteY67" fmla="*/ 9804 h 10000"/>
                <a:gd name="connsiteX68" fmla="*/ 1182 w 10000"/>
                <a:gd name="connsiteY68" fmla="*/ 9839 h 10000"/>
                <a:gd name="connsiteX69" fmla="*/ 1325 w 10000"/>
                <a:gd name="connsiteY69" fmla="*/ 9874 h 10000"/>
                <a:gd name="connsiteX70" fmla="*/ 1471 w 10000"/>
                <a:gd name="connsiteY70" fmla="*/ 9903 h 10000"/>
                <a:gd name="connsiteX71" fmla="*/ 1614 w 10000"/>
                <a:gd name="connsiteY71" fmla="*/ 9926 h 10000"/>
                <a:gd name="connsiteX72" fmla="*/ 1760 w 10000"/>
                <a:gd name="connsiteY72" fmla="*/ 9948 h 10000"/>
                <a:gd name="connsiteX73" fmla="*/ 1906 w 10000"/>
                <a:gd name="connsiteY73" fmla="*/ 9965 h 10000"/>
                <a:gd name="connsiteX74" fmla="*/ 2052 w 10000"/>
                <a:gd name="connsiteY74" fmla="*/ 9980 h 10000"/>
                <a:gd name="connsiteX75" fmla="*/ 2202 w 10000"/>
                <a:gd name="connsiteY75" fmla="*/ 9990 h 10000"/>
                <a:gd name="connsiteX76" fmla="*/ 2350 w 10000"/>
                <a:gd name="connsiteY76" fmla="*/ 9995 h 10000"/>
                <a:gd name="connsiteX77" fmla="*/ 2498 w 10000"/>
                <a:gd name="connsiteY77" fmla="*/ 10000 h 10000"/>
                <a:gd name="connsiteX78" fmla="*/ 2677 w 10000"/>
                <a:gd name="connsiteY78" fmla="*/ 9995 h 10000"/>
                <a:gd name="connsiteX79" fmla="*/ 2850 w 10000"/>
                <a:gd name="connsiteY79" fmla="*/ 9988 h 10000"/>
                <a:gd name="connsiteX80" fmla="*/ 3024 w 10000"/>
                <a:gd name="connsiteY80" fmla="*/ 9975 h 10000"/>
                <a:gd name="connsiteX81" fmla="*/ 3195 w 10000"/>
                <a:gd name="connsiteY81" fmla="*/ 9953 h 10000"/>
                <a:gd name="connsiteX82" fmla="*/ 3368 w 10000"/>
                <a:gd name="connsiteY82" fmla="*/ 9931 h 10000"/>
                <a:gd name="connsiteX83" fmla="*/ 3538 w 10000"/>
                <a:gd name="connsiteY83" fmla="*/ 9898 h 10000"/>
                <a:gd name="connsiteX84" fmla="*/ 3709 w 10000"/>
                <a:gd name="connsiteY84" fmla="*/ 9866 h 10000"/>
                <a:gd name="connsiteX85" fmla="*/ 3877 w 10000"/>
                <a:gd name="connsiteY85" fmla="*/ 9824 h 10000"/>
                <a:gd name="connsiteX86" fmla="*/ 4042 w 10000"/>
                <a:gd name="connsiteY86" fmla="*/ 9779 h 10000"/>
                <a:gd name="connsiteX87" fmla="*/ 4210 w 10000"/>
                <a:gd name="connsiteY87" fmla="*/ 9730 h 10000"/>
                <a:gd name="connsiteX88" fmla="*/ 4372 w 10000"/>
                <a:gd name="connsiteY88" fmla="*/ 9673 h 10000"/>
                <a:gd name="connsiteX89" fmla="*/ 4536 w 10000"/>
                <a:gd name="connsiteY89" fmla="*/ 9616 h 10000"/>
                <a:gd name="connsiteX90" fmla="*/ 4697 w 10000"/>
                <a:gd name="connsiteY90" fmla="*/ 9552 h 10000"/>
                <a:gd name="connsiteX91" fmla="*/ 4857 w 10000"/>
                <a:gd name="connsiteY91" fmla="*/ 9482 h 10000"/>
                <a:gd name="connsiteX92" fmla="*/ 5014 w 10000"/>
                <a:gd name="connsiteY92" fmla="*/ 9405 h 10000"/>
                <a:gd name="connsiteX93" fmla="*/ 5171 w 10000"/>
                <a:gd name="connsiteY93" fmla="*/ 9329 h 10000"/>
                <a:gd name="connsiteX94" fmla="*/ 5326 w 10000"/>
                <a:gd name="connsiteY94" fmla="*/ 9244 h 10000"/>
                <a:gd name="connsiteX95" fmla="*/ 5480 w 10000"/>
                <a:gd name="connsiteY95" fmla="*/ 9158 h 10000"/>
                <a:gd name="connsiteX96" fmla="*/ 5631 w 10000"/>
                <a:gd name="connsiteY96" fmla="*/ 9063 h 10000"/>
                <a:gd name="connsiteX97" fmla="*/ 5781 w 10000"/>
                <a:gd name="connsiteY97" fmla="*/ 8967 h 10000"/>
                <a:gd name="connsiteX98" fmla="*/ 5931 w 10000"/>
                <a:gd name="connsiteY98" fmla="*/ 8865 h 10000"/>
                <a:gd name="connsiteX99" fmla="*/ 6075 w 10000"/>
                <a:gd name="connsiteY99" fmla="*/ 8759 h 10000"/>
                <a:gd name="connsiteX100" fmla="*/ 6221 w 10000"/>
                <a:gd name="connsiteY100" fmla="*/ 8652 h 10000"/>
                <a:gd name="connsiteX101" fmla="*/ 6364 w 10000"/>
                <a:gd name="connsiteY101" fmla="*/ 8536 h 10000"/>
                <a:gd name="connsiteX102" fmla="*/ 6505 w 10000"/>
                <a:gd name="connsiteY102" fmla="*/ 8417 h 10000"/>
                <a:gd name="connsiteX103" fmla="*/ 6642 w 10000"/>
                <a:gd name="connsiteY103" fmla="*/ 8295 h 10000"/>
                <a:gd name="connsiteX104" fmla="*/ 6780 w 10000"/>
                <a:gd name="connsiteY104" fmla="*/ 8169 h 10000"/>
                <a:gd name="connsiteX105" fmla="*/ 6913 w 10000"/>
                <a:gd name="connsiteY105" fmla="*/ 8040 h 10000"/>
                <a:gd name="connsiteX106" fmla="*/ 7045 w 10000"/>
                <a:gd name="connsiteY106" fmla="*/ 7904 h 10000"/>
                <a:gd name="connsiteX107" fmla="*/ 7175 w 10000"/>
                <a:gd name="connsiteY107" fmla="*/ 7768 h 10000"/>
                <a:gd name="connsiteX108" fmla="*/ 7304 w 10000"/>
                <a:gd name="connsiteY108" fmla="*/ 7624 h 10000"/>
                <a:gd name="connsiteX109" fmla="*/ 7429 w 10000"/>
                <a:gd name="connsiteY109" fmla="*/ 7480 h 10000"/>
                <a:gd name="connsiteX110" fmla="*/ 7552 w 10000"/>
                <a:gd name="connsiteY110" fmla="*/ 7329 h 10000"/>
                <a:gd name="connsiteX111" fmla="*/ 7673 w 10000"/>
                <a:gd name="connsiteY111" fmla="*/ 7178 h 10000"/>
                <a:gd name="connsiteX112" fmla="*/ 7792 w 10000"/>
                <a:gd name="connsiteY112" fmla="*/ 7024 h 10000"/>
                <a:gd name="connsiteX113" fmla="*/ 7907 w 10000"/>
                <a:gd name="connsiteY113" fmla="*/ 6861 h 10000"/>
                <a:gd name="connsiteX114" fmla="*/ 8022 w 10000"/>
                <a:gd name="connsiteY114" fmla="*/ 6697 h 10000"/>
                <a:gd name="connsiteX115" fmla="*/ 8133 w 10000"/>
                <a:gd name="connsiteY115" fmla="*/ 6534 h 10000"/>
                <a:gd name="connsiteX116" fmla="*/ 8240 w 10000"/>
                <a:gd name="connsiteY116" fmla="*/ 6365 h 10000"/>
                <a:gd name="connsiteX117" fmla="*/ 8347 w 10000"/>
                <a:gd name="connsiteY117" fmla="*/ 6189 h 10000"/>
                <a:gd name="connsiteX118" fmla="*/ 8450 w 10000"/>
                <a:gd name="connsiteY118" fmla="*/ 6016 h 10000"/>
                <a:gd name="connsiteX119" fmla="*/ 8552 w 10000"/>
                <a:gd name="connsiteY119" fmla="*/ 5835 h 10000"/>
                <a:gd name="connsiteX120" fmla="*/ 8650 w 10000"/>
                <a:gd name="connsiteY120" fmla="*/ 5652 h 10000"/>
                <a:gd name="connsiteX121" fmla="*/ 8745 w 10000"/>
                <a:gd name="connsiteY121" fmla="*/ 5468 h 10000"/>
                <a:gd name="connsiteX122" fmla="*/ 8837 w 10000"/>
                <a:gd name="connsiteY122" fmla="*/ 5278 h 10000"/>
                <a:gd name="connsiteX123" fmla="*/ 8927 w 10000"/>
                <a:gd name="connsiteY123" fmla="*/ 5089 h 10000"/>
                <a:gd name="connsiteX124" fmla="*/ 9014 w 10000"/>
                <a:gd name="connsiteY124" fmla="*/ 4893 h 10000"/>
                <a:gd name="connsiteX125" fmla="*/ 9098 w 10000"/>
                <a:gd name="connsiteY125" fmla="*/ 4698 h 10000"/>
                <a:gd name="connsiteX126" fmla="*/ 9178 w 10000"/>
                <a:gd name="connsiteY126" fmla="*/ 4500 h 10000"/>
                <a:gd name="connsiteX127" fmla="*/ 9256 w 10000"/>
                <a:gd name="connsiteY127" fmla="*/ 4294 h 10000"/>
                <a:gd name="connsiteX128" fmla="*/ 9330 w 10000"/>
                <a:gd name="connsiteY128" fmla="*/ 4091 h 10000"/>
                <a:gd name="connsiteX129" fmla="*/ 9401 w 10000"/>
                <a:gd name="connsiteY129" fmla="*/ 3885 h 10000"/>
                <a:gd name="connsiteX130" fmla="*/ 9470 w 10000"/>
                <a:gd name="connsiteY130" fmla="*/ 3674 h 10000"/>
                <a:gd name="connsiteX131" fmla="*/ 9535 w 10000"/>
                <a:gd name="connsiteY131" fmla="*/ 3464 h 10000"/>
                <a:gd name="connsiteX132" fmla="*/ 9599 w 10000"/>
                <a:gd name="connsiteY132" fmla="*/ 3248 h 10000"/>
                <a:gd name="connsiteX133" fmla="*/ 9656 w 10000"/>
                <a:gd name="connsiteY133" fmla="*/ 3030 h 10000"/>
                <a:gd name="connsiteX134" fmla="*/ 9711 w 10000"/>
                <a:gd name="connsiteY134" fmla="*/ 2815 h 10000"/>
                <a:gd name="connsiteX135" fmla="*/ 9763 w 10000"/>
                <a:gd name="connsiteY135" fmla="*/ 2592 h 10000"/>
                <a:gd name="connsiteX136" fmla="*/ 9813 w 10000"/>
                <a:gd name="connsiteY136" fmla="*/ 2369 h 10000"/>
                <a:gd name="connsiteX137" fmla="*/ 9856 w 10000"/>
                <a:gd name="connsiteY137" fmla="*/ 2143 h 10000"/>
                <a:gd name="connsiteX138" fmla="*/ 9898 w 10000"/>
                <a:gd name="connsiteY138" fmla="*/ 1918 h 10000"/>
                <a:gd name="connsiteX139" fmla="*/ 9936 w 10000"/>
                <a:gd name="connsiteY139" fmla="*/ 1690 h 10000"/>
                <a:gd name="connsiteX140" fmla="*/ 9970 w 10000"/>
                <a:gd name="connsiteY140" fmla="*/ 1457 h 10000"/>
                <a:gd name="connsiteX141" fmla="*/ 10000 w 10000"/>
                <a:gd name="connsiteY141" fmla="*/ 1222 h 10000"/>
                <a:gd name="connsiteX142" fmla="*/ 7611 w 10000"/>
                <a:gd name="connsiteY142" fmla="*/ 1876 h 10000"/>
                <a:gd name="connsiteX143" fmla="*/ 5615 w 10000"/>
                <a:gd name="connsiteY143"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3012 w 10000"/>
                <a:gd name="connsiteY58" fmla="*/ 3724 h 10000"/>
                <a:gd name="connsiteX59" fmla="*/ 0 w 10000"/>
                <a:gd name="connsiteY59" fmla="*/ 6085 h 10000"/>
                <a:gd name="connsiteX60" fmla="*/ 209 w 10000"/>
                <a:gd name="connsiteY60" fmla="*/ 9512 h 10000"/>
                <a:gd name="connsiteX61" fmla="*/ 344 w 10000"/>
                <a:gd name="connsiteY61" fmla="*/ 9569 h 10000"/>
                <a:gd name="connsiteX62" fmla="*/ 481 w 10000"/>
                <a:gd name="connsiteY62" fmla="*/ 9623 h 10000"/>
                <a:gd name="connsiteX63" fmla="*/ 621 w 10000"/>
                <a:gd name="connsiteY63" fmla="*/ 9673 h 10000"/>
                <a:gd name="connsiteX64" fmla="*/ 758 w 10000"/>
                <a:gd name="connsiteY64" fmla="*/ 9720 h 10000"/>
                <a:gd name="connsiteX65" fmla="*/ 899 w 10000"/>
                <a:gd name="connsiteY65" fmla="*/ 9765 h 10000"/>
                <a:gd name="connsiteX66" fmla="*/ 1040 w 10000"/>
                <a:gd name="connsiteY66" fmla="*/ 9804 h 10000"/>
                <a:gd name="connsiteX67" fmla="*/ 1182 w 10000"/>
                <a:gd name="connsiteY67" fmla="*/ 9839 h 10000"/>
                <a:gd name="connsiteX68" fmla="*/ 1325 w 10000"/>
                <a:gd name="connsiteY68" fmla="*/ 9874 h 10000"/>
                <a:gd name="connsiteX69" fmla="*/ 1471 w 10000"/>
                <a:gd name="connsiteY69" fmla="*/ 9903 h 10000"/>
                <a:gd name="connsiteX70" fmla="*/ 1614 w 10000"/>
                <a:gd name="connsiteY70" fmla="*/ 9926 h 10000"/>
                <a:gd name="connsiteX71" fmla="*/ 1760 w 10000"/>
                <a:gd name="connsiteY71" fmla="*/ 9948 h 10000"/>
                <a:gd name="connsiteX72" fmla="*/ 1906 w 10000"/>
                <a:gd name="connsiteY72" fmla="*/ 9965 h 10000"/>
                <a:gd name="connsiteX73" fmla="*/ 2052 w 10000"/>
                <a:gd name="connsiteY73" fmla="*/ 9980 h 10000"/>
                <a:gd name="connsiteX74" fmla="*/ 2202 w 10000"/>
                <a:gd name="connsiteY74" fmla="*/ 9990 h 10000"/>
                <a:gd name="connsiteX75" fmla="*/ 2350 w 10000"/>
                <a:gd name="connsiteY75" fmla="*/ 9995 h 10000"/>
                <a:gd name="connsiteX76" fmla="*/ 2498 w 10000"/>
                <a:gd name="connsiteY76" fmla="*/ 10000 h 10000"/>
                <a:gd name="connsiteX77" fmla="*/ 2677 w 10000"/>
                <a:gd name="connsiteY77" fmla="*/ 9995 h 10000"/>
                <a:gd name="connsiteX78" fmla="*/ 2850 w 10000"/>
                <a:gd name="connsiteY78" fmla="*/ 9988 h 10000"/>
                <a:gd name="connsiteX79" fmla="*/ 3024 w 10000"/>
                <a:gd name="connsiteY79" fmla="*/ 9975 h 10000"/>
                <a:gd name="connsiteX80" fmla="*/ 3195 w 10000"/>
                <a:gd name="connsiteY80" fmla="*/ 9953 h 10000"/>
                <a:gd name="connsiteX81" fmla="*/ 3368 w 10000"/>
                <a:gd name="connsiteY81" fmla="*/ 9931 h 10000"/>
                <a:gd name="connsiteX82" fmla="*/ 3538 w 10000"/>
                <a:gd name="connsiteY82" fmla="*/ 9898 h 10000"/>
                <a:gd name="connsiteX83" fmla="*/ 3709 w 10000"/>
                <a:gd name="connsiteY83" fmla="*/ 9866 h 10000"/>
                <a:gd name="connsiteX84" fmla="*/ 3877 w 10000"/>
                <a:gd name="connsiteY84" fmla="*/ 9824 h 10000"/>
                <a:gd name="connsiteX85" fmla="*/ 4042 w 10000"/>
                <a:gd name="connsiteY85" fmla="*/ 9779 h 10000"/>
                <a:gd name="connsiteX86" fmla="*/ 4210 w 10000"/>
                <a:gd name="connsiteY86" fmla="*/ 9730 h 10000"/>
                <a:gd name="connsiteX87" fmla="*/ 4372 w 10000"/>
                <a:gd name="connsiteY87" fmla="*/ 9673 h 10000"/>
                <a:gd name="connsiteX88" fmla="*/ 4536 w 10000"/>
                <a:gd name="connsiteY88" fmla="*/ 9616 h 10000"/>
                <a:gd name="connsiteX89" fmla="*/ 4697 w 10000"/>
                <a:gd name="connsiteY89" fmla="*/ 9552 h 10000"/>
                <a:gd name="connsiteX90" fmla="*/ 4857 w 10000"/>
                <a:gd name="connsiteY90" fmla="*/ 9482 h 10000"/>
                <a:gd name="connsiteX91" fmla="*/ 5014 w 10000"/>
                <a:gd name="connsiteY91" fmla="*/ 9405 h 10000"/>
                <a:gd name="connsiteX92" fmla="*/ 5171 w 10000"/>
                <a:gd name="connsiteY92" fmla="*/ 9329 h 10000"/>
                <a:gd name="connsiteX93" fmla="*/ 5326 w 10000"/>
                <a:gd name="connsiteY93" fmla="*/ 9244 h 10000"/>
                <a:gd name="connsiteX94" fmla="*/ 5480 w 10000"/>
                <a:gd name="connsiteY94" fmla="*/ 9158 h 10000"/>
                <a:gd name="connsiteX95" fmla="*/ 5631 w 10000"/>
                <a:gd name="connsiteY95" fmla="*/ 9063 h 10000"/>
                <a:gd name="connsiteX96" fmla="*/ 5781 w 10000"/>
                <a:gd name="connsiteY96" fmla="*/ 8967 h 10000"/>
                <a:gd name="connsiteX97" fmla="*/ 5931 w 10000"/>
                <a:gd name="connsiteY97" fmla="*/ 8865 h 10000"/>
                <a:gd name="connsiteX98" fmla="*/ 6075 w 10000"/>
                <a:gd name="connsiteY98" fmla="*/ 8759 h 10000"/>
                <a:gd name="connsiteX99" fmla="*/ 6221 w 10000"/>
                <a:gd name="connsiteY99" fmla="*/ 8652 h 10000"/>
                <a:gd name="connsiteX100" fmla="*/ 6364 w 10000"/>
                <a:gd name="connsiteY100" fmla="*/ 8536 h 10000"/>
                <a:gd name="connsiteX101" fmla="*/ 6505 w 10000"/>
                <a:gd name="connsiteY101" fmla="*/ 8417 h 10000"/>
                <a:gd name="connsiteX102" fmla="*/ 6642 w 10000"/>
                <a:gd name="connsiteY102" fmla="*/ 8295 h 10000"/>
                <a:gd name="connsiteX103" fmla="*/ 6780 w 10000"/>
                <a:gd name="connsiteY103" fmla="*/ 8169 h 10000"/>
                <a:gd name="connsiteX104" fmla="*/ 6913 w 10000"/>
                <a:gd name="connsiteY104" fmla="*/ 8040 h 10000"/>
                <a:gd name="connsiteX105" fmla="*/ 7045 w 10000"/>
                <a:gd name="connsiteY105" fmla="*/ 7904 h 10000"/>
                <a:gd name="connsiteX106" fmla="*/ 7175 w 10000"/>
                <a:gd name="connsiteY106" fmla="*/ 7768 h 10000"/>
                <a:gd name="connsiteX107" fmla="*/ 7304 w 10000"/>
                <a:gd name="connsiteY107" fmla="*/ 7624 h 10000"/>
                <a:gd name="connsiteX108" fmla="*/ 7429 w 10000"/>
                <a:gd name="connsiteY108" fmla="*/ 7480 h 10000"/>
                <a:gd name="connsiteX109" fmla="*/ 7552 w 10000"/>
                <a:gd name="connsiteY109" fmla="*/ 7329 h 10000"/>
                <a:gd name="connsiteX110" fmla="*/ 7673 w 10000"/>
                <a:gd name="connsiteY110" fmla="*/ 7178 h 10000"/>
                <a:gd name="connsiteX111" fmla="*/ 7792 w 10000"/>
                <a:gd name="connsiteY111" fmla="*/ 7024 h 10000"/>
                <a:gd name="connsiteX112" fmla="*/ 7907 w 10000"/>
                <a:gd name="connsiteY112" fmla="*/ 6861 h 10000"/>
                <a:gd name="connsiteX113" fmla="*/ 8022 w 10000"/>
                <a:gd name="connsiteY113" fmla="*/ 6697 h 10000"/>
                <a:gd name="connsiteX114" fmla="*/ 8133 w 10000"/>
                <a:gd name="connsiteY114" fmla="*/ 6534 h 10000"/>
                <a:gd name="connsiteX115" fmla="*/ 8240 w 10000"/>
                <a:gd name="connsiteY115" fmla="*/ 6365 h 10000"/>
                <a:gd name="connsiteX116" fmla="*/ 8347 w 10000"/>
                <a:gd name="connsiteY116" fmla="*/ 6189 h 10000"/>
                <a:gd name="connsiteX117" fmla="*/ 8450 w 10000"/>
                <a:gd name="connsiteY117" fmla="*/ 6016 h 10000"/>
                <a:gd name="connsiteX118" fmla="*/ 8552 w 10000"/>
                <a:gd name="connsiteY118" fmla="*/ 5835 h 10000"/>
                <a:gd name="connsiteX119" fmla="*/ 8650 w 10000"/>
                <a:gd name="connsiteY119" fmla="*/ 5652 h 10000"/>
                <a:gd name="connsiteX120" fmla="*/ 8745 w 10000"/>
                <a:gd name="connsiteY120" fmla="*/ 5468 h 10000"/>
                <a:gd name="connsiteX121" fmla="*/ 8837 w 10000"/>
                <a:gd name="connsiteY121" fmla="*/ 5278 h 10000"/>
                <a:gd name="connsiteX122" fmla="*/ 8927 w 10000"/>
                <a:gd name="connsiteY122" fmla="*/ 5089 h 10000"/>
                <a:gd name="connsiteX123" fmla="*/ 9014 w 10000"/>
                <a:gd name="connsiteY123" fmla="*/ 4893 h 10000"/>
                <a:gd name="connsiteX124" fmla="*/ 9098 w 10000"/>
                <a:gd name="connsiteY124" fmla="*/ 4698 h 10000"/>
                <a:gd name="connsiteX125" fmla="*/ 9178 w 10000"/>
                <a:gd name="connsiteY125" fmla="*/ 4500 h 10000"/>
                <a:gd name="connsiteX126" fmla="*/ 9256 w 10000"/>
                <a:gd name="connsiteY126" fmla="*/ 4294 h 10000"/>
                <a:gd name="connsiteX127" fmla="*/ 9330 w 10000"/>
                <a:gd name="connsiteY127" fmla="*/ 4091 h 10000"/>
                <a:gd name="connsiteX128" fmla="*/ 9401 w 10000"/>
                <a:gd name="connsiteY128" fmla="*/ 3885 h 10000"/>
                <a:gd name="connsiteX129" fmla="*/ 9470 w 10000"/>
                <a:gd name="connsiteY129" fmla="*/ 3674 h 10000"/>
                <a:gd name="connsiteX130" fmla="*/ 9535 w 10000"/>
                <a:gd name="connsiteY130" fmla="*/ 3464 h 10000"/>
                <a:gd name="connsiteX131" fmla="*/ 9599 w 10000"/>
                <a:gd name="connsiteY131" fmla="*/ 3248 h 10000"/>
                <a:gd name="connsiteX132" fmla="*/ 9656 w 10000"/>
                <a:gd name="connsiteY132" fmla="*/ 3030 h 10000"/>
                <a:gd name="connsiteX133" fmla="*/ 9711 w 10000"/>
                <a:gd name="connsiteY133" fmla="*/ 2815 h 10000"/>
                <a:gd name="connsiteX134" fmla="*/ 9763 w 10000"/>
                <a:gd name="connsiteY134" fmla="*/ 2592 h 10000"/>
                <a:gd name="connsiteX135" fmla="*/ 9813 w 10000"/>
                <a:gd name="connsiteY135" fmla="*/ 2369 h 10000"/>
                <a:gd name="connsiteX136" fmla="*/ 9856 w 10000"/>
                <a:gd name="connsiteY136" fmla="*/ 2143 h 10000"/>
                <a:gd name="connsiteX137" fmla="*/ 9898 w 10000"/>
                <a:gd name="connsiteY137" fmla="*/ 1918 h 10000"/>
                <a:gd name="connsiteX138" fmla="*/ 9936 w 10000"/>
                <a:gd name="connsiteY138" fmla="*/ 1690 h 10000"/>
                <a:gd name="connsiteX139" fmla="*/ 9970 w 10000"/>
                <a:gd name="connsiteY139" fmla="*/ 1457 h 10000"/>
                <a:gd name="connsiteX140" fmla="*/ 10000 w 10000"/>
                <a:gd name="connsiteY140" fmla="*/ 1222 h 10000"/>
                <a:gd name="connsiteX141" fmla="*/ 7611 w 10000"/>
                <a:gd name="connsiteY141" fmla="*/ 1876 h 10000"/>
                <a:gd name="connsiteX142" fmla="*/ 5615 w 10000"/>
                <a:gd name="connsiteY142"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3081 w 10000"/>
                <a:gd name="connsiteY57" fmla="*/ 3707 h 10000"/>
                <a:gd name="connsiteX58" fmla="*/ 0 w 10000"/>
                <a:gd name="connsiteY58" fmla="*/ 6085 h 10000"/>
                <a:gd name="connsiteX59" fmla="*/ 209 w 10000"/>
                <a:gd name="connsiteY59" fmla="*/ 9512 h 10000"/>
                <a:gd name="connsiteX60" fmla="*/ 344 w 10000"/>
                <a:gd name="connsiteY60" fmla="*/ 9569 h 10000"/>
                <a:gd name="connsiteX61" fmla="*/ 481 w 10000"/>
                <a:gd name="connsiteY61" fmla="*/ 9623 h 10000"/>
                <a:gd name="connsiteX62" fmla="*/ 621 w 10000"/>
                <a:gd name="connsiteY62" fmla="*/ 9673 h 10000"/>
                <a:gd name="connsiteX63" fmla="*/ 758 w 10000"/>
                <a:gd name="connsiteY63" fmla="*/ 9720 h 10000"/>
                <a:gd name="connsiteX64" fmla="*/ 899 w 10000"/>
                <a:gd name="connsiteY64" fmla="*/ 9765 h 10000"/>
                <a:gd name="connsiteX65" fmla="*/ 1040 w 10000"/>
                <a:gd name="connsiteY65" fmla="*/ 9804 h 10000"/>
                <a:gd name="connsiteX66" fmla="*/ 1182 w 10000"/>
                <a:gd name="connsiteY66" fmla="*/ 9839 h 10000"/>
                <a:gd name="connsiteX67" fmla="*/ 1325 w 10000"/>
                <a:gd name="connsiteY67" fmla="*/ 9874 h 10000"/>
                <a:gd name="connsiteX68" fmla="*/ 1471 w 10000"/>
                <a:gd name="connsiteY68" fmla="*/ 9903 h 10000"/>
                <a:gd name="connsiteX69" fmla="*/ 1614 w 10000"/>
                <a:gd name="connsiteY69" fmla="*/ 9926 h 10000"/>
                <a:gd name="connsiteX70" fmla="*/ 1760 w 10000"/>
                <a:gd name="connsiteY70" fmla="*/ 9948 h 10000"/>
                <a:gd name="connsiteX71" fmla="*/ 1906 w 10000"/>
                <a:gd name="connsiteY71" fmla="*/ 9965 h 10000"/>
                <a:gd name="connsiteX72" fmla="*/ 2052 w 10000"/>
                <a:gd name="connsiteY72" fmla="*/ 9980 h 10000"/>
                <a:gd name="connsiteX73" fmla="*/ 2202 w 10000"/>
                <a:gd name="connsiteY73" fmla="*/ 9990 h 10000"/>
                <a:gd name="connsiteX74" fmla="*/ 2350 w 10000"/>
                <a:gd name="connsiteY74" fmla="*/ 9995 h 10000"/>
                <a:gd name="connsiteX75" fmla="*/ 2498 w 10000"/>
                <a:gd name="connsiteY75" fmla="*/ 10000 h 10000"/>
                <a:gd name="connsiteX76" fmla="*/ 2677 w 10000"/>
                <a:gd name="connsiteY76" fmla="*/ 9995 h 10000"/>
                <a:gd name="connsiteX77" fmla="*/ 2850 w 10000"/>
                <a:gd name="connsiteY77" fmla="*/ 9988 h 10000"/>
                <a:gd name="connsiteX78" fmla="*/ 3024 w 10000"/>
                <a:gd name="connsiteY78" fmla="*/ 9975 h 10000"/>
                <a:gd name="connsiteX79" fmla="*/ 3195 w 10000"/>
                <a:gd name="connsiteY79" fmla="*/ 9953 h 10000"/>
                <a:gd name="connsiteX80" fmla="*/ 3368 w 10000"/>
                <a:gd name="connsiteY80" fmla="*/ 9931 h 10000"/>
                <a:gd name="connsiteX81" fmla="*/ 3538 w 10000"/>
                <a:gd name="connsiteY81" fmla="*/ 9898 h 10000"/>
                <a:gd name="connsiteX82" fmla="*/ 3709 w 10000"/>
                <a:gd name="connsiteY82" fmla="*/ 9866 h 10000"/>
                <a:gd name="connsiteX83" fmla="*/ 3877 w 10000"/>
                <a:gd name="connsiteY83" fmla="*/ 9824 h 10000"/>
                <a:gd name="connsiteX84" fmla="*/ 4042 w 10000"/>
                <a:gd name="connsiteY84" fmla="*/ 9779 h 10000"/>
                <a:gd name="connsiteX85" fmla="*/ 4210 w 10000"/>
                <a:gd name="connsiteY85" fmla="*/ 9730 h 10000"/>
                <a:gd name="connsiteX86" fmla="*/ 4372 w 10000"/>
                <a:gd name="connsiteY86" fmla="*/ 9673 h 10000"/>
                <a:gd name="connsiteX87" fmla="*/ 4536 w 10000"/>
                <a:gd name="connsiteY87" fmla="*/ 9616 h 10000"/>
                <a:gd name="connsiteX88" fmla="*/ 4697 w 10000"/>
                <a:gd name="connsiteY88" fmla="*/ 9552 h 10000"/>
                <a:gd name="connsiteX89" fmla="*/ 4857 w 10000"/>
                <a:gd name="connsiteY89" fmla="*/ 9482 h 10000"/>
                <a:gd name="connsiteX90" fmla="*/ 5014 w 10000"/>
                <a:gd name="connsiteY90" fmla="*/ 9405 h 10000"/>
                <a:gd name="connsiteX91" fmla="*/ 5171 w 10000"/>
                <a:gd name="connsiteY91" fmla="*/ 9329 h 10000"/>
                <a:gd name="connsiteX92" fmla="*/ 5326 w 10000"/>
                <a:gd name="connsiteY92" fmla="*/ 9244 h 10000"/>
                <a:gd name="connsiteX93" fmla="*/ 5480 w 10000"/>
                <a:gd name="connsiteY93" fmla="*/ 9158 h 10000"/>
                <a:gd name="connsiteX94" fmla="*/ 5631 w 10000"/>
                <a:gd name="connsiteY94" fmla="*/ 9063 h 10000"/>
                <a:gd name="connsiteX95" fmla="*/ 5781 w 10000"/>
                <a:gd name="connsiteY95" fmla="*/ 8967 h 10000"/>
                <a:gd name="connsiteX96" fmla="*/ 5931 w 10000"/>
                <a:gd name="connsiteY96" fmla="*/ 8865 h 10000"/>
                <a:gd name="connsiteX97" fmla="*/ 6075 w 10000"/>
                <a:gd name="connsiteY97" fmla="*/ 8759 h 10000"/>
                <a:gd name="connsiteX98" fmla="*/ 6221 w 10000"/>
                <a:gd name="connsiteY98" fmla="*/ 8652 h 10000"/>
                <a:gd name="connsiteX99" fmla="*/ 6364 w 10000"/>
                <a:gd name="connsiteY99" fmla="*/ 8536 h 10000"/>
                <a:gd name="connsiteX100" fmla="*/ 6505 w 10000"/>
                <a:gd name="connsiteY100" fmla="*/ 8417 h 10000"/>
                <a:gd name="connsiteX101" fmla="*/ 6642 w 10000"/>
                <a:gd name="connsiteY101" fmla="*/ 8295 h 10000"/>
                <a:gd name="connsiteX102" fmla="*/ 6780 w 10000"/>
                <a:gd name="connsiteY102" fmla="*/ 8169 h 10000"/>
                <a:gd name="connsiteX103" fmla="*/ 6913 w 10000"/>
                <a:gd name="connsiteY103" fmla="*/ 8040 h 10000"/>
                <a:gd name="connsiteX104" fmla="*/ 7045 w 10000"/>
                <a:gd name="connsiteY104" fmla="*/ 7904 h 10000"/>
                <a:gd name="connsiteX105" fmla="*/ 7175 w 10000"/>
                <a:gd name="connsiteY105" fmla="*/ 7768 h 10000"/>
                <a:gd name="connsiteX106" fmla="*/ 7304 w 10000"/>
                <a:gd name="connsiteY106" fmla="*/ 7624 h 10000"/>
                <a:gd name="connsiteX107" fmla="*/ 7429 w 10000"/>
                <a:gd name="connsiteY107" fmla="*/ 7480 h 10000"/>
                <a:gd name="connsiteX108" fmla="*/ 7552 w 10000"/>
                <a:gd name="connsiteY108" fmla="*/ 7329 h 10000"/>
                <a:gd name="connsiteX109" fmla="*/ 7673 w 10000"/>
                <a:gd name="connsiteY109" fmla="*/ 7178 h 10000"/>
                <a:gd name="connsiteX110" fmla="*/ 7792 w 10000"/>
                <a:gd name="connsiteY110" fmla="*/ 7024 h 10000"/>
                <a:gd name="connsiteX111" fmla="*/ 7907 w 10000"/>
                <a:gd name="connsiteY111" fmla="*/ 6861 h 10000"/>
                <a:gd name="connsiteX112" fmla="*/ 8022 w 10000"/>
                <a:gd name="connsiteY112" fmla="*/ 6697 h 10000"/>
                <a:gd name="connsiteX113" fmla="*/ 8133 w 10000"/>
                <a:gd name="connsiteY113" fmla="*/ 6534 h 10000"/>
                <a:gd name="connsiteX114" fmla="*/ 8240 w 10000"/>
                <a:gd name="connsiteY114" fmla="*/ 6365 h 10000"/>
                <a:gd name="connsiteX115" fmla="*/ 8347 w 10000"/>
                <a:gd name="connsiteY115" fmla="*/ 6189 h 10000"/>
                <a:gd name="connsiteX116" fmla="*/ 8450 w 10000"/>
                <a:gd name="connsiteY116" fmla="*/ 6016 h 10000"/>
                <a:gd name="connsiteX117" fmla="*/ 8552 w 10000"/>
                <a:gd name="connsiteY117" fmla="*/ 5835 h 10000"/>
                <a:gd name="connsiteX118" fmla="*/ 8650 w 10000"/>
                <a:gd name="connsiteY118" fmla="*/ 5652 h 10000"/>
                <a:gd name="connsiteX119" fmla="*/ 8745 w 10000"/>
                <a:gd name="connsiteY119" fmla="*/ 5468 h 10000"/>
                <a:gd name="connsiteX120" fmla="*/ 8837 w 10000"/>
                <a:gd name="connsiteY120" fmla="*/ 5278 h 10000"/>
                <a:gd name="connsiteX121" fmla="*/ 8927 w 10000"/>
                <a:gd name="connsiteY121" fmla="*/ 5089 h 10000"/>
                <a:gd name="connsiteX122" fmla="*/ 9014 w 10000"/>
                <a:gd name="connsiteY122" fmla="*/ 4893 h 10000"/>
                <a:gd name="connsiteX123" fmla="*/ 9098 w 10000"/>
                <a:gd name="connsiteY123" fmla="*/ 4698 h 10000"/>
                <a:gd name="connsiteX124" fmla="*/ 9178 w 10000"/>
                <a:gd name="connsiteY124" fmla="*/ 4500 h 10000"/>
                <a:gd name="connsiteX125" fmla="*/ 9256 w 10000"/>
                <a:gd name="connsiteY125" fmla="*/ 4294 h 10000"/>
                <a:gd name="connsiteX126" fmla="*/ 9330 w 10000"/>
                <a:gd name="connsiteY126" fmla="*/ 4091 h 10000"/>
                <a:gd name="connsiteX127" fmla="*/ 9401 w 10000"/>
                <a:gd name="connsiteY127" fmla="*/ 3885 h 10000"/>
                <a:gd name="connsiteX128" fmla="*/ 9470 w 10000"/>
                <a:gd name="connsiteY128" fmla="*/ 3674 h 10000"/>
                <a:gd name="connsiteX129" fmla="*/ 9535 w 10000"/>
                <a:gd name="connsiteY129" fmla="*/ 3464 h 10000"/>
                <a:gd name="connsiteX130" fmla="*/ 9599 w 10000"/>
                <a:gd name="connsiteY130" fmla="*/ 3248 h 10000"/>
                <a:gd name="connsiteX131" fmla="*/ 9656 w 10000"/>
                <a:gd name="connsiteY131" fmla="*/ 3030 h 10000"/>
                <a:gd name="connsiteX132" fmla="*/ 9711 w 10000"/>
                <a:gd name="connsiteY132" fmla="*/ 2815 h 10000"/>
                <a:gd name="connsiteX133" fmla="*/ 9763 w 10000"/>
                <a:gd name="connsiteY133" fmla="*/ 2592 h 10000"/>
                <a:gd name="connsiteX134" fmla="*/ 9813 w 10000"/>
                <a:gd name="connsiteY134" fmla="*/ 2369 h 10000"/>
                <a:gd name="connsiteX135" fmla="*/ 9856 w 10000"/>
                <a:gd name="connsiteY135" fmla="*/ 2143 h 10000"/>
                <a:gd name="connsiteX136" fmla="*/ 9898 w 10000"/>
                <a:gd name="connsiteY136" fmla="*/ 1918 h 10000"/>
                <a:gd name="connsiteX137" fmla="*/ 9936 w 10000"/>
                <a:gd name="connsiteY137" fmla="*/ 1690 h 10000"/>
                <a:gd name="connsiteX138" fmla="*/ 9970 w 10000"/>
                <a:gd name="connsiteY138" fmla="*/ 1457 h 10000"/>
                <a:gd name="connsiteX139" fmla="*/ 10000 w 10000"/>
                <a:gd name="connsiteY139" fmla="*/ 1222 h 10000"/>
                <a:gd name="connsiteX140" fmla="*/ 7611 w 10000"/>
                <a:gd name="connsiteY140" fmla="*/ 1876 h 10000"/>
                <a:gd name="connsiteX141" fmla="*/ 5615 w 10000"/>
                <a:gd name="connsiteY141"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3153 w 10000"/>
                <a:gd name="connsiteY56" fmla="*/ 3687 h 10000"/>
                <a:gd name="connsiteX57" fmla="*/ 0 w 10000"/>
                <a:gd name="connsiteY57" fmla="*/ 6085 h 10000"/>
                <a:gd name="connsiteX58" fmla="*/ 209 w 10000"/>
                <a:gd name="connsiteY58" fmla="*/ 9512 h 10000"/>
                <a:gd name="connsiteX59" fmla="*/ 344 w 10000"/>
                <a:gd name="connsiteY59" fmla="*/ 9569 h 10000"/>
                <a:gd name="connsiteX60" fmla="*/ 481 w 10000"/>
                <a:gd name="connsiteY60" fmla="*/ 9623 h 10000"/>
                <a:gd name="connsiteX61" fmla="*/ 621 w 10000"/>
                <a:gd name="connsiteY61" fmla="*/ 9673 h 10000"/>
                <a:gd name="connsiteX62" fmla="*/ 758 w 10000"/>
                <a:gd name="connsiteY62" fmla="*/ 9720 h 10000"/>
                <a:gd name="connsiteX63" fmla="*/ 899 w 10000"/>
                <a:gd name="connsiteY63" fmla="*/ 9765 h 10000"/>
                <a:gd name="connsiteX64" fmla="*/ 1040 w 10000"/>
                <a:gd name="connsiteY64" fmla="*/ 9804 h 10000"/>
                <a:gd name="connsiteX65" fmla="*/ 1182 w 10000"/>
                <a:gd name="connsiteY65" fmla="*/ 9839 h 10000"/>
                <a:gd name="connsiteX66" fmla="*/ 1325 w 10000"/>
                <a:gd name="connsiteY66" fmla="*/ 9874 h 10000"/>
                <a:gd name="connsiteX67" fmla="*/ 1471 w 10000"/>
                <a:gd name="connsiteY67" fmla="*/ 9903 h 10000"/>
                <a:gd name="connsiteX68" fmla="*/ 1614 w 10000"/>
                <a:gd name="connsiteY68" fmla="*/ 9926 h 10000"/>
                <a:gd name="connsiteX69" fmla="*/ 1760 w 10000"/>
                <a:gd name="connsiteY69" fmla="*/ 9948 h 10000"/>
                <a:gd name="connsiteX70" fmla="*/ 1906 w 10000"/>
                <a:gd name="connsiteY70" fmla="*/ 9965 h 10000"/>
                <a:gd name="connsiteX71" fmla="*/ 2052 w 10000"/>
                <a:gd name="connsiteY71" fmla="*/ 9980 h 10000"/>
                <a:gd name="connsiteX72" fmla="*/ 2202 w 10000"/>
                <a:gd name="connsiteY72" fmla="*/ 9990 h 10000"/>
                <a:gd name="connsiteX73" fmla="*/ 2350 w 10000"/>
                <a:gd name="connsiteY73" fmla="*/ 9995 h 10000"/>
                <a:gd name="connsiteX74" fmla="*/ 2498 w 10000"/>
                <a:gd name="connsiteY74" fmla="*/ 10000 h 10000"/>
                <a:gd name="connsiteX75" fmla="*/ 2677 w 10000"/>
                <a:gd name="connsiteY75" fmla="*/ 9995 h 10000"/>
                <a:gd name="connsiteX76" fmla="*/ 2850 w 10000"/>
                <a:gd name="connsiteY76" fmla="*/ 9988 h 10000"/>
                <a:gd name="connsiteX77" fmla="*/ 3024 w 10000"/>
                <a:gd name="connsiteY77" fmla="*/ 9975 h 10000"/>
                <a:gd name="connsiteX78" fmla="*/ 3195 w 10000"/>
                <a:gd name="connsiteY78" fmla="*/ 9953 h 10000"/>
                <a:gd name="connsiteX79" fmla="*/ 3368 w 10000"/>
                <a:gd name="connsiteY79" fmla="*/ 9931 h 10000"/>
                <a:gd name="connsiteX80" fmla="*/ 3538 w 10000"/>
                <a:gd name="connsiteY80" fmla="*/ 9898 h 10000"/>
                <a:gd name="connsiteX81" fmla="*/ 3709 w 10000"/>
                <a:gd name="connsiteY81" fmla="*/ 9866 h 10000"/>
                <a:gd name="connsiteX82" fmla="*/ 3877 w 10000"/>
                <a:gd name="connsiteY82" fmla="*/ 9824 h 10000"/>
                <a:gd name="connsiteX83" fmla="*/ 4042 w 10000"/>
                <a:gd name="connsiteY83" fmla="*/ 9779 h 10000"/>
                <a:gd name="connsiteX84" fmla="*/ 4210 w 10000"/>
                <a:gd name="connsiteY84" fmla="*/ 9730 h 10000"/>
                <a:gd name="connsiteX85" fmla="*/ 4372 w 10000"/>
                <a:gd name="connsiteY85" fmla="*/ 9673 h 10000"/>
                <a:gd name="connsiteX86" fmla="*/ 4536 w 10000"/>
                <a:gd name="connsiteY86" fmla="*/ 9616 h 10000"/>
                <a:gd name="connsiteX87" fmla="*/ 4697 w 10000"/>
                <a:gd name="connsiteY87" fmla="*/ 9552 h 10000"/>
                <a:gd name="connsiteX88" fmla="*/ 4857 w 10000"/>
                <a:gd name="connsiteY88" fmla="*/ 9482 h 10000"/>
                <a:gd name="connsiteX89" fmla="*/ 5014 w 10000"/>
                <a:gd name="connsiteY89" fmla="*/ 9405 h 10000"/>
                <a:gd name="connsiteX90" fmla="*/ 5171 w 10000"/>
                <a:gd name="connsiteY90" fmla="*/ 9329 h 10000"/>
                <a:gd name="connsiteX91" fmla="*/ 5326 w 10000"/>
                <a:gd name="connsiteY91" fmla="*/ 9244 h 10000"/>
                <a:gd name="connsiteX92" fmla="*/ 5480 w 10000"/>
                <a:gd name="connsiteY92" fmla="*/ 9158 h 10000"/>
                <a:gd name="connsiteX93" fmla="*/ 5631 w 10000"/>
                <a:gd name="connsiteY93" fmla="*/ 9063 h 10000"/>
                <a:gd name="connsiteX94" fmla="*/ 5781 w 10000"/>
                <a:gd name="connsiteY94" fmla="*/ 8967 h 10000"/>
                <a:gd name="connsiteX95" fmla="*/ 5931 w 10000"/>
                <a:gd name="connsiteY95" fmla="*/ 8865 h 10000"/>
                <a:gd name="connsiteX96" fmla="*/ 6075 w 10000"/>
                <a:gd name="connsiteY96" fmla="*/ 8759 h 10000"/>
                <a:gd name="connsiteX97" fmla="*/ 6221 w 10000"/>
                <a:gd name="connsiteY97" fmla="*/ 8652 h 10000"/>
                <a:gd name="connsiteX98" fmla="*/ 6364 w 10000"/>
                <a:gd name="connsiteY98" fmla="*/ 8536 h 10000"/>
                <a:gd name="connsiteX99" fmla="*/ 6505 w 10000"/>
                <a:gd name="connsiteY99" fmla="*/ 8417 h 10000"/>
                <a:gd name="connsiteX100" fmla="*/ 6642 w 10000"/>
                <a:gd name="connsiteY100" fmla="*/ 8295 h 10000"/>
                <a:gd name="connsiteX101" fmla="*/ 6780 w 10000"/>
                <a:gd name="connsiteY101" fmla="*/ 8169 h 10000"/>
                <a:gd name="connsiteX102" fmla="*/ 6913 w 10000"/>
                <a:gd name="connsiteY102" fmla="*/ 8040 h 10000"/>
                <a:gd name="connsiteX103" fmla="*/ 7045 w 10000"/>
                <a:gd name="connsiteY103" fmla="*/ 7904 h 10000"/>
                <a:gd name="connsiteX104" fmla="*/ 7175 w 10000"/>
                <a:gd name="connsiteY104" fmla="*/ 7768 h 10000"/>
                <a:gd name="connsiteX105" fmla="*/ 7304 w 10000"/>
                <a:gd name="connsiteY105" fmla="*/ 7624 h 10000"/>
                <a:gd name="connsiteX106" fmla="*/ 7429 w 10000"/>
                <a:gd name="connsiteY106" fmla="*/ 7480 h 10000"/>
                <a:gd name="connsiteX107" fmla="*/ 7552 w 10000"/>
                <a:gd name="connsiteY107" fmla="*/ 7329 h 10000"/>
                <a:gd name="connsiteX108" fmla="*/ 7673 w 10000"/>
                <a:gd name="connsiteY108" fmla="*/ 7178 h 10000"/>
                <a:gd name="connsiteX109" fmla="*/ 7792 w 10000"/>
                <a:gd name="connsiteY109" fmla="*/ 7024 h 10000"/>
                <a:gd name="connsiteX110" fmla="*/ 7907 w 10000"/>
                <a:gd name="connsiteY110" fmla="*/ 6861 h 10000"/>
                <a:gd name="connsiteX111" fmla="*/ 8022 w 10000"/>
                <a:gd name="connsiteY111" fmla="*/ 6697 h 10000"/>
                <a:gd name="connsiteX112" fmla="*/ 8133 w 10000"/>
                <a:gd name="connsiteY112" fmla="*/ 6534 h 10000"/>
                <a:gd name="connsiteX113" fmla="*/ 8240 w 10000"/>
                <a:gd name="connsiteY113" fmla="*/ 6365 h 10000"/>
                <a:gd name="connsiteX114" fmla="*/ 8347 w 10000"/>
                <a:gd name="connsiteY114" fmla="*/ 6189 h 10000"/>
                <a:gd name="connsiteX115" fmla="*/ 8450 w 10000"/>
                <a:gd name="connsiteY115" fmla="*/ 6016 h 10000"/>
                <a:gd name="connsiteX116" fmla="*/ 8552 w 10000"/>
                <a:gd name="connsiteY116" fmla="*/ 5835 h 10000"/>
                <a:gd name="connsiteX117" fmla="*/ 8650 w 10000"/>
                <a:gd name="connsiteY117" fmla="*/ 5652 h 10000"/>
                <a:gd name="connsiteX118" fmla="*/ 8745 w 10000"/>
                <a:gd name="connsiteY118" fmla="*/ 5468 h 10000"/>
                <a:gd name="connsiteX119" fmla="*/ 8837 w 10000"/>
                <a:gd name="connsiteY119" fmla="*/ 5278 h 10000"/>
                <a:gd name="connsiteX120" fmla="*/ 8927 w 10000"/>
                <a:gd name="connsiteY120" fmla="*/ 5089 h 10000"/>
                <a:gd name="connsiteX121" fmla="*/ 9014 w 10000"/>
                <a:gd name="connsiteY121" fmla="*/ 4893 h 10000"/>
                <a:gd name="connsiteX122" fmla="*/ 9098 w 10000"/>
                <a:gd name="connsiteY122" fmla="*/ 4698 h 10000"/>
                <a:gd name="connsiteX123" fmla="*/ 9178 w 10000"/>
                <a:gd name="connsiteY123" fmla="*/ 4500 h 10000"/>
                <a:gd name="connsiteX124" fmla="*/ 9256 w 10000"/>
                <a:gd name="connsiteY124" fmla="*/ 4294 h 10000"/>
                <a:gd name="connsiteX125" fmla="*/ 9330 w 10000"/>
                <a:gd name="connsiteY125" fmla="*/ 4091 h 10000"/>
                <a:gd name="connsiteX126" fmla="*/ 9401 w 10000"/>
                <a:gd name="connsiteY126" fmla="*/ 3885 h 10000"/>
                <a:gd name="connsiteX127" fmla="*/ 9470 w 10000"/>
                <a:gd name="connsiteY127" fmla="*/ 3674 h 10000"/>
                <a:gd name="connsiteX128" fmla="*/ 9535 w 10000"/>
                <a:gd name="connsiteY128" fmla="*/ 3464 h 10000"/>
                <a:gd name="connsiteX129" fmla="*/ 9599 w 10000"/>
                <a:gd name="connsiteY129" fmla="*/ 3248 h 10000"/>
                <a:gd name="connsiteX130" fmla="*/ 9656 w 10000"/>
                <a:gd name="connsiteY130" fmla="*/ 3030 h 10000"/>
                <a:gd name="connsiteX131" fmla="*/ 9711 w 10000"/>
                <a:gd name="connsiteY131" fmla="*/ 2815 h 10000"/>
                <a:gd name="connsiteX132" fmla="*/ 9763 w 10000"/>
                <a:gd name="connsiteY132" fmla="*/ 2592 h 10000"/>
                <a:gd name="connsiteX133" fmla="*/ 9813 w 10000"/>
                <a:gd name="connsiteY133" fmla="*/ 2369 h 10000"/>
                <a:gd name="connsiteX134" fmla="*/ 9856 w 10000"/>
                <a:gd name="connsiteY134" fmla="*/ 2143 h 10000"/>
                <a:gd name="connsiteX135" fmla="*/ 9898 w 10000"/>
                <a:gd name="connsiteY135" fmla="*/ 1918 h 10000"/>
                <a:gd name="connsiteX136" fmla="*/ 9936 w 10000"/>
                <a:gd name="connsiteY136" fmla="*/ 1690 h 10000"/>
                <a:gd name="connsiteX137" fmla="*/ 9970 w 10000"/>
                <a:gd name="connsiteY137" fmla="*/ 1457 h 10000"/>
                <a:gd name="connsiteX138" fmla="*/ 10000 w 10000"/>
                <a:gd name="connsiteY138" fmla="*/ 1222 h 10000"/>
                <a:gd name="connsiteX139" fmla="*/ 7611 w 10000"/>
                <a:gd name="connsiteY139" fmla="*/ 1876 h 10000"/>
                <a:gd name="connsiteX140" fmla="*/ 5615 w 10000"/>
                <a:gd name="connsiteY140"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3222 w 10000"/>
                <a:gd name="connsiteY55" fmla="*/ 3665 h 10000"/>
                <a:gd name="connsiteX56" fmla="*/ 0 w 10000"/>
                <a:gd name="connsiteY56" fmla="*/ 6085 h 10000"/>
                <a:gd name="connsiteX57" fmla="*/ 209 w 10000"/>
                <a:gd name="connsiteY57" fmla="*/ 9512 h 10000"/>
                <a:gd name="connsiteX58" fmla="*/ 344 w 10000"/>
                <a:gd name="connsiteY58" fmla="*/ 9569 h 10000"/>
                <a:gd name="connsiteX59" fmla="*/ 481 w 10000"/>
                <a:gd name="connsiteY59" fmla="*/ 9623 h 10000"/>
                <a:gd name="connsiteX60" fmla="*/ 621 w 10000"/>
                <a:gd name="connsiteY60" fmla="*/ 9673 h 10000"/>
                <a:gd name="connsiteX61" fmla="*/ 758 w 10000"/>
                <a:gd name="connsiteY61" fmla="*/ 9720 h 10000"/>
                <a:gd name="connsiteX62" fmla="*/ 899 w 10000"/>
                <a:gd name="connsiteY62" fmla="*/ 9765 h 10000"/>
                <a:gd name="connsiteX63" fmla="*/ 1040 w 10000"/>
                <a:gd name="connsiteY63" fmla="*/ 9804 h 10000"/>
                <a:gd name="connsiteX64" fmla="*/ 1182 w 10000"/>
                <a:gd name="connsiteY64" fmla="*/ 9839 h 10000"/>
                <a:gd name="connsiteX65" fmla="*/ 1325 w 10000"/>
                <a:gd name="connsiteY65" fmla="*/ 9874 h 10000"/>
                <a:gd name="connsiteX66" fmla="*/ 1471 w 10000"/>
                <a:gd name="connsiteY66" fmla="*/ 9903 h 10000"/>
                <a:gd name="connsiteX67" fmla="*/ 1614 w 10000"/>
                <a:gd name="connsiteY67" fmla="*/ 9926 h 10000"/>
                <a:gd name="connsiteX68" fmla="*/ 1760 w 10000"/>
                <a:gd name="connsiteY68" fmla="*/ 9948 h 10000"/>
                <a:gd name="connsiteX69" fmla="*/ 1906 w 10000"/>
                <a:gd name="connsiteY69" fmla="*/ 9965 h 10000"/>
                <a:gd name="connsiteX70" fmla="*/ 2052 w 10000"/>
                <a:gd name="connsiteY70" fmla="*/ 9980 h 10000"/>
                <a:gd name="connsiteX71" fmla="*/ 2202 w 10000"/>
                <a:gd name="connsiteY71" fmla="*/ 9990 h 10000"/>
                <a:gd name="connsiteX72" fmla="*/ 2350 w 10000"/>
                <a:gd name="connsiteY72" fmla="*/ 9995 h 10000"/>
                <a:gd name="connsiteX73" fmla="*/ 2498 w 10000"/>
                <a:gd name="connsiteY73" fmla="*/ 10000 h 10000"/>
                <a:gd name="connsiteX74" fmla="*/ 2677 w 10000"/>
                <a:gd name="connsiteY74" fmla="*/ 9995 h 10000"/>
                <a:gd name="connsiteX75" fmla="*/ 2850 w 10000"/>
                <a:gd name="connsiteY75" fmla="*/ 9988 h 10000"/>
                <a:gd name="connsiteX76" fmla="*/ 3024 w 10000"/>
                <a:gd name="connsiteY76" fmla="*/ 9975 h 10000"/>
                <a:gd name="connsiteX77" fmla="*/ 3195 w 10000"/>
                <a:gd name="connsiteY77" fmla="*/ 9953 h 10000"/>
                <a:gd name="connsiteX78" fmla="*/ 3368 w 10000"/>
                <a:gd name="connsiteY78" fmla="*/ 9931 h 10000"/>
                <a:gd name="connsiteX79" fmla="*/ 3538 w 10000"/>
                <a:gd name="connsiteY79" fmla="*/ 9898 h 10000"/>
                <a:gd name="connsiteX80" fmla="*/ 3709 w 10000"/>
                <a:gd name="connsiteY80" fmla="*/ 9866 h 10000"/>
                <a:gd name="connsiteX81" fmla="*/ 3877 w 10000"/>
                <a:gd name="connsiteY81" fmla="*/ 9824 h 10000"/>
                <a:gd name="connsiteX82" fmla="*/ 4042 w 10000"/>
                <a:gd name="connsiteY82" fmla="*/ 9779 h 10000"/>
                <a:gd name="connsiteX83" fmla="*/ 4210 w 10000"/>
                <a:gd name="connsiteY83" fmla="*/ 9730 h 10000"/>
                <a:gd name="connsiteX84" fmla="*/ 4372 w 10000"/>
                <a:gd name="connsiteY84" fmla="*/ 9673 h 10000"/>
                <a:gd name="connsiteX85" fmla="*/ 4536 w 10000"/>
                <a:gd name="connsiteY85" fmla="*/ 9616 h 10000"/>
                <a:gd name="connsiteX86" fmla="*/ 4697 w 10000"/>
                <a:gd name="connsiteY86" fmla="*/ 9552 h 10000"/>
                <a:gd name="connsiteX87" fmla="*/ 4857 w 10000"/>
                <a:gd name="connsiteY87" fmla="*/ 9482 h 10000"/>
                <a:gd name="connsiteX88" fmla="*/ 5014 w 10000"/>
                <a:gd name="connsiteY88" fmla="*/ 9405 h 10000"/>
                <a:gd name="connsiteX89" fmla="*/ 5171 w 10000"/>
                <a:gd name="connsiteY89" fmla="*/ 9329 h 10000"/>
                <a:gd name="connsiteX90" fmla="*/ 5326 w 10000"/>
                <a:gd name="connsiteY90" fmla="*/ 9244 h 10000"/>
                <a:gd name="connsiteX91" fmla="*/ 5480 w 10000"/>
                <a:gd name="connsiteY91" fmla="*/ 9158 h 10000"/>
                <a:gd name="connsiteX92" fmla="*/ 5631 w 10000"/>
                <a:gd name="connsiteY92" fmla="*/ 9063 h 10000"/>
                <a:gd name="connsiteX93" fmla="*/ 5781 w 10000"/>
                <a:gd name="connsiteY93" fmla="*/ 8967 h 10000"/>
                <a:gd name="connsiteX94" fmla="*/ 5931 w 10000"/>
                <a:gd name="connsiteY94" fmla="*/ 8865 h 10000"/>
                <a:gd name="connsiteX95" fmla="*/ 6075 w 10000"/>
                <a:gd name="connsiteY95" fmla="*/ 8759 h 10000"/>
                <a:gd name="connsiteX96" fmla="*/ 6221 w 10000"/>
                <a:gd name="connsiteY96" fmla="*/ 8652 h 10000"/>
                <a:gd name="connsiteX97" fmla="*/ 6364 w 10000"/>
                <a:gd name="connsiteY97" fmla="*/ 8536 h 10000"/>
                <a:gd name="connsiteX98" fmla="*/ 6505 w 10000"/>
                <a:gd name="connsiteY98" fmla="*/ 8417 h 10000"/>
                <a:gd name="connsiteX99" fmla="*/ 6642 w 10000"/>
                <a:gd name="connsiteY99" fmla="*/ 8295 h 10000"/>
                <a:gd name="connsiteX100" fmla="*/ 6780 w 10000"/>
                <a:gd name="connsiteY100" fmla="*/ 8169 h 10000"/>
                <a:gd name="connsiteX101" fmla="*/ 6913 w 10000"/>
                <a:gd name="connsiteY101" fmla="*/ 8040 h 10000"/>
                <a:gd name="connsiteX102" fmla="*/ 7045 w 10000"/>
                <a:gd name="connsiteY102" fmla="*/ 7904 h 10000"/>
                <a:gd name="connsiteX103" fmla="*/ 7175 w 10000"/>
                <a:gd name="connsiteY103" fmla="*/ 7768 h 10000"/>
                <a:gd name="connsiteX104" fmla="*/ 7304 w 10000"/>
                <a:gd name="connsiteY104" fmla="*/ 7624 h 10000"/>
                <a:gd name="connsiteX105" fmla="*/ 7429 w 10000"/>
                <a:gd name="connsiteY105" fmla="*/ 7480 h 10000"/>
                <a:gd name="connsiteX106" fmla="*/ 7552 w 10000"/>
                <a:gd name="connsiteY106" fmla="*/ 7329 h 10000"/>
                <a:gd name="connsiteX107" fmla="*/ 7673 w 10000"/>
                <a:gd name="connsiteY107" fmla="*/ 7178 h 10000"/>
                <a:gd name="connsiteX108" fmla="*/ 7792 w 10000"/>
                <a:gd name="connsiteY108" fmla="*/ 7024 h 10000"/>
                <a:gd name="connsiteX109" fmla="*/ 7907 w 10000"/>
                <a:gd name="connsiteY109" fmla="*/ 6861 h 10000"/>
                <a:gd name="connsiteX110" fmla="*/ 8022 w 10000"/>
                <a:gd name="connsiteY110" fmla="*/ 6697 h 10000"/>
                <a:gd name="connsiteX111" fmla="*/ 8133 w 10000"/>
                <a:gd name="connsiteY111" fmla="*/ 6534 h 10000"/>
                <a:gd name="connsiteX112" fmla="*/ 8240 w 10000"/>
                <a:gd name="connsiteY112" fmla="*/ 6365 h 10000"/>
                <a:gd name="connsiteX113" fmla="*/ 8347 w 10000"/>
                <a:gd name="connsiteY113" fmla="*/ 6189 h 10000"/>
                <a:gd name="connsiteX114" fmla="*/ 8450 w 10000"/>
                <a:gd name="connsiteY114" fmla="*/ 6016 h 10000"/>
                <a:gd name="connsiteX115" fmla="*/ 8552 w 10000"/>
                <a:gd name="connsiteY115" fmla="*/ 5835 h 10000"/>
                <a:gd name="connsiteX116" fmla="*/ 8650 w 10000"/>
                <a:gd name="connsiteY116" fmla="*/ 5652 h 10000"/>
                <a:gd name="connsiteX117" fmla="*/ 8745 w 10000"/>
                <a:gd name="connsiteY117" fmla="*/ 5468 h 10000"/>
                <a:gd name="connsiteX118" fmla="*/ 8837 w 10000"/>
                <a:gd name="connsiteY118" fmla="*/ 5278 h 10000"/>
                <a:gd name="connsiteX119" fmla="*/ 8927 w 10000"/>
                <a:gd name="connsiteY119" fmla="*/ 5089 h 10000"/>
                <a:gd name="connsiteX120" fmla="*/ 9014 w 10000"/>
                <a:gd name="connsiteY120" fmla="*/ 4893 h 10000"/>
                <a:gd name="connsiteX121" fmla="*/ 9098 w 10000"/>
                <a:gd name="connsiteY121" fmla="*/ 4698 h 10000"/>
                <a:gd name="connsiteX122" fmla="*/ 9178 w 10000"/>
                <a:gd name="connsiteY122" fmla="*/ 4500 h 10000"/>
                <a:gd name="connsiteX123" fmla="*/ 9256 w 10000"/>
                <a:gd name="connsiteY123" fmla="*/ 4294 h 10000"/>
                <a:gd name="connsiteX124" fmla="*/ 9330 w 10000"/>
                <a:gd name="connsiteY124" fmla="*/ 4091 h 10000"/>
                <a:gd name="connsiteX125" fmla="*/ 9401 w 10000"/>
                <a:gd name="connsiteY125" fmla="*/ 3885 h 10000"/>
                <a:gd name="connsiteX126" fmla="*/ 9470 w 10000"/>
                <a:gd name="connsiteY126" fmla="*/ 3674 h 10000"/>
                <a:gd name="connsiteX127" fmla="*/ 9535 w 10000"/>
                <a:gd name="connsiteY127" fmla="*/ 3464 h 10000"/>
                <a:gd name="connsiteX128" fmla="*/ 9599 w 10000"/>
                <a:gd name="connsiteY128" fmla="*/ 3248 h 10000"/>
                <a:gd name="connsiteX129" fmla="*/ 9656 w 10000"/>
                <a:gd name="connsiteY129" fmla="*/ 3030 h 10000"/>
                <a:gd name="connsiteX130" fmla="*/ 9711 w 10000"/>
                <a:gd name="connsiteY130" fmla="*/ 2815 h 10000"/>
                <a:gd name="connsiteX131" fmla="*/ 9763 w 10000"/>
                <a:gd name="connsiteY131" fmla="*/ 2592 h 10000"/>
                <a:gd name="connsiteX132" fmla="*/ 9813 w 10000"/>
                <a:gd name="connsiteY132" fmla="*/ 2369 h 10000"/>
                <a:gd name="connsiteX133" fmla="*/ 9856 w 10000"/>
                <a:gd name="connsiteY133" fmla="*/ 2143 h 10000"/>
                <a:gd name="connsiteX134" fmla="*/ 9898 w 10000"/>
                <a:gd name="connsiteY134" fmla="*/ 1918 h 10000"/>
                <a:gd name="connsiteX135" fmla="*/ 9936 w 10000"/>
                <a:gd name="connsiteY135" fmla="*/ 1690 h 10000"/>
                <a:gd name="connsiteX136" fmla="*/ 9970 w 10000"/>
                <a:gd name="connsiteY136" fmla="*/ 1457 h 10000"/>
                <a:gd name="connsiteX137" fmla="*/ 10000 w 10000"/>
                <a:gd name="connsiteY137" fmla="*/ 1222 h 10000"/>
                <a:gd name="connsiteX138" fmla="*/ 7611 w 10000"/>
                <a:gd name="connsiteY138" fmla="*/ 1876 h 10000"/>
                <a:gd name="connsiteX139" fmla="*/ 5615 w 10000"/>
                <a:gd name="connsiteY139"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3292 w 10000"/>
                <a:gd name="connsiteY54" fmla="*/ 3642 h 10000"/>
                <a:gd name="connsiteX55" fmla="*/ 0 w 10000"/>
                <a:gd name="connsiteY55" fmla="*/ 6085 h 10000"/>
                <a:gd name="connsiteX56" fmla="*/ 209 w 10000"/>
                <a:gd name="connsiteY56" fmla="*/ 9512 h 10000"/>
                <a:gd name="connsiteX57" fmla="*/ 344 w 10000"/>
                <a:gd name="connsiteY57" fmla="*/ 9569 h 10000"/>
                <a:gd name="connsiteX58" fmla="*/ 481 w 10000"/>
                <a:gd name="connsiteY58" fmla="*/ 9623 h 10000"/>
                <a:gd name="connsiteX59" fmla="*/ 621 w 10000"/>
                <a:gd name="connsiteY59" fmla="*/ 9673 h 10000"/>
                <a:gd name="connsiteX60" fmla="*/ 758 w 10000"/>
                <a:gd name="connsiteY60" fmla="*/ 9720 h 10000"/>
                <a:gd name="connsiteX61" fmla="*/ 899 w 10000"/>
                <a:gd name="connsiteY61" fmla="*/ 9765 h 10000"/>
                <a:gd name="connsiteX62" fmla="*/ 1040 w 10000"/>
                <a:gd name="connsiteY62" fmla="*/ 9804 h 10000"/>
                <a:gd name="connsiteX63" fmla="*/ 1182 w 10000"/>
                <a:gd name="connsiteY63" fmla="*/ 9839 h 10000"/>
                <a:gd name="connsiteX64" fmla="*/ 1325 w 10000"/>
                <a:gd name="connsiteY64" fmla="*/ 9874 h 10000"/>
                <a:gd name="connsiteX65" fmla="*/ 1471 w 10000"/>
                <a:gd name="connsiteY65" fmla="*/ 9903 h 10000"/>
                <a:gd name="connsiteX66" fmla="*/ 1614 w 10000"/>
                <a:gd name="connsiteY66" fmla="*/ 9926 h 10000"/>
                <a:gd name="connsiteX67" fmla="*/ 1760 w 10000"/>
                <a:gd name="connsiteY67" fmla="*/ 9948 h 10000"/>
                <a:gd name="connsiteX68" fmla="*/ 1906 w 10000"/>
                <a:gd name="connsiteY68" fmla="*/ 9965 h 10000"/>
                <a:gd name="connsiteX69" fmla="*/ 2052 w 10000"/>
                <a:gd name="connsiteY69" fmla="*/ 9980 h 10000"/>
                <a:gd name="connsiteX70" fmla="*/ 2202 w 10000"/>
                <a:gd name="connsiteY70" fmla="*/ 9990 h 10000"/>
                <a:gd name="connsiteX71" fmla="*/ 2350 w 10000"/>
                <a:gd name="connsiteY71" fmla="*/ 9995 h 10000"/>
                <a:gd name="connsiteX72" fmla="*/ 2498 w 10000"/>
                <a:gd name="connsiteY72" fmla="*/ 10000 h 10000"/>
                <a:gd name="connsiteX73" fmla="*/ 2677 w 10000"/>
                <a:gd name="connsiteY73" fmla="*/ 9995 h 10000"/>
                <a:gd name="connsiteX74" fmla="*/ 2850 w 10000"/>
                <a:gd name="connsiteY74" fmla="*/ 9988 h 10000"/>
                <a:gd name="connsiteX75" fmla="*/ 3024 w 10000"/>
                <a:gd name="connsiteY75" fmla="*/ 9975 h 10000"/>
                <a:gd name="connsiteX76" fmla="*/ 3195 w 10000"/>
                <a:gd name="connsiteY76" fmla="*/ 9953 h 10000"/>
                <a:gd name="connsiteX77" fmla="*/ 3368 w 10000"/>
                <a:gd name="connsiteY77" fmla="*/ 9931 h 10000"/>
                <a:gd name="connsiteX78" fmla="*/ 3538 w 10000"/>
                <a:gd name="connsiteY78" fmla="*/ 9898 h 10000"/>
                <a:gd name="connsiteX79" fmla="*/ 3709 w 10000"/>
                <a:gd name="connsiteY79" fmla="*/ 9866 h 10000"/>
                <a:gd name="connsiteX80" fmla="*/ 3877 w 10000"/>
                <a:gd name="connsiteY80" fmla="*/ 9824 h 10000"/>
                <a:gd name="connsiteX81" fmla="*/ 4042 w 10000"/>
                <a:gd name="connsiteY81" fmla="*/ 9779 h 10000"/>
                <a:gd name="connsiteX82" fmla="*/ 4210 w 10000"/>
                <a:gd name="connsiteY82" fmla="*/ 9730 h 10000"/>
                <a:gd name="connsiteX83" fmla="*/ 4372 w 10000"/>
                <a:gd name="connsiteY83" fmla="*/ 9673 h 10000"/>
                <a:gd name="connsiteX84" fmla="*/ 4536 w 10000"/>
                <a:gd name="connsiteY84" fmla="*/ 9616 h 10000"/>
                <a:gd name="connsiteX85" fmla="*/ 4697 w 10000"/>
                <a:gd name="connsiteY85" fmla="*/ 9552 h 10000"/>
                <a:gd name="connsiteX86" fmla="*/ 4857 w 10000"/>
                <a:gd name="connsiteY86" fmla="*/ 9482 h 10000"/>
                <a:gd name="connsiteX87" fmla="*/ 5014 w 10000"/>
                <a:gd name="connsiteY87" fmla="*/ 9405 h 10000"/>
                <a:gd name="connsiteX88" fmla="*/ 5171 w 10000"/>
                <a:gd name="connsiteY88" fmla="*/ 9329 h 10000"/>
                <a:gd name="connsiteX89" fmla="*/ 5326 w 10000"/>
                <a:gd name="connsiteY89" fmla="*/ 9244 h 10000"/>
                <a:gd name="connsiteX90" fmla="*/ 5480 w 10000"/>
                <a:gd name="connsiteY90" fmla="*/ 9158 h 10000"/>
                <a:gd name="connsiteX91" fmla="*/ 5631 w 10000"/>
                <a:gd name="connsiteY91" fmla="*/ 9063 h 10000"/>
                <a:gd name="connsiteX92" fmla="*/ 5781 w 10000"/>
                <a:gd name="connsiteY92" fmla="*/ 8967 h 10000"/>
                <a:gd name="connsiteX93" fmla="*/ 5931 w 10000"/>
                <a:gd name="connsiteY93" fmla="*/ 8865 h 10000"/>
                <a:gd name="connsiteX94" fmla="*/ 6075 w 10000"/>
                <a:gd name="connsiteY94" fmla="*/ 8759 h 10000"/>
                <a:gd name="connsiteX95" fmla="*/ 6221 w 10000"/>
                <a:gd name="connsiteY95" fmla="*/ 8652 h 10000"/>
                <a:gd name="connsiteX96" fmla="*/ 6364 w 10000"/>
                <a:gd name="connsiteY96" fmla="*/ 8536 h 10000"/>
                <a:gd name="connsiteX97" fmla="*/ 6505 w 10000"/>
                <a:gd name="connsiteY97" fmla="*/ 8417 h 10000"/>
                <a:gd name="connsiteX98" fmla="*/ 6642 w 10000"/>
                <a:gd name="connsiteY98" fmla="*/ 8295 h 10000"/>
                <a:gd name="connsiteX99" fmla="*/ 6780 w 10000"/>
                <a:gd name="connsiteY99" fmla="*/ 8169 h 10000"/>
                <a:gd name="connsiteX100" fmla="*/ 6913 w 10000"/>
                <a:gd name="connsiteY100" fmla="*/ 8040 h 10000"/>
                <a:gd name="connsiteX101" fmla="*/ 7045 w 10000"/>
                <a:gd name="connsiteY101" fmla="*/ 7904 h 10000"/>
                <a:gd name="connsiteX102" fmla="*/ 7175 w 10000"/>
                <a:gd name="connsiteY102" fmla="*/ 7768 h 10000"/>
                <a:gd name="connsiteX103" fmla="*/ 7304 w 10000"/>
                <a:gd name="connsiteY103" fmla="*/ 7624 h 10000"/>
                <a:gd name="connsiteX104" fmla="*/ 7429 w 10000"/>
                <a:gd name="connsiteY104" fmla="*/ 7480 h 10000"/>
                <a:gd name="connsiteX105" fmla="*/ 7552 w 10000"/>
                <a:gd name="connsiteY105" fmla="*/ 7329 h 10000"/>
                <a:gd name="connsiteX106" fmla="*/ 7673 w 10000"/>
                <a:gd name="connsiteY106" fmla="*/ 7178 h 10000"/>
                <a:gd name="connsiteX107" fmla="*/ 7792 w 10000"/>
                <a:gd name="connsiteY107" fmla="*/ 7024 h 10000"/>
                <a:gd name="connsiteX108" fmla="*/ 7907 w 10000"/>
                <a:gd name="connsiteY108" fmla="*/ 6861 h 10000"/>
                <a:gd name="connsiteX109" fmla="*/ 8022 w 10000"/>
                <a:gd name="connsiteY109" fmla="*/ 6697 h 10000"/>
                <a:gd name="connsiteX110" fmla="*/ 8133 w 10000"/>
                <a:gd name="connsiteY110" fmla="*/ 6534 h 10000"/>
                <a:gd name="connsiteX111" fmla="*/ 8240 w 10000"/>
                <a:gd name="connsiteY111" fmla="*/ 6365 h 10000"/>
                <a:gd name="connsiteX112" fmla="*/ 8347 w 10000"/>
                <a:gd name="connsiteY112" fmla="*/ 6189 h 10000"/>
                <a:gd name="connsiteX113" fmla="*/ 8450 w 10000"/>
                <a:gd name="connsiteY113" fmla="*/ 6016 h 10000"/>
                <a:gd name="connsiteX114" fmla="*/ 8552 w 10000"/>
                <a:gd name="connsiteY114" fmla="*/ 5835 h 10000"/>
                <a:gd name="connsiteX115" fmla="*/ 8650 w 10000"/>
                <a:gd name="connsiteY115" fmla="*/ 5652 h 10000"/>
                <a:gd name="connsiteX116" fmla="*/ 8745 w 10000"/>
                <a:gd name="connsiteY116" fmla="*/ 5468 h 10000"/>
                <a:gd name="connsiteX117" fmla="*/ 8837 w 10000"/>
                <a:gd name="connsiteY117" fmla="*/ 5278 h 10000"/>
                <a:gd name="connsiteX118" fmla="*/ 8927 w 10000"/>
                <a:gd name="connsiteY118" fmla="*/ 5089 h 10000"/>
                <a:gd name="connsiteX119" fmla="*/ 9014 w 10000"/>
                <a:gd name="connsiteY119" fmla="*/ 4893 h 10000"/>
                <a:gd name="connsiteX120" fmla="*/ 9098 w 10000"/>
                <a:gd name="connsiteY120" fmla="*/ 4698 h 10000"/>
                <a:gd name="connsiteX121" fmla="*/ 9178 w 10000"/>
                <a:gd name="connsiteY121" fmla="*/ 4500 h 10000"/>
                <a:gd name="connsiteX122" fmla="*/ 9256 w 10000"/>
                <a:gd name="connsiteY122" fmla="*/ 4294 h 10000"/>
                <a:gd name="connsiteX123" fmla="*/ 9330 w 10000"/>
                <a:gd name="connsiteY123" fmla="*/ 4091 h 10000"/>
                <a:gd name="connsiteX124" fmla="*/ 9401 w 10000"/>
                <a:gd name="connsiteY124" fmla="*/ 3885 h 10000"/>
                <a:gd name="connsiteX125" fmla="*/ 9470 w 10000"/>
                <a:gd name="connsiteY125" fmla="*/ 3674 h 10000"/>
                <a:gd name="connsiteX126" fmla="*/ 9535 w 10000"/>
                <a:gd name="connsiteY126" fmla="*/ 3464 h 10000"/>
                <a:gd name="connsiteX127" fmla="*/ 9599 w 10000"/>
                <a:gd name="connsiteY127" fmla="*/ 3248 h 10000"/>
                <a:gd name="connsiteX128" fmla="*/ 9656 w 10000"/>
                <a:gd name="connsiteY128" fmla="*/ 3030 h 10000"/>
                <a:gd name="connsiteX129" fmla="*/ 9711 w 10000"/>
                <a:gd name="connsiteY129" fmla="*/ 2815 h 10000"/>
                <a:gd name="connsiteX130" fmla="*/ 9763 w 10000"/>
                <a:gd name="connsiteY130" fmla="*/ 2592 h 10000"/>
                <a:gd name="connsiteX131" fmla="*/ 9813 w 10000"/>
                <a:gd name="connsiteY131" fmla="*/ 2369 h 10000"/>
                <a:gd name="connsiteX132" fmla="*/ 9856 w 10000"/>
                <a:gd name="connsiteY132" fmla="*/ 2143 h 10000"/>
                <a:gd name="connsiteX133" fmla="*/ 9898 w 10000"/>
                <a:gd name="connsiteY133" fmla="*/ 1918 h 10000"/>
                <a:gd name="connsiteX134" fmla="*/ 9936 w 10000"/>
                <a:gd name="connsiteY134" fmla="*/ 1690 h 10000"/>
                <a:gd name="connsiteX135" fmla="*/ 9970 w 10000"/>
                <a:gd name="connsiteY135" fmla="*/ 1457 h 10000"/>
                <a:gd name="connsiteX136" fmla="*/ 10000 w 10000"/>
                <a:gd name="connsiteY136" fmla="*/ 1222 h 10000"/>
                <a:gd name="connsiteX137" fmla="*/ 7611 w 10000"/>
                <a:gd name="connsiteY137" fmla="*/ 1876 h 10000"/>
                <a:gd name="connsiteX138" fmla="*/ 5615 w 10000"/>
                <a:gd name="connsiteY138"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61 w 10000"/>
                <a:gd name="connsiteY53" fmla="*/ 3615 h 10000"/>
                <a:gd name="connsiteX54" fmla="*/ 0 w 10000"/>
                <a:gd name="connsiteY54" fmla="*/ 6085 h 10000"/>
                <a:gd name="connsiteX55" fmla="*/ 209 w 10000"/>
                <a:gd name="connsiteY55" fmla="*/ 9512 h 10000"/>
                <a:gd name="connsiteX56" fmla="*/ 344 w 10000"/>
                <a:gd name="connsiteY56" fmla="*/ 9569 h 10000"/>
                <a:gd name="connsiteX57" fmla="*/ 481 w 10000"/>
                <a:gd name="connsiteY57" fmla="*/ 9623 h 10000"/>
                <a:gd name="connsiteX58" fmla="*/ 621 w 10000"/>
                <a:gd name="connsiteY58" fmla="*/ 9673 h 10000"/>
                <a:gd name="connsiteX59" fmla="*/ 758 w 10000"/>
                <a:gd name="connsiteY59" fmla="*/ 9720 h 10000"/>
                <a:gd name="connsiteX60" fmla="*/ 899 w 10000"/>
                <a:gd name="connsiteY60" fmla="*/ 9765 h 10000"/>
                <a:gd name="connsiteX61" fmla="*/ 1040 w 10000"/>
                <a:gd name="connsiteY61" fmla="*/ 9804 h 10000"/>
                <a:gd name="connsiteX62" fmla="*/ 1182 w 10000"/>
                <a:gd name="connsiteY62" fmla="*/ 9839 h 10000"/>
                <a:gd name="connsiteX63" fmla="*/ 1325 w 10000"/>
                <a:gd name="connsiteY63" fmla="*/ 9874 h 10000"/>
                <a:gd name="connsiteX64" fmla="*/ 1471 w 10000"/>
                <a:gd name="connsiteY64" fmla="*/ 9903 h 10000"/>
                <a:gd name="connsiteX65" fmla="*/ 1614 w 10000"/>
                <a:gd name="connsiteY65" fmla="*/ 9926 h 10000"/>
                <a:gd name="connsiteX66" fmla="*/ 1760 w 10000"/>
                <a:gd name="connsiteY66" fmla="*/ 9948 h 10000"/>
                <a:gd name="connsiteX67" fmla="*/ 1906 w 10000"/>
                <a:gd name="connsiteY67" fmla="*/ 9965 h 10000"/>
                <a:gd name="connsiteX68" fmla="*/ 2052 w 10000"/>
                <a:gd name="connsiteY68" fmla="*/ 9980 h 10000"/>
                <a:gd name="connsiteX69" fmla="*/ 2202 w 10000"/>
                <a:gd name="connsiteY69" fmla="*/ 9990 h 10000"/>
                <a:gd name="connsiteX70" fmla="*/ 2350 w 10000"/>
                <a:gd name="connsiteY70" fmla="*/ 9995 h 10000"/>
                <a:gd name="connsiteX71" fmla="*/ 2498 w 10000"/>
                <a:gd name="connsiteY71" fmla="*/ 10000 h 10000"/>
                <a:gd name="connsiteX72" fmla="*/ 2677 w 10000"/>
                <a:gd name="connsiteY72" fmla="*/ 9995 h 10000"/>
                <a:gd name="connsiteX73" fmla="*/ 2850 w 10000"/>
                <a:gd name="connsiteY73" fmla="*/ 9988 h 10000"/>
                <a:gd name="connsiteX74" fmla="*/ 3024 w 10000"/>
                <a:gd name="connsiteY74" fmla="*/ 9975 h 10000"/>
                <a:gd name="connsiteX75" fmla="*/ 3195 w 10000"/>
                <a:gd name="connsiteY75" fmla="*/ 9953 h 10000"/>
                <a:gd name="connsiteX76" fmla="*/ 3368 w 10000"/>
                <a:gd name="connsiteY76" fmla="*/ 9931 h 10000"/>
                <a:gd name="connsiteX77" fmla="*/ 3538 w 10000"/>
                <a:gd name="connsiteY77" fmla="*/ 9898 h 10000"/>
                <a:gd name="connsiteX78" fmla="*/ 3709 w 10000"/>
                <a:gd name="connsiteY78" fmla="*/ 9866 h 10000"/>
                <a:gd name="connsiteX79" fmla="*/ 3877 w 10000"/>
                <a:gd name="connsiteY79" fmla="*/ 9824 h 10000"/>
                <a:gd name="connsiteX80" fmla="*/ 4042 w 10000"/>
                <a:gd name="connsiteY80" fmla="*/ 9779 h 10000"/>
                <a:gd name="connsiteX81" fmla="*/ 4210 w 10000"/>
                <a:gd name="connsiteY81" fmla="*/ 9730 h 10000"/>
                <a:gd name="connsiteX82" fmla="*/ 4372 w 10000"/>
                <a:gd name="connsiteY82" fmla="*/ 9673 h 10000"/>
                <a:gd name="connsiteX83" fmla="*/ 4536 w 10000"/>
                <a:gd name="connsiteY83" fmla="*/ 9616 h 10000"/>
                <a:gd name="connsiteX84" fmla="*/ 4697 w 10000"/>
                <a:gd name="connsiteY84" fmla="*/ 9552 h 10000"/>
                <a:gd name="connsiteX85" fmla="*/ 4857 w 10000"/>
                <a:gd name="connsiteY85" fmla="*/ 9482 h 10000"/>
                <a:gd name="connsiteX86" fmla="*/ 5014 w 10000"/>
                <a:gd name="connsiteY86" fmla="*/ 9405 h 10000"/>
                <a:gd name="connsiteX87" fmla="*/ 5171 w 10000"/>
                <a:gd name="connsiteY87" fmla="*/ 9329 h 10000"/>
                <a:gd name="connsiteX88" fmla="*/ 5326 w 10000"/>
                <a:gd name="connsiteY88" fmla="*/ 9244 h 10000"/>
                <a:gd name="connsiteX89" fmla="*/ 5480 w 10000"/>
                <a:gd name="connsiteY89" fmla="*/ 9158 h 10000"/>
                <a:gd name="connsiteX90" fmla="*/ 5631 w 10000"/>
                <a:gd name="connsiteY90" fmla="*/ 9063 h 10000"/>
                <a:gd name="connsiteX91" fmla="*/ 5781 w 10000"/>
                <a:gd name="connsiteY91" fmla="*/ 8967 h 10000"/>
                <a:gd name="connsiteX92" fmla="*/ 5931 w 10000"/>
                <a:gd name="connsiteY92" fmla="*/ 8865 h 10000"/>
                <a:gd name="connsiteX93" fmla="*/ 6075 w 10000"/>
                <a:gd name="connsiteY93" fmla="*/ 8759 h 10000"/>
                <a:gd name="connsiteX94" fmla="*/ 6221 w 10000"/>
                <a:gd name="connsiteY94" fmla="*/ 8652 h 10000"/>
                <a:gd name="connsiteX95" fmla="*/ 6364 w 10000"/>
                <a:gd name="connsiteY95" fmla="*/ 8536 h 10000"/>
                <a:gd name="connsiteX96" fmla="*/ 6505 w 10000"/>
                <a:gd name="connsiteY96" fmla="*/ 8417 h 10000"/>
                <a:gd name="connsiteX97" fmla="*/ 6642 w 10000"/>
                <a:gd name="connsiteY97" fmla="*/ 8295 h 10000"/>
                <a:gd name="connsiteX98" fmla="*/ 6780 w 10000"/>
                <a:gd name="connsiteY98" fmla="*/ 8169 h 10000"/>
                <a:gd name="connsiteX99" fmla="*/ 6913 w 10000"/>
                <a:gd name="connsiteY99" fmla="*/ 8040 h 10000"/>
                <a:gd name="connsiteX100" fmla="*/ 7045 w 10000"/>
                <a:gd name="connsiteY100" fmla="*/ 7904 h 10000"/>
                <a:gd name="connsiteX101" fmla="*/ 7175 w 10000"/>
                <a:gd name="connsiteY101" fmla="*/ 7768 h 10000"/>
                <a:gd name="connsiteX102" fmla="*/ 7304 w 10000"/>
                <a:gd name="connsiteY102" fmla="*/ 7624 h 10000"/>
                <a:gd name="connsiteX103" fmla="*/ 7429 w 10000"/>
                <a:gd name="connsiteY103" fmla="*/ 7480 h 10000"/>
                <a:gd name="connsiteX104" fmla="*/ 7552 w 10000"/>
                <a:gd name="connsiteY104" fmla="*/ 7329 h 10000"/>
                <a:gd name="connsiteX105" fmla="*/ 7673 w 10000"/>
                <a:gd name="connsiteY105" fmla="*/ 7178 h 10000"/>
                <a:gd name="connsiteX106" fmla="*/ 7792 w 10000"/>
                <a:gd name="connsiteY106" fmla="*/ 7024 h 10000"/>
                <a:gd name="connsiteX107" fmla="*/ 7907 w 10000"/>
                <a:gd name="connsiteY107" fmla="*/ 6861 h 10000"/>
                <a:gd name="connsiteX108" fmla="*/ 8022 w 10000"/>
                <a:gd name="connsiteY108" fmla="*/ 6697 h 10000"/>
                <a:gd name="connsiteX109" fmla="*/ 8133 w 10000"/>
                <a:gd name="connsiteY109" fmla="*/ 6534 h 10000"/>
                <a:gd name="connsiteX110" fmla="*/ 8240 w 10000"/>
                <a:gd name="connsiteY110" fmla="*/ 6365 h 10000"/>
                <a:gd name="connsiteX111" fmla="*/ 8347 w 10000"/>
                <a:gd name="connsiteY111" fmla="*/ 6189 h 10000"/>
                <a:gd name="connsiteX112" fmla="*/ 8450 w 10000"/>
                <a:gd name="connsiteY112" fmla="*/ 6016 h 10000"/>
                <a:gd name="connsiteX113" fmla="*/ 8552 w 10000"/>
                <a:gd name="connsiteY113" fmla="*/ 5835 h 10000"/>
                <a:gd name="connsiteX114" fmla="*/ 8650 w 10000"/>
                <a:gd name="connsiteY114" fmla="*/ 5652 h 10000"/>
                <a:gd name="connsiteX115" fmla="*/ 8745 w 10000"/>
                <a:gd name="connsiteY115" fmla="*/ 5468 h 10000"/>
                <a:gd name="connsiteX116" fmla="*/ 8837 w 10000"/>
                <a:gd name="connsiteY116" fmla="*/ 5278 h 10000"/>
                <a:gd name="connsiteX117" fmla="*/ 8927 w 10000"/>
                <a:gd name="connsiteY117" fmla="*/ 5089 h 10000"/>
                <a:gd name="connsiteX118" fmla="*/ 9014 w 10000"/>
                <a:gd name="connsiteY118" fmla="*/ 4893 h 10000"/>
                <a:gd name="connsiteX119" fmla="*/ 9098 w 10000"/>
                <a:gd name="connsiteY119" fmla="*/ 4698 h 10000"/>
                <a:gd name="connsiteX120" fmla="*/ 9178 w 10000"/>
                <a:gd name="connsiteY120" fmla="*/ 4500 h 10000"/>
                <a:gd name="connsiteX121" fmla="*/ 9256 w 10000"/>
                <a:gd name="connsiteY121" fmla="*/ 4294 h 10000"/>
                <a:gd name="connsiteX122" fmla="*/ 9330 w 10000"/>
                <a:gd name="connsiteY122" fmla="*/ 4091 h 10000"/>
                <a:gd name="connsiteX123" fmla="*/ 9401 w 10000"/>
                <a:gd name="connsiteY123" fmla="*/ 3885 h 10000"/>
                <a:gd name="connsiteX124" fmla="*/ 9470 w 10000"/>
                <a:gd name="connsiteY124" fmla="*/ 3674 h 10000"/>
                <a:gd name="connsiteX125" fmla="*/ 9535 w 10000"/>
                <a:gd name="connsiteY125" fmla="*/ 3464 h 10000"/>
                <a:gd name="connsiteX126" fmla="*/ 9599 w 10000"/>
                <a:gd name="connsiteY126" fmla="*/ 3248 h 10000"/>
                <a:gd name="connsiteX127" fmla="*/ 9656 w 10000"/>
                <a:gd name="connsiteY127" fmla="*/ 3030 h 10000"/>
                <a:gd name="connsiteX128" fmla="*/ 9711 w 10000"/>
                <a:gd name="connsiteY128" fmla="*/ 2815 h 10000"/>
                <a:gd name="connsiteX129" fmla="*/ 9763 w 10000"/>
                <a:gd name="connsiteY129" fmla="*/ 2592 h 10000"/>
                <a:gd name="connsiteX130" fmla="*/ 9813 w 10000"/>
                <a:gd name="connsiteY130" fmla="*/ 2369 h 10000"/>
                <a:gd name="connsiteX131" fmla="*/ 9856 w 10000"/>
                <a:gd name="connsiteY131" fmla="*/ 2143 h 10000"/>
                <a:gd name="connsiteX132" fmla="*/ 9898 w 10000"/>
                <a:gd name="connsiteY132" fmla="*/ 1918 h 10000"/>
                <a:gd name="connsiteX133" fmla="*/ 9936 w 10000"/>
                <a:gd name="connsiteY133" fmla="*/ 1690 h 10000"/>
                <a:gd name="connsiteX134" fmla="*/ 9970 w 10000"/>
                <a:gd name="connsiteY134" fmla="*/ 1457 h 10000"/>
                <a:gd name="connsiteX135" fmla="*/ 10000 w 10000"/>
                <a:gd name="connsiteY135" fmla="*/ 1222 h 10000"/>
                <a:gd name="connsiteX136" fmla="*/ 7611 w 10000"/>
                <a:gd name="connsiteY136" fmla="*/ 1876 h 10000"/>
                <a:gd name="connsiteX137" fmla="*/ 5615 w 10000"/>
                <a:gd name="connsiteY137"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0 w 10000"/>
                <a:gd name="connsiteY53" fmla="*/ 6085 h 10000"/>
                <a:gd name="connsiteX54" fmla="*/ 209 w 10000"/>
                <a:gd name="connsiteY54" fmla="*/ 9512 h 10000"/>
                <a:gd name="connsiteX55" fmla="*/ 344 w 10000"/>
                <a:gd name="connsiteY55" fmla="*/ 9569 h 10000"/>
                <a:gd name="connsiteX56" fmla="*/ 481 w 10000"/>
                <a:gd name="connsiteY56" fmla="*/ 9623 h 10000"/>
                <a:gd name="connsiteX57" fmla="*/ 621 w 10000"/>
                <a:gd name="connsiteY57" fmla="*/ 9673 h 10000"/>
                <a:gd name="connsiteX58" fmla="*/ 758 w 10000"/>
                <a:gd name="connsiteY58" fmla="*/ 9720 h 10000"/>
                <a:gd name="connsiteX59" fmla="*/ 899 w 10000"/>
                <a:gd name="connsiteY59" fmla="*/ 9765 h 10000"/>
                <a:gd name="connsiteX60" fmla="*/ 1040 w 10000"/>
                <a:gd name="connsiteY60" fmla="*/ 9804 h 10000"/>
                <a:gd name="connsiteX61" fmla="*/ 1182 w 10000"/>
                <a:gd name="connsiteY61" fmla="*/ 9839 h 10000"/>
                <a:gd name="connsiteX62" fmla="*/ 1325 w 10000"/>
                <a:gd name="connsiteY62" fmla="*/ 9874 h 10000"/>
                <a:gd name="connsiteX63" fmla="*/ 1471 w 10000"/>
                <a:gd name="connsiteY63" fmla="*/ 9903 h 10000"/>
                <a:gd name="connsiteX64" fmla="*/ 1614 w 10000"/>
                <a:gd name="connsiteY64" fmla="*/ 9926 h 10000"/>
                <a:gd name="connsiteX65" fmla="*/ 1760 w 10000"/>
                <a:gd name="connsiteY65" fmla="*/ 9948 h 10000"/>
                <a:gd name="connsiteX66" fmla="*/ 1906 w 10000"/>
                <a:gd name="connsiteY66" fmla="*/ 9965 h 10000"/>
                <a:gd name="connsiteX67" fmla="*/ 2052 w 10000"/>
                <a:gd name="connsiteY67" fmla="*/ 9980 h 10000"/>
                <a:gd name="connsiteX68" fmla="*/ 2202 w 10000"/>
                <a:gd name="connsiteY68" fmla="*/ 9990 h 10000"/>
                <a:gd name="connsiteX69" fmla="*/ 2350 w 10000"/>
                <a:gd name="connsiteY69" fmla="*/ 9995 h 10000"/>
                <a:gd name="connsiteX70" fmla="*/ 2498 w 10000"/>
                <a:gd name="connsiteY70" fmla="*/ 10000 h 10000"/>
                <a:gd name="connsiteX71" fmla="*/ 2677 w 10000"/>
                <a:gd name="connsiteY71" fmla="*/ 9995 h 10000"/>
                <a:gd name="connsiteX72" fmla="*/ 2850 w 10000"/>
                <a:gd name="connsiteY72" fmla="*/ 9988 h 10000"/>
                <a:gd name="connsiteX73" fmla="*/ 3024 w 10000"/>
                <a:gd name="connsiteY73" fmla="*/ 9975 h 10000"/>
                <a:gd name="connsiteX74" fmla="*/ 3195 w 10000"/>
                <a:gd name="connsiteY74" fmla="*/ 9953 h 10000"/>
                <a:gd name="connsiteX75" fmla="*/ 3368 w 10000"/>
                <a:gd name="connsiteY75" fmla="*/ 9931 h 10000"/>
                <a:gd name="connsiteX76" fmla="*/ 3538 w 10000"/>
                <a:gd name="connsiteY76" fmla="*/ 9898 h 10000"/>
                <a:gd name="connsiteX77" fmla="*/ 3709 w 10000"/>
                <a:gd name="connsiteY77" fmla="*/ 9866 h 10000"/>
                <a:gd name="connsiteX78" fmla="*/ 3877 w 10000"/>
                <a:gd name="connsiteY78" fmla="*/ 9824 h 10000"/>
                <a:gd name="connsiteX79" fmla="*/ 4042 w 10000"/>
                <a:gd name="connsiteY79" fmla="*/ 9779 h 10000"/>
                <a:gd name="connsiteX80" fmla="*/ 4210 w 10000"/>
                <a:gd name="connsiteY80" fmla="*/ 9730 h 10000"/>
                <a:gd name="connsiteX81" fmla="*/ 4372 w 10000"/>
                <a:gd name="connsiteY81" fmla="*/ 9673 h 10000"/>
                <a:gd name="connsiteX82" fmla="*/ 4536 w 10000"/>
                <a:gd name="connsiteY82" fmla="*/ 9616 h 10000"/>
                <a:gd name="connsiteX83" fmla="*/ 4697 w 10000"/>
                <a:gd name="connsiteY83" fmla="*/ 9552 h 10000"/>
                <a:gd name="connsiteX84" fmla="*/ 4857 w 10000"/>
                <a:gd name="connsiteY84" fmla="*/ 9482 h 10000"/>
                <a:gd name="connsiteX85" fmla="*/ 5014 w 10000"/>
                <a:gd name="connsiteY85" fmla="*/ 9405 h 10000"/>
                <a:gd name="connsiteX86" fmla="*/ 5171 w 10000"/>
                <a:gd name="connsiteY86" fmla="*/ 9329 h 10000"/>
                <a:gd name="connsiteX87" fmla="*/ 5326 w 10000"/>
                <a:gd name="connsiteY87" fmla="*/ 9244 h 10000"/>
                <a:gd name="connsiteX88" fmla="*/ 5480 w 10000"/>
                <a:gd name="connsiteY88" fmla="*/ 9158 h 10000"/>
                <a:gd name="connsiteX89" fmla="*/ 5631 w 10000"/>
                <a:gd name="connsiteY89" fmla="*/ 9063 h 10000"/>
                <a:gd name="connsiteX90" fmla="*/ 5781 w 10000"/>
                <a:gd name="connsiteY90" fmla="*/ 8967 h 10000"/>
                <a:gd name="connsiteX91" fmla="*/ 5931 w 10000"/>
                <a:gd name="connsiteY91" fmla="*/ 8865 h 10000"/>
                <a:gd name="connsiteX92" fmla="*/ 6075 w 10000"/>
                <a:gd name="connsiteY92" fmla="*/ 8759 h 10000"/>
                <a:gd name="connsiteX93" fmla="*/ 6221 w 10000"/>
                <a:gd name="connsiteY93" fmla="*/ 8652 h 10000"/>
                <a:gd name="connsiteX94" fmla="*/ 6364 w 10000"/>
                <a:gd name="connsiteY94" fmla="*/ 8536 h 10000"/>
                <a:gd name="connsiteX95" fmla="*/ 6505 w 10000"/>
                <a:gd name="connsiteY95" fmla="*/ 8417 h 10000"/>
                <a:gd name="connsiteX96" fmla="*/ 6642 w 10000"/>
                <a:gd name="connsiteY96" fmla="*/ 8295 h 10000"/>
                <a:gd name="connsiteX97" fmla="*/ 6780 w 10000"/>
                <a:gd name="connsiteY97" fmla="*/ 8169 h 10000"/>
                <a:gd name="connsiteX98" fmla="*/ 6913 w 10000"/>
                <a:gd name="connsiteY98" fmla="*/ 8040 h 10000"/>
                <a:gd name="connsiteX99" fmla="*/ 7045 w 10000"/>
                <a:gd name="connsiteY99" fmla="*/ 7904 h 10000"/>
                <a:gd name="connsiteX100" fmla="*/ 7175 w 10000"/>
                <a:gd name="connsiteY100" fmla="*/ 7768 h 10000"/>
                <a:gd name="connsiteX101" fmla="*/ 7304 w 10000"/>
                <a:gd name="connsiteY101" fmla="*/ 7624 h 10000"/>
                <a:gd name="connsiteX102" fmla="*/ 7429 w 10000"/>
                <a:gd name="connsiteY102" fmla="*/ 7480 h 10000"/>
                <a:gd name="connsiteX103" fmla="*/ 7552 w 10000"/>
                <a:gd name="connsiteY103" fmla="*/ 7329 h 10000"/>
                <a:gd name="connsiteX104" fmla="*/ 7673 w 10000"/>
                <a:gd name="connsiteY104" fmla="*/ 7178 h 10000"/>
                <a:gd name="connsiteX105" fmla="*/ 7792 w 10000"/>
                <a:gd name="connsiteY105" fmla="*/ 7024 h 10000"/>
                <a:gd name="connsiteX106" fmla="*/ 7907 w 10000"/>
                <a:gd name="connsiteY106" fmla="*/ 6861 h 10000"/>
                <a:gd name="connsiteX107" fmla="*/ 8022 w 10000"/>
                <a:gd name="connsiteY107" fmla="*/ 6697 h 10000"/>
                <a:gd name="connsiteX108" fmla="*/ 8133 w 10000"/>
                <a:gd name="connsiteY108" fmla="*/ 6534 h 10000"/>
                <a:gd name="connsiteX109" fmla="*/ 8240 w 10000"/>
                <a:gd name="connsiteY109" fmla="*/ 6365 h 10000"/>
                <a:gd name="connsiteX110" fmla="*/ 8347 w 10000"/>
                <a:gd name="connsiteY110" fmla="*/ 6189 h 10000"/>
                <a:gd name="connsiteX111" fmla="*/ 8450 w 10000"/>
                <a:gd name="connsiteY111" fmla="*/ 6016 h 10000"/>
                <a:gd name="connsiteX112" fmla="*/ 8552 w 10000"/>
                <a:gd name="connsiteY112" fmla="*/ 5835 h 10000"/>
                <a:gd name="connsiteX113" fmla="*/ 8650 w 10000"/>
                <a:gd name="connsiteY113" fmla="*/ 5652 h 10000"/>
                <a:gd name="connsiteX114" fmla="*/ 8745 w 10000"/>
                <a:gd name="connsiteY114" fmla="*/ 5468 h 10000"/>
                <a:gd name="connsiteX115" fmla="*/ 8837 w 10000"/>
                <a:gd name="connsiteY115" fmla="*/ 5278 h 10000"/>
                <a:gd name="connsiteX116" fmla="*/ 8927 w 10000"/>
                <a:gd name="connsiteY116" fmla="*/ 5089 h 10000"/>
                <a:gd name="connsiteX117" fmla="*/ 9014 w 10000"/>
                <a:gd name="connsiteY117" fmla="*/ 4893 h 10000"/>
                <a:gd name="connsiteX118" fmla="*/ 9098 w 10000"/>
                <a:gd name="connsiteY118" fmla="*/ 4698 h 10000"/>
                <a:gd name="connsiteX119" fmla="*/ 9178 w 10000"/>
                <a:gd name="connsiteY119" fmla="*/ 4500 h 10000"/>
                <a:gd name="connsiteX120" fmla="*/ 9256 w 10000"/>
                <a:gd name="connsiteY120" fmla="*/ 4294 h 10000"/>
                <a:gd name="connsiteX121" fmla="*/ 9330 w 10000"/>
                <a:gd name="connsiteY121" fmla="*/ 4091 h 10000"/>
                <a:gd name="connsiteX122" fmla="*/ 9401 w 10000"/>
                <a:gd name="connsiteY122" fmla="*/ 3885 h 10000"/>
                <a:gd name="connsiteX123" fmla="*/ 9470 w 10000"/>
                <a:gd name="connsiteY123" fmla="*/ 3674 h 10000"/>
                <a:gd name="connsiteX124" fmla="*/ 9535 w 10000"/>
                <a:gd name="connsiteY124" fmla="*/ 3464 h 10000"/>
                <a:gd name="connsiteX125" fmla="*/ 9599 w 10000"/>
                <a:gd name="connsiteY125" fmla="*/ 3248 h 10000"/>
                <a:gd name="connsiteX126" fmla="*/ 9656 w 10000"/>
                <a:gd name="connsiteY126" fmla="*/ 3030 h 10000"/>
                <a:gd name="connsiteX127" fmla="*/ 9711 w 10000"/>
                <a:gd name="connsiteY127" fmla="*/ 2815 h 10000"/>
                <a:gd name="connsiteX128" fmla="*/ 9763 w 10000"/>
                <a:gd name="connsiteY128" fmla="*/ 2592 h 10000"/>
                <a:gd name="connsiteX129" fmla="*/ 9813 w 10000"/>
                <a:gd name="connsiteY129" fmla="*/ 2369 h 10000"/>
                <a:gd name="connsiteX130" fmla="*/ 9856 w 10000"/>
                <a:gd name="connsiteY130" fmla="*/ 2143 h 10000"/>
                <a:gd name="connsiteX131" fmla="*/ 9898 w 10000"/>
                <a:gd name="connsiteY131" fmla="*/ 1918 h 10000"/>
                <a:gd name="connsiteX132" fmla="*/ 9936 w 10000"/>
                <a:gd name="connsiteY132" fmla="*/ 1690 h 10000"/>
                <a:gd name="connsiteX133" fmla="*/ 9970 w 10000"/>
                <a:gd name="connsiteY133" fmla="*/ 1457 h 10000"/>
                <a:gd name="connsiteX134" fmla="*/ 10000 w 10000"/>
                <a:gd name="connsiteY134" fmla="*/ 1222 h 10000"/>
                <a:gd name="connsiteX135" fmla="*/ 7611 w 10000"/>
                <a:gd name="connsiteY135" fmla="*/ 1876 h 10000"/>
                <a:gd name="connsiteX136" fmla="*/ 5615 w 10000"/>
                <a:gd name="connsiteY136"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3358 w 10000"/>
                <a:gd name="connsiteY53" fmla="*/ 3583 h 10000"/>
                <a:gd name="connsiteX54" fmla="*/ 0 w 10000"/>
                <a:gd name="connsiteY54" fmla="*/ 6085 h 10000"/>
                <a:gd name="connsiteX55" fmla="*/ 209 w 10000"/>
                <a:gd name="connsiteY55" fmla="*/ 9512 h 10000"/>
                <a:gd name="connsiteX56" fmla="*/ 344 w 10000"/>
                <a:gd name="connsiteY56" fmla="*/ 9569 h 10000"/>
                <a:gd name="connsiteX57" fmla="*/ 481 w 10000"/>
                <a:gd name="connsiteY57" fmla="*/ 9623 h 10000"/>
                <a:gd name="connsiteX58" fmla="*/ 621 w 10000"/>
                <a:gd name="connsiteY58" fmla="*/ 9673 h 10000"/>
                <a:gd name="connsiteX59" fmla="*/ 758 w 10000"/>
                <a:gd name="connsiteY59" fmla="*/ 9720 h 10000"/>
                <a:gd name="connsiteX60" fmla="*/ 899 w 10000"/>
                <a:gd name="connsiteY60" fmla="*/ 9765 h 10000"/>
                <a:gd name="connsiteX61" fmla="*/ 1040 w 10000"/>
                <a:gd name="connsiteY61" fmla="*/ 9804 h 10000"/>
                <a:gd name="connsiteX62" fmla="*/ 1182 w 10000"/>
                <a:gd name="connsiteY62" fmla="*/ 9839 h 10000"/>
                <a:gd name="connsiteX63" fmla="*/ 1325 w 10000"/>
                <a:gd name="connsiteY63" fmla="*/ 9874 h 10000"/>
                <a:gd name="connsiteX64" fmla="*/ 1471 w 10000"/>
                <a:gd name="connsiteY64" fmla="*/ 9903 h 10000"/>
                <a:gd name="connsiteX65" fmla="*/ 1614 w 10000"/>
                <a:gd name="connsiteY65" fmla="*/ 9926 h 10000"/>
                <a:gd name="connsiteX66" fmla="*/ 1760 w 10000"/>
                <a:gd name="connsiteY66" fmla="*/ 9948 h 10000"/>
                <a:gd name="connsiteX67" fmla="*/ 1906 w 10000"/>
                <a:gd name="connsiteY67" fmla="*/ 9965 h 10000"/>
                <a:gd name="connsiteX68" fmla="*/ 2052 w 10000"/>
                <a:gd name="connsiteY68" fmla="*/ 9980 h 10000"/>
                <a:gd name="connsiteX69" fmla="*/ 2202 w 10000"/>
                <a:gd name="connsiteY69" fmla="*/ 9990 h 10000"/>
                <a:gd name="connsiteX70" fmla="*/ 2350 w 10000"/>
                <a:gd name="connsiteY70" fmla="*/ 9995 h 10000"/>
                <a:gd name="connsiteX71" fmla="*/ 2498 w 10000"/>
                <a:gd name="connsiteY71" fmla="*/ 10000 h 10000"/>
                <a:gd name="connsiteX72" fmla="*/ 2677 w 10000"/>
                <a:gd name="connsiteY72" fmla="*/ 9995 h 10000"/>
                <a:gd name="connsiteX73" fmla="*/ 2850 w 10000"/>
                <a:gd name="connsiteY73" fmla="*/ 9988 h 10000"/>
                <a:gd name="connsiteX74" fmla="*/ 3024 w 10000"/>
                <a:gd name="connsiteY74" fmla="*/ 9975 h 10000"/>
                <a:gd name="connsiteX75" fmla="*/ 3195 w 10000"/>
                <a:gd name="connsiteY75" fmla="*/ 9953 h 10000"/>
                <a:gd name="connsiteX76" fmla="*/ 3368 w 10000"/>
                <a:gd name="connsiteY76" fmla="*/ 9931 h 10000"/>
                <a:gd name="connsiteX77" fmla="*/ 3538 w 10000"/>
                <a:gd name="connsiteY77" fmla="*/ 9898 h 10000"/>
                <a:gd name="connsiteX78" fmla="*/ 3709 w 10000"/>
                <a:gd name="connsiteY78" fmla="*/ 9866 h 10000"/>
                <a:gd name="connsiteX79" fmla="*/ 3877 w 10000"/>
                <a:gd name="connsiteY79" fmla="*/ 9824 h 10000"/>
                <a:gd name="connsiteX80" fmla="*/ 4042 w 10000"/>
                <a:gd name="connsiteY80" fmla="*/ 9779 h 10000"/>
                <a:gd name="connsiteX81" fmla="*/ 4210 w 10000"/>
                <a:gd name="connsiteY81" fmla="*/ 9730 h 10000"/>
                <a:gd name="connsiteX82" fmla="*/ 4372 w 10000"/>
                <a:gd name="connsiteY82" fmla="*/ 9673 h 10000"/>
                <a:gd name="connsiteX83" fmla="*/ 4536 w 10000"/>
                <a:gd name="connsiteY83" fmla="*/ 9616 h 10000"/>
                <a:gd name="connsiteX84" fmla="*/ 4697 w 10000"/>
                <a:gd name="connsiteY84" fmla="*/ 9552 h 10000"/>
                <a:gd name="connsiteX85" fmla="*/ 4857 w 10000"/>
                <a:gd name="connsiteY85" fmla="*/ 9482 h 10000"/>
                <a:gd name="connsiteX86" fmla="*/ 5014 w 10000"/>
                <a:gd name="connsiteY86" fmla="*/ 9405 h 10000"/>
                <a:gd name="connsiteX87" fmla="*/ 5171 w 10000"/>
                <a:gd name="connsiteY87" fmla="*/ 9329 h 10000"/>
                <a:gd name="connsiteX88" fmla="*/ 5326 w 10000"/>
                <a:gd name="connsiteY88" fmla="*/ 9244 h 10000"/>
                <a:gd name="connsiteX89" fmla="*/ 5480 w 10000"/>
                <a:gd name="connsiteY89" fmla="*/ 9158 h 10000"/>
                <a:gd name="connsiteX90" fmla="*/ 5631 w 10000"/>
                <a:gd name="connsiteY90" fmla="*/ 9063 h 10000"/>
                <a:gd name="connsiteX91" fmla="*/ 5781 w 10000"/>
                <a:gd name="connsiteY91" fmla="*/ 8967 h 10000"/>
                <a:gd name="connsiteX92" fmla="*/ 5931 w 10000"/>
                <a:gd name="connsiteY92" fmla="*/ 8865 h 10000"/>
                <a:gd name="connsiteX93" fmla="*/ 6075 w 10000"/>
                <a:gd name="connsiteY93" fmla="*/ 8759 h 10000"/>
                <a:gd name="connsiteX94" fmla="*/ 6221 w 10000"/>
                <a:gd name="connsiteY94" fmla="*/ 8652 h 10000"/>
                <a:gd name="connsiteX95" fmla="*/ 6364 w 10000"/>
                <a:gd name="connsiteY95" fmla="*/ 8536 h 10000"/>
                <a:gd name="connsiteX96" fmla="*/ 6505 w 10000"/>
                <a:gd name="connsiteY96" fmla="*/ 8417 h 10000"/>
                <a:gd name="connsiteX97" fmla="*/ 6642 w 10000"/>
                <a:gd name="connsiteY97" fmla="*/ 8295 h 10000"/>
                <a:gd name="connsiteX98" fmla="*/ 6780 w 10000"/>
                <a:gd name="connsiteY98" fmla="*/ 8169 h 10000"/>
                <a:gd name="connsiteX99" fmla="*/ 6913 w 10000"/>
                <a:gd name="connsiteY99" fmla="*/ 8040 h 10000"/>
                <a:gd name="connsiteX100" fmla="*/ 7045 w 10000"/>
                <a:gd name="connsiteY100" fmla="*/ 7904 h 10000"/>
                <a:gd name="connsiteX101" fmla="*/ 7175 w 10000"/>
                <a:gd name="connsiteY101" fmla="*/ 7768 h 10000"/>
                <a:gd name="connsiteX102" fmla="*/ 7304 w 10000"/>
                <a:gd name="connsiteY102" fmla="*/ 7624 h 10000"/>
                <a:gd name="connsiteX103" fmla="*/ 7429 w 10000"/>
                <a:gd name="connsiteY103" fmla="*/ 7480 h 10000"/>
                <a:gd name="connsiteX104" fmla="*/ 7552 w 10000"/>
                <a:gd name="connsiteY104" fmla="*/ 7329 h 10000"/>
                <a:gd name="connsiteX105" fmla="*/ 7673 w 10000"/>
                <a:gd name="connsiteY105" fmla="*/ 7178 h 10000"/>
                <a:gd name="connsiteX106" fmla="*/ 7792 w 10000"/>
                <a:gd name="connsiteY106" fmla="*/ 7024 h 10000"/>
                <a:gd name="connsiteX107" fmla="*/ 7907 w 10000"/>
                <a:gd name="connsiteY107" fmla="*/ 6861 h 10000"/>
                <a:gd name="connsiteX108" fmla="*/ 8022 w 10000"/>
                <a:gd name="connsiteY108" fmla="*/ 6697 h 10000"/>
                <a:gd name="connsiteX109" fmla="*/ 8133 w 10000"/>
                <a:gd name="connsiteY109" fmla="*/ 6534 h 10000"/>
                <a:gd name="connsiteX110" fmla="*/ 8240 w 10000"/>
                <a:gd name="connsiteY110" fmla="*/ 6365 h 10000"/>
                <a:gd name="connsiteX111" fmla="*/ 8347 w 10000"/>
                <a:gd name="connsiteY111" fmla="*/ 6189 h 10000"/>
                <a:gd name="connsiteX112" fmla="*/ 8450 w 10000"/>
                <a:gd name="connsiteY112" fmla="*/ 6016 h 10000"/>
                <a:gd name="connsiteX113" fmla="*/ 8552 w 10000"/>
                <a:gd name="connsiteY113" fmla="*/ 5835 h 10000"/>
                <a:gd name="connsiteX114" fmla="*/ 8650 w 10000"/>
                <a:gd name="connsiteY114" fmla="*/ 5652 h 10000"/>
                <a:gd name="connsiteX115" fmla="*/ 8745 w 10000"/>
                <a:gd name="connsiteY115" fmla="*/ 5468 h 10000"/>
                <a:gd name="connsiteX116" fmla="*/ 8837 w 10000"/>
                <a:gd name="connsiteY116" fmla="*/ 5278 h 10000"/>
                <a:gd name="connsiteX117" fmla="*/ 8927 w 10000"/>
                <a:gd name="connsiteY117" fmla="*/ 5089 h 10000"/>
                <a:gd name="connsiteX118" fmla="*/ 9014 w 10000"/>
                <a:gd name="connsiteY118" fmla="*/ 4893 h 10000"/>
                <a:gd name="connsiteX119" fmla="*/ 9098 w 10000"/>
                <a:gd name="connsiteY119" fmla="*/ 4698 h 10000"/>
                <a:gd name="connsiteX120" fmla="*/ 9178 w 10000"/>
                <a:gd name="connsiteY120" fmla="*/ 4500 h 10000"/>
                <a:gd name="connsiteX121" fmla="*/ 9256 w 10000"/>
                <a:gd name="connsiteY121" fmla="*/ 4294 h 10000"/>
                <a:gd name="connsiteX122" fmla="*/ 9330 w 10000"/>
                <a:gd name="connsiteY122" fmla="*/ 4091 h 10000"/>
                <a:gd name="connsiteX123" fmla="*/ 9401 w 10000"/>
                <a:gd name="connsiteY123" fmla="*/ 3885 h 10000"/>
                <a:gd name="connsiteX124" fmla="*/ 9470 w 10000"/>
                <a:gd name="connsiteY124" fmla="*/ 3674 h 10000"/>
                <a:gd name="connsiteX125" fmla="*/ 9535 w 10000"/>
                <a:gd name="connsiteY125" fmla="*/ 3464 h 10000"/>
                <a:gd name="connsiteX126" fmla="*/ 9599 w 10000"/>
                <a:gd name="connsiteY126" fmla="*/ 3248 h 10000"/>
                <a:gd name="connsiteX127" fmla="*/ 9656 w 10000"/>
                <a:gd name="connsiteY127" fmla="*/ 3030 h 10000"/>
                <a:gd name="connsiteX128" fmla="*/ 9711 w 10000"/>
                <a:gd name="connsiteY128" fmla="*/ 2815 h 10000"/>
                <a:gd name="connsiteX129" fmla="*/ 9763 w 10000"/>
                <a:gd name="connsiteY129" fmla="*/ 2592 h 10000"/>
                <a:gd name="connsiteX130" fmla="*/ 9813 w 10000"/>
                <a:gd name="connsiteY130" fmla="*/ 2369 h 10000"/>
                <a:gd name="connsiteX131" fmla="*/ 9856 w 10000"/>
                <a:gd name="connsiteY131" fmla="*/ 2143 h 10000"/>
                <a:gd name="connsiteX132" fmla="*/ 9898 w 10000"/>
                <a:gd name="connsiteY132" fmla="*/ 1918 h 10000"/>
                <a:gd name="connsiteX133" fmla="*/ 9936 w 10000"/>
                <a:gd name="connsiteY133" fmla="*/ 1690 h 10000"/>
                <a:gd name="connsiteX134" fmla="*/ 9970 w 10000"/>
                <a:gd name="connsiteY134" fmla="*/ 1457 h 10000"/>
                <a:gd name="connsiteX135" fmla="*/ 10000 w 10000"/>
                <a:gd name="connsiteY135" fmla="*/ 1222 h 10000"/>
                <a:gd name="connsiteX136" fmla="*/ 7611 w 10000"/>
                <a:gd name="connsiteY136" fmla="*/ 1876 h 10000"/>
                <a:gd name="connsiteX137" fmla="*/ 5615 w 10000"/>
                <a:gd name="connsiteY137"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3429 w 10000"/>
                <a:gd name="connsiteY52" fmla="*/ 3588 h 10000"/>
                <a:gd name="connsiteX53" fmla="*/ 0 w 10000"/>
                <a:gd name="connsiteY53" fmla="*/ 6085 h 10000"/>
                <a:gd name="connsiteX54" fmla="*/ 209 w 10000"/>
                <a:gd name="connsiteY54" fmla="*/ 9512 h 10000"/>
                <a:gd name="connsiteX55" fmla="*/ 344 w 10000"/>
                <a:gd name="connsiteY55" fmla="*/ 9569 h 10000"/>
                <a:gd name="connsiteX56" fmla="*/ 481 w 10000"/>
                <a:gd name="connsiteY56" fmla="*/ 9623 h 10000"/>
                <a:gd name="connsiteX57" fmla="*/ 621 w 10000"/>
                <a:gd name="connsiteY57" fmla="*/ 9673 h 10000"/>
                <a:gd name="connsiteX58" fmla="*/ 758 w 10000"/>
                <a:gd name="connsiteY58" fmla="*/ 9720 h 10000"/>
                <a:gd name="connsiteX59" fmla="*/ 899 w 10000"/>
                <a:gd name="connsiteY59" fmla="*/ 9765 h 10000"/>
                <a:gd name="connsiteX60" fmla="*/ 1040 w 10000"/>
                <a:gd name="connsiteY60" fmla="*/ 9804 h 10000"/>
                <a:gd name="connsiteX61" fmla="*/ 1182 w 10000"/>
                <a:gd name="connsiteY61" fmla="*/ 9839 h 10000"/>
                <a:gd name="connsiteX62" fmla="*/ 1325 w 10000"/>
                <a:gd name="connsiteY62" fmla="*/ 9874 h 10000"/>
                <a:gd name="connsiteX63" fmla="*/ 1471 w 10000"/>
                <a:gd name="connsiteY63" fmla="*/ 9903 h 10000"/>
                <a:gd name="connsiteX64" fmla="*/ 1614 w 10000"/>
                <a:gd name="connsiteY64" fmla="*/ 9926 h 10000"/>
                <a:gd name="connsiteX65" fmla="*/ 1760 w 10000"/>
                <a:gd name="connsiteY65" fmla="*/ 9948 h 10000"/>
                <a:gd name="connsiteX66" fmla="*/ 1906 w 10000"/>
                <a:gd name="connsiteY66" fmla="*/ 9965 h 10000"/>
                <a:gd name="connsiteX67" fmla="*/ 2052 w 10000"/>
                <a:gd name="connsiteY67" fmla="*/ 9980 h 10000"/>
                <a:gd name="connsiteX68" fmla="*/ 2202 w 10000"/>
                <a:gd name="connsiteY68" fmla="*/ 9990 h 10000"/>
                <a:gd name="connsiteX69" fmla="*/ 2350 w 10000"/>
                <a:gd name="connsiteY69" fmla="*/ 9995 h 10000"/>
                <a:gd name="connsiteX70" fmla="*/ 2498 w 10000"/>
                <a:gd name="connsiteY70" fmla="*/ 10000 h 10000"/>
                <a:gd name="connsiteX71" fmla="*/ 2677 w 10000"/>
                <a:gd name="connsiteY71" fmla="*/ 9995 h 10000"/>
                <a:gd name="connsiteX72" fmla="*/ 2850 w 10000"/>
                <a:gd name="connsiteY72" fmla="*/ 9988 h 10000"/>
                <a:gd name="connsiteX73" fmla="*/ 3024 w 10000"/>
                <a:gd name="connsiteY73" fmla="*/ 9975 h 10000"/>
                <a:gd name="connsiteX74" fmla="*/ 3195 w 10000"/>
                <a:gd name="connsiteY74" fmla="*/ 9953 h 10000"/>
                <a:gd name="connsiteX75" fmla="*/ 3368 w 10000"/>
                <a:gd name="connsiteY75" fmla="*/ 9931 h 10000"/>
                <a:gd name="connsiteX76" fmla="*/ 3538 w 10000"/>
                <a:gd name="connsiteY76" fmla="*/ 9898 h 10000"/>
                <a:gd name="connsiteX77" fmla="*/ 3709 w 10000"/>
                <a:gd name="connsiteY77" fmla="*/ 9866 h 10000"/>
                <a:gd name="connsiteX78" fmla="*/ 3877 w 10000"/>
                <a:gd name="connsiteY78" fmla="*/ 9824 h 10000"/>
                <a:gd name="connsiteX79" fmla="*/ 4042 w 10000"/>
                <a:gd name="connsiteY79" fmla="*/ 9779 h 10000"/>
                <a:gd name="connsiteX80" fmla="*/ 4210 w 10000"/>
                <a:gd name="connsiteY80" fmla="*/ 9730 h 10000"/>
                <a:gd name="connsiteX81" fmla="*/ 4372 w 10000"/>
                <a:gd name="connsiteY81" fmla="*/ 9673 h 10000"/>
                <a:gd name="connsiteX82" fmla="*/ 4536 w 10000"/>
                <a:gd name="connsiteY82" fmla="*/ 9616 h 10000"/>
                <a:gd name="connsiteX83" fmla="*/ 4697 w 10000"/>
                <a:gd name="connsiteY83" fmla="*/ 9552 h 10000"/>
                <a:gd name="connsiteX84" fmla="*/ 4857 w 10000"/>
                <a:gd name="connsiteY84" fmla="*/ 9482 h 10000"/>
                <a:gd name="connsiteX85" fmla="*/ 5014 w 10000"/>
                <a:gd name="connsiteY85" fmla="*/ 9405 h 10000"/>
                <a:gd name="connsiteX86" fmla="*/ 5171 w 10000"/>
                <a:gd name="connsiteY86" fmla="*/ 9329 h 10000"/>
                <a:gd name="connsiteX87" fmla="*/ 5326 w 10000"/>
                <a:gd name="connsiteY87" fmla="*/ 9244 h 10000"/>
                <a:gd name="connsiteX88" fmla="*/ 5480 w 10000"/>
                <a:gd name="connsiteY88" fmla="*/ 9158 h 10000"/>
                <a:gd name="connsiteX89" fmla="*/ 5631 w 10000"/>
                <a:gd name="connsiteY89" fmla="*/ 9063 h 10000"/>
                <a:gd name="connsiteX90" fmla="*/ 5781 w 10000"/>
                <a:gd name="connsiteY90" fmla="*/ 8967 h 10000"/>
                <a:gd name="connsiteX91" fmla="*/ 5931 w 10000"/>
                <a:gd name="connsiteY91" fmla="*/ 8865 h 10000"/>
                <a:gd name="connsiteX92" fmla="*/ 6075 w 10000"/>
                <a:gd name="connsiteY92" fmla="*/ 8759 h 10000"/>
                <a:gd name="connsiteX93" fmla="*/ 6221 w 10000"/>
                <a:gd name="connsiteY93" fmla="*/ 8652 h 10000"/>
                <a:gd name="connsiteX94" fmla="*/ 6364 w 10000"/>
                <a:gd name="connsiteY94" fmla="*/ 8536 h 10000"/>
                <a:gd name="connsiteX95" fmla="*/ 6505 w 10000"/>
                <a:gd name="connsiteY95" fmla="*/ 8417 h 10000"/>
                <a:gd name="connsiteX96" fmla="*/ 6642 w 10000"/>
                <a:gd name="connsiteY96" fmla="*/ 8295 h 10000"/>
                <a:gd name="connsiteX97" fmla="*/ 6780 w 10000"/>
                <a:gd name="connsiteY97" fmla="*/ 8169 h 10000"/>
                <a:gd name="connsiteX98" fmla="*/ 6913 w 10000"/>
                <a:gd name="connsiteY98" fmla="*/ 8040 h 10000"/>
                <a:gd name="connsiteX99" fmla="*/ 7045 w 10000"/>
                <a:gd name="connsiteY99" fmla="*/ 7904 h 10000"/>
                <a:gd name="connsiteX100" fmla="*/ 7175 w 10000"/>
                <a:gd name="connsiteY100" fmla="*/ 7768 h 10000"/>
                <a:gd name="connsiteX101" fmla="*/ 7304 w 10000"/>
                <a:gd name="connsiteY101" fmla="*/ 7624 h 10000"/>
                <a:gd name="connsiteX102" fmla="*/ 7429 w 10000"/>
                <a:gd name="connsiteY102" fmla="*/ 7480 h 10000"/>
                <a:gd name="connsiteX103" fmla="*/ 7552 w 10000"/>
                <a:gd name="connsiteY103" fmla="*/ 7329 h 10000"/>
                <a:gd name="connsiteX104" fmla="*/ 7673 w 10000"/>
                <a:gd name="connsiteY104" fmla="*/ 7178 h 10000"/>
                <a:gd name="connsiteX105" fmla="*/ 7792 w 10000"/>
                <a:gd name="connsiteY105" fmla="*/ 7024 h 10000"/>
                <a:gd name="connsiteX106" fmla="*/ 7907 w 10000"/>
                <a:gd name="connsiteY106" fmla="*/ 6861 h 10000"/>
                <a:gd name="connsiteX107" fmla="*/ 8022 w 10000"/>
                <a:gd name="connsiteY107" fmla="*/ 6697 h 10000"/>
                <a:gd name="connsiteX108" fmla="*/ 8133 w 10000"/>
                <a:gd name="connsiteY108" fmla="*/ 6534 h 10000"/>
                <a:gd name="connsiteX109" fmla="*/ 8240 w 10000"/>
                <a:gd name="connsiteY109" fmla="*/ 6365 h 10000"/>
                <a:gd name="connsiteX110" fmla="*/ 8347 w 10000"/>
                <a:gd name="connsiteY110" fmla="*/ 6189 h 10000"/>
                <a:gd name="connsiteX111" fmla="*/ 8450 w 10000"/>
                <a:gd name="connsiteY111" fmla="*/ 6016 h 10000"/>
                <a:gd name="connsiteX112" fmla="*/ 8552 w 10000"/>
                <a:gd name="connsiteY112" fmla="*/ 5835 h 10000"/>
                <a:gd name="connsiteX113" fmla="*/ 8650 w 10000"/>
                <a:gd name="connsiteY113" fmla="*/ 5652 h 10000"/>
                <a:gd name="connsiteX114" fmla="*/ 8745 w 10000"/>
                <a:gd name="connsiteY114" fmla="*/ 5468 h 10000"/>
                <a:gd name="connsiteX115" fmla="*/ 8837 w 10000"/>
                <a:gd name="connsiteY115" fmla="*/ 5278 h 10000"/>
                <a:gd name="connsiteX116" fmla="*/ 8927 w 10000"/>
                <a:gd name="connsiteY116" fmla="*/ 5089 h 10000"/>
                <a:gd name="connsiteX117" fmla="*/ 9014 w 10000"/>
                <a:gd name="connsiteY117" fmla="*/ 4893 h 10000"/>
                <a:gd name="connsiteX118" fmla="*/ 9098 w 10000"/>
                <a:gd name="connsiteY118" fmla="*/ 4698 h 10000"/>
                <a:gd name="connsiteX119" fmla="*/ 9178 w 10000"/>
                <a:gd name="connsiteY119" fmla="*/ 4500 h 10000"/>
                <a:gd name="connsiteX120" fmla="*/ 9256 w 10000"/>
                <a:gd name="connsiteY120" fmla="*/ 4294 h 10000"/>
                <a:gd name="connsiteX121" fmla="*/ 9330 w 10000"/>
                <a:gd name="connsiteY121" fmla="*/ 4091 h 10000"/>
                <a:gd name="connsiteX122" fmla="*/ 9401 w 10000"/>
                <a:gd name="connsiteY122" fmla="*/ 3885 h 10000"/>
                <a:gd name="connsiteX123" fmla="*/ 9470 w 10000"/>
                <a:gd name="connsiteY123" fmla="*/ 3674 h 10000"/>
                <a:gd name="connsiteX124" fmla="*/ 9535 w 10000"/>
                <a:gd name="connsiteY124" fmla="*/ 3464 h 10000"/>
                <a:gd name="connsiteX125" fmla="*/ 9599 w 10000"/>
                <a:gd name="connsiteY125" fmla="*/ 3248 h 10000"/>
                <a:gd name="connsiteX126" fmla="*/ 9656 w 10000"/>
                <a:gd name="connsiteY126" fmla="*/ 3030 h 10000"/>
                <a:gd name="connsiteX127" fmla="*/ 9711 w 10000"/>
                <a:gd name="connsiteY127" fmla="*/ 2815 h 10000"/>
                <a:gd name="connsiteX128" fmla="*/ 9763 w 10000"/>
                <a:gd name="connsiteY128" fmla="*/ 2592 h 10000"/>
                <a:gd name="connsiteX129" fmla="*/ 9813 w 10000"/>
                <a:gd name="connsiteY129" fmla="*/ 2369 h 10000"/>
                <a:gd name="connsiteX130" fmla="*/ 9856 w 10000"/>
                <a:gd name="connsiteY130" fmla="*/ 2143 h 10000"/>
                <a:gd name="connsiteX131" fmla="*/ 9898 w 10000"/>
                <a:gd name="connsiteY131" fmla="*/ 1918 h 10000"/>
                <a:gd name="connsiteX132" fmla="*/ 9936 w 10000"/>
                <a:gd name="connsiteY132" fmla="*/ 1690 h 10000"/>
                <a:gd name="connsiteX133" fmla="*/ 9970 w 10000"/>
                <a:gd name="connsiteY133" fmla="*/ 1457 h 10000"/>
                <a:gd name="connsiteX134" fmla="*/ 10000 w 10000"/>
                <a:gd name="connsiteY134" fmla="*/ 1222 h 10000"/>
                <a:gd name="connsiteX135" fmla="*/ 7611 w 10000"/>
                <a:gd name="connsiteY135" fmla="*/ 1876 h 10000"/>
                <a:gd name="connsiteX136" fmla="*/ 5615 w 10000"/>
                <a:gd name="connsiteY136"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3497 w 10000"/>
                <a:gd name="connsiteY51" fmla="*/ 3558 h 10000"/>
                <a:gd name="connsiteX52" fmla="*/ 0 w 10000"/>
                <a:gd name="connsiteY52" fmla="*/ 6085 h 10000"/>
                <a:gd name="connsiteX53" fmla="*/ 209 w 10000"/>
                <a:gd name="connsiteY53" fmla="*/ 9512 h 10000"/>
                <a:gd name="connsiteX54" fmla="*/ 344 w 10000"/>
                <a:gd name="connsiteY54" fmla="*/ 9569 h 10000"/>
                <a:gd name="connsiteX55" fmla="*/ 481 w 10000"/>
                <a:gd name="connsiteY55" fmla="*/ 9623 h 10000"/>
                <a:gd name="connsiteX56" fmla="*/ 621 w 10000"/>
                <a:gd name="connsiteY56" fmla="*/ 9673 h 10000"/>
                <a:gd name="connsiteX57" fmla="*/ 758 w 10000"/>
                <a:gd name="connsiteY57" fmla="*/ 9720 h 10000"/>
                <a:gd name="connsiteX58" fmla="*/ 899 w 10000"/>
                <a:gd name="connsiteY58" fmla="*/ 9765 h 10000"/>
                <a:gd name="connsiteX59" fmla="*/ 1040 w 10000"/>
                <a:gd name="connsiteY59" fmla="*/ 9804 h 10000"/>
                <a:gd name="connsiteX60" fmla="*/ 1182 w 10000"/>
                <a:gd name="connsiteY60" fmla="*/ 9839 h 10000"/>
                <a:gd name="connsiteX61" fmla="*/ 1325 w 10000"/>
                <a:gd name="connsiteY61" fmla="*/ 9874 h 10000"/>
                <a:gd name="connsiteX62" fmla="*/ 1471 w 10000"/>
                <a:gd name="connsiteY62" fmla="*/ 9903 h 10000"/>
                <a:gd name="connsiteX63" fmla="*/ 1614 w 10000"/>
                <a:gd name="connsiteY63" fmla="*/ 9926 h 10000"/>
                <a:gd name="connsiteX64" fmla="*/ 1760 w 10000"/>
                <a:gd name="connsiteY64" fmla="*/ 9948 h 10000"/>
                <a:gd name="connsiteX65" fmla="*/ 1906 w 10000"/>
                <a:gd name="connsiteY65" fmla="*/ 9965 h 10000"/>
                <a:gd name="connsiteX66" fmla="*/ 2052 w 10000"/>
                <a:gd name="connsiteY66" fmla="*/ 9980 h 10000"/>
                <a:gd name="connsiteX67" fmla="*/ 2202 w 10000"/>
                <a:gd name="connsiteY67" fmla="*/ 9990 h 10000"/>
                <a:gd name="connsiteX68" fmla="*/ 2350 w 10000"/>
                <a:gd name="connsiteY68" fmla="*/ 9995 h 10000"/>
                <a:gd name="connsiteX69" fmla="*/ 2498 w 10000"/>
                <a:gd name="connsiteY69" fmla="*/ 10000 h 10000"/>
                <a:gd name="connsiteX70" fmla="*/ 2677 w 10000"/>
                <a:gd name="connsiteY70" fmla="*/ 9995 h 10000"/>
                <a:gd name="connsiteX71" fmla="*/ 2850 w 10000"/>
                <a:gd name="connsiteY71" fmla="*/ 9988 h 10000"/>
                <a:gd name="connsiteX72" fmla="*/ 3024 w 10000"/>
                <a:gd name="connsiteY72" fmla="*/ 9975 h 10000"/>
                <a:gd name="connsiteX73" fmla="*/ 3195 w 10000"/>
                <a:gd name="connsiteY73" fmla="*/ 9953 h 10000"/>
                <a:gd name="connsiteX74" fmla="*/ 3368 w 10000"/>
                <a:gd name="connsiteY74" fmla="*/ 9931 h 10000"/>
                <a:gd name="connsiteX75" fmla="*/ 3538 w 10000"/>
                <a:gd name="connsiteY75" fmla="*/ 9898 h 10000"/>
                <a:gd name="connsiteX76" fmla="*/ 3709 w 10000"/>
                <a:gd name="connsiteY76" fmla="*/ 9866 h 10000"/>
                <a:gd name="connsiteX77" fmla="*/ 3877 w 10000"/>
                <a:gd name="connsiteY77" fmla="*/ 9824 h 10000"/>
                <a:gd name="connsiteX78" fmla="*/ 4042 w 10000"/>
                <a:gd name="connsiteY78" fmla="*/ 9779 h 10000"/>
                <a:gd name="connsiteX79" fmla="*/ 4210 w 10000"/>
                <a:gd name="connsiteY79" fmla="*/ 9730 h 10000"/>
                <a:gd name="connsiteX80" fmla="*/ 4372 w 10000"/>
                <a:gd name="connsiteY80" fmla="*/ 9673 h 10000"/>
                <a:gd name="connsiteX81" fmla="*/ 4536 w 10000"/>
                <a:gd name="connsiteY81" fmla="*/ 9616 h 10000"/>
                <a:gd name="connsiteX82" fmla="*/ 4697 w 10000"/>
                <a:gd name="connsiteY82" fmla="*/ 9552 h 10000"/>
                <a:gd name="connsiteX83" fmla="*/ 4857 w 10000"/>
                <a:gd name="connsiteY83" fmla="*/ 9482 h 10000"/>
                <a:gd name="connsiteX84" fmla="*/ 5014 w 10000"/>
                <a:gd name="connsiteY84" fmla="*/ 9405 h 10000"/>
                <a:gd name="connsiteX85" fmla="*/ 5171 w 10000"/>
                <a:gd name="connsiteY85" fmla="*/ 9329 h 10000"/>
                <a:gd name="connsiteX86" fmla="*/ 5326 w 10000"/>
                <a:gd name="connsiteY86" fmla="*/ 9244 h 10000"/>
                <a:gd name="connsiteX87" fmla="*/ 5480 w 10000"/>
                <a:gd name="connsiteY87" fmla="*/ 9158 h 10000"/>
                <a:gd name="connsiteX88" fmla="*/ 5631 w 10000"/>
                <a:gd name="connsiteY88" fmla="*/ 9063 h 10000"/>
                <a:gd name="connsiteX89" fmla="*/ 5781 w 10000"/>
                <a:gd name="connsiteY89" fmla="*/ 8967 h 10000"/>
                <a:gd name="connsiteX90" fmla="*/ 5931 w 10000"/>
                <a:gd name="connsiteY90" fmla="*/ 8865 h 10000"/>
                <a:gd name="connsiteX91" fmla="*/ 6075 w 10000"/>
                <a:gd name="connsiteY91" fmla="*/ 8759 h 10000"/>
                <a:gd name="connsiteX92" fmla="*/ 6221 w 10000"/>
                <a:gd name="connsiteY92" fmla="*/ 8652 h 10000"/>
                <a:gd name="connsiteX93" fmla="*/ 6364 w 10000"/>
                <a:gd name="connsiteY93" fmla="*/ 8536 h 10000"/>
                <a:gd name="connsiteX94" fmla="*/ 6505 w 10000"/>
                <a:gd name="connsiteY94" fmla="*/ 8417 h 10000"/>
                <a:gd name="connsiteX95" fmla="*/ 6642 w 10000"/>
                <a:gd name="connsiteY95" fmla="*/ 8295 h 10000"/>
                <a:gd name="connsiteX96" fmla="*/ 6780 w 10000"/>
                <a:gd name="connsiteY96" fmla="*/ 8169 h 10000"/>
                <a:gd name="connsiteX97" fmla="*/ 6913 w 10000"/>
                <a:gd name="connsiteY97" fmla="*/ 8040 h 10000"/>
                <a:gd name="connsiteX98" fmla="*/ 7045 w 10000"/>
                <a:gd name="connsiteY98" fmla="*/ 7904 h 10000"/>
                <a:gd name="connsiteX99" fmla="*/ 7175 w 10000"/>
                <a:gd name="connsiteY99" fmla="*/ 7768 h 10000"/>
                <a:gd name="connsiteX100" fmla="*/ 7304 w 10000"/>
                <a:gd name="connsiteY100" fmla="*/ 7624 h 10000"/>
                <a:gd name="connsiteX101" fmla="*/ 7429 w 10000"/>
                <a:gd name="connsiteY101" fmla="*/ 7480 h 10000"/>
                <a:gd name="connsiteX102" fmla="*/ 7552 w 10000"/>
                <a:gd name="connsiteY102" fmla="*/ 7329 h 10000"/>
                <a:gd name="connsiteX103" fmla="*/ 7673 w 10000"/>
                <a:gd name="connsiteY103" fmla="*/ 7178 h 10000"/>
                <a:gd name="connsiteX104" fmla="*/ 7792 w 10000"/>
                <a:gd name="connsiteY104" fmla="*/ 7024 h 10000"/>
                <a:gd name="connsiteX105" fmla="*/ 7907 w 10000"/>
                <a:gd name="connsiteY105" fmla="*/ 6861 h 10000"/>
                <a:gd name="connsiteX106" fmla="*/ 8022 w 10000"/>
                <a:gd name="connsiteY106" fmla="*/ 6697 h 10000"/>
                <a:gd name="connsiteX107" fmla="*/ 8133 w 10000"/>
                <a:gd name="connsiteY107" fmla="*/ 6534 h 10000"/>
                <a:gd name="connsiteX108" fmla="*/ 8240 w 10000"/>
                <a:gd name="connsiteY108" fmla="*/ 6365 h 10000"/>
                <a:gd name="connsiteX109" fmla="*/ 8347 w 10000"/>
                <a:gd name="connsiteY109" fmla="*/ 6189 h 10000"/>
                <a:gd name="connsiteX110" fmla="*/ 8450 w 10000"/>
                <a:gd name="connsiteY110" fmla="*/ 6016 h 10000"/>
                <a:gd name="connsiteX111" fmla="*/ 8552 w 10000"/>
                <a:gd name="connsiteY111" fmla="*/ 5835 h 10000"/>
                <a:gd name="connsiteX112" fmla="*/ 8650 w 10000"/>
                <a:gd name="connsiteY112" fmla="*/ 5652 h 10000"/>
                <a:gd name="connsiteX113" fmla="*/ 8745 w 10000"/>
                <a:gd name="connsiteY113" fmla="*/ 5468 h 10000"/>
                <a:gd name="connsiteX114" fmla="*/ 8837 w 10000"/>
                <a:gd name="connsiteY114" fmla="*/ 5278 h 10000"/>
                <a:gd name="connsiteX115" fmla="*/ 8927 w 10000"/>
                <a:gd name="connsiteY115" fmla="*/ 5089 h 10000"/>
                <a:gd name="connsiteX116" fmla="*/ 9014 w 10000"/>
                <a:gd name="connsiteY116" fmla="*/ 4893 h 10000"/>
                <a:gd name="connsiteX117" fmla="*/ 9098 w 10000"/>
                <a:gd name="connsiteY117" fmla="*/ 4698 h 10000"/>
                <a:gd name="connsiteX118" fmla="*/ 9178 w 10000"/>
                <a:gd name="connsiteY118" fmla="*/ 4500 h 10000"/>
                <a:gd name="connsiteX119" fmla="*/ 9256 w 10000"/>
                <a:gd name="connsiteY119" fmla="*/ 4294 h 10000"/>
                <a:gd name="connsiteX120" fmla="*/ 9330 w 10000"/>
                <a:gd name="connsiteY120" fmla="*/ 4091 h 10000"/>
                <a:gd name="connsiteX121" fmla="*/ 9401 w 10000"/>
                <a:gd name="connsiteY121" fmla="*/ 3885 h 10000"/>
                <a:gd name="connsiteX122" fmla="*/ 9470 w 10000"/>
                <a:gd name="connsiteY122" fmla="*/ 3674 h 10000"/>
                <a:gd name="connsiteX123" fmla="*/ 9535 w 10000"/>
                <a:gd name="connsiteY123" fmla="*/ 3464 h 10000"/>
                <a:gd name="connsiteX124" fmla="*/ 9599 w 10000"/>
                <a:gd name="connsiteY124" fmla="*/ 3248 h 10000"/>
                <a:gd name="connsiteX125" fmla="*/ 9656 w 10000"/>
                <a:gd name="connsiteY125" fmla="*/ 3030 h 10000"/>
                <a:gd name="connsiteX126" fmla="*/ 9711 w 10000"/>
                <a:gd name="connsiteY126" fmla="*/ 2815 h 10000"/>
                <a:gd name="connsiteX127" fmla="*/ 9763 w 10000"/>
                <a:gd name="connsiteY127" fmla="*/ 2592 h 10000"/>
                <a:gd name="connsiteX128" fmla="*/ 9813 w 10000"/>
                <a:gd name="connsiteY128" fmla="*/ 2369 h 10000"/>
                <a:gd name="connsiteX129" fmla="*/ 9856 w 10000"/>
                <a:gd name="connsiteY129" fmla="*/ 2143 h 10000"/>
                <a:gd name="connsiteX130" fmla="*/ 9898 w 10000"/>
                <a:gd name="connsiteY130" fmla="*/ 1918 h 10000"/>
                <a:gd name="connsiteX131" fmla="*/ 9936 w 10000"/>
                <a:gd name="connsiteY131" fmla="*/ 1690 h 10000"/>
                <a:gd name="connsiteX132" fmla="*/ 9970 w 10000"/>
                <a:gd name="connsiteY132" fmla="*/ 1457 h 10000"/>
                <a:gd name="connsiteX133" fmla="*/ 10000 w 10000"/>
                <a:gd name="connsiteY133" fmla="*/ 1222 h 10000"/>
                <a:gd name="connsiteX134" fmla="*/ 7611 w 10000"/>
                <a:gd name="connsiteY134" fmla="*/ 1876 h 10000"/>
                <a:gd name="connsiteX135" fmla="*/ 5615 w 10000"/>
                <a:gd name="connsiteY135"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3565 w 10000"/>
                <a:gd name="connsiteY50" fmla="*/ 3523 h 10000"/>
                <a:gd name="connsiteX51" fmla="*/ 0 w 10000"/>
                <a:gd name="connsiteY51" fmla="*/ 6085 h 10000"/>
                <a:gd name="connsiteX52" fmla="*/ 209 w 10000"/>
                <a:gd name="connsiteY52" fmla="*/ 9512 h 10000"/>
                <a:gd name="connsiteX53" fmla="*/ 344 w 10000"/>
                <a:gd name="connsiteY53" fmla="*/ 9569 h 10000"/>
                <a:gd name="connsiteX54" fmla="*/ 481 w 10000"/>
                <a:gd name="connsiteY54" fmla="*/ 9623 h 10000"/>
                <a:gd name="connsiteX55" fmla="*/ 621 w 10000"/>
                <a:gd name="connsiteY55" fmla="*/ 9673 h 10000"/>
                <a:gd name="connsiteX56" fmla="*/ 758 w 10000"/>
                <a:gd name="connsiteY56" fmla="*/ 9720 h 10000"/>
                <a:gd name="connsiteX57" fmla="*/ 899 w 10000"/>
                <a:gd name="connsiteY57" fmla="*/ 9765 h 10000"/>
                <a:gd name="connsiteX58" fmla="*/ 1040 w 10000"/>
                <a:gd name="connsiteY58" fmla="*/ 9804 h 10000"/>
                <a:gd name="connsiteX59" fmla="*/ 1182 w 10000"/>
                <a:gd name="connsiteY59" fmla="*/ 9839 h 10000"/>
                <a:gd name="connsiteX60" fmla="*/ 1325 w 10000"/>
                <a:gd name="connsiteY60" fmla="*/ 9874 h 10000"/>
                <a:gd name="connsiteX61" fmla="*/ 1471 w 10000"/>
                <a:gd name="connsiteY61" fmla="*/ 9903 h 10000"/>
                <a:gd name="connsiteX62" fmla="*/ 1614 w 10000"/>
                <a:gd name="connsiteY62" fmla="*/ 9926 h 10000"/>
                <a:gd name="connsiteX63" fmla="*/ 1760 w 10000"/>
                <a:gd name="connsiteY63" fmla="*/ 9948 h 10000"/>
                <a:gd name="connsiteX64" fmla="*/ 1906 w 10000"/>
                <a:gd name="connsiteY64" fmla="*/ 9965 h 10000"/>
                <a:gd name="connsiteX65" fmla="*/ 2052 w 10000"/>
                <a:gd name="connsiteY65" fmla="*/ 9980 h 10000"/>
                <a:gd name="connsiteX66" fmla="*/ 2202 w 10000"/>
                <a:gd name="connsiteY66" fmla="*/ 9990 h 10000"/>
                <a:gd name="connsiteX67" fmla="*/ 2350 w 10000"/>
                <a:gd name="connsiteY67" fmla="*/ 9995 h 10000"/>
                <a:gd name="connsiteX68" fmla="*/ 2498 w 10000"/>
                <a:gd name="connsiteY68" fmla="*/ 10000 h 10000"/>
                <a:gd name="connsiteX69" fmla="*/ 2677 w 10000"/>
                <a:gd name="connsiteY69" fmla="*/ 9995 h 10000"/>
                <a:gd name="connsiteX70" fmla="*/ 2850 w 10000"/>
                <a:gd name="connsiteY70" fmla="*/ 9988 h 10000"/>
                <a:gd name="connsiteX71" fmla="*/ 3024 w 10000"/>
                <a:gd name="connsiteY71" fmla="*/ 9975 h 10000"/>
                <a:gd name="connsiteX72" fmla="*/ 3195 w 10000"/>
                <a:gd name="connsiteY72" fmla="*/ 9953 h 10000"/>
                <a:gd name="connsiteX73" fmla="*/ 3368 w 10000"/>
                <a:gd name="connsiteY73" fmla="*/ 9931 h 10000"/>
                <a:gd name="connsiteX74" fmla="*/ 3538 w 10000"/>
                <a:gd name="connsiteY74" fmla="*/ 9898 h 10000"/>
                <a:gd name="connsiteX75" fmla="*/ 3709 w 10000"/>
                <a:gd name="connsiteY75" fmla="*/ 9866 h 10000"/>
                <a:gd name="connsiteX76" fmla="*/ 3877 w 10000"/>
                <a:gd name="connsiteY76" fmla="*/ 9824 h 10000"/>
                <a:gd name="connsiteX77" fmla="*/ 4042 w 10000"/>
                <a:gd name="connsiteY77" fmla="*/ 9779 h 10000"/>
                <a:gd name="connsiteX78" fmla="*/ 4210 w 10000"/>
                <a:gd name="connsiteY78" fmla="*/ 9730 h 10000"/>
                <a:gd name="connsiteX79" fmla="*/ 4372 w 10000"/>
                <a:gd name="connsiteY79" fmla="*/ 9673 h 10000"/>
                <a:gd name="connsiteX80" fmla="*/ 4536 w 10000"/>
                <a:gd name="connsiteY80" fmla="*/ 9616 h 10000"/>
                <a:gd name="connsiteX81" fmla="*/ 4697 w 10000"/>
                <a:gd name="connsiteY81" fmla="*/ 9552 h 10000"/>
                <a:gd name="connsiteX82" fmla="*/ 4857 w 10000"/>
                <a:gd name="connsiteY82" fmla="*/ 9482 h 10000"/>
                <a:gd name="connsiteX83" fmla="*/ 5014 w 10000"/>
                <a:gd name="connsiteY83" fmla="*/ 9405 h 10000"/>
                <a:gd name="connsiteX84" fmla="*/ 5171 w 10000"/>
                <a:gd name="connsiteY84" fmla="*/ 9329 h 10000"/>
                <a:gd name="connsiteX85" fmla="*/ 5326 w 10000"/>
                <a:gd name="connsiteY85" fmla="*/ 9244 h 10000"/>
                <a:gd name="connsiteX86" fmla="*/ 5480 w 10000"/>
                <a:gd name="connsiteY86" fmla="*/ 9158 h 10000"/>
                <a:gd name="connsiteX87" fmla="*/ 5631 w 10000"/>
                <a:gd name="connsiteY87" fmla="*/ 9063 h 10000"/>
                <a:gd name="connsiteX88" fmla="*/ 5781 w 10000"/>
                <a:gd name="connsiteY88" fmla="*/ 8967 h 10000"/>
                <a:gd name="connsiteX89" fmla="*/ 5931 w 10000"/>
                <a:gd name="connsiteY89" fmla="*/ 8865 h 10000"/>
                <a:gd name="connsiteX90" fmla="*/ 6075 w 10000"/>
                <a:gd name="connsiteY90" fmla="*/ 8759 h 10000"/>
                <a:gd name="connsiteX91" fmla="*/ 6221 w 10000"/>
                <a:gd name="connsiteY91" fmla="*/ 8652 h 10000"/>
                <a:gd name="connsiteX92" fmla="*/ 6364 w 10000"/>
                <a:gd name="connsiteY92" fmla="*/ 8536 h 10000"/>
                <a:gd name="connsiteX93" fmla="*/ 6505 w 10000"/>
                <a:gd name="connsiteY93" fmla="*/ 8417 h 10000"/>
                <a:gd name="connsiteX94" fmla="*/ 6642 w 10000"/>
                <a:gd name="connsiteY94" fmla="*/ 8295 h 10000"/>
                <a:gd name="connsiteX95" fmla="*/ 6780 w 10000"/>
                <a:gd name="connsiteY95" fmla="*/ 8169 h 10000"/>
                <a:gd name="connsiteX96" fmla="*/ 6913 w 10000"/>
                <a:gd name="connsiteY96" fmla="*/ 8040 h 10000"/>
                <a:gd name="connsiteX97" fmla="*/ 7045 w 10000"/>
                <a:gd name="connsiteY97" fmla="*/ 7904 h 10000"/>
                <a:gd name="connsiteX98" fmla="*/ 7175 w 10000"/>
                <a:gd name="connsiteY98" fmla="*/ 7768 h 10000"/>
                <a:gd name="connsiteX99" fmla="*/ 7304 w 10000"/>
                <a:gd name="connsiteY99" fmla="*/ 7624 h 10000"/>
                <a:gd name="connsiteX100" fmla="*/ 7429 w 10000"/>
                <a:gd name="connsiteY100" fmla="*/ 7480 h 10000"/>
                <a:gd name="connsiteX101" fmla="*/ 7552 w 10000"/>
                <a:gd name="connsiteY101" fmla="*/ 7329 h 10000"/>
                <a:gd name="connsiteX102" fmla="*/ 7673 w 10000"/>
                <a:gd name="connsiteY102" fmla="*/ 7178 h 10000"/>
                <a:gd name="connsiteX103" fmla="*/ 7792 w 10000"/>
                <a:gd name="connsiteY103" fmla="*/ 7024 h 10000"/>
                <a:gd name="connsiteX104" fmla="*/ 7907 w 10000"/>
                <a:gd name="connsiteY104" fmla="*/ 6861 h 10000"/>
                <a:gd name="connsiteX105" fmla="*/ 8022 w 10000"/>
                <a:gd name="connsiteY105" fmla="*/ 6697 h 10000"/>
                <a:gd name="connsiteX106" fmla="*/ 8133 w 10000"/>
                <a:gd name="connsiteY106" fmla="*/ 6534 h 10000"/>
                <a:gd name="connsiteX107" fmla="*/ 8240 w 10000"/>
                <a:gd name="connsiteY107" fmla="*/ 6365 h 10000"/>
                <a:gd name="connsiteX108" fmla="*/ 8347 w 10000"/>
                <a:gd name="connsiteY108" fmla="*/ 6189 h 10000"/>
                <a:gd name="connsiteX109" fmla="*/ 8450 w 10000"/>
                <a:gd name="connsiteY109" fmla="*/ 6016 h 10000"/>
                <a:gd name="connsiteX110" fmla="*/ 8552 w 10000"/>
                <a:gd name="connsiteY110" fmla="*/ 5835 h 10000"/>
                <a:gd name="connsiteX111" fmla="*/ 8650 w 10000"/>
                <a:gd name="connsiteY111" fmla="*/ 5652 h 10000"/>
                <a:gd name="connsiteX112" fmla="*/ 8745 w 10000"/>
                <a:gd name="connsiteY112" fmla="*/ 5468 h 10000"/>
                <a:gd name="connsiteX113" fmla="*/ 8837 w 10000"/>
                <a:gd name="connsiteY113" fmla="*/ 5278 h 10000"/>
                <a:gd name="connsiteX114" fmla="*/ 8927 w 10000"/>
                <a:gd name="connsiteY114" fmla="*/ 5089 h 10000"/>
                <a:gd name="connsiteX115" fmla="*/ 9014 w 10000"/>
                <a:gd name="connsiteY115" fmla="*/ 4893 h 10000"/>
                <a:gd name="connsiteX116" fmla="*/ 9098 w 10000"/>
                <a:gd name="connsiteY116" fmla="*/ 4698 h 10000"/>
                <a:gd name="connsiteX117" fmla="*/ 9178 w 10000"/>
                <a:gd name="connsiteY117" fmla="*/ 4500 h 10000"/>
                <a:gd name="connsiteX118" fmla="*/ 9256 w 10000"/>
                <a:gd name="connsiteY118" fmla="*/ 4294 h 10000"/>
                <a:gd name="connsiteX119" fmla="*/ 9330 w 10000"/>
                <a:gd name="connsiteY119" fmla="*/ 4091 h 10000"/>
                <a:gd name="connsiteX120" fmla="*/ 9401 w 10000"/>
                <a:gd name="connsiteY120" fmla="*/ 3885 h 10000"/>
                <a:gd name="connsiteX121" fmla="*/ 9470 w 10000"/>
                <a:gd name="connsiteY121" fmla="*/ 3674 h 10000"/>
                <a:gd name="connsiteX122" fmla="*/ 9535 w 10000"/>
                <a:gd name="connsiteY122" fmla="*/ 3464 h 10000"/>
                <a:gd name="connsiteX123" fmla="*/ 9599 w 10000"/>
                <a:gd name="connsiteY123" fmla="*/ 3248 h 10000"/>
                <a:gd name="connsiteX124" fmla="*/ 9656 w 10000"/>
                <a:gd name="connsiteY124" fmla="*/ 3030 h 10000"/>
                <a:gd name="connsiteX125" fmla="*/ 9711 w 10000"/>
                <a:gd name="connsiteY125" fmla="*/ 2815 h 10000"/>
                <a:gd name="connsiteX126" fmla="*/ 9763 w 10000"/>
                <a:gd name="connsiteY126" fmla="*/ 2592 h 10000"/>
                <a:gd name="connsiteX127" fmla="*/ 9813 w 10000"/>
                <a:gd name="connsiteY127" fmla="*/ 2369 h 10000"/>
                <a:gd name="connsiteX128" fmla="*/ 9856 w 10000"/>
                <a:gd name="connsiteY128" fmla="*/ 2143 h 10000"/>
                <a:gd name="connsiteX129" fmla="*/ 9898 w 10000"/>
                <a:gd name="connsiteY129" fmla="*/ 1918 h 10000"/>
                <a:gd name="connsiteX130" fmla="*/ 9936 w 10000"/>
                <a:gd name="connsiteY130" fmla="*/ 1690 h 10000"/>
                <a:gd name="connsiteX131" fmla="*/ 9970 w 10000"/>
                <a:gd name="connsiteY131" fmla="*/ 1457 h 10000"/>
                <a:gd name="connsiteX132" fmla="*/ 10000 w 10000"/>
                <a:gd name="connsiteY132" fmla="*/ 1222 h 10000"/>
                <a:gd name="connsiteX133" fmla="*/ 7611 w 10000"/>
                <a:gd name="connsiteY133" fmla="*/ 1876 h 10000"/>
                <a:gd name="connsiteX134" fmla="*/ 5615 w 10000"/>
                <a:gd name="connsiteY134"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3629 w 10000"/>
                <a:gd name="connsiteY49" fmla="*/ 3491 h 10000"/>
                <a:gd name="connsiteX50" fmla="*/ 0 w 10000"/>
                <a:gd name="connsiteY50" fmla="*/ 6085 h 10000"/>
                <a:gd name="connsiteX51" fmla="*/ 209 w 10000"/>
                <a:gd name="connsiteY51" fmla="*/ 9512 h 10000"/>
                <a:gd name="connsiteX52" fmla="*/ 344 w 10000"/>
                <a:gd name="connsiteY52" fmla="*/ 9569 h 10000"/>
                <a:gd name="connsiteX53" fmla="*/ 481 w 10000"/>
                <a:gd name="connsiteY53" fmla="*/ 9623 h 10000"/>
                <a:gd name="connsiteX54" fmla="*/ 621 w 10000"/>
                <a:gd name="connsiteY54" fmla="*/ 9673 h 10000"/>
                <a:gd name="connsiteX55" fmla="*/ 758 w 10000"/>
                <a:gd name="connsiteY55" fmla="*/ 9720 h 10000"/>
                <a:gd name="connsiteX56" fmla="*/ 899 w 10000"/>
                <a:gd name="connsiteY56" fmla="*/ 9765 h 10000"/>
                <a:gd name="connsiteX57" fmla="*/ 1040 w 10000"/>
                <a:gd name="connsiteY57" fmla="*/ 9804 h 10000"/>
                <a:gd name="connsiteX58" fmla="*/ 1182 w 10000"/>
                <a:gd name="connsiteY58" fmla="*/ 9839 h 10000"/>
                <a:gd name="connsiteX59" fmla="*/ 1325 w 10000"/>
                <a:gd name="connsiteY59" fmla="*/ 9874 h 10000"/>
                <a:gd name="connsiteX60" fmla="*/ 1471 w 10000"/>
                <a:gd name="connsiteY60" fmla="*/ 9903 h 10000"/>
                <a:gd name="connsiteX61" fmla="*/ 1614 w 10000"/>
                <a:gd name="connsiteY61" fmla="*/ 9926 h 10000"/>
                <a:gd name="connsiteX62" fmla="*/ 1760 w 10000"/>
                <a:gd name="connsiteY62" fmla="*/ 9948 h 10000"/>
                <a:gd name="connsiteX63" fmla="*/ 1906 w 10000"/>
                <a:gd name="connsiteY63" fmla="*/ 9965 h 10000"/>
                <a:gd name="connsiteX64" fmla="*/ 2052 w 10000"/>
                <a:gd name="connsiteY64" fmla="*/ 9980 h 10000"/>
                <a:gd name="connsiteX65" fmla="*/ 2202 w 10000"/>
                <a:gd name="connsiteY65" fmla="*/ 9990 h 10000"/>
                <a:gd name="connsiteX66" fmla="*/ 2350 w 10000"/>
                <a:gd name="connsiteY66" fmla="*/ 9995 h 10000"/>
                <a:gd name="connsiteX67" fmla="*/ 2498 w 10000"/>
                <a:gd name="connsiteY67" fmla="*/ 10000 h 10000"/>
                <a:gd name="connsiteX68" fmla="*/ 2677 w 10000"/>
                <a:gd name="connsiteY68" fmla="*/ 9995 h 10000"/>
                <a:gd name="connsiteX69" fmla="*/ 2850 w 10000"/>
                <a:gd name="connsiteY69" fmla="*/ 9988 h 10000"/>
                <a:gd name="connsiteX70" fmla="*/ 3024 w 10000"/>
                <a:gd name="connsiteY70" fmla="*/ 9975 h 10000"/>
                <a:gd name="connsiteX71" fmla="*/ 3195 w 10000"/>
                <a:gd name="connsiteY71" fmla="*/ 9953 h 10000"/>
                <a:gd name="connsiteX72" fmla="*/ 3368 w 10000"/>
                <a:gd name="connsiteY72" fmla="*/ 9931 h 10000"/>
                <a:gd name="connsiteX73" fmla="*/ 3538 w 10000"/>
                <a:gd name="connsiteY73" fmla="*/ 9898 h 10000"/>
                <a:gd name="connsiteX74" fmla="*/ 3709 w 10000"/>
                <a:gd name="connsiteY74" fmla="*/ 9866 h 10000"/>
                <a:gd name="connsiteX75" fmla="*/ 3877 w 10000"/>
                <a:gd name="connsiteY75" fmla="*/ 9824 h 10000"/>
                <a:gd name="connsiteX76" fmla="*/ 4042 w 10000"/>
                <a:gd name="connsiteY76" fmla="*/ 9779 h 10000"/>
                <a:gd name="connsiteX77" fmla="*/ 4210 w 10000"/>
                <a:gd name="connsiteY77" fmla="*/ 9730 h 10000"/>
                <a:gd name="connsiteX78" fmla="*/ 4372 w 10000"/>
                <a:gd name="connsiteY78" fmla="*/ 9673 h 10000"/>
                <a:gd name="connsiteX79" fmla="*/ 4536 w 10000"/>
                <a:gd name="connsiteY79" fmla="*/ 9616 h 10000"/>
                <a:gd name="connsiteX80" fmla="*/ 4697 w 10000"/>
                <a:gd name="connsiteY80" fmla="*/ 9552 h 10000"/>
                <a:gd name="connsiteX81" fmla="*/ 4857 w 10000"/>
                <a:gd name="connsiteY81" fmla="*/ 9482 h 10000"/>
                <a:gd name="connsiteX82" fmla="*/ 5014 w 10000"/>
                <a:gd name="connsiteY82" fmla="*/ 9405 h 10000"/>
                <a:gd name="connsiteX83" fmla="*/ 5171 w 10000"/>
                <a:gd name="connsiteY83" fmla="*/ 9329 h 10000"/>
                <a:gd name="connsiteX84" fmla="*/ 5326 w 10000"/>
                <a:gd name="connsiteY84" fmla="*/ 9244 h 10000"/>
                <a:gd name="connsiteX85" fmla="*/ 5480 w 10000"/>
                <a:gd name="connsiteY85" fmla="*/ 9158 h 10000"/>
                <a:gd name="connsiteX86" fmla="*/ 5631 w 10000"/>
                <a:gd name="connsiteY86" fmla="*/ 9063 h 10000"/>
                <a:gd name="connsiteX87" fmla="*/ 5781 w 10000"/>
                <a:gd name="connsiteY87" fmla="*/ 8967 h 10000"/>
                <a:gd name="connsiteX88" fmla="*/ 5931 w 10000"/>
                <a:gd name="connsiteY88" fmla="*/ 8865 h 10000"/>
                <a:gd name="connsiteX89" fmla="*/ 6075 w 10000"/>
                <a:gd name="connsiteY89" fmla="*/ 8759 h 10000"/>
                <a:gd name="connsiteX90" fmla="*/ 6221 w 10000"/>
                <a:gd name="connsiteY90" fmla="*/ 8652 h 10000"/>
                <a:gd name="connsiteX91" fmla="*/ 6364 w 10000"/>
                <a:gd name="connsiteY91" fmla="*/ 8536 h 10000"/>
                <a:gd name="connsiteX92" fmla="*/ 6505 w 10000"/>
                <a:gd name="connsiteY92" fmla="*/ 8417 h 10000"/>
                <a:gd name="connsiteX93" fmla="*/ 6642 w 10000"/>
                <a:gd name="connsiteY93" fmla="*/ 8295 h 10000"/>
                <a:gd name="connsiteX94" fmla="*/ 6780 w 10000"/>
                <a:gd name="connsiteY94" fmla="*/ 8169 h 10000"/>
                <a:gd name="connsiteX95" fmla="*/ 6913 w 10000"/>
                <a:gd name="connsiteY95" fmla="*/ 8040 h 10000"/>
                <a:gd name="connsiteX96" fmla="*/ 7045 w 10000"/>
                <a:gd name="connsiteY96" fmla="*/ 7904 h 10000"/>
                <a:gd name="connsiteX97" fmla="*/ 7175 w 10000"/>
                <a:gd name="connsiteY97" fmla="*/ 7768 h 10000"/>
                <a:gd name="connsiteX98" fmla="*/ 7304 w 10000"/>
                <a:gd name="connsiteY98" fmla="*/ 7624 h 10000"/>
                <a:gd name="connsiteX99" fmla="*/ 7429 w 10000"/>
                <a:gd name="connsiteY99" fmla="*/ 7480 h 10000"/>
                <a:gd name="connsiteX100" fmla="*/ 7552 w 10000"/>
                <a:gd name="connsiteY100" fmla="*/ 7329 h 10000"/>
                <a:gd name="connsiteX101" fmla="*/ 7673 w 10000"/>
                <a:gd name="connsiteY101" fmla="*/ 7178 h 10000"/>
                <a:gd name="connsiteX102" fmla="*/ 7792 w 10000"/>
                <a:gd name="connsiteY102" fmla="*/ 7024 h 10000"/>
                <a:gd name="connsiteX103" fmla="*/ 7907 w 10000"/>
                <a:gd name="connsiteY103" fmla="*/ 6861 h 10000"/>
                <a:gd name="connsiteX104" fmla="*/ 8022 w 10000"/>
                <a:gd name="connsiteY104" fmla="*/ 6697 h 10000"/>
                <a:gd name="connsiteX105" fmla="*/ 8133 w 10000"/>
                <a:gd name="connsiteY105" fmla="*/ 6534 h 10000"/>
                <a:gd name="connsiteX106" fmla="*/ 8240 w 10000"/>
                <a:gd name="connsiteY106" fmla="*/ 6365 h 10000"/>
                <a:gd name="connsiteX107" fmla="*/ 8347 w 10000"/>
                <a:gd name="connsiteY107" fmla="*/ 6189 h 10000"/>
                <a:gd name="connsiteX108" fmla="*/ 8450 w 10000"/>
                <a:gd name="connsiteY108" fmla="*/ 6016 h 10000"/>
                <a:gd name="connsiteX109" fmla="*/ 8552 w 10000"/>
                <a:gd name="connsiteY109" fmla="*/ 5835 h 10000"/>
                <a:gd name="connsiteX110" fmla="*/ 8650 w 10000"/>
                <a:gd name="connsiteY110" fmla="*/ 5652 h 10000"/>
                <a:gd name="connsiteX111" fmla="*/ 8745 w 10000"/>
                <a:gd name="connsiteY111" fmla="*/ 5468 h 10000"/>
                <a:gd name="connsiteX112" fmla="*/ 8837 w 10000"/>
                <a:gd name="connsiteY112" fmla="*/ 5278 h 10000"/>
                <a:gd name="connsiteX113" fmla="*/ 8927 w 10000"/>
                <a:gd name="connsiteY113" fmla="*/ 5089 h 10000"/>
                <a:gd name="connsiteX114" fmla="*/ 9014 w 10000"/>
                <a:gd name="connsiteY114" fmla="*/ 4893 h 10000"/>
                <a:gd name="connsiteX115" fmla="*/ 9098 w 10000"/>
                <a:gd name="connsiteY115" fmla="*/ 4698 h 10000"/>
                <a:gd name="connsiteX116" fmla="*/ 9178 w 10000"/>
                <a:gd name="connsiteY116" fmla="*/ 4500 h 10000"/>
                <a:gd name="connsiteX117" fmla="*/ 9256 w 10000"/>
                <a:gd name="connsiteY117" fmla="*/ 4294 h 10000"/>
                <a:gd name="connsiteX118" fmla="*/ 9330 w 10000"/>
                <a:gd name="connsiteY118" fmla="*/ 4091 h 10000"/>
                <a:gd name="connsiteX119" fmla="*/ 9401 w 10000"/>
                <a:gd name="connsiteY119" fmla="*/ 3885 h 10000"/>
                <a:gd name="connsiteX120" fmla="*/ 9470 w 10000"/>
                <a:gd name="connsiteY120" fmla="*/ 3674 h 10000"/>
                <a:gd name="connsiteX121" fmla="*/ 9535 w 10000"/>
                <a:gd name="connsiteY121" fmla="*/ 3464 h 10000"/>
                <a:gd name="connsiteX122" fmla="*/ 9599 w 10000"/>
                <a:gd name="connsiteY122" fmla="*/ 3248 h 10000"/>
                <a:gd name="connsiteX123" fmla="*/ 9656 w 10000"/>
                <a:gd name="connsiteY123" fmla="*/ 3030 h 10000"/>
                <a:gd name="connsiteX124" fmla="*/ 9711 w 10000"/>
                <a:gd name="connsiteY124" fmla="*/ 2815 h 10000"/>
                <a:gd name="connsiteX125" fmla="*/ 9763 w 10000"/>
                <a:gd name="connsiteY125" fmla="*/ 2592 h 10000"/>
                <a:gd name="connsiteX126" fmla="*/ 9813 w 10000"/>
                <a:gd name="connsiteY126" fmla="*/ 2369 h 10000"/>
                <a:gd name="connsiteX127" fmla="*/ 9856 w 10000"/>
                <a:gd name="connsiteY127" fmla="*/ 2143 h 10000"/>
                <a:gd name="connsiteX128" fmla="*/ 9898 w 10000"/>
                <a:gd name="connsiteY128" fmla="*/ 1918 h 10000"/>
                <a:gd name="connsiteX129" fmla="*/ 9936 w 10000"/>
                <a:gd name="connsiteY129" fmla="*/ 1690 h 10000"/>
                <a:gd name="connsiteX130" fmla="*/ 9970 w 10000"/>
                <a:gd name="connsiteY130" fmla="*/ 1457 h 10000"/>
                <a:gd name="connsiteX131" fmla="*/ 10000 w 10000"/>
                <a:gd name="connsiteY131" fmla="*/ 1222 h 10000"/>
                <a:gd name="connsiteX132" fmla="*/ 7611 w 10000"/>
                <a:gd name="connsiteY132" fmla="*/ 1876 h 10000"/>
                <a:gd name="connsiteX133" fmla="*/ 5615 w 10000"/>
                <a:gd name="connsiteY133"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3695 w 10000"/>
                <a:gd name="connsiteY48" fmla="*/ 3454 h 10000"/>
                <a:gd name="connsiteX49" fmla="*/ 0 w 10000"/>
                <a:gd name="connsiteY49" fmla="*/ 6085 h 10000"/>
                <a:gd name="connsiteX50" fmla="*/ 209 w 10000"/>
                <a:gd name="connsiteY50" fmla="*/ 9512 h 10000"/>
                <a:gd name="connsiteX51" fmla="*/ 344 w 10000"/>
                <a:gd name="connsiteY51" fmla="*/ 9569 h 10000"/>
                <a:gd name="connsiteX52" fmla="*/ 481 w 10000"/>
                <a:gd name="connsiteY52" fmla="*/ 9623 h 10000"/>
                <a:gd name="connsiteX53" fmla="*/ 621 w 10000"/>
                <a:gd name="connsiteY53" fmla="*/ 9673 h 10000"/>
                <a:gd name="connsiteX54" fmla="*/ 758 w 10000"/>
                <a:gd name="connsiteY54" fmla="*/ 9720 h 10000"/>
                <a:gd name="connsiteX55" fmla="*/ 899 w 10000"/>
                <a:gd name="connsiteY55" fmla="*/ 9765 h 10000"/>
                <a:gd name="connsiteX56" fmla="*/ 1040 w 10000"/>
                <a:gd name="connsiteY56" fmla="*/ 9804 h 10000"/>
                <a:gd name="connsiteX57" fmla="*/ 1182 w 10000"/>
                <a:gd name="connsiteY57" fmla="*/ 9839 h 10000"/>
                <a:gd name="connsiteX58" fmla="*/ 1325 w 10000"/>
                <a:gd name="connsiteY58" fmla="*/ 9874 h 10000"/>
                <a:gd name="connsiteX59" fmla="*/ 1471 w 10000"/>
                <a:gd name="connsiteY59" fmla="*/ 9903 h 10000"/>
                <a:gd name="connsiteX60" fmla="*/ 1614 w 10000"/>
                <a:gd name="connsiteY60" fmla="*/ 9926 h 10000"/>
                <a:gd name="connsiteX61" fmla="*/ 1760 w 10000"/>
                <a:gd name="connsiteY61" fmla="*/ 9948 h 10000"/>
                <a:gd name="connsiteX62" fmla="*/ 1906 w 10000"/>
                <a:gd name="connsiteY62" fmla="*/ 9965 h 10000"/>
                <a:gd name="connsiteX63" fmla="*/ 2052 w 10000"/>
                <a:gd name="connsiteY63" fmla="*/ 9980 h 10000"/>
                <a:gd name="connsiteX64" fmla="*/ 2202 w 10000"/>
                <a:gd name="connsiteY64" fmla="*/ 9990 h 10000"/>
                <a:gd name="connsiteX65" fmla="*/ 2350 w 10000"/>
                <a:gd name="connsiteY65" fmla="*/ 9995 h 10000"/>
                <a:gd name="connsiteX66" fmla="*/ 2498 w 10000"/>
                <a:gd name="connsiteY66" fmla="*/ 10000 h 10000"/>
                <a:gd name="connsiteX67" fmla="*/ 2677 w 10000"/>
                <a:gd name="connsiteY67" fmla="*/ 9995 h 10000"/>
                <a:gd name="connsiteX68" fmla="*/ 2850 w 10000"/>
                <a:gd name="connsiteY68" fmla="*/ 9988 h 10000"/>
                <a:gd name="connsiteX69" fmla="*/ 3024 w 10000"/>
                <a:gd name="connsiteY69" fmla="*/ 9975 h 10000"/>
                <a:gd name="connsiteX70" fmla="*/ 3195 w 10000"/>
                <a:gd name="connsiteY70" fmla="*/ 9953 h 10000"/>
                <a:gd name="connsiteX71" fmla="*/ 3368 w 10000"/>
                <a:gd name="connsiteY71" fmla="*/ 9931 h 10000"/>
                <a:gd name="connsiteX72" fmla="*/ 3538 w 10000"/>
                <a:gd name="connsiteY72" fmla="*/ 9898 h 10000"/>
                <a:gd name="connsiteX73" fmla="*/ 3709 w 10000"/>
                <a:gd name="connsiteY73" fmla="*/ 9866 h 10000"/>
                <a:gd name="connsiteX74" fmla="*/ 3877 w 10000"/>
                <a:gd name="connsiteY74" fmla="*/ 9824 h 10000"/>
                <a:gd name="connsiteX75" fmla="*/ 4042 w 10000"/>
                <a:gd name="connsiteY75" fmla="*/ 9779 h 10000"/>
                <a:gd name="connsiteX76" fmla="*/ 4210 w 10000"/>
                <a:gd name="connsiteY76" fmla="*/ 9730 h 10000"/>
                <a:gd name="connsiteX77" fmla="*/ 4372 w 10000"/>
                <a:gd name="connsiteY77" fmla="*/ 9673 h 10000"/>
                <a:gd name="connsiteX78" fmla="*/ 4536 w 10000"/>
                <a:gd name="connsiteY78" fmla="*/ 9616 h 10000"/>
                <a:gd name="connsiteX79" fmla="*/ 4697 w 10000"/>
                <a:gd name="connsiteY79" fmla="*/ 9552 h 10000"/>
                <a:gd name="connsiteX80" fmla="*/ 4857 w 10000"/>
                <a:gd name="connsiteY80" fmla="*/ 9482 h 10000"/>
                <a:gd name="connsiteX81" fmla="*/ 5014 w 10000"/>
                <a:gd name="connsiteY81" fmla="*/ 9405 h 10000"/>
                <a:gd name="connsiteX82" fmla="*/ 5171 w 10000"/>
                <a:gd name="connsiteY82" fmla="*/ 9329 h 10000"/>
                <a:gd name="connsiteX83" fmla="*/ 5326 w 10000"/>
                <a:gd name="connsiteY83" fmla="*/ 9244 h 10000"/>
                <a:gd name="connsiteX84" fmla="*/ 5480 w 10000"/>
                <a:gd name="connsiteY84" fmla="*/ 9158 h 10000"/>
                <a:gd name="connsiteX85" fmla="*/ 5631 w 10000"/>
                <a:gd name="connsiteY85" fmla="*/ 9063 h 10000"/>
                <a:gd name="connsiteX86" fmla="*/ 5781 w 10000"/>
                <a:gd name="connsiteY86" fmla="*/ 8967 h 10000"/>
                <a:gd name="connsiteX87" fmla="*/ 5931 w 10000"/>
                <a:gd name="connsiteY87" fmla="*/ 8865 h 10000"/>
                <a:gd name="connsiteX88" fmla="*/ 6075 w 10000"/>
                <a:gd name="connsiteY88" fmla="*/ 8759 h 10000"/>
                <a:gd name="connsiteX89" fmla="*/ 6221 w 10000"/>
                <a:gd name="connsiteY89" fmla="*/ 8652 h 10000"/>
                <a:gd name="connsiteX90" fmla="*/ 6364 w 10000"/>
                <a:gd name="connsiteY90" fmla="*/ 8536 h 10000"/>
                <a:gd name="connsiteX91" fmla="*/ 6505 w 10000"/>
                <a:gd name="connsiteY91" fmla="*/ 8417 h 10000"/>
                <a:gd name="connsiteX92" fmla="*/ 6642 w 10000"/>
                <a:gd name="connsiteY92" fmla="*/ 8295 h 10000"/>
                <a:gd name="connsiteX93" fmla="*/ 6780 w 10000"/>
                <a:gd name="connsiteY93" fmla="*/ 8169 h 10000"/>
                <a:gd name="connsiteX94" fmla="*/ 6913 w 10000"/>
                <a:gd name="connsiteY94" fmla="*/ 8040 h 10000"/>
                <a:gd name="connsiteX95" fmla="*/ 7045 w 10000"/>
                <a:gd name="connsiteY95" fmla="*/ 7904 h 10000"/>
                <a:gd name="connsiteX96" fmla="*/ 7175 w 10000"/>
                <a:gd name="connsiteY96" fmla="*/ 7768 h 10000"/>
                <a:gd name="connsiteX97" fmla="*/ 7304 w 10000"/>
                <a:gd name="connsiteY97" fmla="*/ 7624 h 10000"/>
                <a:gd name="connsiteX98" fmla="*/ 7429 w 10000"/>
                <a:gd name="connsiteY98" fmla="*/ 7480 h 10000"/>
                <a:gd name="connsiteX99" fmla="*/ 7552 w 10000"/>
                <a:gd name="connsiteY99" fmla="*/ 7329 h 10000"/>
                <a:gd name="connsiteX100" fmla="*/ 7673 w 10000"/>
                <a:gd name="connsiteY100" fmla="*/ 7178 h 10000"/>
                <a:gd name="connsiteX101" fmla="*/ 7792 w 10000"/>
                <a:gd name="connsiteY101" fmla="*/ 7024 h 10000"/>
                <a:gd name="connsiteX102" fmla="*/ 7907 w 10000"/>
                <a:gd name="connsiteY102" fmla="*/ 6861 h 10000"/>
                <a:gd name="connsiteX103" fmla="*/ 8022 w 10000"/>
                <a:gd name="connsiteY103" fmla="*/ 6697 h 10000"/>
                <a:gd name="connsiteX104" fmla="*/ 8133 w 10000"/>
                <a:gd name="connsiteY104" fmla="*/ 6534 h 10000"/>
                <a:gd name="connsiteX105" fmla="*/ 8240 w 10000"/>
                <a:gd name="connsiteY105" fmla="*/ 6365 h 10000"/>
                <a:gd name="connsiteX106" fmla="*/ 8347 w 10000"/>
                <a:gd name="connsiteY106" fmla="*/ 6189 h 10000"/>
                <a:gd name="connsiteX107" fmla="*/ 8450 w 10000"/>
                <a:gd name="connsiteY107" fmla="*/ 6016 h 10000"/>
                <a:gd name="connsiteX108" fmla="*/ 8552 w 10000"/>
                <a:gd name="connsiteY108" fmla="*/ 5835 h 10000"/>
                <a:gd name="connsiteX109" fmla="*/ 8650 w 10000"/>
                <a:gd name="connsiteY109" fmla="*/ 5652 h 10000"/>
                <a:gd name="connsiteX110" fmla="*/ 8745 w 10000"/>
                <a:gd name="connsiteY110" fmla="*/ 5468 h 10000"/>
                <a:gd name="connsiteX111" fmla="*/ 8837 w 10000"/>
                <a:gd name="connsiteY111" fmla="*/ 5278 h 10000"/>
                <a:gd name="connsiteX112" fmla="*/ 8927 w 10000"/>
                <a:gd name="connsiteY112" fmla="*/ 5089 h 10000"/>
                <a:gd name="connsiteX113" fmla="*/ 9014 w 10000"/>
                <a:gd name="connsiteY113" fmla="*/ 4893 h 10000"/>
                <a:gd name="connsiteX114" fmla="*/ 9098 w 10000"/>
                <a:gd name="connsiteY114" fmla="*/ 4698 h 10000"/>
                <a:gd name="connsiteX115" fmla="*/ 9178 w 10000"/>
                <a:gd name="connsiteY115" fmla="*/ 4500 h 10000"/>
                <a:gd name="connsiteX116" fmla="*/ 9256 w 10000"/>
                <a:gd name="connsiteY116" fmla="*/ 4294 h 10000"/>
                <a:gd name="connsiteX117" fmla="*/ 9330 w 10000"/>
                <a:gd name="connsiteY117" fmla="*/ 4091 h 10000"/>
                <a:gd name="connsiteX118" fmla="*/ 9401 w 10000"/>
                <a:gd name="connsiteY118" fmla="*/ 3885 h 10000"/>
                <a:gd name="connsiteX119" fmla="*/ 9470 w 10000"/>
                <a:gd name="connsiteY119" fmla="*/ 3674 h 10000"/>
                <a:gd name="connsiteX120" fmla="*/ 9535 w 10000"/>
                <a:gd name="connsiteY120" fmla="*/ 3464 h 10000"/>
                <a:gd name="connsiteX121" fmla="*/ 9599 w 10000"/>
                <a:gd name="connsiteY121" fmla="*/ 3248 h 10000"/>
                <a:gd name="connsiteX122" fmla="*/ 9656 w 10000"/>
                <a:gd name="connsiteY122" fmla="*/ 3030 h 10000"/>
                <a:gd name="connsiteX123" fmla="*/ 9711 w 10000"/>
                <a:gd name="connsiteY123" fmla="*/ 2815 h 10000"/>
                <a:gd name="connsiteX124" fmla="*/ 9763 w 10000"/>
                <a:gd name="connsiteY124" fmla="*/ 2592 h 10000"/>
                <a:gd name="connsiteX125" fmla="*/ 9813 w 10000"/>
                <a:gd name="connsiteY125" fmla="*/ 2369 h 10000"/>
                <a:gd name="connsiteX126" fmla="*/ 9856 w 10000"/>
                <a:gd name="connsiteY126" fmla="*/ 2143 h 10000"/>
                <a:gd name="connsiteX127" fmla="*/ 9898 w 10000"/>
                <a:gd name="connsiteY127" fmla="*/ 1918 h 10000"/>
                <a:gd name="connsiteX128" fmla="*/ 9936 w 10000"/>
                <a:gd name="connsiteY128" fmla="*/ 1690 h 10000"/>
                <a:gd name="connsiteX129" fmla="*/ 9970 w 10000"/>
                <a:gd name="connsiteY129" fmla="*/ 1457 h 10000"/>
                <a:gd name="connsiteX130" fmla="*/ 10000 w 10000"/>
                <a:gd name="connsiteY130" fmla="*/ 1222 h 10000"/>
                <a:gd name="connsiteX131" fmla="*/ 7611 w 10000"/>
                <a:gd name="connsiteY131" fmla="*/ 1876 h 10000"/>
                <a:gd name="connsiteX132" fmla="*/ 5615 w 10000"/>
                <a:gd name="connsiteY132"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3759 w 10000"/>
                <a:gd name="connsiteY47" fmla="*/ 3417 h 10000"/>
                <a:gd name="connsiteX48" fmla="*/ 0 w 10000"/>
                <a:gd name="connsiteY48" fmla="*/ 6085 h 10000"/>
                <a:gd name="connsiteX49" fmla="*/ 209 w 10000"/>
                <a:gd name="connsiteY49" fmla="*/ 9512 h 10000"/>
                <a:gd name="connsiteX50" fmla="*/ 344 w 10000"/>
                <a:gd name="connsiteY50" fmla="*/ 9569 h 10000"/>
                <a:gd name="connsiteX51" fmla="*/ 481 w 10000"/>
                <a:gd name="connsiteY51" fmla="*/ 9623 h 10000"/>
                <a:gd name="connsiteX52" fmla="*/ 621 w 10000"/>
                <a:gd name="connsiteY52" fmla="*/ 9673 h 10000"/>
                <a:gd name="connsiteX53" fmla="*/ 758 w 10000"/>
                <a:gd name="connsiteY53" fmla="*/ 9720 h 10000"/>
                <a:gd name="connsiteX54" fmla="*/ 899 w 10000"/>
                <a:gd name="connsiteY54" fmla="*/ 9765 h 10000"/>
                <a:gd name="connsiteX55" fmla="*/ 1040 w 10000"/>
                <a:gd name="connsiteY55" fmla="*/ 9804 h 10000"/>
                <a:gd name="connsiteX56" fmla="*/ 1182 w 10000"/>
                <a:gd name="connsiteY56" fmla="*/ 9839 h 10000"/>
                <a:gd name="connsiteX57" fmla="*/ 1325 w 10000"/>
                <a:gd name="connsiteY57" fmla="*/ 9874 h 10000"/>
                <a:gd name="connsiteX58" fmla="*/ 1471 w 10000"/>
                <a:gd name="connsiteY58" fmla="*/ 9903 h 10000"/>
                <a:gd name="connsiteX59" fmla="*/ 1614 w 10000"/>
                <a:gd name="connsiteY59" fmla="*/ 9926 h 10000"/>
                <a:gd name="connsiteX60" fmla="*/ 1760 w 10000"/>
                <a:gd name="connsiteY60" fmla="*/ 9948 h 10000"/>
                <a:gd name="connsiteX61" fmla="*/ 1906 w 10000"/>
                <a:gd name="connsiteY61" fmla="*/ 9965 h 10000"/>
                <a:gd name="connsiteX62" fmla="*/ 2052 w 10000"/>
                <a:gd name="connsiteY62" fmla="*/ 9980 h 10000"/>
                <a:gd name="connsiteX63" fmla="*/ 2202 w 10000"/>
                <a:gd name="connsiteY63" fmla="*/ 9990 h 10000"/>
                <a:gd name="connsiteX64" fmla="*/ 2350 w 10000"/>
                <a:gd name="connsiteY64" fmla="*/ 9995 h 10000"/>
                <a:gd name="connsiteX65" fmla="*/ 2498 w 10000"/>
                <a:gd name="connsiteY65" fmla="*/ 10000 h 10000"/>
                <a:gd name="connsiteX66" fmla="*/ 2677 w 10000"/>
                <a:gd name="connsiteY66" fmla="*/ 9995 h 10000"/>
                <a:gd name="connsiteX67" fmla="*/ 2850 w 10000"/>
                <a:gd name="connsiteY67" fmla="*/ 9988 h 10000"/>
                <a:gd name="connsiteX68" fmla="*/ 3024 w 10000"/>
                <a:gd name="connsiteY68" fmla="*/ 9975 h 10000"/>
                <a:gd name="connsiteX69" fmla="*/ 3195 w 10000"/>
                <a:gd name="connsiteY69" fmla="*/ 9953 h 10000"/>
                <a:gd name="connsiteX70" fmla="*/ 3368 w 10000"/>
                <a:gd name="connsiteY70" fmla="*/ 9931 h 10000"/>
                <a:gd name="connsiteX71" fmla="*/ 3538 w 10000"/>
                <a:gd name="connsiteY71" fmla="*/ 9898 h 10000"/>
                <a:gd name="connsiteX72" fmla="*/ 3709 w 10000"/>
                <a:gd name="connsiteY72" fmla="*/ 9866 h 10000"/>
                <a:gd name="connsiteX73" fmla="*/ 3877 w 10000"/>
                <a:gd name="connsiteY73" fmla="*/ 9824 h 10000"/>
                <a:gd name="connsiteX74" fmla="*/ 4042 w 10000"/>
                <a:gd name="connsiteY74" fmla="*/ 9779 h 10000"/>
                <a:gd name="connsiteX75" fmla="*/ 4210 w 10000"/>
                <a:gd name="connsiteY75" fmla="*/ 9730 h 10000"/>
                <a:gd name="connsiteX76" fmla="*/ 4372 w 10000"/>
                <a:gd name="connsiteY76" fmla="*/ 9673 h 10000"/>
                <a:gd name="connsiteX77" fmla="*/ 4536 w 10000"/>
                <a:gd name="connsiteY77" fmla="*/ 9616 h 10000"/>
                <a:gd name="connsiteX78" fmla="*/ 4697 w 10000"/>
                <a:gd name="connsiteY78" fmla="*/ 9552 h 10000"/>
                <a:gd name="connsiteX79" fmla="*/ 4857 w 10000"/>
                <a:gd name="connsiteY79" fmla="*/ 9482 h 10000"/>
                <a:gd name="connsiteX80" fmla="*/ 5014 w 10000"/>
                <a:gd name="connsiteY80" fmla="*/ 9405 h 10000"/>
                <a:gd name="connsiteX81" fmla="*/ 5171 w 10000"/>
                <a:gd name="connsiteY81" fmla="*/ 9329 h 10000"/>
                <a:gd name="connsiteX82" fmla="*/ 5326 w 10000"/>
                <a:gd name="connsiteY82" fmla="*/ 9244 h 10000"/>
                <a:gd name="connsiteX83" fmla="*/ 5480 w 10000"/>
                <a:gd name="connsiteY83" fmla="*/ 9158 h 10000"/>
                <a:gd name="connsiteX84" fmla="*/ 5631 w 10000"/>
                <a:gd name="connsiteY84" fmla="*/ 9063 h 10000"/>
                <a:gd name="connsiteX85" fmla="*/ 5781 w 10000"/>
                <a:gd name="connsiteY85" fmla="*/ 8967 h 10000"/>
                <a:gd name="connsiteX86" fmla="*/ 5931 w 10000"/>
                <a:gd name="connsiteY86" fmla="*/ 8865 h 10000"/>
                <a:gd name="connsiteX87" fmla="*/ 6075 w 10000"/>
                <a:gd name="connsiteY87" fmla="*/ 8759 h 10000"/>
                <a:gd name="connsiteX88" fmla="*/ 6221 w 10000"/>
                <a:gd name="connsiteY88" fmla="*/ 8652 h 10000"/>
                <a:gd name="connsiteX89" fmla="*/ 6364 w 10000"/>
                <a:gd name="connsiteY89" fmla="*/ 8536 h 10000"/>
                <a:gd name="connsiteX90" fmla="*/ 6505 w 10000"/>
                <a:gd name="connsiteY90" fmla="*/ 8417 h 10000"/>
                <a:gd name="connsiteX91" fmla="*/ 6642 w 10000"/>
                <a:gd name="connsiteY91" fmla="*/ 8295 h 10000"/>
                <a:gd name="connsiteX92" fmla="*/ 6780 w 10000"/>
                <a:gd name="connsiteY92" fmla="*/ 8169 h 10000"/>
                <a:gd name="connsiteX93" fmla="*/ 6913 w 10000"/>
                <a:gd name="connsiteY93" fmla="*/ 8040 h 10000"/>
                <a:gd name="connsiteX94" fmla="*/ 7045 w 10000"/>
                <a:gd name="connsiteY94" fmla="*/ 7904 h 10000"/>
                <a:gd name="connsiteX95" fmla="*/ 7175 w 10000"/>
                <a:gd name="connsiteY95" fmla="*/ 7768 h 10000"/>
                <a:gd name="connsiteX96" fmla="*/ 7304 w 10000"/>
                <a:gd name="connsiteY96" fmla="*/ 7624 h 10000"/>
                <a:gd name="connsiteX97" fmla="*/ 7429 w 10000"/>
                <a:gd name="connsiteY97" fmla="*/ 7480 h 10000"/>
                <a:gd name="connsiteX98" fmla="*/ 7552 w 10000"/>
                <a:gd name="connsiteY98" fmla="*/ 7329 h 10000"/>
                <a:gd name="connsiteX99" fmla="*/ 7673 w 10000"/>
                <a:gd name="connsiteY99" fmla="*/ 7178 h 10000"/>
                <a:gd name="connsiteX100" fmla="*/ 7792 w 10000"/>
                <a:gd name="connsiteY100" fmla="*/ 7024 h 10000"/>
                <a:gd name="connsiteX101" fmla="*/ 7907 w 10000"/>
                <a:gd name="connsiteY101" fmla="*/ 6861 h 10000"/>
                <a:gd name="connsiteX102" fmla="*/ 8022 w 10000"/>
                <a:gd name="connsiteY102" fmla="*/ 6697 h 10000"/>
                <a:gd name="connsiteX103" fmla="*/ 8133 w 10000"/>
                <a:gd name="connsiteY103" fmla="*/ 6534 h 10000"/>
                <a:gd name="connsiteX104" fmla="*/ 8240 w 10000"/>
                <a:gd name="connsiteY104" fmla="*/ 6365 h 10000"/>
                <a:gd name="connsiteX105" fmla="*/ 8347 w 10000"/>
                <a:gd name="connsiteY105" fmla="*/ 6189 h 10000"/>
                <a:gd name="connsiteX106" fmla="*/ 8450 w 10000"/>
                <a:gd name="connsiteY106" fmla="*/ 6016 h 10000"/>
                <a:gd name="connsiteX107" fmla="*/ 8552 w 10000"/>
                <a:gd name="connsiteY107" fmla="*/ 5835 h 10000"/>
                <a:gd name="connsiteX108" fmla="*/ 8650 w 10000"/>
                <a:gd name="connsiteY108" fmla="*/ 5652 h 10000"/>
                <a:gd name="connsiteX109" fmla="*/ 8745 w 10000"/>
                <a:gd name="connsiteY109" fmla="*/ 5468 h 10000"/>
                <a:gd name="connsiteX110" fmla="*/ 8837 w 10000"/>
                <a:gd name="connsiteY110" fmla="*/ 5278 h 10000"/>
                <a:gd name="connsiteX111" fmla="*/ 8927 w 10000"/>
                <a:gd name="connsiteY111" fmla="*/ 5089 h 10000"/>
                <a:gd name="connsiteX112" fmla="*/ 9014 w 10000"/>
                <a:gd name="connsiteY112" fmla="*/ 4893 h 10000"/>
                <a:gd name="connsiteX113" fmla="*/ 9098 w 10000"/>
                <a:gd name="connsiteY113" fmla="*/ 4698 h 10000"/>
                <a:gd name="connsiteX114" fmla="*/ 9178 w 10000"/>
                <a:gd name="connsiteY114" fmla="*/ 4500 h 10000"/>
                <a:gd name="connsiteX115" fmla="*/ 9256 w 10000"/>
                <a:gd name="connsiteY115" fmla="*/ 4294 h 10000"/>
                <a:gd name="connsiteX116" fmla="*/ 9330 w 10000"/>
                <a:gd name="connsiteY116" fmla="*/ 4091 h 10000"/>
                <a:gd name="connsiteX117" fmla="*/ 9401 w 10000"/>
                <a:gd name="connsiteY117" fmla="*/ 3885 h 10000"/>
                <a:gd name="connsiteX118" fmla="*/ 9470 w 10000"/>
                <a:gd name="connsiteY118" fmla="*/ 3674 h 10000"/>
                <a:gd name="connsiteX119" fmla="*/ 9535 w 10000"/>
                <a:gd name="connsiteY119" fmla="*/ 3464 h 10000"/>
                <a:gd name="connsiteX120" fmla="*/ 9599 w 10000"/>
                <a:gd name="connsiteY120" fmla="*/ 3248 h 10000"/>
                <a:gd name="connsiteX121" fmla="*/ 9656 w 10000"/>
                <a:gd name="connsiteY121" fmla="*/ 3030 h 10000"/>
                <a:gd name="connsiteX122" fmla="*/ 9711 w 10000"/>
                <a:gd name="connsiteY122" fmla="*/ 2815 h 10000"/>
                <a:gd name="connsiteX123" fmla="*/ 9763 w 10000"/>
                <a:gd name="connsiteY123" fmla="*/ 2592 h 10000"/>
                <a:gd name="connsiteX124" fmla="*/ 9813 w 10000"/>
                <a:gd name="connsiteY124" fmla="*/ 2369 h 10000"/>
                <a:gd name="connsiteX125" fmla="*/ 9856 w 10000"/>
                <a:gd name="connsiteY125" fmla="*/ 2143 h 10000"/>
                <a:gd name="connsiteX126" fmla="*/ 9898 w 10000"/>
                <a:gd name="connsiteY126" fmla="*/ 1918 h 10000"/>
                <a:gd name="connsiteX127" fmla="*/ 9936 w 10000"/>
                <a:gd name="connsiteY127" fmla="*/ 1690 h 10000"/>
                <a:gd name="connsiteX128" fmla="*/ 9970 w 10000"/>
                <a:gd name="connsiteY128" fmla="*/ 1457 h 10000"/>
                <a:gd name="connsiteX129" fmla="*/ 10000 w 10000"/>
                <a:gd name="connsiteY129" fmla="*/ 1222 h 10000"/>
                <a:gd name="connsiteX130" fmla="*/ 7611 w 10000"/>
                <a:gd name="connsiteY130" fmla="*/ 1876 h 10000"/>
                <a:gd name="connsiteX131" fmla="*/ 5615 w 10000"/>
                <a:gd name="connsiteY131"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3823 w 10000"/>
                <a:gd name="connsiteY46" fmla="*/ 3377 h 10000"/>
                <a:gd name="connsiteX47" fmla="*/ 0 w 10000"/>
                <a:gd name="connsiteY47" fmla="*/ 6085 h 10000"/>
                <a:gd name="connsiteX48" fmla="*/ 209 w 10000"/>
                <a:gd name="connsiteY48" fmla="*/ 9512 h 10000"/>
                <a:gd name="connsiteX49" fmla="*/ 344 w 10000"/>
                <a:gd name="connsiteY49" fmla="*/ 9569 h 10000"/>
                <a:gd name="connsiteX50" fmla="*/ 481 w 10000"/>
                <a:gd name="connsiteY50" fmla="*/ 9623 h 10000"/>
                <a:gd name="connsiteX51" fmla="*/ 621 w 10000"/>
                <a:gd name="connsiteY51" fmla="*/ 9673 h 10000"/>
                <a:gd name="connsiteX52" fmla="*/ 758 w 10000"/>
                <a:gd name="connsiteY52" fmla="*/ 9720 h 10000"/>
                <a:gd name="connsiteX53" fmla="*/ 899 w 10000"/>
                <a:gd name="connsiteY53" fmla="*/ 9765 h 10000"/>
                <a:gd name="connsiteX54" fmla="*/ 1040 w 10000"/>
                <a:gd name="connsiteY54" fmla="*/ 9804 h 10000"/>
                <a:gd name="connsiteX55" fmla="*/ 1182 w 10000"/>
                <a:gd name="connsiteY55" fmla="*/ 9839 h 10000"/>
                <a:gd name="connsiteX56" fmla="*/ 1325 w 10000"/>
                <a:gd name="connsiteY56" fmla="*/ 9874 h 10000"/>
                <a:gd name="connsiteX57" fmla="*/ 1471 w 10000"/>
                <a:gd name="connsiteY57" fmla="*/ 9903 h 10000"/>
                <a:gd name="connsiteX58" fmla="*/ 1614 w 10000"/>
                <a:gd name="connsiteY58" fmla="*/ 9926 h 10000"/>
                <a:gd name="connsiteX59" fmla="*/ 1760 w 10000"/>
                <a:gd name="connsiteY59" fmla="*/ 9948 h 10000"/>
                <a:gd name="connsiteX60" fmla="*/ 1906 w 10000"/>
                <a:gd name="connsiteY60" fmla="*/ 9965 h 10000"/>
                <a:gd name="connsiteX61" fmla="*/ 2052 w 10000"/>
                <a:gd name="connsiteY61" fmla="*/ 9980 h 10000"/>
                <a:gd name="connsiteX62" fmla="*/ 2202 w 10000"/>
                <a:gd name="connsiteY62" fmla="*/ 9990 h 10000"/>
                <a:gd name="connsiteX63" fmla="*/ 2350 w 10000"/>
                <a:gd name="connsiteY63" fmla="*/ 9995 h 10000"/>
                <a:gd name="connsiteX64" fmla="*/ 2498 w 10000"/>
                <a:gd name="connsiteY64" fmla="*/ 10000 h 10000"/>
                <a:gd name="connsiteX65" fmla="*/ 2677 w 10000"/>
                <a:gd name="connsiteY65" fmla="*/ 9995 h 10000"/>
                <a:gd name="connsiteX66" fmla="*/ 2850 w 10000"/>
                <a:gd name="connsiteY66" fmla="*/ 9988 h 10000"/>
                <a:gd name="connsiteX67" fmla="*/ 3024 w 10000"/>
                <a:gd name="connsiteY67" fmla="*/ 9975 h 10000"/>
                <a:gd name="connsiteX68" fmla="*/ 3195 w 10000"/>
                <a:gd name="connsiteY68" fmla="*/ 9953 h 10000"/>
                <a:gd name="connsiteX69" fmla="*/ 3368 w 10000"/>
                <a:gd name="connsiteY69" fmla="*/ 9931 h 10000"/>
                <a:gd name="connsiteX70" fmla="*/ 3538 w 10000"/>
                <a:gd name="connsiteY70" fmla="*/ 9898 h 10000"/>
                <a:gd name="connsiteX71" fmla="*/ 3709 w 10000"/>
                <a:gd name="connsiteY71" fmla="*/ 9866 h 10000"/>
                <a:gd name="connsiteX72" fmla="*/ 3877 w 10000"/>
                <a:gd name="connsiteY72" fmla="*/ 9824 h 10000"/>
                <a:gd name="connsiteX73" fmla="*/ 4042 w 10000"/>
                <a:gd name="connsiteY73" fmla="*/ 9779 h 10000"/>
                <a:gd name="connsiteX74" fmla="*/ 4210 w 10000"/>
                <a:gd name="connsiteY74" fmla="*/ 9730 h 10000"/>
                <a:gd name="connsiteX75" fmla="*/ 4372 w 10000"/>
                <a:gd name="connsiteY75" fmla="*/ 9673 h 10000"/>
                <a:gd name="connsiteX76" fmla="*/ 4536 w 10000"/>
                <a:gd name="connsiteY76" fmla="*/ 9616 h 10000"/>
                <a:gd name="connsiteX77" fmla="*/ 4697 w 10000"/>
                <a:gd name="connsiteY77" fmla="*/ 9552 h 10000"/>
                <a:gd name="connsiteX78" fmla="*/ 4857 w 10000"/>
                <a:gd name="connsiteY78" fmla="*/ 9482 h 10000"/>
                <a:gd name="connsiteX79" fmla="*/ 5014 w 10000"/>
                <a:gd name="connsiteY79" fmla="*/ 9405 h 10000"/>
                <a:gd name="connsiteX80" fmla="*/ 5171 w 10000"/>
                <a:gd name="connsiteY80" fmla="*/ 9329 h 10000"/>
                <a:gd name="connsiteX81" fmla="*/ 5326 w 10000"/>
                <a:gd name="connsiteY81" fmla="*/ 9244 h 10000"/>
                <a:gd name="connsiteX82" fmla="*/ 5480 w 10000"/>
                <a:gd name="connsiteY82" fmla="*/ 9158 h 10000"/>
                <a:gd name="connsiteX83" fmla="*/ 5631 w 10000"/>
                <a:gd name="connsiteY83" fmla="*/ 9063 h 10000"/>
                <a:gd name="connsiteX84" fmla="*/ 5781 w 10000"/>
                <a:gd name="connsiteY84" fmla="*/ 8967 h 10000"/>
                <a:gd name="connsiteX85" fmla="*/ 5931 w 10000"/>
                <a:gd name="connsiteY85" fmla="*/ 8865 h 10000"/>
                <a:gd name="connsiteX86" fmla="*/ 6075 w 10000"/>
                <a:gd name="connsiteY86" fmla="*/ 8759 h 10000"/>
                <a:gd name="connsiteX87" fmla="*/ 6221 w 10000"/>
                <a:gd name="connsiteY87" fmla="*/ 8652 h 10000"/>
                <a:gd name="connsiteX88" fmla="*/ 6364 w 10000"/>
                <a:gd name="connsiteY88" fmla="*/ 8536 h 10000"/>
                <a:gd name="connsiteX89" fmla="*/ 6505 w 10000"/>
                <a:gd name="connsiteY89" fmla="*/ 8417 h 10000"/>
                <a:gd name="connsiteX90" fmla="*/ 6642 w 10000"/>
                <a:gd name="connsiteY90" fmla="*/ 8295 h 10000"/>
                <a:gd name="connsiteX91" fmla="*/ 6780 w 10000"/>
                <a:gd name="connsiteY91" fmla="*/ 8169 h 10000"/>
                <a:gd name="connsiteX92" fmla="*/ 6913 w 10000"/>
                <a:gd name="connsiteY92" fmla="*/ 8040 h 10000"/>
                <a:gd name="connsiteX93" fmla="*/ 7045 w 10000"/>
                <a:gd name="connsiteY93" fmla="*/ 7904 h 10000"/>
                <a:gd name="connsiteX94" fmla="*/ 7175 w 10000"/>
                <a:gd name="connsiteY94" fmla="*/ 7768 h 10000"/>
                <a:gd name="connsiteX95" fmla="*/ 7304 w 10000"/>
                <a:gd name="connsiteY95" fmla="*/ 7624 h 10000"/>
                <a:gd name="connsiteX96" fmla="*/ 7429 w 10000"/>
                <a:gd name="connsiteY96" fmla="*/ 7480 h 10000"/>
                <a:gd name="connsiteX97" fmla="*/ 7552 w 10000"/>
                <a:gd name="connsiteY97" fmla="*/ 7329 h 10000"/>
                <a:gd name="connsiteX98" fmla="*/ 7673 w 10000"/>
                <a:gd name="connsiteY98" fmla="*/ 7178 h 10000"/>
                <a:gd name="connsiteX99" fmla="*/ 7792 w 10000"/>
                <a:gd name="connsiteY99" fmla="*/ 7024 h 10000"/>
                <a:gd name="connsiteX100" fmla="*/ 7907 w 10000"/>
                <a:gd name="connsiteY100" fmla="*/ 6861 h 10000"/>
                <a:gd name="connsiteX101" fmla="*/ 8022 w 10000"/>
                <a:gd name="connsiteY101" fmla="*/ 6697 h 10000"/>
                <a:gd name="connsiteX102" fmla="*/ 8133 w 10000"/>
                <a:gd name="connsiteY102" fmla="*/ 6534 h 10000"/>
                <a:gd name="connsiteX103" fmla="*/ 8240 w 10000"/>
                <a:gd name="connsiteY103" fmla="*/ 6365 h 10000"/>
                <a:gd name="connsiteX104" fmla="*/ 8347 w 10000"/>
                <a:gd name="connsiteY104" fmla="*/ 6189 h 10000"/>
                <a:gd name="connsiteX105" fmla="*/ 8450 w 10000"/>
                <a:gd name="connsiteY105" fmla="*/ 6016 h 10000"/>
                <a:gd name="connsiteX106" fmla="*/ 8552 w 10000"/>
                <a:gd name="connsiteY106" fmla="*/ 5835 h 10000"/>
                <a:gd name="connsiteX107" fmla="*/ 8650 w 10000"/>
                <a:gd name="connsiteY107" fmla="*/ 5652 h 10000"/>
                <a:gd name="connsiteX108" fmla="*/ 8745 w 10000"/>
                <a:gd name="connsiteY108" fmla="*/ 5468 h 10000"/>
                <a:gd name="connsiteX109" fmla="*/ 8837 w 10000"/>
                <a:gd name="connsiteY109" fmla="*/ 5278 h 10000"/>
                <a:gd name="connsiteX110" fmla="*/ 8927 w 10000"/>
                <a:gd name="connsiteY110" fmla="*/ 5089 h 10000"/>
                <a:gd name="connsiteX111" fmla="*/ 9014 w 10000"/>
                <a:gd name="connsiteY111" fmla="*/ 4893 h 10000"/>
                <a:gd name="connsiteX112" fmla="*/ 9098 w 10000"/>
                <a:gd name="connsiteY112" fmla="*/ 4698 h 10000"/>
                <a:gd name="connsiteX113" fmla="*/ 9178 w 10000"/>
                <a:gd name="connsiteY113" fmla="*/ 4500 h 10000"/>
                <a:gd name="connsiteX114" fmla="*/ 9256 w 10000"/>
                <a:gd name="connsiteY114" fmla="*/ 4294 h 10000"/>
                <a:gd name="connsiteX115" fmla="*/ 9330 w 10000"/>
                <a:gd name="connsiteY115" fmla="*/ 4091 h 10000"/>
                <a:gd name="connsiteX116" fmla="*/ 9401 w 10000"/>
                <a:gd name="connsiteY116" fmla="*/ 3885 h 10000"/>
                <a:gd name="connsiteX117" fmla="*/ 9470 w 10000"/>
                <a:gd name="connsiteY117" fmla="*/ 3674 h 10000"/>
                <a:gd name="connsiteX118" fmla="*/ 9535 w 10000"/>
                <a:gd name="connsiteY118" fmla="*/ 3464 h 10000"/>
                <a:gd name="connsiteX119" fmla="*/ 9599 w 10000"/>
                <a:gd name="connsiteY119" fmla="*/ 3248 h 10000"/>
                <a:gd name="connsiteX120" fmla="*/ 9656 w 10000"/>
                <a:gd name="connsiteY120" fmla="*/ 3030 h 10000"/>
                <a:gd name="connsiteX121" fmla="*/ 9711 w 10000"/>
                <a:gd name="connsiteY121" fmla="*/ 2815 h 10000"/>
                <a:gd name="connsiteX122" fmla="*/ 9763 w 10000"/>
                <a:gd name="connsiteY122" fmla="*/ 2592 h 10000"/>
                <a:gd name="connsiteX123" fmla="*/ 9813 w 10000"/>
                <a:gd name="connsiteY123" fmla="*/ 2369 h 10000"/>
                <a:gd name="connsiteX124" fmla="*/ 9856 w 10000"/>
                <a:gd name="connsiteY124" fmla="*/ 2143 h 10000"/>
                <a:gd name="connsiteX125" fmla="*/ 9898 w 10000"/>
                <a:gd name="connsiteY125" fmla="*/ 1918 h 10000"/>
                <a:gd name="connsiteX126" fmla="*/ 9936 w 10000"/>
                <a:gd name="connsiteY126" fmla="*/ 1690 h 10000"/>
                <a:gd name="connsiteX127" fmla="*/ 9970 w 10000"/>
                <a:gd name="connsiteY127" fmla="*/ 1457 h 10000"/>
                <a:gd name="connsiteX128" fmla="*/ 10000 w 10000"/>
                <a:gd name="connsiteY128" fmla="*/ 1222 h 10000"/>
                <a:gd name="connsiteX129" fmla="*/ 7611 w 10000"/>
                <a:gd name="connsiteY129" fmla="*/ 1876 h 10000"/>
                <a:gd name="connsiteX130" fmla="*/ 5615 w 10000"/>
                <a:gd name="connsiteY130"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3887 w 10000"/>
                <a:gd name="connsiteY45" fmla="*/ 3335 h 10000"/>
                <a:gd name="connsiteX46" fmla="*/ 0 w 10000"/>
                <a:gd name="connsiteY46" fmla="*/ 6085 h 10000"/>
                <a:gd name="connsiteX47" fmla="*/ 209 w 10000"/>
                <a:gd name="connsiteY47" fmla="*/ 9512 h 10000"/>
                <a:gd name="connsiteX48" fmla="*/ 344 w 10000"/>
                <a:gd name="connsiteY48" fmla="*/ 9569 h 10000"/>
                <a:gd name="connsiteX49" fmla="*/ 481 w 10000"/>
                <a:gd name="connsiteY49" fmla="*/ 9623 h 10000"/>
                <a:gd name="connsiteX50" fmla="*/ 621 w 10000"/>
                <a:gd name="connsiteY50" fmla="*/ 9673 h 10000"/>
                <a:gd name="connsiteX51" fmla="*/ 758 w 10000"/>
                <a:gd name="connsiteY51" fmla="*/ 9720 h 10000"/>
                <a:gd name="connsiteX52" fmla="*/ 899 w 10000"/>
                <a:gd name="connsiteY52" fmla="*/ 9765 h 10000"/>
                <a:gd name="connsiteX53" fmla="*/ 1040 w 10000"/>
                <a:gd name="connsiteY53" fmla="*/ 9804 h 10000"/>
                <a:gd name="connsiteX54" fmla="*/ 1182 w 10000"/>
                <a:gd name="connsiteY54" fmla="*/ 9839 h 10000"/>
                <a:gd name="connsiteX55" fmla="*/ 1325 w 10000"/>
                <a:gd name="connsiteY55" fmla="*/ 9874 h 10000"/>
                <a:gd name="connsiteX56" fmla="*/ 1471 w 10000"/>
                <a:gd name="connsiteY56" fmla="*/ 9903 h 10000"/>
                <a:gd name="connsiteX57" fmla="*/ 1614 w 10000"/>
                <a:gd name="connsiteY57" fmla="*/ 9926 h 10000"/>
                <a:gd name="connsiteX58" fmla="*/ 1760 w 10000"/>
                <a:gd name="connsiteY58" fmla="*/ 9948 h 10000"/>
                <a:gd name="connsiteX59" fmla="*/ 1906 w 10000"/>
                <a:gd name="connsiteY59" fmla="*/ 9965 h 10000"/>
                <a:gd name="connsiteX60" fmla="*/ 2052 w 10000"/>
                <a:gd name="connsiteY60" fmla="*/ 9980 h 10000"/>
                <a:gd name="connsiteX61" fmla="*/ 2202 w 10000"/>
                <a:gd name="connsiteY61" fmla="*/ 9990 h 10000"/>
                <a:gd name="connsiteX62" fmla="*/ 2350 w 10000"/>
                <a:gd name="connsiteY62" fmla="*/ 9995 h 10000"/>
                <a:gd name="connsiteX63" fmla="*/ 2498 w 10000"/>
                <a:gd name="connsiteY63" fmla="*/ 10000 h 10000"/>
                <a:gd name="connsiteX64" fmla="*/ 2677 w 10000"/>
                <a:gd name="connsiteY64" fmla="*/ 9995 h 10000"/>
                <a:gd name="connsiteX65" fmla="*/ 2850 w 10000"/>
                <a:gd name="connsiteY65" fmla="*/ 9988 h 10000"/>
                <a:gd name="connsiteX66" fmla="*/ 3024 w 10000"/>
                <a:gd name="connsiteY66" fmla="*/ 9975 h 10000"/>
                <a:gd name="connsiteX67" fmla="*/ 3195 w 10000"/>
                <a:gd name="connsiteY67" fmla="*/ 9953 h 10000"/>
                <a:gd name="connsiteX68" fmla="*/ 3368 w 10000"/>
                <a:gd name="connsiteY68" fmla="*/ 9931 h 10000"/>
                <a:gd name="connsiteX69" fmla="*/ 3538 w 10000"/>
                <a:gd name="connsiteY69" fmla="*/ 9898 h 10000"/>
                <a:gd name="connsiteX70" fmla="*/ 3709 w 10000"/>
                <a:gd name="connsiteY70" fmla="*/ 9866 h 10000"/>
                <a:gd name="connsiteX71" fmla="*/ 3877 w 10000"/>
                <a:gd name="connsiteY71" fmla="*/ 9824 h 10000"/>
                <a:gd name="connsiteX72" fmla="*/ 4042 w 10000"/>
                <a:gd name="connsiteY72" fmla="*/ 9779 h 10000"/>
                <a:gd name="connsiteX73" fmla="*/ 4210 w 10000"/>
                <a:gd name="connsiteY73" fmla="*/ 9730 h 10000"/>
                <a:gd name="connsiteX74" fmla="*/ 4372 w 10000"/>
                <a:gd name="connsiteY74" fmla="*/ 9673 h 10000"/>
                <a:gd name="connsiteX75" fmla="*/ 4536 w 10000"/>
                <a:gd name="connsiteY75" fmla="*/ 9616 h 10000"/>
                <a:gd name="connsiteX76" fmla="*/ 4697 w 10000"/>
                <a:gd name="connsiteY76" fmla="*/ 9552 h 10000"/>
                <a:gd name="connsiteX77" fmla="*/ 4857 w 10000"/>
                <a:gd name="connsiteY77" fmla="*/ 9482 h 10000"/>
                <a:gd name="connsiteX78" fmla="*/ 5014 w 10000"/>
                <a:gd name="connsiteY78" fmla="*/ 9405 h 10000"/>
                <a:gd name="connsiteX79" fmla="*/ 5171 w 10000"/>
                <a:gd name="connsiteY79" fmla="*/ 9329 h 10000"/>
                <a:gd name="connsiteX80" fmla="*/ 5326 w 10000"/>
                <a:gd name="connsiteY80" fmla="*/ 9244 h 10000"/>
                <a:gd name="connsiteX81" fmla="*/ 5480 w 10000"/>
                <a:gd name="connsiteY81" fmla="*/ 9158 h 10000"/>
                <a:gd name="connsiteX82" fmla="*/ 5631 w 10000"/>
                <a:gd name="connsiteY82" fmla="*/ 9063 h 10000"/>
                <a:gd name="connsiteX83" fmla="*/ 5781 w 10000"/>
                <a:gd name="connsiteY83" fmla="*/ 8967 h 10000"/>
                <a:gd name="connsiteX84" fmla="*/ 5931 w 10000"/>
                <a:gd name="connsiteY84" fmla="*/ 8865 h 10000"/>
                <a:gd name="connsiteX85" fmla="*/ 6075 w 10000"/>
                <a:gd name="connsiteY85" fmla="*/ 8759 h 10000"/>
                <a:gd name="connsiteX86" fmla="*/ 6221 w 10000"/>
                <a:gd name="connsiteY86" fmla="*/ 8652 h 10000"/>
                <a:gd name="connsiteX87" fmla="*/ 6364 w 10000"/>
                <a:gd name="connsiteY87" fmla="*/ 8536 h 10000"/>
                <a:gd name="connsiteX88" fmla="*/ 6505 w 10000"/>
                <a:gd name="connsiteY88" fmla="*/ 8417 h 10000"/>
                <a:gd name="connsiteX89" fmla="*/ 6642 w 10000"/>
                <a:gd name="connsiteY89" fmla="*/ 8295 h 10000"/>
                <a:gd name="connsiteX90" fmla="*/ 6780 w 10000"/>
                <a:gd name="connsiteY90" fmla="*/ 8169 h 10000"/>
                <a:gd name="connsiteX91" fmla="*/ 6913 w 10000"/>
                <a:gd name="connsiteY91" fmla="*/ 8040 h 10000"/>
                <a:gd name="connsiteX92" fmla="*/ 7045 w 10000"/>
                <a:gd name="connsiteY92" fmla="*/ 7904 h 10000"/>
                <a:gd name="connsiteX93" fmla="*/ 7175 w 10000"/>
                <a:gd name="connsiteY93" fmla="*/ 7768 h 10000"/>
                <a:gd name="connsiteX94" fmla="*/ 7304 w 10000"/>
                <a:gd name="connsiteY94" fmla="*/ 7624 h 10000"/>
                <a:gd name="connsiteX95" fmla="*/ 7429 w 10000"/>
                <a:gd name="connsiteY95" fmla="*/ 7480 h 10000"/>
                <a:gd name="connsiteX96" fmla="*/ 7552 w 10000"/>
                <a:gd name="connsiteY96" fmla="*/ 7329 h 10000"/>
                <a:gd name="connsiteX97" fmla="*/ 7673 w 10000"/>
                <a:gd name="connsiteY97" fmla="*/ 7178 h 10000"/>
                <a:gd name="connsiteX98" fmla="*/ 7792 w 10000"/>
                <a:gd name="connsiteY98" fmla="*/ 7024 h 10000"/>
                <a:gd name="connsiteX99" fmla="*/ 7907 w 10000"/>
                <a:gd name="connsiteY99" fmla="*/ 6861 h 10000"/>
                <a:gd name="connsiteX100" fmla="*/ 8022 w 10000"/>
                <a:gd name="connsiteY100" fmla="*/ 6697 h 10000"/>
                <a:gd name="connsiteX101" fmla="*/ 8133 w 10000"/>
                <a:gd name="connsiteY101" fmla="*/ 6534 h 10000"/>
                <a:gd name="connsiteX102" fmla="*/ 8240 w 10000"/>
                <a:gd name="connsiteY102" fmla="*/ 6365 h 10000"/>
                <a:gd name="connsiteX103" fmla="*/ 8347 w 10000"/>
                <a:gd name="connsiteY103" fmla="*/ 6189 h 10000"/>
                <a:gd name="connsiteX104" fmla="*/ 8450 w 10000"/>
                <a:gd name="connsiteY104" fmla="*/ 6016 h 10000"/>
                <a:gd name="connsiteX105" fmla="*/ 8552 w 10000"/>
                <a:gd name="connsiteY105" fmla="*/ 5835 h 10000"/>
                <a:gd name="connsiteX106" fmla="*/ 8650 w 10000"/>
                <a:gd name="connsiteY106" fmla="*/ 5652 h 10000"/>
                <a:gd name="connsiteX107" fmla="*/ 8745 w 10000"/>
                <a:gd name="connsiteY107" fmla="*/ 5468 h 10000"/>
                <a:gd name="connsiteX108" fmla="*/ 8837 w 10000"/>
                <a:gd name="connsiteY108" fmla="*/ 5278 h 10000"/>
                <a:gd name="connsiteX109" fmla="*/ 8927 w 10000"/>
                <a:gd name="connsiteY109" fmla="*/ 5089 h 10000"/>
                <a:gd name="connsiteX110" fmla="*/ 9014 w 10000"/>
                <a:gd name="connsiteY110" fmla="*/ 4893 h 10000"/>
                <a:gd name="connsiteX111" fmla="*/ 9098 w 10000"/>
                <a:gd name="connsiteY111" fmla="*/ 4698 h 10000"/>
                <a:gd name="connsiteX112" fmla="*/ 9178 w 10000"/>
                <a:gd name="connsiteY112" fmla="*/ 4500 h 10000"/>
                <a:gd name="connsiteX113" fmla="*/ 9256 w 10000"/>
                <a:gd name="connsiteY113" fmla="*/ 4294 h 10000"/>
                <a:gd name="connsiteX114" fmla="*/ 9330 w 10000"/>
                <a:gd name="connsiteY114" fmla="*/ 4091 h 10000"/>
                <a:gd name="connsiteX115" fmla="*/ 9401 w 10000"/>
                <a:gd name="connsiteY115" fmla="*/ 3885 h 10000"/>
                <a:gd name="connsiteX116" fmla="*/ 9470 w 10000"/>
                <a:gd name="connsiteY116" fmla="*/ 3674 h 10000"/>
                <a:gd name="connsiteX117" fmla="*/ 9535 w 10000"/>
                <a:gd name="connsiteY117" fmla="*/ 3464 h 10000"/>
                <a:gd name="connsiteX118" fmla="*/ 9599 w 10000"/>
                <a:gd name="connsiteY118" fmla="*/ 3248 h 10000"/>
                <a:gd name="connsiteX119" fmla="*/ 9656 w 10000"/>
                <a:gd name="connsiteY119" fmla="*/ 3030 h 10000"/>
                <a:gd name="connsiteX120" fmla="*/ 9711 w 10000"/>
                <a:gd name="connsiteY120" fmla="*/ 2815 h 10000"/>
                <a:gd name="connsiteX121" fmla="*/ 9763 w 10000"/>
                <a:gd name="connsiteY121" fmla="*/ 2592 h 10000"/>
                <a:gd name="connsiteX122" fmla="*/ 9813 w 10000"/>
                <a:gd name="connsiteY122" fmla="*/ 2369 h 10000"/>
                <a:gd name="connsiteX123" fmla="*/ 9856 w 10000"/>
                <a:gd name="connsiteY123" fmla="*/ 2143 h 10000"/>
                <a:gd name="connsiteX124" fmla="*/ 9898 w 10000"/>
                <a:gd name="connsiteY124" fmla="*/ 1918 h 10000"/>
                <a:gd name="connsiteX125" fmla="*/ 9936 w 10000"/>
                <a:gd name="connsiteY125" fmla="*/ 1690 h 10000"/>
                <a:gd name="connsiteX126" fmla="*/ 9970 w 10000"/>
                <a:gd name="connsiteY126" fmla="*/ 1457 h 10000"/>
                <a:gd name="connsiteX127" fmla="*/ 10000 w 10000"/>
                <a:gd name="connsiteY127" fmla="*/ 1222 h 10000"/>
                <a:gd name="connsiteX128" fmla="*/ 7611 w 10000"/>
                <a:gd name="connsiteY128" fmla="*/ 1876 h 10000"/>
                <a:gd name="connsiteX129" fmla="*/ 5615 w 10000"/>
                <a:gd name="connsiteY129"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3950 w 10000"/>
                <a:gd name="connsiteY44" fmla="*/ 3290 h 10000"/>
                <a:gd name="connsiteX45" fmla="*/ 0 w 10000"/>
                <a:gd name="connsiteY45" fmla="*/ 6085 h 10000"/>
                <a:gd name="connsiteX46" fmla="*/ 209 w 10000"/>
                <a:gd name="connsiteY46" fmla="*/ 9512 h 10000"/>
                <a:gd name="connsiteX47" fmla="*/ 344 w 10000"/>
                <a:gd name="connsiteY47" fmla="*/ 9569 h 10000"/>
                <a:gd name="connsiteX48" fmla="*/ 481 w 10000"/>
                <a:gd name="connsiteY48" fmla="*/ 9623 h 10000"/>
                <a:gd name="connsiteX49" fmla="*/ 621 w 10000"/>
                <a:gd name="connsiteY49" fmla="*/ 9673 h 10000"/>
                <a:gd name="connsiteX50" fmla="*/ 758 w 10000"/>
                <a:gd name="connsiteY50" fmla="*/ 9720 h 10000"/>
                <a:gd name="connsiteX51" fmla="*/ 899 w 10000"/>
                <a:gd name="connsiteY51" fmla="*/ 9765 h 10000"/>
                <a:gd name="connsiteX52" fmla="*/ 1040 w 10000"/>
                <a:gd name="connsiteY52" fmla="*/ 9804 h 10000"/>
                <a:gd name="connsiteX53" fmla="*/ 1182 w 10000"/>
                <a:gd name="connsiteY53" fmla="*/ 9839 h 10000"/>
                <a:gd name="connsiteX54" fmla="*/ 1325 w 10000"/>
                <a:gd name="connsiteY54" fmla="*/ 9874 h 10000"/>
                <a:gd name="connsiteX55" fmla="*/ 1471 w 10000"/>
                <a:gd name="connsiteY55" fmla="*/ 9903 h 10000"/>
                <a:gd name="connsiteX56" fmla="*/ 1614 w 10000"/>
                <a:gd name="connsiteY56" fmla="*/ 9926 h 10000"/>
                <a:gd name="connsiteX57" fmla="*/ 1760 w 10000"/>
                <a:gd name="connsiteY57" fmla="*/ 9948 h 10000"/>
                <a:gd name="connsiteX58" fmla="*/ 1906 w 10000"/>
                <a:gd name="connsiteY58" fmla="*/ 9965 h 10000"/>
                <a:gd name="connsiteX59" fmla="*/ 2052 w 10000"/>
                <a:gd name="connsiteY59" fmla="*/ 9980 h 10000"/>
                <a:gd name="connsiteX60" fmla="*/ 2202 w 10000"/>
                <a:gd name="connsiteY60" fmla="*/ 9990 h 10000"/>
                <a:gd name="connsiteX61" fmla="*/ 2350 w 10000"/>
                <a:gd name="connsiteY61" fmla="*/ 9995 h 10000"/>
                <a:gd name="connsiteX62" fmla="*/ 2498 w 10000"/>
                <a:gd name="connsiteY62" fmla="*/ 10000 h 10000"/>
                <a:gd name="connsiteX63" fmla="*/ 2677 w 10000"/>
                <a:gd name="connsiteY63" fmla="*/ 9995 h 10000"/>
                <a:gd name="connsiteX64" fmla="*/ 2850 w 10000"/>
                <a:gd name="connsiteY64" fmla="*/ 9988 h 10000"/>
                <a:gd name="connsiteX65" fmla="*/ 3024 w 10000"/>
                <a:gd name="connsiteY65" fmla="*/ 9975 h 10000"/>
                <a:gd name="connsiteX66" fmla="*/ 3195 w 10000"/>
                <a:gd name="connsiteY66" fmla="*/ 9953 h 10000"/>
                <a:gd name="connsiteX67" fmla="*/ 3368 w 10000"/>
                <a:gd name="connsiteY67" fmla="*/ 9931 h 10000"/>
                <a:gd name="connsiteX68" fmla="*/ 3538 w 10000"/>
                <a:gd name="connsiteY68" fmla="*/ 9898 h 10000"/>
                <a:gd name="connsiteX69" fmla="*/ 3709 w 10000"/>
                <a:gd name="connsiteY69" fmla="*/ 9866 h 10000"/>
                <a:gd name="connsiteX70" fmla="*/ 3877 w 10000"/>
                <a:gd name="connsiteY70" fmla="*/ 9824 h 10000"/>
                <a:gd name="connsiteX71" fmla="*/ 4042 w 10000"/>
                <a:gd name="connsiteY71" fmla="*/ 9779 h 10000"/>
                <a:gd name="connsiteX72" fmla="*/ 4210 w 10000"/>
                <a:gd name="connsiteY72" fmla="*/ 9730 h 10000"/>
                <a:gd name="connsiteX73" fmla="*/ 4372 w 10000"/>
                <a:gd name="connsiteY73" fmla="*/ 9673 h 10000"/>
                <a:gd name="connsiteX74" fmla="*/ 4536 w 10000"/>
                <a:gd name="connsiteY74" fmla="*/ 9616 h 10000"/>
                <a:gd name="connsiteX75" fmla="*/ 4697 w 10000"/>
                <a:gd name="connsiteY75" fmla="*/ 9552 h 10000"/>
                <a:gd name="connsiteX76" fmla="*/ 4857 w 10000"/>
                <a:gd name="connsiteY76" fmla="*/ 9482 h 10000"/>
                <a:gd name="connsiteX77" fmla="*/ 5014 w 10000"/>
                <a:gd name="connsiteY77" fmla="*/ 9405 h 10000"/>
                <a:gd name="connsiteX78" fmla="*/ 5171 w 10000"/>
                <a:gd name="connsiteY78" fmla="*/ 9329 h 10000"/>
                <a:gd name="connsiteX79" fmla="*/ 5326 w 10000"/>
                <a:gd name="connsiteY79" fmla="*/ 9244 h 10000"/>
                <a:gd name="connsiteX80" fmla="*/ 5480 w 10000"/>
                <a:gd name="connsiteY80" fmla="*/ 9158 h 10000"/>
                <a:gd name="connsiteX81" fmla="*/ 5631 w 10000"/>
                <a:gd name="connsiteY81" fmla="*/ 9063 h 10000"/>
                <a:gd name="connsiteX82" fmla="*/ 5781 w 10000"/>
                <a:gd name="connsiteY82" fmla="*/ 8967 h 10000"/>
                <a:gd name="connsiteX83" fmla="*/ 5931 w 10000"/>
                <a:gd name="connsiteY83" fmla="*/ 8865 h 10000"/>
                <a:gd name="connsiteX84" fmla="*/ 6075 w 10000"/>
                <a:gd name="connsiteY84" fmla="*/ 8759 h 10000"/>
                <a:gd name="connsiteX85" fmla="*/ 6221 w 10000"/>
                <a:gd name="connsiteY85" fmla="*/ 8652 h 10000"/>
                <a:gd name="connsiteX86" fmla="*/ 6364 w 10000"/>
                <a:gd name="connsiteY86" fmla="*/ 8536 h 10000"/>
                <a:gd name="connsiteX87" fmla="*/ 6505 w 10000"/>
                <a:gd name="connsiteY87" fmla="*/ 8417 h 10000"/>
                <a:gd name="connsiteX88" fmla="*/ 6642 w 10000"/>
                <a:gd name="connsiteY88" fmla="*/ 8295 h 10000"/>
                <a:gd name="connsiteX89" fmla="*/ 6780 w 10000"/>
                <a:gd name="connsiteY89" fmla="*/ 8169 h 10000"/>
                <a:gd name="connsiteX90" fmla="*/ 6913 w 10000"/>
                <a:gd name="connsiteY90" fmla="*/ 8040 h 10000"/>
                <a:gd name="connsiteX91" fmla="*/ 7045 w 10000"/>
                <a:gd name="connsiteY91" fmla="*/ 7904 h 10000"/>
                <a:gd name="connsiteX92" fmla="*/ 7175 w 10000"/>
                <a:gd name="connsiteY92" fmla="*/ 7768 h 10000"/>
                <a:gd name="connsiteX93" fmla="*/ 7304 w 10000"/>
                <a:gd name="connsiteY93" fmla="*/ 7624 h 10000"/>
                <a:gd name="connsiteX94" fmla="*/ 7429 w 10000"/>
                <a:gd name="connsiteY94" fmla="*/ 7480 h 10000"/>
                <a:gd name="connsiteX95" fmla="*/ 7552 w 10000"/>
                <a:gd name="connsiteY95" fmla="*/ 7329 h 10000"/>
                <a:gd name="connsiteX96" fmla="*/ 7673 w 10000"/>
                <a:gd name="connsiteY96" fmla="*/ 7178 h 10000"/>
                <a:gd name="connsiteX97" fmla="*/ 7792 w 10000"/>
                <a:gd name="connsiteY97" fmla="*/ 7024 h 10000"/>
                <a:gd name="connsiteX98" fmla="*/ 7907 w 10000"/>
                <a:gd name="connsiteY98" fmla="*/ 6861 h 10000"/>
                <a:gd name="connsiteX99" fmla="*/ 8022 w 10000"/>
                <a:gd name="connsiteY99" fmla="*/ 6697 h 10000"/>
                <a:gd name="connsiteX100" fmla="*/ 8133 w 10000"/>
                <a:gd name="connsiteY100" fmla="*/ 6534 h 10000"/>
                <a:gd name="connsiteX101" fmla="*/ 8240 w 10000"/>
                <a:gd name="connsiteY101" fmla="*/ 6365 h 10000"/>
                <a:gd name="connsiteX102" fmla="*/ 8347 w 10000"/>
                <a:gd name="connsiteY102" fmla="*/ 6189 h 10000"/>
                <a:gd name="connsiteX103" fmla="*/ 8450 w 10000"/>
                <a:gd name="connsiteY103" fmla="*/ 6016 h 10000"/>
                <a:gd name="connsiteX104" fmla="*/ 8552 w 10000"/>
                <a:gd name="connsiteY104" fmla="*/ 5835 h 10000"/>
                <a:gd name="connsiteX105" fmla="*/ 8650 w 10000"/>
                <a:gd name="connsiteY105" fmla="*/ 5652 h 10000"/>
                <a:gd name="connsiteX106" fmla="*/ 8745 w 10000"/>
                <a:gd name="connsiteY106" fmla="*/ 5468 h 10000"/>
                <a:gd name="connsiteX107" fmla="*/ 8837 w 10000"/>
                <a:gd name="connsiteY107" fmla="*/ 5278 h 10000"/>
                <a:gd name="connsiteX108" fmla="*/ 8927 w 10000"/>
                <a:gd name="connsiteY108" fmla="*/ 5089 h 10000"/>
                <a:gd name="connsiteX109" fmla="*/ 9014 w 10000"/>
                <a:gd name="connsiteY109" fmla="*/ 4893 h 10000"/>
                <a:gd name="connsiteX110" fmla="*/ 9098 w 10000"/>
                <a:gd name="connsiteY110" fmla="*/ 4698 h 10000"/>
                <a:gd name="connsiteX111" fmla="*/ 9178 w 10000"/>
                <a:gd name="connsiteY111" fmla="*/ 4500 h 10000"/>
                <a:gd name="connsiteX112" fmla="*/ 9256 w 10000"/>
                <a:gd name="connsiteY112" fmla="*/ 4294 h 10000"/>
                <a:gd name="connsiteX113" fmla="*/ 9330 w 10000"/>
                <a:gd name="connsiteY113" fmla="*/ 4091 h 10000"/>
                <a:gd name="connsiteX114" fmla="*/ 9401 w 10000"/>
                <a:gd name="connsiteY114" fmla="*/ 3885 h 10000"/>
                <a:gd name="connsiteX115" fmla="*/ 9470 w 10000"/>
                <a:gd name="connsiteY115" fmla="*/ 3674 h 10000"/>
                <a:gd name="connsiteX116" fmla="*/ 9535 w 10000"/>
                <a:gd name="connsiteY116" fmla="*/ 3464 h 10000"/>
                <a:gd name="connsiteX117" fmla="*/ 9599 w 10000"/>
                <a:gd name="connsiteY117" fmla="*/ 3248 h 10000"/>
                <a:gd name="connsiteX118" fmla="*/ 9656 w 10000"/>
                <a:gd name="connsiteY118" fmla="*/ 3030 h 10000"/>
                <a:gd name="connsiteX119" fmla="*/ 9711 w 10000"/>
                <a:gd name="connsiteY119" fmla="*/ 2815 h 10000"/>
                <a:gd name="connsiteX120" fmla="*/ 9763 w 10000"/>
                <a:gd name="connsiteY120" fmla="*/ 2592 h 10000"/>
                <a:gd name="connsiteX121" fmla="*/ 9813 w 10000"/>
                <a:gd name="connsiteY121" fmla="*/ 2369 h 10000"/>
                <a:gd name="connsiteX122" fmla="*/ 9856 w 10000"/>
                <a:gd name="connsiteY122" fmla="*/ 2143 h 10000"/>
                <a:gd name="connsiteX123" fmla="*/ 9898 w 10000"/>
                <a:gd name="connsiteY123" fmla="*/ 1918 h 10000"/>
                <a:gd name="connsiteX124" fmla="*/ 9936 w 10000"/>
                <a:gd name="connsiteY124" fmla="*/ 1690 h 10000"/>
                <a:gd name="connsiteX125" fmla="*/ 9970 w 10000"/>
                <a:gd name="connsiteY125" fmla="*/ 1457 h 10000"/>
                <a:gd name="connsiteX126" fmla="*/ 10000 w 10000"/>
                <a:gd name="connsiteY126" fmla="*/ 1222 h 10000"/>
                <a:gd name="connsiteX127" fmla="*/ 7611 w 10000"/>
                <a:gd name="connsiteY127" fmla="*/ 1876 h 10000"/>
                <a:gd name="connsiteX128" fmla="*/ 5615 w 10000"/>
                <a:gd name="connsiteY128" fmla="*/ 0 h 10000"/>
                <a:gd name="connsiteX0" fmla="*/ 5615 w 10000"/>
                <a:gd name="connsiteY0" fmla="*/ 0 h 10000"/>
                <a:gd name="connsiteX1" fmla="*/ 5615 w 10000"/>
                <a:gd name="connsiteY1" fmla="*/ 0 h 10000"/>
                <a:gd name="connsiteX2" fmla="*/ 5606 w 10000"/>
                <a:gd name="connsiteY2" fmla="*/ 99 h 10000"/>
                <a:gd name="connsiteX3" fmla="*/ 5592 w 10000"/>
                <a:gd name="connsiteY3" fmla="*/ 201 h 10000"/>
                <a:gd name="connsiteX4" fmla="*/ 5580 w 10000"/>
                <a:gd name="connsiteY4" fmla="*/ 300 h 10000"/>
                <a:gd name="connsiteX5" fmla="*/ 5565 w 10000"/>
                <a:gd name="connsiteY5" fmla="*/ 394 h 10000"/>
                <a:gd name="connsiteX6" fmla="*/ 5547 w 10000"/>
                <a:gd name="connsiteY6" fmla="*/ 491 h 10000"/>
                <a:gd name="connsiteX7" fmla="*/ 5528 w 10000"/>
                <a:gd name="connsiteY7" fmla="*/ 587 h 10000"/>
                <a:gd name="connsiteX8" fmla="*/ 5508 w 10000"/>
                <a:gd name="connsiteY8" fmla="*/ 684 h 10000"/>
                <a:gd name="connsiteX9" fmla="*/ 5487 w 10000"/>
                <a:gd name="connsiteY9" fmla="*/ 778 h 10000"/>
                <a:gd name="connsiteX10" fmla="*/ 5465 w 10000"/>
                <a:gd name="connsiteY10" fmla="*/ 870 h 10000"/>
                <a:gd name="connsiteX11" fmla="*/ 5439 w 10000"/>
                <a:gd name="connsiteY11" fmla="*/ 961 h 10000"/>
                <a:gd name="connsiteX12" fmla="*/ 5415 w 10000"/>
                <a:gd name="connsiteY12" fmla="*/ 1053 h 10000"/>
                <a:gd name="connsiteX13" fmla="*/ 5387 w 10000"/>
                <a:gd name="connsiteY13" fmla="*/ 1145 h 10000"/>
                <a:gd name="connsiteX14" fmla="*/ 5358 w 10000"/>
                <a:gd name="connsiteY14" fmla="*/ 1231 h 10000"/>
                <a:gd name="connsiteX15" fmla="*/ 5328 w 10000"/>
                <a:gd name="connsiteY15" fmla="*/ 1318 h 10000"/>
                <a:gd name="connsiteX16" fmla="*/ 5298 w 10000"/>
                <a:gd name="connsiteY16" fmla="*/ 1405 h 10000"/>
                <a:gd name="connsiteX17" fmla="*/ 5266 w 10000"/>
                <a:gd name="connsiteY17" fmla="*/ 1494 h 10000"/>
                <a:gd name="connsiteX18" fmla="*/ 5232 w 10000"/>
                <a:gd name="connsiteY18" fmla="*/ 1578 h 10000"/>
                <a:gd name="connsiteX19" fmla="*/ 5196 w 10000"/>
                <a:gd name="connsiteY19" fmla="*/ 1663 h 10000"/>
                <a:gd name="connsiteX20" fmla="*/ 5160 w 10000"/>
                <a:gd name="connsiteY20" fmla="*/ 1742 h 10000"/>
                <a:gd name="connsiteX21" fmla="*/ 5121 w 10000"/>
                <a:gd name="connsiteY21" fmla="*/ 1824 h 10000"/>
                <a:gd name="connsiteX22" fmla="*/ 5082 w 10000"/>
                <a:gd name="connsiteY22" fmla="*/ 1903 h 10000"/>
                <a:gd name="connsiteX23" fmla="*/ 5043 w 10000"/>
                <a:gd name="connsiteY23" fmla="*/ 1985 h 10000"/>
                <a:gd name="connsiteX24" fmla="*/ 5002 w 10000"/>
                <a:gd name="connsiteY24" fmla="*/ 2059 h 10000"/>
                <a:gd name="connsiteX25" fmla="*/ 4959 w 10000"/>
                <a:gd name="connsiteY25" fmla="*/ 2133 h 10000"/>
                <a:gd name="connsiteX26" fmla="*/ 4914 w 10000"/>
                <a:gd name="connsiteY26" fmla="*/ 2210 h 10000"/>
                <a:gd name="connsiteX27" fmla="*/ 4870 w 10000"/>
                <a:gd name="connsiteY27" fmla="*/ 2282 h 10000"/>
                <a:gd name="connsiteX28" fmla="*/ 4823 w 10000"/>
                <a:gd name="connsiteY28" fmla="*/ 2354 h 10000"/>
                <a:gd name="connsiteX29" fmla="*/ 4777 w 10000"/>
                <a:gd name="connsiteY29" fmla="*/ 2426 h 10000"/>
                <a:gd name="connsiteX30" fmla="*/ 4729 w 10000"/>
                <a:gd name="connsiteY30" fmla="*/ 2495 h 10000"/>
                <a:gd name="connsiteX31" fmla="*/ 4679 w 10000"/>
                <a:gd name="connsiteY31" fmla="*/ 2562 h 10000"/>
                <a:gd name="connsiteX32" fmla="*/ 4629 w 10000"/>
                <a:gd name="connsiteY32" fmla="*/ 2626 h 10000"/>
                <a:gd name="connsiteX33" fmla="*/ 4577 w 10000"/>
                <a:gd name="connsiteY33" fmla="*/ 2691 h 10000"/>
                <a:gd name="connsiteX34" fmla="*/ 4526 w 10000"/>
                <a:gd name="connsiteY34" fmla="*/ 2753 h 10000"/>
                <a:gd name="connsiteX35" fmla="*/ 4470 w 10000"/>
                <a:gd name="connsiteY35" fmla="*/ 2817 h 10000"/>
                <a:gd name="connsiteX36" fmla="*/ 4417 w 10000"/>
                <a:gd name="connsiteY36" fmla="*/ 2874 h 10000"/>
                <a:gd name="connsiteX37" fmla="*/ 4362 w 10000"/>
                <a:gd name="connsiteY37" fmla="*/ 2934 h 10000"/>
                <a:gd name="connsiteX38" fmla="*/ 4305 w 10000"/>
                <a:gd name="connsiteY38" fmla="*/ 2988 h 10000"/>
                <a:gd name="connsiteX39" fmla="*/ 4248 w 10000"/>
                <a:gd name="connsiteY39" fmla="*/ 3043 h 10000"/>
                <a:gd name="connsiteX40" fmla="*/ 4190 w 10000"/>
                <a:gd name="connsiteY40" fmla="*/ 3097 h 10000"/>
                <a:gd name="connsiteX41" fmla="*/ 4132 w 10000"/>
                <a:gd name="connsiteY41" fmla="*/ 3149 h 10000"/>
                <a:gd name="connsiteX42" fmla="*/ 4071 w 10000"/>
                <a:gd name="connsiteY42" fmla="*/ 3196 h 10000"/>
                <a:gd name="connsiteX43" fmla="*/ 4010 w 10000"/>
                <a:gd name="connsiteY43" fmla="*/ 3243 h 10000"/>
                <a:gd name="connsiteX44" fmla="*/ 0 w 10000"/>
                <a:gd name="connsiteY44" fmla="*/ 6085 h 10000"/>
                <a:gd name="connsiteX45" fmla="*/ 209 w 10000"/>
                <a:gd name="connsiteY45" fmla="*/ 9512 h 10000"/>
                <a:gd name="connsiteX46" fmla="*/ 344 w 10000"/>
                <a:gd name="connsiteY46" fmla="*/ 9569 h 10000"/>
                <a:gd name="connsiteX47" fmla="*/ 481 w 10000"/>
                <a:gd name="connsiteY47" fmla="*/ 9623 h 10000"/>
                <a:gd name="connsiteX48" fmla="*/ 621 w 10000"/>
                <a:gd name="connsiteY48" fmla="*/ 9673 h 10000"/>
                <a:gd name="connsiteX49" fmla="*/ 758 w 10000"/>
                <a:gd name="connsiteY49" fmla="*/ 9720 h 10000"/>
                <a:gd name="connsiteX50" fmla="*/ 899 w 10000"/>
                <a:gd name="connsiteY50" fmla="*/ 9765 h 10000"/>
                <a:gd name="connsiteX51" fmla="*/ 1040 w 10000"/>
                <a:gd name="connsiteY51" fmla="*/ 9804 h 10000"/>
                <a:gd name="connsiteX52" fmla="*/ 1182 w 10000"/>
                <a:gd name="connsiteY52" fmla="*/ 9839 h 10000"/>
                <a:gd name="connsiteX53" fmla="*/ 1325 w 10000"/>
                <a:gd name="connsiteY53" fmla="*/ 9874 h 10000"/>
                <a:gd name="connsiteX54" fmla="*/ 1471 w 10000"/>
                <a:gd name="connsiteY54" fmla="*/ 9903 h 10000"/>
                <a:gd name="connsiteX55" fmla="*/ 1614 w 10000"/>
                <a:gd name="connsiteY55" fmla="*/ 9926 h 10000"/>
                <a:gd name="connsiteX56" fmla="*/ 1760 w 10000"/>
                <a:gd name="connsiteY56" fmla="*/ 9948 h 10000"/>
                <a:gd name="connsiteX57" fmla="*/ 1906 w 10000"/>
                <a:gd name="connsiteY57" fmla="*/ 9965 h 10000"/>
                <a:gd name="connsiteX58" fmla="*/ 2052 w 10000"/>
                <a:gd name="connsiteY58" fmla="*/ 9980 h 10000"/>
                <a:gd name="connsiteX59" fmla="*/ 2202 w 10000"/>
                <a:gd name="connsiteY59" fmla="*/ 9990 h 10000"/>
                <a:gd name="connsiteX60" fmla="*/ 2350 w 10000"/>
                <a:gd name="connsiteY60" fmla="*/ 9995 h 10000"/>
                <a:gd name="connsiteX61" fmla="*/ 2498 w 10000"/>
                <a:gd name="connsiteY61" fmla="*/ 10000 h 10000"/>
                <a:gd name="connsiteX62" fmla="*/ 2677 w 10000"/>
                <a:gd name="connsiteY62" fmla="*/ 9995 h 10000"/>
                <a:gd name="connsiteX63" fmla="*/ 2850 w 10000"/>
                <a:gd name="connsiteY63" fmla="*/ 9988 h 10000"/>
                <a:gd name="connsiteX64" fmla="*/ 3024 w 10000"/>
                <a:gd name="connsiteY64" fmla="*/ 9975 h 10000"/>
                <a:gd name="connsiteX65" fmla="*/ 3195 w 10000"/>
                <a:gd name="connsiteY65" fmla="*/ 9953 h 10000"/>
                <a:gd name="connsiteX66" fmla="*/ 3368 w 10000"/>
                <a:gd name="connsiteY66" fmla="*/ 9931 h 10000"/>
                <a:gd name="connsiteX67" fmla="*/ 3538 w 10000"/>
                <a:gd name="connsiteY67" fmla="*/ 9898 h 10000"/>
                <a:gd name="connsiteX68" fmla="*/ 3709 w 10000"/>
                <a:gd name="connsiteY68" fmla="*/ 9866 h 10000"/>
                <a:gd name="connsiteX69" fmla="*/ 3877 w 10000"/>
                <a:gd name="connsiteY69" fmla="*/ 9824 h 10000"/>
                <a:gd name="connsiteX70" fmla="*/ 4042 w 10000"/>
                <a:gd name="connsiteY70" fmla="*/ 9779 h 10000"/>
                <a:gd name="connsiteX71" fmla="*/ 4210 w 10000"/>
                <a:gd name="connsiteY71" fmla="*/ 9730 h 10000"/>
                <a:gd name="connsiteX72" fmla="*/ 4372 w 10000"/>
                <a:gd name="connsiteY72" fmla="*/ 9673 h 10000"/>
                <a:gd name="connsiteX73" fmla="*/ 4536 w 10000"/>
                <a:gd name="connsiteY73" fmla="*/ 9616 h 10000"/>
                <a:gd name="connsiteX74" fmla="*/ 4697 w 10000"/>
                <a:gd name="connsiteY74" fmla="*/ 9552 h 10000"/>
                <a:gd name="connsiteX75" fmla="*/ 4857 w 10000"/>
                <a:gd name="connsiteY75" fmla="*/ 9482 h 10000"/>
                <a:gd name="connsiteX76" fmla="*/ 5014 w 10000"/>
                <a:gd name="connsiteY76" fmla="*/ 9405 h 10000"/>
                <a:gd name="connsiteX77" fmla="*/ 5171 w 10000"/>
                <a:gd name="connsiteY77" fmla="*/ 9329 h 10000"/>
                <a:gd name="connsiteX78" fmla="*/ 5326 w 10000"/>
                <a:gd name="connsiteY78" fmla="*/ 9244 h 10000"/>
                <a:gd name="connsiteX79" fmla="*/ 5480 w 10000"/>
                <a:gd name="connsiteY79" fmla="*/ 9158 h 10000"/>
                <a:gd name="connsiteX80" fmla="*/ 5631 w 10000"/>
                <a:gd name="connsiteY80" fmla="*/ 9063 h 10000"/>
                <a:gd name="connsiteX81" fmla="*/ 5781 w 10000"/>
                <a:gd name="connsiteY81" fmla="*/ 8967 h 10000"/>
                <a:gd name="connsiteX82" fmla="*/ 5931 w 10000"/>
                <a:gd name="connsiteY82" fmla="*/ 8865 h 10000"/>
                <a:gd name="connsiteX83" fmla="*/ 6075 w 10000"/>
                <a:gd name="connsiteY83" fmla="*/ 8759 h 10000"/>
                <a:gd name="connsiteX84" fmla="*/ 6221 w 10000"/>
                <a:gd name="connsiteY84" fmla="*/ 8652 h 10000"/>
                <a:gd name="connsiteX85" fmla="*/ 6364 w 10000"/>
                <a:gd name="connsiteY85" fmla="*/ 8536 h 10000"/>
                <a:gd name="connsiteX86" fmla="*/ 6505 w 10000"/>
                <a:gd name="connsiteY86" fmla="*/ 8417 h 10000"/>
                <a:gd name="connsiteX87" fmla="*/ 6642 w 10000"/>
                <a:gd name="connsiteY87" fmla="*/ 8295 h 10000"/>
                <a:gd name="connsiteX88" fmla="*/ 6780 w 10000"/>
                <a:gd name="connsiteY88" fmla="*/ 8169 h 10000"/>
                <a:gd name="connsiteX89" fmla="*/ 6913 w 10000"/>
                <a:gd name="connsiteY89" fmla="*/ 8040 h 10000"/>
                <a:gd name="connsiteX90" fmla="*/ 7045 w 10000"/>
                <a:gd name="connsiteY90" fmla="*/ 7904 h 10000"/>
                <a:gd name="connsiteX91" fmla="*/ 7175 w 10000"/>
                <a:gd name="connsiteY91" fmla="*/ 7768 h 10000"/>
                <a:gd name="connsiteX92" fmla="*/ 7304 w 10000"/>
                <a:gd name="connsiteY92" fmla="*/ 7624 h 10000"/>
                <a:gd name="connsiteX93" fmla="*/ 7429 w 10000"/>
                <a:gd name="connsiteY93" fmla="*/ 7480 h 10000"/>
                <a:gd name="connsiteX94" fmla="*/ 7552 w 10000"/>
                <a:gd name="connsiteY94" fmla="*/ 7329 h 10000"/>
                <a:gd name="connsiteX95" fmla="*/ 7673 w 10000"/>
                <a:gd name="connsiteY95" fmla="*/ 7178 h 10000"/>
                <a:gd name="connsiteX96" fmla="*/ 7792 w 10000"/>
                <a:gd name="connsiteY96" fmla="*/ 7024 h 10000"/>
                <a:gd name="connsiteX97" fmla="*/ 7907 w 10000"/>
                <a:gd name="connsiteY97" fmla="*/ 6861 h 10000"/>
                <a:gd name="connsiteX98" fmla="*/ 8022 w 10000"/>
                <a:gd name="connsiteY98" fmla="*/ 6697 h 10000"/>
                <a:gd name="connsiteX99" fmla="*/ 8133 w 10000"/>
                <a:gd name="connsiteY99" fmla="*/ 6534 h 10000"/>
                <a:gd name="connsiteX100" fmla="*/ 8240 w 10000"/>
                <a:gd name="connsiteY100" fmla="*/ 6365 h 10000"/>
                <a:gd name="connsiteX101" fmla="*/ 8347 w 10000"/>
                <a:gd name="connsiteY101" fmla="*/ 6189 h 10000"/>
                <a:gd name="connsiteX102" fmla="*/ 8450 w 10000"/>
                <a:gd name="connsiteY102" fmla="*/ 6016 h 10000"/>
                <a:gd name="connsiteX103" fmla="*/ 8552 w 10000"/>
                <a:gd name="connsiteY103" fmla="*/ 5835 h 10000"/>
                <a:gd name="connsiteX104" fmla="*/ 8650 w 10000"/>
                <a:gd name="connsiteY104" fmla="*/ 5652 h 10000"/>
                <a:gd name="connsiteX105" fmla="*/ 8745 w 10000"/>
                <a:gd name="connsiteY105" fmla="*/ 5468 h 10000"/>
                <a:gd name="connsiteX106" fmla="*/ 8837 w 10000"/>
                <a:gd name="connsiteY106" fmla="*/ 5278 h 10000"/>
                <a:gd name="connsiteX107" fmla="*/ 8927 w 10000"/>
                <a:gd name="connsiteY107" fmla="*/ 5089 h 10000"/>
                <a:gd name="connsiteX108" fmla="*/ 9014 w 10000"/>
                <a:gd name="connsiteY108" fmla="*/ 4893 h 10000"/>
                <a:gd name="connsiteX109" fmla="*/ 9098 w 10000"/>
                <a:gd name="connsiteY109" fmla="*/ 4698 h 10000"/>
                <a:gd name="connsiteX110" fmla="*/ 9178 w 10000"/>
                <a:gd name="connsiteY110" fmla="*/ 4500 h 10000"/>
                <a:gd name="connsiteX111" fmla="*/ 9256 w 10000"/>
                <a:gd name="connsiteY111" fmla="*/ 4294 h 10000"/>
                <a:gd name="connsiteX112" fmla="*/ 9330 w 10000"/>
                <a:gd name="connsiteY112" fmla="*/ 4091 h 10000"/>
                <a:gd name="connsiteX113" fmla="*/ 9401 w 10000"/>
                <a:gd name="connsiteY113" fmla="*/ 3885 h 10000"/>
                <a:gd name="connsiteX114" fmla="*/ 9470 w 10000"/>
                <a:gd name="connsiteY114" fmla="*/ 3674 h 10000"/>
                <a:gd name="connsiteX115" fmla="*/ 9535 w 10000"/>
                <a:gd name="connsiteY115" fmla="*/ 3464 h 10000"/>
                <a:gd name="connsiteX116" fmla="*/ 9599 w 10000"/>
                <a:gd name="connsiteY116" fmla="*/ 3248 h 10000"/>
                <a:gd name="connsiteX117" fmla="*/ 9656 w 10000"/>
                <a:gd name="connsiteY117" fmla="*/ 3030 h 10000"/>
                <a:gd name="connsiteX118" fmla="*/ 9711 w 10000"/>
                <a:gd name="connsiteY118" fmla="*/ 2815 h 10000"/>
                <a:gd name="connsiteX119" fmla="*/ 9763 w 10000"/>
                <a:gd name="connsiteY119" fmla="*/ 2592 h 10000"/>
                <a:gd name="connsiteX120" fmla="*/ 9813 w 10000"/>
                <a:gd name="connsiteY120" fmla="*/ 2369 h 10000"/>
                <a:gd name="connsiteX121" fmla="*/ 9856 w 10000"/>
                <a:gd name="connsiteY121" fmla="*/ 2143 h 10000"/>
                <a:gd name="connsiteX122" fmla="*/ 9898 w 10000"/>
                <a:gd name="connsiteY122" fmla="*/ 1918 h 10000"/>
                <a:gd name="connsiteX123" fmla="*/ 9936 w 10000"/>
                <a:gd name="connsiteY123" fmla="*/ 1690 h 10000"/>
                <a:gd name="connsiteX124" fmla="*/ 9970 w 10000"/>
                <a:gd name="connsiteY124" fmla="*/ 1457 h 10000"/>
                <a:gd name="connsiteX125" fmla="*/ 10000 w 10000"/>
                <a:gd name="connsiteY125" fmla="*/ 1222 h 10000"/>
                <a:gd name="connsiteX126" fmla="*/ 7611 w 10000"/>
                <a:gd name="connsiteY126" fmla="*/ 1876 h 10000"/>
                <a:gd name="connsiteX127" fmla="*/ 5615 w 10000"/>
                <a:gd name="connsiteY127" fmla="*/ 0 h 10000"/>
                <a:gd name="connsiteX0" fmla="*/ 5407 w 9792"/>
                <a:gd name="connsiteY0" fmla="*/ 0 h 10000"/>
                <a:gd name="connsiteX1" fmla="*/ 5407 w 9792"/>
                <a:gd name="connsiteY1" fmla="*/ 0 h 10000"/>
                <a:gd name="connsiteX2" fmla="*/ 5398 w 9792"/>
                <a:gd name="connsiteY2" fmla="*/ 99 h 10000"/>
                <a:gd name="connsiteX3" fmla="*/ 5384 w 9792"/>
                <a:gd name="connsiteY3" fmla="*/ 201 h 10000"/>
                <a:gd name="connsiteX4" fmla="*/ 5372 w 9792"/>
                <a:gd name="connsiteY4" fmla="*/ 300 h 10000"/>
                <a:gd name="connsiteX5" fmla="*/ 5357 w 9792"/>
                <a:gd name="connsiteY5" fmla="*/ 394 h 10000"/>
                <a:gd name="connsiteX6" fmla="*/ 5339 w 9792"/>
                <a:gd name="connsiteY6" fmla="*/ 491 h 10000"/>
                <a:gd name="connsiteX7" fmla="*/ 5320 w 9792"/>
                <a:gd name="connsiteY7" fmla="*/ 587 h 10000"/>
                <a:gd name="connsiteX8" fmla="*/ 5300 w 9792"/>
                <a:gd name="connsiteY8" fmla="*/ 684 h 10000"/>
                <a:gd name="connsiteX9" fmla="*/ 5279 w 9792"/>
                <a:gd name="connsiteY9" fmla="*/ 778 h 10000"/>
                <a:gd name="connsiteX10" fmla="*/ 5257 w 9792"/>
                <a:gd name="connsiteY10" fmla="*/ 870 h 10000"/>
                <a:gd name="connsiteX11" fmla="*/ 5231 w 9792"/>
                <a:gd name="connsiteY11" fmla="*/ 961 h 10000"/>
                <a:gd name="connsiteX12" fmla="*/ 5207 w 9792"/>
                <a:gd name="connsiteY12" fmla="*/ 1053 h 10000"/>
                <a:gd name="connsiteX13" fmla="*/ 5179 w 9792"/>
                <a:gd name="connsiteY13" fmla="*/ 1145 h 10000"/>
                <a:gd name="connsiteX14" fmla="*/ 5150 w 9792"/>
                <a:gd name="connsiteY14" fmla="*/ 1231 h 10000"/>
                <a:gd name="connsiteX15" fmla="*/ 5120 w 9792"/>
                <a:gd name="connsiteY15" fmla="*/ 1318 h 10000"/>
                <a:gd name="connsiteX16" fmla="*/ 5090 w 9792"/>
                <a:gd name="connsiteY16" fmla="*/ 1405 h 10000"/>
                <a:gd name="connsiteX17" fmla="*/ 5058 w 9792"/>
                <a:gd name="connsiteY17" fmla="*/ 1494 h 10000"/>
                <a:gd name="connsiteX18" fmla="*/ 5024 w 9792"/>
                <a:gd name="connsiteY18" fmla="*/ 1578 h 10000"/>
                <a:gd name="connsiteX19" fmla="*/ 4988 w 9792"/>
                <a:gd name="connsiteY19" fmla="*/ 1663 h 10000"/>
                <a:gd name="connsiteX20" fmla="*/ 4952 w 9792"/>
                <a:gd name="connsiteY20" fmla="*/ 1742 h 10000"/>
                <a:gd name="connsiteX21" fmla="*/ 4913 w 9792"/>
                <a:gd name="connsiteY21" fmla="*/ 1824 h 10000"/>
                <a:gd name="connsiteX22" fmla="*/ 4874 w 9792"/>
                <a:gd name="connsiteY22" fmla="*/ 1903 h 10000"/>
                <a:gd name="connsiteX23" fmla="*/ 4835 w 9792"/>
                <a:gd name="connsiteY23" fmla="*/ 1985 h 10000"/>
                <a:gd name="connsiteX24" fmla="*/ 4794 w 9792"/>
                <a:gd name="connsiteY24" fmla="*/ 2059 h 10000"/>
                <a:gd name="connsiteX25" fmla="*/ 4751 w 9792"/>
                <a:gd name="connsiteY25" fmla="*/ 2133 h 10000"/>
                <a:gd name="connsiteX26" fmla="*/ 4706 w 9792"/>
                <a:gd name="connsiteY26" fmla="*/ 2210 h 10000"/>
                <a:gd name="connsiteX27" fmla="*/ 4662 w 9792"/>
                <a:gd name="connsiteY27" fmla="*/ 2282 h 10000"/>
                <a:gd name="connsiteX28" fmla="*/ 4615 w 9792"/>
                <a:gd name="connsiteY28" fmla="*/ 2354 h 10000"/>
                <a:gd name="connsiteX29" fmla="*/ 4569 w 9792"/>
                <a:gd name="connsiteY29" fmla="*/ 2426 h 10000"/>
                <a:gd name="connsiteX30" fmla="*/ 4521 w 9792"/>
                <a:gd name="connsiteY30" fmla="*/ 2495 h 10000"/>
                <a:gd name="connsiteX31" fmla="*/ 4471 w 9792"/>
                <a:gd name="connsiteY31" fmla="*/ 2562 h 10000"/>
                <a:gd name="connsiteX32" fmla="*/ 4421 w 9792"/>
                <a:gd name="connsiteY32" fmla="*/ 2626 h 10000"/>
                <a:gd name="connsiteX33" fmla="*/ 4369 w 9792"/>
                <a:gd name="connsiteY33" fmla="*/ 2691 h 10000"/>
                <a:gd name="connsiteX34" fmla="*/ 4318 w 9792"/>
                <a:gd name="connsiteY34" fmla="*/ 2753 h 10000"/>
                <a:gd name="connsiteX35" fmla="*/ 4262 w 9792"/>
                <a:gd name="connsiteY35" fmla="*/ 2817 h 10000"/>
                <a:gd name="connsiteX36" fmla="*/ 4209 w 9792"/>
                <a:gd name="connsiteY36" fmla="*/ 2874 h 10000"/>
                <a:gd name="connsiteX37" fmla="*/ 4154 w 9792"/>
                <a:gd name="connsiteY37" fmla="*/ 2934 h 10000"/>
                <a:gd name="connsiteX38" fmla="*/ 4097 w 9792"/>
                <a:gd name="connsiteY38" fmla="*/ 2988 h 10000"/>
                <a:gd name="connsiteX39" fmla="*/ 4040 w 9792"/>
                <a:gd name="connsiteY39" fmla="*/ 3043 h 10000"/>
                <a:gd name="connsiteX40" fmla="*/ 3982 w 9792"/>
                <a:gd name="connsiteY40" fmla="*/ 3097 h 10000"/>
                <a:gd name="connsiteX41" fmla="*/ 3924 w 9792"/>
                <a:gd name="connsiteY41" fmla="*/ 3149 h 10000"/>
                <a:gd name="connsiteX42" fmla="*/ 3863 w 9792"/>
                <a:gd name="connsiteY42" fmla="*/ 3196 h 10000"/>
                <a:gd name="connsiteX43" fmla="*/ 3802 w 9792"/>
                <a:gd name="connsiteY43" fmla="*/ 3243 h 10000"/>
                <a:gd name="connsiteX44" fmla="*/ 3906 w 9792"/>
                <a:gd name="connsiteY44" fmla="*/ 6588 h 10000"/>
                <a:gd name="connsiteX45" fmla="*/ 1 w 9792"/>
                <a:gd name="connsiteY45" fmla="*/ 9512 h 10000"/>
                <a:gd name="connsiteX46" fmla="*/ 136 w 9792"/>
                <a:gd name="connsiteY46" fmla="*/ 9569 h 10000"/>
                <a:gd name="connsiteX47" fmla="*/ 273 w 9792"/>
                <a:gd name="connsiteY47" fmla="*/ 9623 h 10000"/>
                <a:gd name="connsiteX48" fmla="*/ 413 w 9792"/>
                <a:gd name="connsiteY48" fmla="*/ 9673 h 10000"/>
                <a:gd name="connsiteX49" fmla="*/ 550 w 9792"/>
                <a:gd name="connsiteY49" fmla="*/ 9720 h 10000"/>
                <a:gd name="connsiteX50" fmla="*/ 691 w 9792"/>
                <a:gd name="connsiteY50" fmla="*/ 9765 h 10000"/>
                <a:gd name="connsiteX51" fmla="*/ 832 w 9792"/>
                <a:gd name="connsiteY51" fmla="*/ 9804 h 10000"/>
                <a:gd name="connsiteX52" fmla="*/ 974 w 9792"/>
                <a:gd name="connsiteY52" fmla="*/ 9839 h 10000"/>
                <a:gd name="connsiteX53" fmla="*/ 1117 w 9792"/>
                <a:gd name="connsiteY53" fmla="*/ 9874 h 10000"/>
                <a:gd name="connsiteX54" fmla="*/ 1263 w 9792"/>
                <a:gd name="connsiteY54" fmla="*/ 9903 h 10000"/>
                <a:gd name="connsiteX55" fmla="*/ 1406 w 9792"/>
                <a:gd name="connsiteY55" fmla="*/ 9926 h 10000"/>
                <a:gd name="connsiteX56" fmla="*/ 1552 w 9792"/>
                <a:gd name="connsiteY56" fmla="*/ 9948 h 10000"/>
                <a:gd name="connsiteX57" fmla="*/ 1698 w 9792"/>
                <a:gd name="connsiteY57" fmla="*/ 9965 h 10000"/>
                <a:gd name="connsiteX58" fmla="*/ 1844 w 9792"/>
                <a:gd name="connsiteY58" fmla="*/ 9980 h 10000"/>
                <a:gd name="connsiteX59" fmla="*/ 1994 w 9792"/>
                <a:gd name="connsiteY59" fmla="*/ 9990 h 10000"/>
                <a:gd name="connsiteX60" fmla="*/ 2142 w 9792"/>
                <a:gd name="connsiteY60" fmla="*/ 9995 h 10000"/>
                <a:gd name="connsiteX61" fmla="*/ 2290 w 9792"/>
                <a:gd name="connsiteY61" fmla="*/ 10000 h 10000"/>
                <a:gd name="connsiteX62" fmla="*/ 2469 w 9792"/>
                <a:gd name="connsiteY62" fmla="*/ 9995 h 10000"/>
                <a:gd name="connsiteX63" fmla="*/ 2642 w 9792"/>
                <a:gd name="connsiteY63" fmla="*/ 9988 h 10000"/>
                <a:gd name="connsiteX64" fmla="*/ 2816 w 9792"/>
                <a:gd name="connsiteY64" fmla="*/ 9975 h 10000"/>
                <a:gd name="connsiteX65" fmla="*/ 2987 w 9792"/>
                <a:gd name="connsiteY65" fmla="*/ 9953 h 10000"/>
                <a:gd name="connsiteX66" fmla="*/ 3160 w 9792"/>
                <a:gd name="connsiteY66" fmla="*/ 9931 h 10000"/>
                <a:gd name="connsiteX67" fmla="*/ 3330 w 9792"/>
                <a:gd name="connsiteY67" fmla="*/ 9898 h 10000"/>
                <a:gd name="connsiteX68" fmla="*/ 3501 w 9792"/>
                <a:gd name="connsiteY68" fmla="*/ 9866 h 10000"/>
                <a:gd name="connsiteX69" fmla="*/ 3669 w 9792"/>
                <a:gd name="connsiteY69" fmla="*/ 9824 h 10000"/>
                <a:gd name="connsiteX70" fmla="*/ 3834 w 9792"/>
                <a:gd name="connsiteY70" fmla="*/ 9779 h 10000"/>
                <a:gd name="connsiteX71" fmla="*/ 4002 w 9792"/>
                <a:gd name="connsiteY71" fmla="*/ 9730 h 10000"/>
                <a:gd name="connsiteX72" fmla="*/ 4164 w 9792"/>
                <a:gd name="connsiteY72" fmla="*/ 9673 h 10000"/>
                <a:gd name="connsiteX73" fmla="*/ 4328 w 9792"/>
                <a:gd name="connsiteY73" fmla="*/ 9616 h 10000"/>
                <a:gd name="connsiteX74" fmla="*/ 4489 w 9792"/>
                <a:gd name="connsiteY74" fmla="*/ 9552 h 10000"/>
                <a:gd name="connsiteX75" fmla="*/ 4649 w 9792"/>
                <a:gd name="connsiteY75" fmla="*/ 9482 h 10000"/>
                <a:gd name="connsiteX76" fmla="*/ 4806 w 9792"/>
                <a:gd name="connsiteY76" fmla="*/ 9405 h 10000"/>
                <a:gd name="connsiteX77" fmla="*/ 4963 w 9792"/>
                <a:gd name="connsiteY77" fmla="*/ 9329 h 10000"/>
                <a:gd name="connsiteX78" fmla="*/ 5118 w 9792"/>
                <a:gd name="connsiteY78" fmla="*/ 9244 h 10000"/>
                <a:gd name="connsiteX79" fmla="*/ 5272 w 9792"/>
                <a:gd name="connsiteY79" fmla="*/ 9158 h 10000"/>
                <a:gd name="connsiteX80" fmla="*/ 5423 w 9792"/>
                <a:gd name="connsiteY80" fmla="*/ 9063 h 10000"/>
                <a:gd name="connsiteX81" fmla="*/ 5573 w 9792"/>
                <a:gd name="connsiteY81" fmla="*/ 8967 h 10000"/>
                <a:gd name="connsiteX82" fmla="*/ 5723 w 9792"/>
                <a:gd name="connsiteY82" fmla="*/ 8865 h 10000"/>
                <a:gd name="connsiteX83" fmla="*/ 5867 w 9792"/>
                <a:gd name="connsiteY83" fmla="*/ 8759 h 10000"/>
                <a:gd name="connsiteX84" fmla="*/ 6013 w 9792"/>
                <a:gd name="connsiteY84" fmla="*/ 8652 h 10000"/>
                <a:gd name="connsiteX85" fmla="*/ 6156 w 9792"/>
                <a:gd name="connsiteY85" fmla="*/ 8536 h 10000"/>
                <a:gd name="connsiteX86" fmla="*/ 6297 w 9792"/>
                <a:gd name="connsiteY86" fmla="*/ 8417 h 10000"/>
                <a:gd name="connsiteX87" fmla="*/ 6434 w 9792"/>
                <a:gd name="connsiteY87" fmla="*/ 8295 h 10000"/>
                <a:gd name="connsiteX88" fmla="*/ 6572 w 9792"/>
                <a:gd name="connsiteY88" fmla="*/ 8169 h 10000"/>
                <a:gd name="connsiteX89" fmla="*/ 6705 w 9792"/>
                <a:gd name="connsiteY89" fmla="*/ 8040 h 10000"/>
                <a:gd name="connsiteX90" fmla="*/ 6837 w 9792"/>
                <a:gd name="connsiteY90" fmla="*/ 7904 h 10000"/>
                <a:gd name="connsiteX91" fmla="*/ 6967 w 9792"/>
                <a:gd name="connsiteY91" fmla="*/ 7768 h 10000"/>
                <a:gd name="connsiteX92" fmla="*/ 7096 w 9792"/>
                <a:gd name="connsiteY92" fmla="*/ 7624 h 10000"/>
                <a:gd name="connsiteX93" fmla="*/ 7221 w 9792"/>
                <a:gd name="connsiteY93" fmla="*/ 7480 h 10000"/>
                <a:gd name="connsiteX94" fmla="*/ 7344 w 9792"/>
                <a:gd name="connsiteY94" fmla="*/ 7329 h 10000"/>
                <a:gd name="connsiteX95" fmla="*/ 7465 w 9792"/>
                <a:gd name="connsiteY95" fmla="*/ 7178 h 10000"/>
                <a:gd name="connsiteX96" fmla="*/ 7584 w 9792"/>
                <a:gd name="connsiteY96" fmla="*/ 7024 h 10000"/>
                <a:gd name="connsiteX97" fmla="*/ 7699 w 9792"/>
                <a:gd name="connsiteY97" fmla="*/ 6861 h 10000"/>
                <a:gd name="connsiteX98" fmla="*/ 7814 w 9792"/>
                <a:gd name="connsiteY98" fmla="*/ 6697 h 10000"/>
                <a:gd name="connsiteX99" fmla="*/ 7925 w 9792"/>
                <a:gd name="connsiteY99" fmla="*/ 6534 h 10000"/>
                <a:gd name="connsiteX100" fmla="*/ 8032 w 9792"/>
                <a:gd name="connsiteY100" fmla="*/ 6365 h 10000"/>
                <a:gd name="connsiteX101" fmla="*/ 8139 w 9792"/>
                <a:gd name="connsiteY101" fmla="*/ 6189 h 10000"/>
                <a:gd name="connsiteX102" fmla="*/ 8242 w 9792"/>
                <a:gd name="connsiteY102" fmla="*/ 6016 h 10000"/>
                <a:gd name="connsiteX103" fmla="*/ 8344 w 9792"/>
                <a:gd name="connsiteY103" fmla="*/ 5835 h 10000"/>
                <a:gd name="connsiteX104" fmla="*/ 8442 w 9792"/>
                <a:gd name="connsiteY104" fmla="*/ 5652 h 10000"/>
                <a:gd name="connsiteX105" fmla="*/ 8537 w 9792"/>
                <a:gd name="connsiteY105" fmla="*/ 5468 h 10000"/>
                <a:gd name="connsiteX106" fmla="*/ 8629 w 9792"/>
                <a:gd name="connsiteY106" fmla="*/ 5278 h 10000"/>
                <a:gd name="connsiteX107" fmla="*/ 8719 w 9792"/>
                <a:gd name="connsiteY107" fmla="*/ 5089 h 10000"/>
                <a:gd name="connsiteX108" fmla="*/ 8806 w 9792"/>
                <a:gd name="connsiteY108" fmla="*/ 4893 h 10000"/>
                <a:gd name="connsiteX109" fmla="*/ 8890 w 9792"/>
                <a:gd name="connsiteY109" fmla="*/ 4698 h 10000"/>
                <a:gd name="connsiteX110" fmla="*/ 8970 w 9792"/>
                <a:gd name="connsiteY110" fmla="*/ 4500 h 10000"/>
                <a:gd name="connsiteX111" fmla="*/ 9048 w 9792"/>
                <a:gd name="connsiteY111" fmla="*/ 4294 h 10000"/>
                <a:gd name="connsiteX112" fmla="*/ 9122 w 9792"/>
                <a:gd name="connsiteY112" fmla="*/ 4091 h 10000"/>
                <a:gd name="connsiteX113" fmla="*/ 9193 w 9792"/>
                <a:gd name="connsiteY113" fmla="*/ 3885 h 10000"/>
                <a:gd name="connsiteX114" fmla="*/ 9262 w 9792"/>
                <a:gd name="connsiteY114" fmla="*/ 3674 h 10000"/>
                <a:gd name="connsiteX115" fmla="*/ 9327 w 9792"/>
                <a:gd name="connsiteY115" fmla="*/ 3464 h 10000"/>
                <a:gd name="connsiteX116" fmla="*/ 9391 w 9792"/>
                <a:gd name="connsiteY116" fmla="*/ 3248 h 10000"/>
                <a:gd name="connsiteX117" fmla="*/ 9448 w 9792"/>
                <a:gd name="connsiteY117" fmla="*/ 3030 h 10000"/>
                <a:gd name="connsiteX118" fmla="*/ 9503 w 9792"/>
                <a:gd name="connsiteY118" fmla="*/ 2815 h 10000"/>
                <a:gd name="connsiteX119" fmla="*/ 9555 w 9792"/>
                <a:gd name="connsiteY119" fmla="*/ 2592 h 10000"/>
                <a:gd name="connsiteX120" fmla="*/ 9605 w 9792"/>
                <a:gd name="connsiteY120" fmla="*/ 2369 h 10000"/>
                <a:gd name="connsiteX121" fmla="*/ 9648 w 9792"/>
                <a:gd name="connsiteY121" fmla="*/ 2143 h 10000"/>
                <a:gd name="connsiteX122" fmla="*/ 9690 w 9792"/>
                <a:gd name="connsiteY122" fmla="*/ 1918 h 10000"/>
                <a:gd name="connsiteX123" fmla="*/ 9728 w 9792"/>
                <a:gd name="connsiteY123" fmla="*/ 1690 h 10000"/>
                <a:gd name="connsiteX124" fmla="*/ 9762 w 9792"/>
                <a:gd name="connsiteY124" fmla="*/ 1457 h 10000"/>
                <a:gd name="connsiteX125" fmla="*/ 9792 w 9792"/>
                <a:gd name="connsiteY125" fmla="*/ 1222 h 10000"/>
                <a:gd name="connsiteX126" fmla="*/ 7403 w 9792"/>
                <a:gd name="connsiteY126" fmla="*/ 1876 h 10000"/>
                <a:gd name="connsiteX127" fmla="*/ 5407 w 9792"/>
                <a:gd name="connsiteY127" fmla="*/ 0 h 10000"/>
                <a:gd name="connsiteX0" fmla="*/ 5522 w 10000"/>
                <a:gd name="connsiteY0" fmla="*/ 0 h 10000"/>
                <a:gd name="connsiteX1" fmla="*/ 5522 w 10000"/>
                <a:gd name="connsiteY1" fmla="*/ 0 h 10000"/>
                <a:gd name="connsiteX2" fmla="*/ 5513 w 10000"/>
                <a:gd name="connsiteY2" fmla="*/ 99 h 10000"/>
                <a:gd name="connsiteX3" fmla="*/ 5498 w 10000"/>
                <a:gd name="connsiteY3" fmla="*/ 201 h 10000"/>
                <a:gd name="connsiteX4" fmla="*/ 5486 w 10000"/>
                <a:gd name="connsiteY4" fmla="*/ 300 h 10000"/>
                <a:gd name="connsiteX5" fmla="*/ 5471 w 10000"/>
                <a:gd name="connsiteY5" fmla="*/ 394 h 10000"/>
                <a:gd name="connsiteX6" fmla="*/ 5452 w 10000"/>
                <a:gd name="connsiteY6" fmla="*/ 491 h 10000"/>
                <a:gd name="connsiteX7" fmla="*/ 5433 w 10000"/>
                <a:gd name="connsiteY7" fmla="*/ 587 h 10000"/>
                <a:gd name="connsiteX8" fmla="*/ 5413 w 10000"/>
                <a:gd name="connsiteY8" fmla="*/ 684 h 10000"/>
                <a:gd name="connsiteX9" fmla="*/ 5391 w 10000"/>
                <a:gd name="connsiteY9" fmla="*/ 778 h 10000"/>
                <a:gd name="connsiteX10" fmla="*/ 5369 w 10000"/>
                <a:gd name="connsiteY10" fmla="*/ 870 h 10000"/>
                <a:gd name="connsiteX11" fmla="*/ 5342 w 10000"/>
                <a:gd name="connsiteY11" fmla="*/ 961 h 10000"/>
                <a:gd name="connsiteX12" fmla="*/ 5318 w 10000"/>
                <a:gd name="connsiteY12" fmla="*/ 1053 h 10000"/>
                <a:gd name="connsiteX13" fmla="*/ 5289 w 10000"/>
                <a:gd name="connsiteY13" fmla="*/ 1145 h 10000"/>
                <a:gd name="connsiteX14" fmla="*/ 5259 w 10000"/>
                <a:gd name="connsiteY14" fmla="*/ 1231 h 10000"/>
                <a:gd name="connsiteX15" fmla="*/ 5229 w 10000"/>
                <a:gd name="connsiteY15" fmla="*/ 1318 h 10000"/>
                <a:gd name="connsiteX16" fmla="*/ 5198 w 10000"/>
                <a:gd name="connsiteY16" fmla="*/ 1405 h 10000"/>
                <a:gd name="connsiteX17" fmla="*/ 5165 w 10000"/>
                <a:gd name="connsiteY17" fmla="*/ 1494 h 10000"/>
                <a:gd name="connsiteX18" fmla="*/ 5131 w 10000"/>
                <a:gd name="connsiteY18" fmla="*/ 1578 h 10000"/>
                <a:gd name="connsiteX19" fmla="*/ 5094 w 10000"/>
                <a:gd name="connsiteY19" fmla="*/ 1663 h 10000"/>
                <a:gd name="connsiteX20" fmla="*/ 5057 w 10000"/>
                <a:gd name="connsiteY20" fmla="*/ 1742 h 10000"/>
                <a:gd name="connsiteX21" fmla="*/ 5017 w 10000"/>
                <a:gd name="connsiteY21" fmla="*/ 1824 h 10000"/>
                <a:gd name="connsiteX22" fmla="*/ 4978 w 10000"/>
                <a:gd name="connsiteY22" fmla="*/ 1903 h 10000"/>
                <a:gd name="connsiteX23" fmla="*/ 4938 w 10000"/>
                <a:gd name="connsiteY23" fmla="*/ 1985 h 10000"/>
                <a:gd name="connsiteX24" fmla="*/ 4896 w 10000"/>
                <a:gd name="connsiteY24" fmla="*/ 2059 h 10000"/>
                <a:gd name="connsiteX25" fmla="*/ 4852 w 10000"/>
                <a:gd name="connsiteY25" fmla="*/ 2133 h 10000"/>
                <a:gd name="connsiteX26" fmla="*/ 4806 w 10000"/>
                <a:gd name="connsiteY26" fmla="*/ 2210 h 10000"/>
                <a:gd name="connsiteX27" fmla="*/ 4761 w 10000"/>
                <a:gd name="connsiteY27" fmla="*/ 2282 h 10000"/>
                <a:gd name="connsiteX28" fmla="*/ 4713 w 10000"/>
                <a:gd name="connsiteY28" fmla="*/ 2354 h 10000"/>
                <a:gd name="connsiteX29" fmla="*/ 4666 w 10000"/>
                <a:gd name="connsiteY29" fmla="*/ 2426 h 10000"/>
                <a:gd name="connsiteX30" fmla="*/ 4617 w 10000"/>
                <a:gd name="connsiteY30" fmla="*/ 2495 h 10000"/>
                <a:gd name="connsiteX31" fmla="*/ 4566 w 10000"/>
                <a:gd name="connsiteY31" fmla="*/ 2562 h 10000"/>
                <a:gd name="connsiteX32" fmla="*/ 4515 w 10000"/>
                <a:gd name="connsiteY32" fmla="*/ 2626 h 10000"/>
                <a:gd name="connsiteX33" fmla="*/ 4462 w 10000"/>
                <a:gd name="connsiteY33" fmla="*/ 2691 h 10000"/>
                <a:gd name="connsiteX34" fmla="*/ 4410 w 10000"/>
                <a:gd name="connsiteY34" fmla="*/ 2753 h 10000"/>
                <a:gd name="connsiteX35" fmla="*/ 4353 w 10000"/>
                <a:gd name="connsiteY35" fmla="*/ 2817 h 10000"/>
                <a:gd name="connsiteX36" fmla="*/ 4298 w 10000"/>
                <a:gd name="connsiteY36" fmla="*/ 2874 h 10000"/>
                <a:gd name="connsiteX37" fmla="*/ 4242 w 10000"/>
                <a:gd name="connsiteY37" fmla="*/ 2934 h 10000"/>
                <a:gd name="connsiteX38" fmla="*/ 4184 w 10000"/>
                <a:gd name="connsiteY38" fmla="*/ 2988 h 10000"/>
                <a:gd name="connsiteX39" fmla="*/ 4126 w 10000"/>
                <a:gd name="connsiteY39" fmla="*/ 3043 h 10000"/>
                <a:gd name="connsiteX40" fmla="*/ 4067 w 10000"/>
                <a:gd name="connsiteY40" fmla="*/ 3097 h 10000"/>
                <a:gd name="connsiteX41" fmla="*/ 4007 w 10000"/>
                <a:gd name="connsiteY41" fmla="*/ 3149 h 10000"/>
                <a:gd name="connsiteX42" fmla="*/ 3945 w 10000"/>
                <a:gd name="connsiteY42" fmla="*/ 3196 h 10000"/>
                <a:gd name="connsiteX43" fmla="*/ 3883 w 10000"/>
                <a:gd name="connsiteY43" fmla="*/ 3243 h 10000"/>
                <a:gd name="connsiteX44" fmla="*/ 3989 w 10000"/>
                <a:gd name="connsiteY44" fmla="*/ 6588 h 10000"/>
                <a:gd name="connsiteX45" fmla="*/ 1 w 10000"/>
                <a:gd name="connsiteY45" fmla="*/ 9512 h 10000"/>
                <a:gd name="connsiteX46" fmla="*/ 139 w 10000"/>
                <a:gd name="connsiteY46" fmla="*/ 9569 h 10000"/>
                <a:gd name="connsiteX47" fmla="*/ 279 w 10000"/>
                <a:gd name="connsiteY47" fmla="*/ 9623 h 10000"/>
                <a:gd name="connsiteX48" fmla="*/ 422 w 10000"/>
                <a:gd name="connsiteY48" fmla="*/ 9673 h 10000"/>
                <a:gd name="connsiteX49" fmla="*/ 562 w 10000"/>
                <a:gd name="connsiteY49" fmla="*/ 9720 h 10000"/>
                <a:gd name="connsiteX50" fmla="*/ 706 w 10000"/>
                <a:gd name="connsiteY50" fmla="*/ 9765 h 10000"/>
                <a:gd name="connsiteX51" fmla="*/ 850 w 10000"/>
                <a:gd name="connsiteY51" fmla="*/ 9804 h 10000"/>
                <a:gd name="connsiteX52" fmla="*/ 995 w 10000"/>
                <a:gd name="connsiteY52" fmla="*/ 9839 h 10000"/>
                <a:gd name="connsiteX53" fmla="*/ 1141 w 10000"/>
                <a:gd name="connsiteY53" fmla="*/ 9874 h 10000"/>
                <a:gd name="connsiteX54" fmla="*/ 1290 w 10000"/>
                <a:gd name="connsiteY54" fmla="*/ 9903 h 10000"/>
                <a:gd name="connsiteX55" fmla="*/ 1436 w 10000"/>
                <a:gd name="connsiteY55" fmla="*/ 9926 h 10000"/>
                <a:gd name="connsiteX56" fmla="*/ 1585 w 10000"/>
                <a:gd name="connsiteY56" fmla="*/ 9948 h 10000"/>
                <a:gd name="connsiteX57" fmla="*/ 1734 w 10000"/>
                <a:gd name="connsiteY57" fmla="*/ 9965 h 10000"/>
                <a:gd name="connsiteX58" fmla="*/ 1883 w 10000"/>
                <a:gd name="connsiteY58" fmla="*/ 9980 h 10000"/>
                <a:gd name="connsiteX59" fmla="*/ 2036 w 10000"/>
                <a:gd name="connsiteY59" fmla="*/ 9990 h 10000"/>
                <a:gd name="connsiteX60" fmla="*/ 2188 w 10000"/>
                <a:gd name="connsiteY60" fmla="*/ 9995 h 10000"/>
                <a:gd name="connsiteX61" fmla="*/ 2339 w 10000"/>
                <a:gd name="connsiteY61" fmla="*/ 10000 h 10000"/>
                <a:gd name="connsiteX62" fmla="*/ 2521 w 10000"/>
                <a:gd name="connsiteY62" fmla="*/ 9995 h 10000"/>
                <a:gd name="connsiteX63" fmla="*/ 2698 w 10000"/>
                <a:gd name="connsiteY63" fmla="*/ 9988 h 10000"/>
                <a:gd name="connsiteX64" fmla="*/ 2876 w 10000"/>
                <a:gd name="connsiteY64" fmla="*/ 9975 h 10000"/>
                <a:gd name="connsiteX65" fmla="*/ 3050 w 10000"/>
                <a:gd name="connsiteY65" fmla="*/ 9953 h 10000"/>
                <a:gd name="connsiteX66" fmla="*/ 3227 w 10000"/>
                <a:gd name="connsiteY66" fmla="*/ 9931 h 10000"/>
                <a:gd name="connsiteX67" fmla="*/ 3401 w 10000"/>
                <a:gd name="connsiteY67" fmla="*/ 9898 h 10000"/>
                <a:gd name="connsiteX68" fmla="*/ 3575 w 10000"/>
                <a:gd name="connsiteY68" fmla="*/ 9866 h 10000"/>
                <a:gd name="connsiteX69" fmla="*/ 3747 w 10000"/>
                <a:gd name="connsiteY69" fmla="*/ 9824 h 10000"/>
                <a:gd name="connsiteX70" fmla="*/ 3915 w 10000"/>
                <a:gd name="connsiteY70" fmla="*/ 9779 h 10000"/>
                <a:gd name="connsiteX71" fmla="*/ 4087 w 10000"/>
                <a:gd name="connsiteY71" fmla="*/ 9730 h 10000"/>
                <a:gd name="connsiteX72" fmla="*/ 4252 w 10000"/>
                <a:gd name="connsiteY72" fmla="*/ 9673 h 10000"/>
                <a:gd name="connsiteX73" fmla="*/ 4420 w 10000"/>
                <a:gd name="connsiteY73" fmla="*/ 9616 h 10000"/>
                <a:gd name="connsiteX74" fmla="*/ 4584 w 10000"/>
                <a:gd name="connsiteY74" fmla="*/ 9552 h 10000"/>
                <a:gd name="connsiteX75" fmla="*/ 4748 w 10000"/>
                <a:gd name="connsiteY75" fmla="*/ 9482 h 10000"/>
                <a:gd name="connsiteX76" fmla="*/ 4908 w 10000"/>
                <a:gd name="connsiteY76" fmla="*/ 9405 h 10000"/>
                <a:gd name="connsiteX77" fmla="*/ 5068 w 10000"/>
                <a:gd name="connsiteY77" fmla="*/ 9329 h 10000"/>
                <a:gd name="connsiteX78" fmla="*/ 5227 w 10000"/>
                <a:gd name="connsiteY78" fmla="*/ 9244 h 10000"/>
                <a:gd name="connsiteX79" fmla="*/ 5384 w 10000"/>
                <a:gd name="connsiteY79" fmla="*/ 9158 h 10000"/>
                <a:gd name="connsiteX80" fmla="*/ 5538 w 10000"/>
                <a:gd name="connsiteY80" fmla="*/ 9063 h 10000"/>
                <a:gd name="connsiteX81" fmla="*/ 5691 w 10000"/>
                <a:gd name="connsiteY81" fmla="*/ 8967 h 10000"/>
                <a:gd name="connsiteX82" fmla="*/ 5845 w 10000"/>
                <a:gd name="connsiteY82" fmla="*/ 8865 h 10000"/>
                <a:gd name="connsiteX83" fmla="*/ 5992 w 10000"/>
                <a:gd name="connsiteY83" fmla="*/ 8759 h 10000"/>
                <a:gd name="connsiteX84" fmla="*/ 6141 w 10000"/>
                <a:gd name="connsiteY84" fmla="*/ 8652 h 10000"/>
                <a:gd name="connsiteX85" fmla="*/ 6287 w 10000"/>
                <a:gd name="connsiteY85" fmla="*/ 8536 h 10000"/>
                <a:gd name="connsiteX86" fmla="*/ 6431 w 10000"/>
                <a:gd name="connsiteY86" fmla="*/ 8417 h 10000"/>
                <a:gd name="connsiteX87" fmla="*/ 6571 w 10000"/>
                <a:gd name="connsiteY87" fmla="*/ 8295 h 10000"/>
                <a:gd name="connsiteX88" fmla="*/ 6712 w 10000"/>
                <a:gd name="connsiteY88" fmla="*/ 8169 h 10000"/>
                <a:gd name="connsiteX89" fmla="*/ 6847 w 10000"/>
                <a:gd name="connsiteY89" fmla="*/ 8040 h 10000"/>
                <a:gd name="connsiteX90" fmla="*/ 6982 w 10000"/>
                <a:gd name="connsiteY90" fmla="*/ 7904 h 10000"/>
                <a:gd name="connsiteX91" fmla="*/ 7115 w 10000"/>
                <a:gd name="connsiteY91" fmla="*/ 7768 h 10000"/>
                <a:gd name="connsiteX92" fmla="*/ 7247 w 10000"/>
                <a:gd name="connsiteY92" fmla="*/ 7624 h 10000"/>
                <a:gd name="connsiteX93" fmla="*/ 7374 w 10000"/>
                <a:gd name="connsiteY93" fmla="*/ 7480 h 10000"/>
                <a:gd name="connsiteX94" fmla="*/ 7500 w 10000"/>
                <a:gd name="connsiteY94" fmla="*/ 7329 h 10000"/>
                <a:gd name="connsiteX95" fmla="*/ 7624 w 10000"/>
                <a:gd name="connsiteY95" fmla="*/ 7178 h 10000"/>
                <a:gd name="connsiteX96" fmla="*/ 7745 w 10000"/>
                <a:gd name="connsiteY96" fmla="*/ 7024 h 10000"/>
                <a:gd name="connsiteX97" fmla="*/ 7863 w 10000"/>
                <a:gd name="connsiteY97" fmla="*/ 6861 h 10000"/>
                <a:gd name="connsiteX98" fmla="*/ 7980 w 10000"/>
                <a:gd name="connsiteY98" fmla="*/ 6697 h 10000"/>
                <a:gd name="connsiteX99" fmla="*/ 8093 w 10000"/>
                <a:gd name="connsiteY99" fmla="*/ 6534 h 10000"/>
                <a:gd name="connsiteX100" fmla="*/ 8203 w 10000"/>
                <a:gd name="connsiteY100" fmla="*/ 6365 h 10000"/>
                <a:gd name="connsiteX101" fmla="*/ 8312 w 10000"/>
                <a:gd name="connsiteY101" fmla="*/ 6189 h 10000"/>
                <a:gd name="connsiteX102" fmla="*/ 8417 w 10000"/>
                <a:gd name="connsiteY102" fmla="*/ 6016 h 10000"/>
                <a:gd name="connsiteX103" fmla="*/ 8521 w 10000"/>
                <a:gd name="connsiteY103" fmla="*/ 5835 h 10000"/>
                <a:gd name="connsiteX104" fmla="*/ 8621 w 10000"/>
                <a:gd name="connsiteY104" fmla="*/ 5652 h 10000"/>
                <a:gd name="connsiteX105" fmla="*/ 8718 w 10000"/>
                <a:gd name="connsiteY105" fmla="*/ 5468 h 10000"/>
                <a:gd name="connsiteX106" fmla="*/ 8812 w 10000"/>
                <a:gd name="connsiteY106" fmla="*/ 5278 h 10000"/>
                <a:gd name="connsiteX107" fmla="*/ 8904 w 10000"/>
                <a:gd name="connsiteY107" fmla="*/ 5089 h 10000"/>
                <a:gd name="connsiteX108" fmla="*/ 8993 w 10000"/>
                <a:gd name="connsiteY108" fmla="*/ 4893 h 10000"/>
                <a:gd name="connsiteX109" fmla="*/ 9079 w 10000"/>
                <a:gd name="connsiteY109" fmla="*/ 4698 h 10000"/>
                <a:gd name="connsiteX110" fmla="*/ 9161 w 10000"/>
                <a:gd name="connsiteY110" fmla="*/ 4500 h 10000"/>
                <a:gd name="connsiteX111" fmla="*/ 9240 w 10000"/>
                <a:gd name="connsiteY111" fmla="*/ 4294 h 10000"/>
                <a:gd name="connsiteX112" fmla="*/ 9316 w 10000"/>
                <a:gd name="connsiteY112" fmla="*/ 4091 h 10000"/>
                <a:gd name="connsiteX113" fmla="*/ 9388 w 10000"/>
                <a:gd name="connsiteY113" fmla="*/ 3885 h 10000"/>
                <a:gd name="connsiteX114" fmla="*/ 9459 w 10000"/>
                <a:gd name="connsiteY114" fmla="*/ 3674 h 10000"/>
                <a:gd name="connsiteX115" fmla="*/ 9525 w 10000"/>
                <a:gd name="connsiteY115" fmla="*/ 3464 h 10000"/>
                <a:gd name="connsiteX116" fmla="*/ 9590 w 10000"/>
                <a:gd name="connsiteY116" fmla="*/ 3248 h 10000"/>
                <a:gd name="connsiteX117" fmla="*/ 9649 w 10000"/>
                <a:gd name="connsiteY117" fmla="*/ 3030 h 10000"/>
                <a:gd name="connsiteX118" fmla="*/ 9705 w 10000"/>
                <a:gd name="connsiteY118" fmla="*/ 2815 h 10000"/>
                <a:gd name="connsiteX119" fmla="*/ 9758 w 10000"/>
                <a:gd name="connsiteY119" fmla="*/ 2592 h 10000"/>
                <a:gd name="connsiteX120" fmla="*/ 9809 w 10000"/>
                <a:gd name="connsiteY120" fmla="*/ 2369 h 10000"/>
                <a:gd name="connsiteX121" fmla="*/ 9853 w 10000"/>
                <a:gd name="connsiteY121" fmla="*/ 2143 h 10000"/>
                <a:gd name="connsiteX122" fmla="*/ 9896 w 10000"/>
                <a:gd name="connsiteY122" fmla="*/ 1918 h 10000"/>
                <a:gd name="connsiteX123" fmla="*/ 9935 w 10000"/>
                <a:gd name="connsiteY123" fmla="*/ 1690 h 10000"/>
                <a:gd name="connsiteX124" fmla="*/ 9969 w 10000"/>
                <a:gd name="connsiteY124" fmla="*/ 1457 h 10000"/>
                <a:gd name="connsiteX125" fmla="*/ 10000 w 10000"/>
                <a:gd name="connsiteY125" fmla="*/ 1222 h 10000"/>
                <a:gd name="connsiteX126" fmla="*/ 7560 w 10000"/>
                <a:gd name="connsiteY126" fmla="*/ 1876 h 10000"/>
                <a:gd name="connsiteX127" fmla="*/ 5522 w 10000"/>
                <a:gd name="connsiteY127" fmla="*/ 0 h 10000"/>
                <a:gd name="connsiteX0" fmla="*/ 5522 w 10000"/>
                <a:gd name="connsiteY0" fmla="*/ 0 h 10000"/>
                <a:gd name="connsiteX1" fmla="*/ 5522 w 10000"/>
                <a:gd name="connsiteY1" fmla="*/ 0 h 10000"/>
                <a:gd name="connsiteX2" fmla="*/ 5513 w 10000"/>
                <a:gd name="connsiteY2" fmla="*/ 99 h 10000"/>
                <a:gd name="connsiteX3" fmla="*/ 5498 w 10000"/>
                <a:gd name="connsiteY3" fmla="*/ 201 h 10000"/>
                <a:gd name="connsiteX4" fmla="*/ 5486 w 10000"/>
                <a:gd name="connsiteY4" fmla="*/ 300 h 10000"/>
                <a:gd name="connsiteX5" fmla="*/ 5471 w 10000"/>
                <a:gd name="connsiteY5" fmla="*/ 394 h 10000"/>
                <a:gd name="connsiteX6" fmla="*/ 5452 w 10000"/>
                <a:gd name="connsiteY6" fmla="*/ 491 h 10000"/>
                <a:gd name="connsiteX7" fmla="*/ 5433 w 10000"/>
                <a:gd name="connsiteY7" fmla="*/ 587 h 10000"/>
                <a:gd name="connsiteX8" fmla="*/ 5413 w 10000"/>
                <a:gd name="connsiteY8" fmla="*/ 684 h 10000"/>
                <a:gd name="connsiteX9" fmla="*/ 5391 w 10000"/>
                <a:gd name="connsiteY9" fmla="*/ 778 h 10000"/>
                <a:gd name="connsiteX10" fmla="*/ 5369 w 10000"/>
                <a:gd name="connsiteY10" fmla="*/ 870 h 10000"/>
                <a:gd name="connsiteX11" fmla="*/ 5342 w 10000"/>
                <a:gd name="connsiteY11" fmla="*/ 961 h 10000"/>
                <a:gd name="connsiteX12" fmla="*/ 5318 w 10000"/>
                <a:gd name="connsiteY12" fmla="*/ 1053 h 10000"/>
                <a:gd name="connsiteX13" fmla="*/ 5289 w 10000"/>
                <a:gd name="connsiteY13" fmla="*/ 1145 h 10000"/>
                <a:gd name="connsiteX14" fmla="*/ 5259 w 10000"/>
                <a:gd name="connsiteY14" fmla="*/ 1231 h 10000"/>
                <a:gd name="connsiteX15" fmla="*/ 5229 w 10000"/>
                <a:gd name="connsiteY15" fmla="*/ 1318 h 10000"/>
                <a:gd name="connsiteX16" fmla="*/ 5198 w 10000"/>
                <a:gd name="connsiteY16" fmla="*/ 1405 h 10000"/>
                <a:gd name="connsiteX17" fmla="*/ 5165 w 10000"/>
                <a:gd name="connsiteY17" fmla="*/ 1494 h 10000"/>
                <a:gd name="connsiteX18" fmla="*/ 5131 w 10000"/>
                <a:gd name="connsiteY18" fmla="*/ 1578 h 10000"/>
                <a:gd name="connsiteX19" fmla="*/ 5094 w 10000"/>
                <a:gd name="connsiteY19" fmla="*/ 1663 h 10000"/>
                <a:gd name="connsiteX20" fmla="*/ 5057 w 10000"/>
                <a:gd name="connsiteY20" fmla="*/ 1742 h 10000"/>
                <a:gd name="connsiteX21" fmla="*/ 5017 w 10000"/>
                <a:gd name="connsiteY21" fmla="*/ 1824 h 10000"/>
                <a:gd name="connsiteX22" fmla="*/ 4978 w 10000"/>
                <a:gd name="connsiteY22" fmla="*/ 1903 h 10000"/>
                <a:gd name="connsiteX23" fmla="*/ 4938 w 10000"/>
                <a:gd name="connsiteY23" fmla="*/ 1985 h 10000"/>
                <a:gd name="connsiteX24" fmla="*/ 4896 w 10000"/>
                <a:gd name="connsiteY24" fmla="*/ 2059 h 10000"/>
                <a:gd name="connsiteX25" fmla="*/ 4852 w 10000"/>
                <a:gd name="connsiteY25" fmla="*/ 2133 h 10000"/>
                <a:gd name="connsiteX26" fmla="*/ 4806 w 10000"/>
                <a:gd name="connsiteY26" fmla="*/ 2210 h 10000"/>
                <a:gd name="connsiteX27" fmla="*/ 4761 w 10000"/>
                <a:gd name="connsiteY27" fmla="*/ 2282 h 10000"/>
                <a:gd name="connsiteX28" fmla="*/ 4713 w 10000"/>
                <a:gd name="connsiteY28" fmla="*/ 2354 h 10000"/>
                <a:gd name="connsiteX29" fmla="*/ 4666 w 10000"/>
                <a:gd name="connsiteY29" fmla="*/ 2426 h 10000"/>
                <a:gd name="connsiteX30" fmla="*/ 4617 w 10000"/>
                <a:gd name="connsiteY30" fmla="*/ 2495 h 10000"/>
                <a:gd name="connsiteX31" fmla="*/ 4566 w 10000"/>
                <a:gd name="connsiteY31" fmla="*/ 2562 h 10000"/>
                <a:gd name="connsiteX32" fmla="*/ 4515 w 10000"/>
                <a:gd name="connsiteY32" fmla="*/ 2626 h 10000"/>
                <a:gd name="connsiteX33" fmla="*/ 4462 w 10000"/>
                <a:gd name="connsiteY33" fmla="*/ 2691 h 10000"/>
                <a:gd name="connsiteX34" fmla="*/ 4410 w 10000"/>
                <a:gd name="connsiteY34" fmla="*/ 2753 h 10000"/>
                <a:gd name="connsiteX35" fmla="*/ 4353 w 10000"/>
                <a:gd name="connsiteY35" fmla="*/ 2817 h 10000"/>
                <a:gd name="connsiteX36" fmla="*/ 4298 w 10000"/>
                <a:gd name="connsiteY36" fmla="*/ 2874 h 10000"/>
                <a:gd name="connsiteX37" fmla="*/ 4242 w 10000"/>
                <a:gd name="connsiteY37" fmla="*/ 2934 h 10000"/>
                <a:gd name="connsiteX38" fmla="*/ 4184 w 10000"/>
                <a:gd name="connsiteY38" fmla="*/ 2988 h 10000"/>
                <a:gd name="connsiteX39" fmla="*/ 4126 w 10000"/>
                <a:gd name="connsiteY39" fmla="*/ 3043 h 10000"/>
                <a:gd name="connsiteX40" fmla="*/ 4067 w 10000"/>
                <a:gd name="connsiteY40" fmla="*/ 3097 h 10000"/>
                <a:gd name="connsiteX41" fmla="*/ 4007 w 10000"/>
                <a:gd name="connsiteY41" fmla="*/ 3149 h 10000"/>
                <a:gd name="connsiteX42" fmla="*/ 3945 w 10000"/>
                <a:gd name="connsiteY42" fmla="*/ 3196 h 10000"/>
                <a:gd name="connsiteX43" fmla="*/ 3883 w 10000"/>
                <a:gd name="connsiteY43" fmla="*/ 3243 h 10000"/>
                <a:gd name="connsiteX44" fmla="*/ 3866 w 10000"/>
                <a:gd name="connsiteY44" fmla="*/ 6619 h 10000"/>
                <a:gd name="connsiteX45" fmla="*/ 1 w 10000"/>
                <a:gd name="connsiteY45" fmla="*/ 9512 h 10000"/>
                <a:gd name="connsiteX46" fmla="*/ 139 w 10000"/>
                <a:gd name="connsiteY46" fmla="*/ 9569 h 10000"/>
                <a:gd name="connsiteX47" fmla="*/ 279 w 10000"/>
                <a:gd name="connsiteY47" fmla="*/ 9623 h 10000"/>
                <a:gd name="connsiteX48" fmla="*/ 422 w 10000"/>
                <a:gd name="connsiteY48" fmla="*/ 9673 h 10000"/>
                <a:gd name="connsiteX49" fmla="*/ 562 w 10000"/>
                <a:gd name="connsiteY49" fmla="*/ 9720 h 10000"/>
                <a:gd name="connsiteX50" fmla="*/ 706 w 10000"/>
                <a:gd name="connsiteY50" fmla="*/ 9765 h 10000"/>
                <a:gd name="connsiteX51" fmla="*/ 850 w 10000"/>
                <a:gd name="connsiteY51" fmla="*/ 9804 h 10000"/>
                <a:gd name="connsiteX52" fmla="*/ 995 w 10000"/>
                <a:gd name="connsiteY52" fmla="*/ 9839 h 10000"/>
                <a:gd name="connsiteX53" fmla="*/ 1141 w 10000"/>
                <a:gd name="connsiteY53" fmla="*/ 9874 h 10000"/>
                <a:gd name="connsiteX54" fmla="*/ 1290 w 10000"/>
                <a:gd name="connsiteY54" fmla="*/ 9903 h 10000"/>
                <a:gd name="connsiteX55" fmla="*/ 1436 w 10000"/>
                <a:gd name="connsiteY55" fmla="*/ 9926 h 10000"/>
                <a:gd name="connsiteX56" fmla="*/ 1585 w 10000"/>
                <a:gd name="connsiteY56" fmla="*/ 9948 h 10000"/>
                <a:gd name="connsiteX57" fmla="*/ 1734 w 10000"/>
                <a:gd name="connsiteY57" fmla="*/ 9965 h 10000"/>
                <a:gd name="connsiteX58" fmla="*/ 1883 w 10000"/>
                <a:gd name="connsiteY58" fmla="*/ 9980 h 10000"/>
                <a:gd name="connsiteX59" fmla="*/ 2036 w 10000"/>
                <a:gd name="connsiteY59" fmla="*/ 9990 h 10000"/>
                <a:gd name="connsiteX60" fmla="*/ 2188 w 10000"/>
                <a:gd name="connsiteY60" fmla="*/ 9995 h 10000"/>
                <a:gd name="connsiteX61" fmla="*/ 2339 w 10000"/>
                <a:gd name="connsiteY61" fmla="*/ 10000 h 10000"/>
                <a:gd name="connsiteX62" fmla="*/ 2521 w 10000"/>
                <a:gd name="connsiteY62" fmla="*/ 9995 h 10000"/>
                <a:gd name="connsiteX63" fmla="*/ 2698 w 10000"/>
                <a:gd name="connsiteY63" fmla="*/ 9988 h 10000"/>
                <a:gd name="connsiteX64" fmla="*/ 2876 w 10000"/>
                <a:gd name="connsiteY64" fmla="*/ 9975 h 10000"/>
                <a:gd name="connsiteX65" fmla="*/ 3050 w 10000"/>
                <a:gd name="connsiteY65" fmla="*/ 9953 h 10000"/>
                <a:gd name="connsiteX66" fmla="*/ 3227 w 10000"/>
                <a:gd name="connsiteY66" fmla="*/ 9931 h 10000"/>
                <a:gd name="connsiteX67" fmla="*/ 3401 w 10000"/>
                <a:gd name="connsiteY67" fmla="*/ 9898 h 10000"/>
                <a:gd name="connsiteX68" fmla="*/ 3575 w 10000"/>
                <a:gd name="connsiteY68" fmla="*/ 9866 h 10000"/>
                <a:gd name="connsiteX69" fmla="*/ 3747 w 10000"/>
                <a:gd name="connsiteY69" fmla="*/ 9824 h 10000"/>
                <a:gd name="connsiteX70" fmla="*/ 3915 w 10000"/>
                <a:gd name="connsiteY70" fmla="*/ 9779 h 10000"/>
                <a:gd name="connsiteX71" fmla="*/ 4087 w 10000"/>
                <a:gd name="connsiteY71" fmla="*/ 9730 h 10000"/>
                <a:gd name="connsiteX72" fmla="*/ 4252 w 10000"/>
                <a:gd name="connsiteY72" fmla="*/ 9673 h 10000"/>
                <a:gd name="connsiteX73" fmla="*/ 4420 w 10000"/>
                <a:gd name="connsiteY73" fmla="*/ 9616 h 10000"/>
                <a:gd name="connsiteX74" fmla="*/ 4584 w 10000"/>
                <a:gd name="connsiteY74" fmla="*/ 9552 h 10000"/>
                <a:gd name="connsiteX75" fmla="*/ 4748 w 10000"/>
                <a:gd name="connsiteY75" fmla="*/ 9482 h 10000"/>
                <a:gd name="connsiteX76" fmla="*/ 4908 w 10000"/>
                <a:gd name="connsiteY76" fmla="*/ 9405 h 10000"/>
                <a:gd name="connsiteX77" fmla="*/ 5068 w 10000"/>
                <a:gd name="connsiteY77" fmla="*/ 9329 h 10000"/>
                <a:gd name="connsiteX78" fmla="*/ 5227 w 10000"/>
                <a:gd name="connsiteY78" fmla="*/ 9244 h 10000"/>
                <a:gd name="connsiteX79" fmla="*/ 5384 w 10000"/>
                <a:gd name="connsiteY79" fmla="*/ 9158 h 10000"/>
                <a:gd name="connsiteX80" fmla="*/ 5538 w 10000"/>
                <a:gd name="connsiteY80" fmla="*/ 9063 h 10000"/>
                <a:gd name="connsiteX81" fmla="*/ 5691 w 10000"/>
                <a:gd name="connsiteY81" fmla="*/ 8967 h 10000"/>
                <a:gd name="connsiteX82" fmla="*/ 5845 w 10000"/>
                <a:gd name="connsiteY82" fmla="*/ 8865 h 10000"/>
                <a:gd name="connsiteX83" fmla="*/ 5992 w 10000"/>
                <a:gd name="connsiteY83" fmla="*/ 8759 h 10000"/>
                <a:gd name="connsiteX84" fmla="*/ 6141 w 10000"/>
                <a:gd name="connsiteY84" fmla="*/ 8652 h 10000"/>
                <a:gd name="connsiteX85" fmla="*/ 6287 w 10000"/>
                <a:gd name="connsiteY85" fmla="*/ 8536 h 10000"/>
                <a:gd name="connsiteX86" fmla="*/ 6431 w 10000"/>
                <a:gd name="connsiteY86" fmla="*/ 8417 h 10000"/>
                <a:gd name="connsiteX87" fmla="*/ 6571 w 10000"/>
                <a:gd name="connsiteY87" fmla="*/ 8295 h 10000"/>
                <a:gd name="connsiteX88" fmla="*/ 6712 w 10000"/>
                <a:gd name="connsiteY88" fmla="*/ 8169 h 10000"/>
                <a:gd name="connsiteX89" fmla="*/ 6847 w 10000"/>
                <a:gd name="connsiteY89" fmla="*/ 8040 h 10000"/>
                <a:gd name="connsiteX90" fmla="*/ 6982 w 10000"/>
                <a:gd name="connsiteY90" fmla="*/ 7904 h 10000"/>
                <a:gd name="connsiteX91" fmla="*/ 7115 w 10000"/>
                <a:gd name="connsiteY91" fmla="*/ 7768 h 10000"/>
                <a:gd name="connsiteX92" fmla="*/ 7247 w 10000"/>
                <a:gd name="connsiteY92" fmla="*/ 7624 h 10000"/>
                <a:gd name="connsiteX93" fmla="*/ 7374 w 10000"/>
                <a:gd name="connsiteY93" fmla="*/ 7480 h 10000"/>
                <a:gd name="connsiteX94" fmla="*/ 7500 w 10000"/>
                <a:gd name="connsiteY94" fmla="*/ 7329 h 10000"/>
                <a:gd name="connsiteX95" fmla="*/ 7624 w 10000"/>
                <a:gd name="connsiteY95" fmla="*/ 7178 h 10000"/>
                <a:gd name="connsiteX96" fmla="*/ 7745 w 10000"/>
                <a:gd name="connsiteY96" fmla="*/ 7024 h 10000"/>
                <a:gd name="connsiteX97" fmla="*/ 7863 w 10000"/>
                <a:gd name="connsiteY97" fmla="*/ 6861 h 10000"/>
                <a:gd name="connsiteX98" fmla="*/ 7980 w 10000"/>
                <a:gd name="connsiteY98" fmla="*/ 6697 h 10000"/>
                <a:gd name="connsiteX99" fmla="*/ 8093 w 10000"/>
                <a:gd name="connsiteY99" fmla="*/ 6534 h 10000"/>
                <a:gd name="connsiteX100" fmla="*/ 8203 w 10000"/>
                <a:gd name="connsiteY100" fmla="*/ 6365 h 10000"/>
                <a:gd name="connsiteX101" fmla="*/ 8312 w 10000"/>
                <a:gd name="connsiteY101" fmla="*/ 6189 h 10000"/>
                <a:gd name="connsiteX102" fmla="*/ 8417 w 10000"/>
                <a:gd name="connsiteY102" fmla="*/ 6016 h 10000"/>
                <a:gd name="connsiteX103" fmla="*/ 8521 w 10000"/>
                <a:gd name="connsiteY103" fmla="*/ 5835 h 10000"/>
                <a:gd name="connsiteX104" fmla="*/ 8621 w 10000"/>
                <a:gd name="connsiteY104" fmla="*/ 5652 h 10000"/>
                <a:gd name="connsiteX105" fmla="*/ 8718 w 10000"/>
                <a:gd name="connsiteY105" fmla="*/ 5468 h 10000"/>
                <a:gd name="connsiteX106" fmla="*/ 8812 w 10000"/>
                <a:gd name="connsiteY106" fmla="*/ 5278 h 10000"/>
                <a:gd name="connsiteX107" fmla="*/ 8904 w 10000"/>
                <a:gd name="connsiteY107" fmla="*/ 5089 h 10000"/>
                <a:gd name="connsiteX108" fmla="*/ 8993 w 10000"/>
                <a:gd name="connsiteY108" fmla="*/ 4893 h 10000"/>
                <a:gd name="connsiteX109" fmla="*/ 9079 w 10000"/>
                <a:gd name="connsiteY109" fmla="*/ 4698 h 10000"/>
                <a:gd name="connsiteX110" fmla="*/ 9161 w 10000"/>
                <a:gd name="connsiteY110" fmla="*/ 4500 h 10000"/>
                <a:gd name="connsiteX111" fmla="*/ 9240 w 10000"/>
                <a:gd name="connsiteY111" fmla="*/ 4294 h 10000"/>
                <a:gd name="connsiteX112" fmla="*/ 9316 w 10000"/>
                <a:gd name="connsiteY112" fmla="*/ 4091 h 10000"/>
                <a:gd name="connsiteX113" fmla="*/ 9388 w 10000"/>
                <a:gd name="connsiteY113" fmla="*/ 3885 h 10000"/>
                <a:gd name="connsiteX114" fmla="*/ 9459 w 10000"/>
                <a:gd name="connsiteY114" fmla="*/ 3674 h 10000"/>
                <a:gd name="connsiteX115" fmla="*/ 9525 w 10000"/>
                <a:gd name="connsiteY115" fmla="*/ 3464 h 10000"/>
                <a:gd name="connsiteX116" fmla="*/ 9590 w 10000"/>
                <a:gd name="connsiteY116" fmla="*/ 3248 h 10000"/>
                <a:gd name="connsiteX117" fmla="*/ 9649 w 10000"/>
                <a:gd name="connsiteY117" fmla="*/ 3030 h 10000"/>
                <a:gd name="connsiteX118" fmla="*/ 9705 w 10000"/>
                <a:gd name="connsiteY118" fmla="*/ 2815 h 10000"/>
                <a:gd name="connsiteX119" fmla="*/ 9758 w 10000"/>
                <a:gd name="connsiteY119" fmla="*/ 2592 h 10000"/>
                <a:gd name="connsiteX120" fmla="*/ 9809 w 10000"/>
                <a:gd name="connsiteY120" fmla="*/ 2369 h 10000"/>
                <a:gd name="connsiteX121" fmla="*/ 9853 w 10000"/>
                <a:gd name="connsiteY121" fmla="*/ 2143 h 10000"/>
                <a:gd name="connsiteX122" fmla="*/ 9896 w 10000"/>
                <a:gd name="connsiteY122" fmla="*/ 1918 h 10000"/>
                <a:gd name="connsiteX123" fmla="*/ 9935 w 10000"/>
                <a:gd name="connsiteY123" fmla="*/ 1690 h 10000"/>
                <a:gd name="connsiteX124" fmla="*/ 9969 w 10000"/>
                <a:gd name="connsiteY124" fmla="*/ 1457 h 10000"/>
                <a:gd name="connsiteX125" fmla="*/ 10000 w 10000"/>
                <a:gd name="connsiteY125" fmla="*/ 1222 h 10000"/>
                <a:gd name="connsiteX126" fmla="*/ 7560 w 10000"/>
                <a:gd name="connsiteY126" fmla="*/ 1876 h 10000"/>
                <a:gd name="connsiteX127" fmla="*/ 5522 w 10000"/>
                <a:gd name="connsiteY127" fmla="*/ 0 h 10000"/>
                <a:gd name="connsiteX0" fmla="*/ 5522 w 10000"/>
                <a:gd name="connsiteY0" fmla="*/ 0 h 10000"/>
                <a:gd name="connsiteX1" fmla="*/ 5522 w 10000"/>
                <a:gd name="connsiteY1" fmla="*/ 0 h 10000"/>
                <a:gd name="connsiteX2" fmla="*/ 5513 w 10000"/>
                <a:gd name="connsiteY2" fmla="*/ 99 h 10000"/>
                <a:gd name="connsiteX3" fmla="*/ 5498 w 10000"/>
                <a:gd name="connsiteY3" fmla="*/ 201 h 10000"/>
                <a:gd name="connsiteX4" fmla="*/ 5486 w 10000"/>
                <a:gd name="connsiteY4" fmla="*/ 300 h 10000"/>
                <a:gd name="connsiteX5" fmla="*/ 5471 w 10000"/>
                <a:gd name="connsiteY5" fmla="*/ 394 h 10000"/>
                <a:gd name="connsiteX6" fmla="*/ 5452 w 10000"/>
                <a:gd name="connsiteY6" fmla="*/ 491 h 10000"/>
                <a:gd name="connsiteX7" fmla="*/ 5433 w 10000"/>
                <a:gd name="connsiteY7" fmla="*/ 587 h 10000"/>
                <a:gd name="connsiteX8" fmla="*/ 5413 w 10000"/>
                <a:gd name="connsiteY8" fmla="*/ 684 h 10000"/>
                <a:gd name="connsiteX9" fmla="*/ 5391 w 10000"/>
                <a:gd name="connsiteY9" fmla="*/ 778 h 10000"/>
                <a:gd name="connsiteX10" fmla="*/ 5369 w 10000"/>
                <a:gd name="connsiteY10" fmla="*/ 870 h 10000"/>
                <a:gd name="connsiteX11" fmla="*/ 5342 w 10000"/>
                <a:gd name="connsiteY11" fmla="*/ 961 h 10000"/>
                <a:gd name="connsiteX12" fmla="*/ 5318 w 10000"/>
                <a:gd name="connsiteY12" fmla="*/ 1053 h 10000"/>
                <a:gd name="connsiteX13" fmla="*/ 5289 w 10000"/>
                <a:gd name="connsiteY13" fmla="*/ 1145 h 10000"/>
                <a:gd name="connsiteX14" fmla="*/ 5259 w 10000"/>
                <a:gd name="connsiteY14" fmla="*/ 1231 h 10000"/>
                <a:gd name="connsiteX15" fmla="*/ 5229 w 10000"/>
                <a:gd name="connsiteY15" fmla="*/ 1318 h 10000"/>
                <a:gd name="connsiteX16" fmla="*/ 5198 w 10000"/>
                <a:gd name="connsiteY16" fmla="*/ 1405 h 10000"/>
                <a:gd name="connsiteX17" fmla="*/ 5165 w 10000"/>
                <a:gd name="connsiteY17" fmla="*/ 1494 h 10000"/>
                <a:gd name="connsiteX18" fmla="*/ 5131 w 10000"/>
                <a:gd name="connsiteY18" fmla="*/ 1578 h 10000"/>
                <a:gd name="connsiteX19" fmla="*/ 5094 w 10000"/>
                <a:gd name="connsiteY19" fmla="*/ 1663 h 10000"/>
                <a:gd name="connsiteX20" fmla="*/ 5057 w 10000"/>
                <a:gd name="connsiteY20" fmla="*/ 1742 h 10000"/>
                <a:gd name="connsiteX21" fmla="*/ 5017 w 10000"/>
                <a:gd name="connsiteY21" fmla="*/ 1824 h 10000"/>
                <a:gd name="connsiteX22" fmla="*/ 4978 w 10000"/>
                <a:gd name="connsiteY22" fmla="*/ 1903 h 10000"/>
                <a:gd name="connsiteX23" fmla="*/ 4938 w 10000"/>
                <a:gd name="connsiteY23" fmla="*/ 1985 h 10000"/>
                <a:gd name="connsiteX24" fmla="*/ 4896 w 10000"/>
                <a:gd name="connsiteY24" fmla="*/ 2059 h 10000"/>
                <a:gd name="connsiteX25" fmla="*/ 4852 w 10000"/>
                <a:gd name="connsiteY25" fmla="*/ 2133 h 10000"/>
                <a:gd name="connsiteX26" fmla="*/ 4806 w 10000"/>
                <a:gd name="connsiteY26" fmla="*/ 2210 h 10000"/>
                <a:gd name="connsiteX27" fmla="*/ 4761 w 10000"/>
                <a:gd name="connsiteY27" fmla="*/ 2282 h 10000"/>
                <a:gd name="connsiteX28" fmla="*/ 4713 w 10000"/>
                <a:gd name="connsiteY28" fmla="*/ 2354 h 10000"/>
                <a:gd name="connsiteX29" fmla="*/ 4666 w 10000"/>
                <a:gd name="connsiteY29" fmla="*/ 2426 h 10000"/>
                <a:gd name="connsiteX30" fmla="*/ 4617 w 10000"/>
                <a:gd name="connsiteY30" fmla="*/ 2495 h 10000"/>
                <a:gd name="connsiteX31" fmla="*/ 4566 w 10000"/>
                <a:gd name="connsiteY31" fmla="*/ 2562 h 10000"/>
                <a:gd name="connsiteX32" fmla="*/ 4515 w 10000"/>
                <a:gd name="connsiteY32" fmla="*/ 2626 h 10000"/>
                <a:gd name="connsiteX33" fmla="*/ 4462 w 10000"/>
                <a:gd name="connsiteY33" fmla="*/ 2691 h 10000"/>
                <a:gd name="connsiteX34" fmla="*/ 4410 w 10000"/>
                <a:gd name="connsiteY34" fmla="*/ 2753 h 10000"/>
                <a:gd name="connsiteX35" fmla="*/ 4353 w 10000"/>
                <a:gd name="connsiteY35" fmla="*/ 2817 h 10000"/>
                <a:gd name="connsiteX36" fmla="*/ 4298 w 10000"/>
                <a:gd name="connsiteY36" fmla="*/ 2874 h 10000"/>
                <a:gd name="connsiteX37" fmla="*/ 4242 w 10000"/>
                <a:gd name="connsiteY37" fmla="*/ 2934 h 10000"/>
                <a:gd name="connsiteX38" fmla="*/ 4184 w 10000"/>
                <a:gd name="connsiteY38" fmla="*/ 2988 h 10000"/>
                <a:gd name="connsiteX39" fmla="*/ 4126 w 10000"/>
                <a:gd name="connsiteY39" fmla="*/ 3043 h 10000"/>
                <a:gd name="connsiteX40" fmla="*/ 4067 w 10000"/>
                <a:gd name="connsiteY40" fmla="*/ 3097 h 10000"/>
                <a:gd name="connsiteX41" fmla="*/ 4007 w 10000"/>
                <a:gd name="connsiteY41" fmla="*/ 3149 h 10000"/>
                <a:gd name="connsiteX42" fmla="*/ 3945 w 10000"/>
                <a:gd name="connsiteY42" fmla="*/ 3196 h 10000"/>
                <a:gd name="connsiteX43" fmla="*/ 3883 w 10000"/>
                <a:gd name="connsiteY43" fmla="*/ 3243 h 10000"/>
                <a:gd name="connsiteX44" fmla="*/ 3997 w 10000"/>
                <a:gd name="connsiteY44" fmla="*/ 6577 h 10000"/>
                <a:gd name="connsiteX45" fmla="*/ 1 w 10000"/>
                <a:gd name="connsiteY45" fmla="*/ 9512 h 10000"/>
                <a:gd name="connsiteX46" fmla="*/ 139 w 10000"/>
                <a:gd name="connsiteY46" fmla="*/ 9569 h 10000"/>
                <a:gd name="connsiteX47" fmla="*/ 279 w 10000"/>
                <a:gd name="connsiteY47" fmla="*/ 9623 h 10000"/>
                <a:gd name="connsiteX48" fmla="*/ 422 w 10000"/>
                <a:gd name="connsiteY48" fmla="*/ 9673 h 10000"/>
                <a:gd name="connsiteX49" fmla="*/ 562 w 10000"/>
                <a:gd name="connsiteY49" fmla="*/ 9720 h 10000"/>
                <a:gd name="connsiteX50" fmla="*/ 706 w 10000"/>
                <a:gd name="connsiteY50" fmla="*/ 9765 h 10000"/>
                <a:gd name="connsiteX51" fmla="*/ 850 w 10000"/>
                <a:gd name="connsiteY51" fmla="*/ 9804 h 10000"/>
                <a:gd name="connsiteX52" fmla="*/ 995 w 10000"/>
                <a:gd name="connsiteY52" fmla="*/ 9839 h 10000"/>
                <a:gd name="connsiteX53" fmla="*/ 1141 w 10000"/>
                <a:gd name="connsiteY53" fmla="*/ 9874 h 10000"/>
                <a:gd name="connsiteX54" fmla="*/ 1290 w 10000"/>
                <a:gd name="connsiteY54" fmla="*/ 9903 h 10000"/>
                <a:gd name="connsiteX55" fmla="*/ 1436 w 10000"/>
                <a:gd name="connsiteY55" fmla="*/ 9926 h 10000"/>
                <a:gd name="connsiteX56" fmla="*/ 1585 w 10000"/>
                <a:gd name="connsiteY56" fmla="*/ 9948 h 10000"/>
                <a:gd name="connsiteX57" fmla="*/ 1734 w 10000"/>
                <a:gd name="connsiteY57" fmla="*/ 9965 h 10000"/>
                <a:gd name="connsiteX58" fmla="*/ 1883 w 10000"/>
                <a:gd name="connsiteY58" fmla="*/ 9980 h 10000"/>
                <a:gd name="connsiteX59" fmla="*/ 2036 w 10000"/>
                <a:gd name="connsiteY59" fmla="*/ 9990 h 10000"/>
                <a:gd name="connsiteX60" fmla="*/ 2188 w 10000"/>
                <a:gd name="connsiteY60" fmla="*/ 9995 h 10000"/>
                <a:gd name="connsiteX61" fmla="*/ 2339 w 10000"/>
                <a:gd name="connsiteY61" fmla="*/ 10000 h 10000"/>
                <a:gd name="connsiteX62" fmla="*/ 2521 w 10000"/>
                <a:gd name="connsiteY62" fmla="*/ 9995 h 10000"/>
                <a:gd name="connsiteX63" fmla="*/ 2698 w 10000"/>
                <a:gd name="connsiteY63" fmla="*/ 9988 h 10000"/>
                <a:gd name="connsiteX64" fmla="*/ 2876 w 10000"/>
                <a:gd name="connsiteY64" fmla="*/ 9975 h 10000"/>
                <a:gd name="connsiteX65" fmla="*/ 3050 w 10000"/>
                <a:gd name="connsiteY65" fmla="*/ 9953 h 10000"/>
                <a:gd name="connsiteX66" fmla="*/ 3227 w 10000"/>
                <a:gd name="connsiteY66" fmla="*/ 9931 h 10000"/>
                <a:gd name="connsiteX67" fmla="*/ 3401 w 10000"/>
                <a:gd name="connsiteY67" fmla="*/ 9898 h 10000"/>
                <a:gd name="connsiteX68" fmla="*/ 3575 w 10000"/>
                <a:gd name="connsiteY68" fmla="*/ 9866 h 10000"/>
                <a:gd name="connsiteX69" fmla="*/ 3747 w 10000"/>
                <a:gd name="connsiteY69" fmla="*/ 9824 h 10000"/>
                <a:gd name="connsiteX70" fmla="*/ 3915 w 10000"/>
                <a:gd name="connsiteY70" fmla="*/ 9779 h 10000"/>
                <a:gd name="connsiteX71" fmla="*/ 4087 w 10000"/>
                <a:gd name="connsiteY71" fmla="*/ 9730 h 10000"/>
                <a:gd name="connsiteX72" fmla="*/ 4252 w 10000"/>
                <a:gd name="connsiteY72" fmla="*/ 9673 h 10000"/>
                <a:gd name="connsiteX73" fmla="*/ 4420 w 10000"/>
                <a:gd name="connsiteY73" fmla="*/ 9616 h 10000"/>
                <a:gd name="connsiteX74" fmla="*/ 4584 w 10000"/>
                <a:gd name="connsiteY74" fmla="*/ 9552 h 10000"/>
                <a:gd name="connsiteX75" fmla="*/ 4748 w 10000"/>
                <a:gd name="connsiteY75" fmla="*/ 9482 h 10000"/>
                <a:gd name="connsiteX76" fmla="*/ 4908 w 10000"/>
                <a:gd name="connsiteY76" fmla="*/ 9405 h 10000"/>
                <a:gd name="connsiteX77" fmla="*/ 5068 w 10000"/>
                <a:gd name="connsiteY77" fmla="*/ 9329 h 10000"/>
                <a:gd name="connsiteX78" fmla="*/ 5227 w 10000"/>
                <a:gd name="connsiteY78" fmla="*/ 9244 h 10000"/>
                <a:gd name="connsiteX79" fmla="*/ 5384 w 10000"/>
                <a:gd name="connsiteY79" fmla="*/ 9158 h 10000"/>
                <a:gd name="connsiteX80" fmla="*/ 5538 w 10000"/>
                <a:gd name="connsiteY80" fmla="*/ 9063 h 10000"/>
                <a:gd name="connsiteX81" fmla="*/ 5691 w 10000"/>
                <a:gd name="connsiteY81" fmla="*/ 8967 h 10000"/>
                <a:gd name="connsiteX82" fmla="*/ 5845 w 10000"/>
                <a:gd name="connsiteY82" fmla="*/ 8865 h 10000"/>
                <a:gd name="connsiteX83" fmla="*/ 5992 w 10000"/>
                <a:gd name="connsiteY83" fmla="*/ 8759 h 10000"/>
                <a:gd name="connsiteX84" fmla="*/ 6141 w 10000"/>
                <a:gd name="connsiteY84" fmla="*/ 8652 h 10000"/>
                <a:gd name="connsiteX85" fmla="*/ 6287 w 10000"/>
                <a:gd name="connsiteY85" fmla="*/ 8536 h 10000"/>
                <a:gd name="connsiteX86" fmla="*/ 6431 w 10000"/>
                <a:gd name="connsiteY86" fmla="*/ 8417 h 10000"/>
                <a:gd name="connsiteX87" fmla="*/ 6571 w 10000"/>
                <a:gd name="connsiteY87" fmla="*/ 8295 h 10000"/>
                <a:gd name="connsiteX88" fmla="*/ 6712 w 10000"/>
                <a:gd name="connsiteY88" fmla="*/ 8169 h 10000"/>
                <a:gd name="connsiteX89" fmla="*/ 6847 w 10000"/>
                <a:gd name="connsiteY89" fmla="*/ 8040 h 10000"/>
                <a:gd name="connsiteX90" fmla="*/ 6982 w 10000"/>
                <a:gd name="connsiteY90" fmla="*/ 7904 h 10000"/>
                <a:gd name="connsiteX91" fmla="*/ 7115 w 10000"/>
                <a:gd name="connsiteY91" fmla="*/ 7768 h 10000"/>
                <a:gd name="connsiteX92" fmla="*/ 7247 w 10000"/>
                <a:gd name="connsiteY92" fmla="*/ 7624 h 10000"/>
                <a:gd name="connsiteX93" fmla="*/ 7374 w 10000"/>
                <a:gd name="connsiteY93" fmla="*/ 7480 h 10000"/>
                <a:gd name="connsiteX94" fmla="*/ 7500 w 10000"/>
                <a:gd name="connsiteY94" fmla="*/ 7329 h 10000"/>
                <a:gd name="connsiteX95" fmla="*/ 7624 w 10000"/>
                <a:gd name="connsiteY95" fmla="*/ 7178 h 10000"/>
                <a:gd name="connsiteX96" fmla="*/ 7745 w 10000"/>
                <a:gd name="connsiteY96" fmla="*/ 7024 h 10000"/>
                <a:gd name="connsiteX97" fmla="*/ 7863 w 10000"/>
                <a:gd name="connsiteY97" fmla="*/ 6861 h 10000"/>
                <a:gd name="connsiteX98" fmla="*/ 7980 w 10000"/>
                <a:gd name="connsiteY98" fmla="*/ 6697 h 10000"/>
                <a:gd name="connsiteX99" fmla="*/ 8093 w 10000"/>
                <a:gd name="connsiteY99" fmla="*/ 6534 h 10000"/>
                <a:gd name="connsiteX100" fmla="*/ 8203 w 10000"/>
                <a:gd name="connsiteY100" fmla="*/ 6365 h 10000"/>
                <a:gd name="connsiteX101" fmla="*/ 8312 w 10000"/>
                <a:gd name="connsiteY101" fmla="*/ 6189 h 10000"/>
                <a:gd name="connsiteX102" fmla="*/ 8417 w 10000"/>
                <a:gd name="connsiteY102" fmla="*/ 6016 h 10000"/>
                <a:gd name="connsiteX103" fmla="*/ 8521 w 10000"/>
                <a:gd name="connsiteY103" fmla="*/ 5835 h 10000"/>
                <a:gd name="connsiteX104" fmla="*/ 8621 w 10000"/>
                <a:gd name="connsiteY104" fmla="*/ 5652 h 10000"/>
                <a:gd name="connsiteX105" fmla="*/ 8718 w 10000"/>
                <a:gd name="connsiteY105" fmla="*/ 5468 h 10000"/>
                <a:gd name="connsiteX106" fmla="*/ 8812 w 10000"/>
                <a:gd name="connsiteY106" fmla="*/ 5278 h 10000"/>
                <a:gd name="connsiteX107" fmla="*/ 8904 w 10000"/>
                <a:gd name="connsiteY107" fmla="*/ 5089 h 10000"/>
                <a:gd name="connsiteX108" fmla="*/ 8993 w 10000"/>
                <a:gd name="connsiteY108" fmla="*/ 4893 h 10000"/>
                <a:gd name="connsiteX109" fmla="*/ 9079 w 10000"/>
                <a:gd name="connsiteY109" fmla="*/ 4698 h 10000"/>
                <a:gd name="connsiteX110" fmla="*/ 9161 w 10000"/>
                <a:gd name="connsiteY110" fmla="*/ 4500 h 10000"/>
                <a:gd name="connsiteX111" fmla="*/ 9240 w 10000"/>
                <a:gd name="connsiteY111" fmla="*/ 4294 h 10000"/>
                <a:gd name="connsiteX112" fmla="*/ 9316 w 10000"/>
                <a:gd name="connsiteY112" fmla="*/ 4091 h 10000"/>
                <a:gd name="connsiteX113" fmla="*/ 9388 w 10000"/>
                <a:gd name="connsiteY113" fmla="*/ 3885 h 10000"/>
                <a:gd name="connsiteX114" fmla="*/ 9459 w 10000"/>
                <a:gd name="connsiteY114" fmla="*/ 3674 h 10000"/>
                <a:gd name="connsiteX115" fmla="*/ 9525 w 10000"/>
                <a:gd name="connsiteY115" fmla="*/ 3464 h 10000"/>
                <a:gd name="connsiteX116" fmla="*/ 9590 w 10000"/>
                <a:gd name="connsiteY116" fmla="*/ 3248 h 10000"/>
                <a:gd name="connsiteX117" fmla="*/ 9649 w 10000"/>
                <a:gd name="connsiteY117" fmla="*/ 3030 h 10000"/>
                <a:gd name="connsiteX118" fmla="*/ 9705 w 10000"/>
                <a:gd name="connsiteY118" fmla="*/ 2815 h 10000"/>
                <a:gd name="connsiteX119" fmla="*/ 9758 w 10000"/>
                <a:gd name="connsiteY119" fmla="*/ 2592 h 10000"/>
                <a:gd name="connsiteX120" fmla="*/ 9809 w 10000"/>
                <a:gd name="connsiteY120" fmla="*/ 2369 h 10000"/>
                <a:gd name="connsiteX121" fmla="*/ 9853 w 10000"/>
                <a:gd name="connsiteY121" fmla="*/ 2143 h 10000"/>
                <a:gd name="connsiteX122" fmla="*/ 9896 w 10000"/>
                <a:gd name="connsiteY122" fmla="*/ 1918 h 10000"/>
                <a:gd name="connsiteX123" fmla="*/ 9935 w 10000"/>
                <a:gd name="connsiteY123" fmla="*/ 1690 h 10000"/>
                <a:gd name="connsiteX124" fmla="*/ 9969 w 10000"/>
                <a:gd name="connsiteY124" fmla="*/ 1457 h 10000"/>
                <a:gd name="connsiteX125" fmla="*/ 10000 w 10000"/>
                <a:gd name="connsiteY125" fmla="*/ 1222 h 10000"/>
                <a:gd name="connsiteX126" fmla="*/ 7560 w 10000"/>
                <a:gd name="connsiteY126" fmla="*/ 1876 h 10000"/>
                <a:gd name="connsiteX127" fmla="*/ 5522 w 10000"/>
                <a:gd name="connsiteY127" fmla="*/ 0 h 10000"/>
                <a:gd name="connsiteX0" fmla="*/ 5383 w 9861"/>
                <a:gd name="connsiteY0" fmla="*/ 0 h 10000"/>
                <a:gd name="connsiteX1" fmla="*/ 5383 w 9861"/>
                <a:gd name="connsiteY1" fmla="*/ 0 h 10000"/>
                <a:gd name="connsiteX2" fmla="*/ 5374 w 9861"/>
                <a:gd name="connsiteY2" fmla="*/ 99 h 10000"/>
                <a:gd name="connsiteX3" fmla="*/ 5359 w 9861"/>
                <a:gd name="connsiteY3" fmla="*/ 201 h 10000"/>
                <a:gd name="connsiteX4" fmla="*/ 5347 w 9861"/>
                <a:gd name="connsiteY4" fmla="*/ 300 h 10000"/>
                <a:gd name="connsiteX5" fmla="*/ 5332 w 9861"/>
                <a:gd name="connsiteY5" fmla="*/ 394 h 10000"/>
                <a:gd name="connsiteX6" fmla="*/ 5313 w 9861"/>
                <a:gd name="connsiteY6" fmla="*/ 491 h 10000"/>
                <a:gd name="connsiteX7" fmla="*/ 5294 w 9861"/>
                <a:gd name="connsiteY7" fmla="*/ 587 h 10000"/>
                <a:gd name="connsiteX8" fmla="*/ 5274 w 9861"/>
                <a:gd name="connsiteY8" fmla="*/ 684 h 10000"/>
                <a:gd name="connsiteX9" fmla="*/ 5252 w 9861"/>
                <a:gd name="connsiteY9" fmla="*/ 778 h 10000"/>
                <a:gd name="connsiteX10" fmla="*/ 5230 w 9861"/>
                <a:gd name="connsiteY10" fmla="*/ 870 h 10000"/>
                <a:gd name="connsiteX11" fmla="*/ 5203 w 9861"/>
                <a:gd name="connsiteY11" fmla="*/ 961 h 10000"/>
                <a:gd name="connsiteX12" fmla="*/ 5179 w 9861"/>
                <a:gd name="connsiteY12" fmla="*/ 1053 h 10000"/>
                <a:gd name="connsiteX13" fmla="*/ 5150 w 9861"/>
                <a:gd name="connsiteY13" fmla="*/ 1145 h 10000"/>
                <a:gd name="connsiteX14" fmla="*/ 5120 w 9861"/>
                <a:gd name="connsiteY14" fmla="*/ 1231 h 10000"/>
                <a:gd name="connsiteX15" fmla="*/ 5090 w 9861"/>
                <a:gd name="connsiteY15" fmla="*/ 1318 h 10000"/>
                <a:gd name="connsiteX16" fmla="*/ 5059 w 9861"/>
                <a:gd name="connsiteY16" fmla="*/ 1405 h 10000"/>
                <a:gd name="connsiteX17" fmla="*/ 5026 w 9861"/>
                <a:gd name="connsiteY17" fmla="*/ 1494 h 10000"/>
                <a:gd name="connsiteX18" fmla="*/ 4992 w 9861"/>
                <a:gd name="connsiteY18" fmla="*/ 1578 h 10000"/>
                <a:gd name="connsiteX19" fmla="*/ 4955 w 9861"/>
                <a:gd name="connsiteY19" fmla="*/ 1663 h 10000"/>
                <a:gd name="connsiteX20" fmla="*/ 4918 w 9861"/>
                <a:gd name="connsiteY20" fmla="*/ 1742 h 10000"/>
                <a:gd name="connsiteX21" fmla="*/ 4878 w 9861"/>
                <a:gd name="connsiteY21" fmla="*/ 1824 h 10000"/>
                <a:gd name="connsiteX22" fmla="*/ 4839 w 9861"/>
                <a:gd name="connsiteY22" fmla="*/ 1903 h 10000"/>
                <a:gd name="connsiteX23" fmla="*/ 4799 w 9861"/>
                <a:gd name="connsiteY23" fmla="*/ 1985 h 10000"/>
                <a:gd name="connsiteX24" fmla="*/ 4757 w 9861"/>
                <a:gd name="connsiteY24" fmla="*/ 2059 h 10000"/>
                <a:gd name="connsiteX25" fmla="*/ 4713 w 9861"/>
                <a:gd name="connsiteY25" fmla="*/ 2133 h 10000"/>
                <a:gd name="connsiteX26" fmla="*/ 4667 w 9861"/>
                <a:gd name="connsiteY26" fmla="*/ 2210 h 10000"/>
                <a:gd name="connsiteX27" fmla="*/ 4622 w 9861"/>
                <a:gd name="connsiteY27" fmla="*/ 2282 h 10000"/>
                <a:gd name="connsiteX28" fmla="*/ 4574 w 9861"/>
                <a:gd name="connsiteY28" fmla="*/ 2354 h 10000"/>
                <a:gd name="connsiteX29" fmla="*/ 4527 w 9861"/>
                <a:gd name="connsiteY29" fmla="*/ 2426 h 10000"/>
                <a:gd name="connsiteX30" fmla="*/ 4478 w 9861"/>
                <a:gd name="connsiteY30" fmla="*/ 2495 h 10000"/>
                <a:gd name="connsiteX31" fmla="*/ 4427 w 9861"/>
                <a:gd name="connsiteY31" fmla="*/ 2562 h 10000"/>
                <a:gd name="connsiteX32" fmla="*/ 4376 w 9861"/>
                <a:gd name="connsiteY32" fmla="*/ 2626 h 10000"/>
                <a:gd name="connsiteX33" fmla="*/ 4323 w 9861"/>
                <a:gd name="connsiteY33" fmla="*/ 2691 h 10000"/>
                <a:gd name="connsiteX34" fmla="*/ 4271 w 9861"/>
                <a:gd name="connsiteY34" fmla="*/ 2753 h 10000"/>
                <a:gd name="connsiteX35" fmla="*/ 4214 w 9861"/>
                <a:gd name="connsiteY35" fmla="*/ 2817 h 10000"/>
                <a:gd name="connsiteX36" fmla="*/ 4159 w 9861"/>
                <a:gd name="connsiteY36" fmla="*/ 2874 h 10000"/>
                <a:gd name="connsiteX37" fmla="*/ 4103 w 9861"/>
                <a:gd name="connsiteY37" fmla="*/ 2934 h 10000"/>
                <a:gd name="connsiteX38" fmla="*/ 4045 w 9861"/>
                <a:gd name="connsiteY38" fmla="*/ 2988 h 10000"/>
                <a:gd name="connsiteX39" fmla="*/ 3987 w 9861"/>
                <a:gd name="connsiteY39" fmla="*/ 3043 h 10000"/>
                <a:gd name="connsiteX40" fmla="*/ 3928 w 9861"/>
                <a:gd name="connsiteY40" fmla="*/ 3097 h 10000"/>
                <a:gd name="connsiteX41" fmla="*/ 3868 w 9861"/>
                <a:gd name="connsiteY41" fmla="*/ 3149 h 10000"/>
                <a:gd name="connsiteX42" fmla="*/ 3806 w 9861"/>
                <a:gd name="connsiteY42" fmla="*/ 3196 h 10000"/>
                <a:gd name="connsiteX43" fmla="*/ 3744 w 9861"/>
                <a:gd name="connsiteY43" fmla="*/ 3243 h 10000"/>
                <a:gd name="connsiteX44" fmla="*/ 3858 w 9861"/>
                <a:gd name="connsiteY44" fmla="*/ 6577 h 10000"/>
                <a:gd name="connsiteX45" fmla="*/ 0 w 9861"/>
                <a:gd name="connsiteY45" fmla="*/ 9569 h 10000"/>
                <a:gd name="connsiteX46" fmla="*/ 140 w 9861"/>
                <a:gd name="connsiteY46" fmla="*/ 9623 h 10000"/>
                <a:gd name="connsiteX47" fmla="*/ 283 w 9861"/>
                <a:gd name="connsiteY47" fmla="*/ 9673 h 10000"/>
                <a:gd name="connsiteX48" fmla="*/ 423 w 9861"/>
                <a:gd name="connsiteY48" fmla="*/ 9720 h 10000"/>
                <a:gd name="connsiteX49" fmla="*/ 567 w 9861"/>
                <a:gd name="connsiteY49" fmla="*/ 9765 h 10000"/>
                <a:gd name="connsiteX50" fmla="*/ 711 w 9861"/>
                <a:gd name="connsiteY50" fmla="*/ 9804 h 10000"/>
                <a:gd name="connsiteX51" fmla="*/ 856 w 9861"/>
                <a:gd name="connsiteY51" fmla="*/ 9839 h 10000"/>
                <a:gd name="connsiteX52" fmla="*/ 1002 w 9861"/>
                <a:gd name="connsiteY52" fmla="*/ 9874 h 10000"/>
                <a:gd name="connsiteX53" fmla="*/ 1151 w 9861"/>
                <a:gd name="connsiteY53" fmla="*/ 9903 h 10000"/>
                <a:gd name="connsiteX54" fmla="*/ 1297 w 9861"/>
                <a:gd name="connsiteY54" fmla="*/ 9926 h 10000"/>
                <a:gd name="connsiteX55" fmla="*/ 1446 w 9861"/>
                <a:gd name="connsiteY55" fmla="*/ 9948 h 10000"/>
                <a:gd name="connsiteX56" fmla="*/ 1595 w 9861"/>
                <a:gd name="connsiteY56" fmla="*/ 9965 h 10000"/>
                <a:gd name="connsiteX57" fmla="*/ 1744 w 9861"/>
                <a:gd name="connsiteY57" fmla="*/ 9980 h 10000"/>
                <a:gd name="connsiteX58" fmla="*/ 1897 w 9861"/>
                <a:gd name="connsiteY58" fmla="*/ 9990 h 10000"/>
                <a:gd name="connsiteX59" fmla="*/ 2049 w 9861"/>
                <a:gd name="connsiteY59" fmla="*/ 9995 h 10000"/>
                <a:gd name="connsiteX60" fmla="*/ 2200 w 9861"/>
                <a:gd name="connsiteY60" fmla="*/ 10000 h 10000"/>
                <a:gd name="connsiteX61" fmla="*/ 2382 w 9861"/>
                <a:gd name="connsiteY61" fmla="*/ 9995 h 10000"/>
                <a:gd name="connsiteX62" fmla="*/ 2559 w 9861"/>
                <a:gd name="connsiteY62" fmla="*/ 9988 h 10000"/>
                <a:gd name="connsiteX63" fmla="*/ 2737 w 9861"/>
                <a:gd name="connsiteY63" fmla="*/ 9975 h 10000"/>
                <a:gd name="connsiteX64" fmla="*/ 2911 w 9861"/>
                <a:gd name="connsiteY64" fmla="*/ 9953 h 10000"/>
                <a:gd name="connsiteX65" fmla="*/ 3088 w 9861"/>
                <a:gd name="connsiteY65" fmla="*/ 9931 h 10000"/>
                <a:gd name="connsiteX66" fmla="*/ 3262 w 9861"/>
                <a:gd name="connsiteY66" fmla="*/ 9898 h 10000"/>
                <a:gd name="connsiteX67" fmla="*/ 3436 w 9861"/>
                <a:gd name="connsiteY67" fmla="*/ 9866 h 10000"/>
                <a:gd name="connsiteX68" fmla="*/ 3608 w 9861"/>
                <a:gd name="connsiteY68" fmla="*/ 9824 h 10000"/>
                <a:gd name="connsiteX69" fmla="*/ 3776 w 9861"/>
                <a:gd name="connsiteY69" fmla="*/ 9779 h 10000"/>
                <a:gd name="connsiteX70" fmla="*/ 3948 w 9861"/>
                <a:gd name="connsiteY70" fmla="*/ 9730 h 10000"/>
                <a:gd name="connsiteX71" fmla="*/ 4113 w 9861"/>
                <a:gd name="connsiteY71" fmla="*/ 9673 h 10000"/>
                <a:gd name="connsiteX72" fmla="*/ 4281 w 9861"/>
                <a:gd name="connsiteY72" fmla="*/ 9616 h 10000"/>
                <a:gd name="connsiteX73" fmla="*/ 4445 w 9861"/>
                <a:gd name="connsiteY73" fmla="*/ 9552 h 10000"/>
                <a:gd name="connsiteX74" fmla="*/ 4609 w 9861"/>
                <a:gd name="connsiteY74" fmla="*/ 9482 h 10000"/>
                <a:gd name="connsiteX75" fmla="*/ 4769 w 9861"/>
                <a:gd name="connsiteY75" fmla="*/ 9405 h 10000"/>
                <a:gd name="connsiteX76" fmla="*/ 4929 w 9861"/>
                <a:gd name="connsiteY76" fmla="*/ 9329 h 10000"/>
                <a:gd name="connsiteX77" fmla="*/ 5088 w 9861"/>
                <a:gd name="connsiteY77" fmla="*/ 9244 h 10000"/>
                <a:gd name="connsiteX78" fmla="*/ 5245 w 9861"/>
                <a:gd name="connsiteY78" fmla="*/ 9158 h 10000"/>
                <a:gd name="connsiteX79" fmla="*/ 5399 w 9861"/>
                <a:gd name="connsiteY79" fmla="*/ 9063 h 10000"/>
                <a:gd name="connsiteX80" fmla="*/ 5552 w 9861"/>
                <a:gd name="connsiteY80" fmla="*/ 8967 h 10000"/>
                <a:gd name="connsiteX81" fmla="*/ 5706 w 9861"/>
                <a:gd name="connsiteY81" fmla="*/ 8865 h 10000"/>
                <a:gd name="connsiteX82" fmla="*/ 5853 w 9861"/>
                <a:gd name="connsiteY82" fmla="*/ 8759 h 10000"/>
                <a:gd name="connsiteX83" fmla="*/ 6002 w 9861"/>
                <a:gd name="connsiteY83" fmla="*/ 8652 h 10000"/>
                <a:gd name="connsiteX84" fmla="*/ 6148 w 9861"/>
                <a:gd name="connsiteY84" fmla="*/ 8536 h 10000"/>
                <a:gd name="connsiteX85" fmla="*/ 6292 w 9861"/>
                <a:gd name="connsiteY85" fmla="*/ 8417 h 10000"/>
                <a:gd name="connsiteX86" fmla="*/ 6432 w 9861"/>
                <a:gd name="connsiteY86" fmla="*/ 8295 h 10000"/>
                <a:gd name="connsiteX87" fmla="*/ 6573 w 9861"/>
                <a:gd name="connsiteY87" fmla="*/ 8169 h 10000"/>
                <a:gd name="connsiteX88" fmla="*/ 6708 w 9861"/>
                <a:gd name="connsiteY88" fmla="*/ 8040 h 10000"/>
                <a:gd name="connsiteX89" fmla="*/ 6843 w 9861"/>
                <a:gd name="connsiteY89" fmla="*/ 7904 h 10000"/>
                <a:gd name="connsiteX90" fmla="*/ 6976 w 9861"/>
                <a:gd name="connsiteY90" fmla="*/ 7768 h 10000"/>
                <a:gd name="connsiteX91" fmla="*/ 7108 w 9861"/>
                <a:gd name="connsiteY91" fmla="*/ 7624 h 10000"/>
                <a:gd name="connsiteX92" fmla="*/ 7235 w 9861"/>
                <a:gd name="connsiteY92" fmla="*/ 7480 h 10000"/>
                <a:gd name="connsiteX93" fmla="*/ 7361 w 9861"/>
                <a:gd name="connsiteY93" fmla="*/ 7329 h 10000"/>
                <a:gd name="connsiteX94" fmla="*/ 7485 w 9861"/>
                <a:gd name="connsiteY94" fmla="*/ 7178 h 10000"/>
                <a:gd name="connsiteX95" fmla="*/ 7606 w 9861"/>
                <a:gd name="connsiteY95" fmla="*/ 7024 h 10000"/>
                <a:gd name="connsiteX96" fmla="*/ 7724 w 9861"/>
                <a:gd name="connsiteY96" fmla="*/ 6861 h 10000"/>
                <a:gd name="connsiteX97" fmla="*/ 7841 w 9861"/>
                <a:gd name="connsiteY97" fmla="*/ 6697 h 10000"/>
                <a:gd name="connsiteX98" fmla="*/ 7954 w 9861"/>
                <a:gd name="connsiteY98" fmla="*/ 6534 h 10000"/>
                <a:gd name="connsiteX99" fmla="*/ 8064 w 9861"/>
                <a:gd name="connsiteY99" fmla="*/ 6365 h 10000"/>
                <a:gd name="connsiteX100" fmla="*/ 8173 w 9861"/>
                <a:gd name="connsiteY100" fmla="*/ 6189 h 10000"/>
                <a:gd name="connsiteX101" fmla="*/ 8278 w 9861"/>
                <a:gd name="connsiteY101" fmla="*/ 6016 h 10000"/>
                <a:gd name="connsiteX102" fmla="*/ 8382 w 9861"/>
                <a:gd name="connsiteY102" fmla="*/ 5835 h 10000"/>
                <a:gd name="connsiteX103" fmla="*/ 8482 w 9861"/>
                <a:gd name="connsiteY103" fmla="*/ 5652 h 10000"/>
                <a:gd name="connsiteX104" fmla="*/ 8579 w 9861"/>
                <a:gd name="connsiteY104" fmla="*/ 5468 h 10000"/>
                <a:gd name="connsiteX105" fmla="*/ 8673 w 9861"/>
                <a:gd name="connsiteY105" fmla="*/ 5278 h 10000"/>
                <a:gd name="connsiteX106" fmla="*/ 8765 w 9861"/>
                <a:gd name="connsiteY106" fmla="*/ 5089 h 10000"/>
                <a:gd name="connsiteX107" fmla="*/ 8854 w 9861"/>
                <a:gd name="connsiteY107" fmla="*/ 4893 h 10000"/>
                <a:gd name="connsiteX108" fmla="*/ 8940 w 9861"/>
                <a:gd name="connsiteY108" fmla="*/ 4698 h 10000"/>
                <a:gd name="connsiteX109" fmla="*/ 9022 w 9861"/>
                <a:gd name="connsiteY109" fmla="*/ 4500 h 10000"/>
                <a:gd name="connsiteX110" fmla="*/ 9101 w 9861"/>
                <a:gd name="connsiteY110" fmla="*/ 4294 h 10000"/>
                <a:gd name="connsiteX111" fmla="*/ 9177 w 9861"/>
                <a:gd name="connsiteY111" fmla="*/ 4091 h 10000"/>
                <a:gd name="connsiteX112" fmla="*/ 9249 w 9861"/>
                <a:gd name="connsiteY112" fmla="*/ 3885 h 10000"/>
                <a:gd name="connsiteX113" fmla="*/ 9320 w 9861"/>
                <a:gd name="connsiteY113" fmla="*/ 3674 h 10000"/>
                <a:gd name="connsiteX114" fmla="*/ 9386 w 9861"/>
                <a:gd name="connsiteY114" fmla="*/ 3464 h 10000"/>
                <a:gd name="connsiteX115" fmla="*/ 9451 w 9861"/>
                <a:gd name="connsiteY115" fmla="*/ 3248 h 10000"/>
                <a:gd name="connsiteX116" fmla="*/ 9510 w 9861"/>
                <a:gd name="connsiteY116" fmla="*/ 3030 h 10000"/>
                <a:gd name="connsiteX117" fmla="*/ 9566 w 9861"/>
                <a:gd name="connsiteY117" fmla="*/ 2815 h 10000"/>
                <a:gd name="connsiteX118" fmla="*/ 9619 w 9861"/>
                <a:gd name="connsiteY118" fmla="*/ 2592 h 10000"/>
                <a:gd name="connsiteX119" fmla="*/ 9670 w 9861"/>
                <a:gd name="connsiteY119" fmla="*/ 2369 h 10000"/>
                <a:gd name="connsiteX120" fmla="*/ 9714 w 9861"/>
                <a:gd name="connsiteY120" fmla="*/ 2143 h 10000"/>
                <a:gd name="connsiteX121" fmla="*/ 9757 w 9861"/>
                <a:gd name="connsiteY121" fmla="*/ 1918 h 10000"/>
                <a:gd name="connsiteX122" fmla="*/ 9796 w 9861"/>
                <a:gd name="connsiteY122" fmla="*/ 1690 h 10000"/>
                <a:gd name="connsiteX123" fmla="*/ 9830 w 9861"/>
                <a:gd name="connsiteY123" fmla="*/ 1457 h 10000"/>
                <a:gd name="connsiteX124" fmla="*/ 9861 w 9861"/>
                <a:gd name="connsiteY124" fmla="*/ 1222 h 10000"/>
                <a:gd name="connsiteX125" fmla="*/ 7421 w 9861"/>
                <a:gd name="connsiteY125" fmla="*/ 1876 h 10000"/>
                <a:gd name="connsiteX126" fmla="*/ 5383 w 9861"/>
                <a:gd name="connsiteY126" fmla="*/ 0 h 10000"/>
                <a:gd name="connsiteX0" fmla="*/ 5561 w 10102"/>
                <a:gd name="connsiteY0" fmla="*/ 0 h 10000"/>
                <a:gd name="connsiteX1" fmla="*/ 5561 w 10102"/>
                <a:gd name="connsiteY1" fmla="*/ 0 h 10000"/>
                <a:gd name="connsiteX2" fmla="*/ 5552 w 10102"/>
                <a:gd name="connsiteY2" fmla="*/ 99 h 10000"/>
                <a:gd name="connsiteX3" fmla="*/ 5537 w 10102"/>
                <a:gd name="connsiteY3" fmla="*/ 201 h 10000"/>
                <a:gd name="connsiteX4" fmla="*/ 5524 w 10102"/>
                <a:gd name="connsiteY4" fmla="*/ 300 h 10000"/>
                <a:gd name="connsiteX5" fmla="*/ 5509 w 10102"/>
                <a:gd name="connsiteY5" fmla="*/ 394 h 10000"/>
                <a:gd name="connsiteX6" fmla="*/ 5490 w 10102"/>
                <a:gd name="connsiteY6" fmla="*/ 491 h 10000"/>
                <a:gd name="connsiteX7" fmla="*/ 5471 w 10102"/>
                <a:gd name="connsiteY7" fmla="*/ 587 h 10000"/>
                <a:gd name="connsiteX8" fmla="*/ 5450 w 10102"/>
                <a:gd name="connsiteY8" fmla="*/ 684 h 10000"/>
                <a:gd name="connsiteX9" fmla="*/ 5428 w 10102"/>
                <a:gd name="connsiteY9" fmla="*/ 778 h 10000"/>
                <a:gd name="connsiteX10" fmla="*/ 5406 w 10102"/>
                <a:gd name="connsiteY10" fmla="*/ 870 h 10000"/>
                <a:gd name="connsiteX11" fmla="*/ 5378 w 10102"/>
                <a:gd name="connsiteY11" fmla="*/ 961 h 10000"/>
                <a:gd name="connsiteX12" fmla="*/ 5354 w 10102"/>
                <a:gd name="connsiteY12" fmla="*/ 1053 h 10000"/>
                <a:gd name="connsiteX13" fmla="*/ 5325 w 10102"/>
                <a:gd name="connsiteY13" fmla="*/ 1145 h 10000"/>
                <a:gd name="connsiteX14" fmla="*/ 5294 w 10102"/>
                <a:gd name="connsiteY14" fmla="*/ 1231 h 10000"/>
                <a:gd name="connsiteX15" fmla="*/ 5264 w 10102"/>
                <a:gd name="connsiteY15" fmla="*/ 1318 h 10000"/>
                <a:gd name="connsiteX16" fmla="*/ 5232 w 10102"/>
                <a:gd name="connsiteY16" fmla="*/ 1405 h 10000"/>
                <a:gd name="connsiteX17" fmla="*/ 5199 w 10102"/>
                <a:gd name="connsiteY17" fmla="*/ 1494 h 10000"/>
                <a:gd name="connsiteX18" fmla="*/ 5164 w 10102"/>
                <a:gd name="connsiteY18" fmla="*/ 1578 h 10000"/>
                <a:gd name="connsiteX19" fmla="*/ 5127 w 10102"/>
                <a:gd name="connsiteY19" fmla="*/ 1663 h 10000"/>
                <a:gd name="connsiteX20" fmla="*/ 5089 w 10102"/>
                <a:gd name="connsiteY20" fmla="*/ 1742 h 10000"/>
                <a:gd name="connsiteX21" fmla="*/ 5049 w 10102"/>
                <a:gd name="connsiteY21" fmla="*/ 1824 h 10000"/>
                <a:gd name="connsiteX22" fmla="*/ 5009 w 10102"/>
                <a:gd name="connsiteY22" fmla="*/ 1903 h 10000"/>
                <a:gd name="connsiteX23" fmla="*/ 4969 w 10102"/>
                <a:gd name="connsiteY23" fmla="*/ 1985 h 10000"/>
                <a:gd name="connsiteX24" fmla="*/ 4926 w 10102"/>
                <a:gd name="connsiteY24" fmla="*/ 2059 h 10000"/>
                <a:gd name="connsiteX25" fmla="*/ 4881 w 10102"/>
                <a:gd name="connsiteY25" fmla="*/ 2133 h 10000"/>
                <a:gd name="connsiteX26" fmla="*/ 4835 w 10102"/>
                <a:gd name="connsiteY26" fmla="*/ 2210 h 10000"/>
                <a:gd name="connsiteX27" fmla="*/ 4789 w 10102"/>
                <a:gd name="connsiteY27" fmla="*/ 2282 h 10000"/>
                <a:gd name="connsiteX28" fmla="*/ 4740 w 10102"/>
                <a:gd name="connsiteY28" fmla="*/ 2354 h 10000"/>
                <a:gd name="connsiteX29" fmla="*/ 4693 w 10102"/>
                <a:gd name="connsiteY29" fmla="*/ 2426 h 10000"/>
                <a:gd name="connsiteX30" fmla="*/ 4643 w 10102"/>
                <a:gd name="connsiteY30" fmla="*/ 2495 h 10000"/>
                <a:gd name="connsiteX31" fmla="*/ 4591 w 10102"/>
                <a:gd name="connsiteY31" fmla="*/ 2562 h 10000"/>
                <a:gd name="connsiteX32" fmla="*/ 4540 w 10102"/>
                <a:gd name="connsiteY32" fmla="*/ 2626 h 10000"/>
                <a:gd name="connsiteX33" fmla="*/ 4486 w 10102"/>
                <a:gd name="connsiteY33" fmla="*/ 2691 h 10000"/>
                <a:gd name="connsiteX34" fmla="*/ 4433 w 10102"/>
                <a:gd name="connsiteY34" fmla="*/ 2753 h 10000"/>
                <a:gd name="connsiteX35" fmla="*/ 4375 w 10102"/>
                <a:gd name="connsiteY35" fmla="*/ 2817 h 10000"/>
                <a:gd name="connsiteX36" fmla="*/ 4320 w 10102"/>
                <a:gd name="connsiteY36" fmla="*/ 2874 h 10000"/>
                <a:gd name="connsiteX37" fmla="*/ 4263 w 10102"/>
                <a:gd name="connsiteY37" fmla="*/ 2934 h 10000"/>
                <a:gd name="connsiteX38" fmla="*/ 4204 w 10102"/>
                <a:gd name="connsiteY38" fmla="*/ 2988 h 10000"/>
                <a:gd name="connsiteX39" fmla="*/ 4145 w 10102"/>
                <a:gd name="connsiteY39" fmla="*/ 3043 h 10000"/>
                <a:gd name="connsiteX40" fmla="*/ 4085 w 10102"/>
                <a:gd name="connsiteY40" fmla="*/ 3097 h 10000"/>
                <a:gd name="connsiteX41" fmla="*/ 4025 w 10102"/>
                <a:gd name="connsiteY41" fmla="*/ 3149 h 10000"/>
                <a:gd name="connsiteX42" fmla="*/ 3962 w 10102"/>
                <a:gd name="connsiteY42" fmla="*/ 3196 h 10000"/>
                <a:gd name="connsiteX43" fmla="*/ 3899 w 10102"/>
                <a:gd name="connsiteY43" fmla="*/ 3243 h 10000"/>
                <a:gd name="connsiteX44" fmla="*/ 4014 w 10102"/>
                <a:gd name="connsiteY44" fmla="*/ 6577 h 10000"/>
                <a:gd name="connsiteX45" fmla="*/ 244 w 10102"/>
                <a:gd name="connsiteY45" fmla="*/ 9623 h 10000"/>
                <a:gd name="connsiteX46" fmla="*/ 389 w 10102"/>
                <a:gd name="connsiteY46" fmla="*/ 9673 h 10000"/>
                <a:gd name="connsiteX47" fmla="*/ 531 w 10102"/>
                <a:gd name="connsiteY47" fmla="*/ 9720 h 10000"/>
                <a:gd name="connsiteX48" fmla="*/ 677 w 10102"/>
                <a:gd name="connsiteY48" fmla="*/ 9765 h 10000"/>
                <a:gd name="connsiteX49" fmla="*/ 823 w 10102"/>
                <a:gd name="connsiteY49" fmla="*/ 9804 h 10000"/>
                <a:gd name="connsiteX50" fmla="*/ 970 w 10102"/>
                <a:gd name="connsiteY50" fmla="*/ 9839 h 10000"/>
                <a:gd name="connsiteX51" fmla="*/ 1118 w 10102"/>
                <a:gd name="connsiteY51" fmla="*/ 9874 h 10000"/>
                <a:gd name="connsiteX52" fmla="*/ 1269 w 10102"/>
                <a:gd name="connsiteY52" fmla="*/ 9903 h 10000"/>
                <a:gd name="connsiteX53" fmla="*/ 1417 w 10102"/>
                <a:gd name="connsiteY53" fmla="*/ 9926 h 10000"/>
                <a:gd name="connsiteX54" fmla="*/ 1568 w 10102"/>
                <a:gd name="connsiteY54" fmla="*/ 9948 h 10000"/>
                <a:gd name="connsiteX55" fmla="*/ 1719 w 10102"/>
                <a:gd name="connsiteY55" fmla="*/ 9965 h 10000"/>
                <a:gd name="connsiteX56" fmla="*/ 1871 w 10102"/>
                <a:gd name="connsiteY56" fmla="*/ 9980 h 10000"/>
                <a:gd name="connsiteX57" fmla="*/ 2026 w 10102"/>
                <a:gd name="connsiteY57" fmla="*/ 9990 h 10000"/>
                <a:gd name="connsiteX58" fmla="*/ 2180 w 10102"/>
                <a:gd name="connsiteY58" fmla="*/ 9995 h 10000"/>
                <a:gd name="connsiteX59" fmla="*/ 2333 w 10102"/>
                <a:gd name="connsiteY59" fmla="*/ 10000 h 10000"/>
                <a:gd name="connsiteX60" fmla="*/ 2518 w 10102"/>
                <a:gd name="connsiteY60" fmla="*/ 9995 h 10000"/>
                <a:gd name="connsiteX61" fmla="*/ 2697 w 10102"/>
                <a:gd name="connsiteY61" fmla="*/ 9988 h 10000"/>
                <a:gd name="connsiteX62" fmla="*/ 2878 w 10102"/>
                <a:gd name="connsiteY62" fmla="*/ 9975 h 10000"/>
                <a:gd name="connsiteX63" fmla="*/ 3054 w 10102"/>
                <a:gd name="connsiteY63" fmla="*/ 9953 h 10000"/>
                <a:gd name="connsiteX64" fmla="*/ 3234 w 10102"/>
                <a:gd name="connsiteY64" fmla="*/ 9931 h 10000"/>
                <a:gd name="connsiteX65" fmla="*/ 3410 w 10102"/>
                <a:gd name="connsiteY65" fmla="*/ 9898 h 10000"/>
                <a:gd name="connsiteX66" fmla="*/ 3586 w 10102"/>
                <a:gd name="connsiteY66" fmla="*/ 9866 h 10000"/>
                <a:gd name="connsiteX67" fmla="*/ 3761 w 10102"/>
                <a:gd name="connsiteY67" fmla="*/ 9824 h 10000"/>
                <a:gd name="connsiteX68" fmla="*/ 3931 w 10102"/>
                <a:gd name="connsiteY68" fmla="*/ 9779 h 10000"/>
                <a:gd name="connsiteX69" fmla="*/ 4106 w 10102"/>
                <a:gd name="connsiteY69" fmla="*/ 9730 h 10000"/>
                <a:gd name="connsiteX70" fmla="*/ 4273 w 10102"/>
                <a:gd name="connsiteY70" fmla="*/ 9673 h 10000"/>
                <a:gd name="connsiteX71" fmla="*/ 4443 w 10102"/>
                <a:gd name="connsiteY71" fmla="*/ 9616 h 10000"/>
                <a:gd name="connsiteX72" fmla="*/ 4610 w 10102"/>
                <a:gd name="connsiteY72" fmla="*/ 9552 h 10000"/>
                <a:gd name="connsiteX73" fmla="*/ 4776 w 10102"/>
                <a:gd name="connsiteY73" fmla="*/ 9482 h 10000"/>
                <a:gd name="connsiteX74" fmla="*/ 4938 w 10102"/>
                <a:gd name="connsiteY74" fmla="*/ 9405 h 10000"/>
                <a:gd name="connsiteX75" fmla="*/ 5100 w 10102"/>
                <a:gd name="connsiteY75" fmla="*/ 9329 h 10000"/>
                <a:gd name="connsiteX76" fmla="*/ 5262 w 10102"/>
                <a:gd name="connsiteY76" fmla="*/ 9244 h 10000"/>
                <a:gd name="connsiteX77" fmla="*/ 5421 w 10102"/>
                <a:gd name="connsiteY77" fmla="*/ 9158 h 10000"/>
                <a:gd name="connsiteX78" fmla="*/ 5577 w 10102"/>
                <a:gd name="connsiteY78" fmla="*/ 9063 h 10000"/>
                <a:gd name="connsiteX79" fmla="*/ 5732 w 10102"/>
                <a:gd name="connsiteY79" fmla="*/ 8967 h 10000"/>
                <a:gd name="connsiteX80" fmla="*/ 5888 w 10102"/>
                <a:gd name="connsiteY80" fmla="*/ 8865 h 10000"/>
                <a:gd name="connsiteX81" fmla="*/ 6038 w 10102"/>
                <a:gd name="connsiteY81" fmla="*/ 8759 h 10000"/>
                <a:gd name="connsiteX82" fmla="*/ 6189 w 10102"/>
                <a:gd name="connsiteY82" fmla="*/ 8652 h 10000"/>
                <a:gd name="connsiteX83" fmla="*/ 6337 w 10102"/>
                <a:gd name="connsiteY83" fmla="*/ 8536 h 10000"/>
                <a:gd name="connsiteX84" fmla="*/ 6483 w 10102"/>
                <a:gd name="connsiteY84" fmla="*/ 8417 h 10000"/>
                <a:gd name="connsiteX85" fmla="*/ 6625 w 10102"/>
                <a:gd name="connsiteY85" fmla="*/ 8295 h 10000"/>
                <a:gd name="connsiteX86" fmla="*/ 6768 w 10102"/>
                <a:gd name="connsiteY86" fmla="*/ 8169 h 10000"/>
                <a:gd name="connsiteX87" fmla="*/ 6905 w 10102"/>
                <a:gd name="connsiteY87" fmla="*/ 8040 h 10000"/>
                <a:gd name="connsiteX88" fmla="*/ 7041 w 10102"/>
                <a:gd name="connsiteY88" fmla="*/ 7904 h 10000"/>
                <a:gd name="connsiteX89" fmla="*/ 7176 w 10102"/>
                <a:gd name="connsiteY89" fmla="*/ 7768 h 10000"/>
                <a:gd name="connsiteX90" fmla="*/ 7310 w 10102"/>
                <a:gd name="connsiteY90" fmla="*/ 7624 h 10000"/>
                <a:gd name="connsiteX91" fmla="*/ 7439 w 10102"/>
                <a:gd name="connsiteY91" fmla="*/ 7480 h 10000"/>
                <a:gd name="connsiteX92" fmla="*/ 7567 w 10102"/>
                <a:gd name="connsiteY92" fmla="*/ 7329 h 10000"/>
                <a:gd name="connsiteX93" fmla="*/ 7693 w 10102"/>
                <a:gd name="connsiteY93" fmla="*/ 7178 h 10000"/>
                <a:gd name="connsiteX94" fmla="*/ 7815 w 10102"/>
                <a:gd name="connsiteY94" fmla="*/ 7024 h 10000"/>
                <a:gd name="connsiteX95" fmla="*/ 7935 w 10102"/>
                <a:gd name="connsiteY95" fmla="*/ 6861 h 10000"/>
                <a:gd name="connsiteX96" fmla="*/ 8054 w 10102"/>
                <a:gd name="connsiteY96" fmla="*/ 6697 h 10000"/>
                <a:gd name="connsiteX97" fmla="*/ 8168 w 10102"/>
                <a:gd name="connsiteY97" fmla="*/ 6534 h 10000"/>
                <a:gd name="connsiteX98" fmla="*/ 8280 w 10102"/>
                <a:gd name="connsiteY98" fmla="*/ 6365 h 10000"/>
                <a:gd name="connsiteX99" fmla="*/ 8390 w 10102"/>
                <a:gd name="connsiteY99" fmla="*/ 6189 h 10000"/>
                <a:gd name="connsiteX100" fmla="*/ 8497 w 10102"/>
                <a:gd name="connsiteY100" fmla="*/ 6016 h 10000"/>
                <a:gd name="connsiteX101" fmla="*/ 8602 w 10102"/>
                <a:gd name="connsiteY101" fmla="*/ 5835 h 10000"/>
                <a:gd name="connsiteX102" fmla="*/ 8704 w 10102"/>
                <a:gd name="connsiteY102" fmla="*/ 5652 h 10000"/>
                <a:gd name="connsiteX103" fmla="*/ 8802 w 10102"/>
                <a:gd name="connsiteY103" fmla="*/ 5468 h 10000"/>
                <a:gd name="connsiteX104" fmla="*/ 8897 w 10102"/>
                <a:gd name="connsiteY104" fmla="*/ 5278 h 10000"/>
                <a:gd name="connsiteX105" fmla="*/ 8991 w 10102"/>
                <a:gd name="connsiteY105" fmla="*/ 5089 h 10000"/>
                <a:gd name="connsiteX106" fmla="*/ 9081 w 10102"/>
                <a:gd name="connsiteY106" fmla="*/ 4893 h 10000"/>
                <a:gd name="connsiteX107" fmla="*/ 9168 w 10102"/>
                <a:gd name="connsiteY107" fmla="*/ 4698 h 10000"/>
                <a:gd name="connsiteX108" fmla="*/ 9251 w 10102"/>
                <a:gd name="connsiteY108" fmla="*/ 4500 h 10000"/>
                <a:gd name="connsiteX109" fmla="*/ 9331 w 10102"/>
                <a:gd name="connsiteY109" fmla="*/ 4294 h 10000"/>
                <a:gd name="connsiteX110" fmla="*/ 9408 w 10102"/>
                <a:gd name="connsiteY110" fmla="*/ 4091 h 10000"/>
                <a:gd name="connsiteX111" fmla="*/ 9481 w 10102"/>
                <a:gd name="connsiteY111" fmla="*/ 3885 h 10000"/>
                <a:gd name="connsiteX112" fmla="*/ 9553 w 10102"/>
                <a:gd name="connsiteY112" fmla="*/ 3674 h 10000"/>
                <a:gd name="connsiteX113" fmla="*/ 9620 w 10102"/>
                <a:gd name="connsiteY113" fmla="*/ 3464 h 10000"/>
                <a:gd name="connsiteX114" fmla="*/ 9686 w 10102"/>
                <a:gd name="connsiteY114" fmla="*/ 3248 h 10000"/>
                <a:gd name="connsiteX115" fmla="*/ 9746 w 10102"/>
                <a:gd name="connsiteY115" fmla="*/ 3030 h 10000"/>
                <a:gd name="connsiteX116" fmla="*/ 9803 w 10102"/>
                <a:gd name="connsiteY116" fmla="*/ 2815 h 10000"/>
                <a:gd name="connsiteX117" fmla="*/ 9857 w 10102"/>
                <a:gd name="connsiteY117" fmla="*/ 2592 h 10000"/>
                <a:gd name="connsiteX118" fmla="*/ 9908 w 10102"/>
                <a:gd name="connsiteY118" fmla="*/ 2369 h 10000"/>
                <a:gd name="connsiteX119" fmla="*/ 9953 w 10102"/>
                <a:gd name="connsiteY119" fmla="*/ 2143 h 10000"/>
                <a:gd name="connsiteX120" fmla="*/ 9997 w 10102"/>
                <a:gd name="connsiteY120" fmla="*/ 1918 h 10000"/>
                <a:gd name="connsiteX121" fmla="*/ 10036 w 10102"/>
                <a:gd name="connsiteY121" fmla="*/ 1690 h 10000"/>
                <a:gd name="connsiteX122" fmla="*/ 10071 w 10102"/>
                <a:gd name="connsiteY122" fmla="*/ 1457 h 10000"/>
                <a:gd name="connsiteX123" fmla="*/ 10102 w 10102"/>
                <a:gd name="connsiteY123" fmla="*/ 1222 h 10000"/>
                <a:gd name="connsiteX124" fmla="*/ 7628 w 10102"/>
                <a:gd name="connsiteY124" fmla="*/ 1876 h 10000"/>
                <a:gd name="connsiteX125" fmla="*/ 5561 w 10102"/>
                <a:gd name="connsiteY125" fmla="*/ 0 h 10000"/>
                <a:gd name="connsiteX0" fmla="*/ 5172 w 9713"/>
                <a:gd name="connsiteY0" fmla="*/ 0 h 10000"/>
                <a:gd name="connsiteX1" fmla="*/ 5172 w 9713"/>
                <a:gd name="connsiteY1" fmla="*/ 0 h 10000"/>
                <a:gd name="connsiteX2" fmla="*/ 5163 w 9713"/>
                <a:gd name="connsiteY2" fmla="*/ 99 h 10000"/>
                <a:gd name="connsiteX3" fmla="*/ 5148 w 9713"/>
                <a:gd name="connsiteY3" fmla="*/ 201 h 10000"/>
                <a:gd name="connsiteX4" fmla="*/ 5135 w 9713"/>
                <a:gd name="connsiteY4" fmla="*/ 300 h 10000"/>
                <a:gd name="connsiteX5" fmla="*/ 5120 w 9713"/>
                <a:gd name="connsiteY5" fmla="*/ 394 h 10000"/>
                <a:gd name="connsiteX6" fmla="*/ 5101 w 9713"/>
                <a:gd name="connsiteY6" fmla="*/ 491 h 10000"/>
                <a:gd name="connsiteX7" fmla="*/ 5082 w 9713"/>
                <a:gd name="connsiteY7" fmla="*/ 587 h 10000"/>
                <a:gd name="connsiteX8" fmla="*/ 5061 w 9713"/>
                <a:gd name="connsiteY8" fmla="*/ 684 h 10000"/>
                <a:gd name="connsiteX9" fmla="*/ 5039 w 9713"/>
                <a:gd name="connsiteY9" fmla="*/ 778 h 10000"/>
                <a:gd name="connsiteX10" fmla="*/ 5017 w 9713"/>
                <a:gd name="connsiteY10" fmla="*/ 870 h 10000"/>
                <a:gd name="connsiteX11" fmla="*/ 4989 w 9713"/>
                <a:gd name="connsiteY11" fmla="*/ 961 h 10000"/>
                <a:gd name="connsiteX12" fmla="*/ 4965 w 9713"/>
                <a:gd name="connsiteY12" fmla="*/ 1053 h 10000"/>
                <a:gd name="connsiteX13" fmla="*/ 4936 w 9713"/>
                <a:gd name="connsiteY13" fmla="*/ 1145 h 10000"/>
                <a:gd name="connsiteX14" fmla="*/ 4905 w 9713"/>
                <a:gd name="connsiteY14" fmla="*/ 1231 h 10000"/>
                <a:gd name="connsiteX15" fmla="*/ 4875 w 9713"/>
                <a:gd name="connsiteY15" fmla="*/ 1318 h 10000"/>
                <a:gd name="connsiteX16" fmla="*/ 4843 w 9713"/>
                <a:gd name="connsiteY16" fmla="*/ 1405 h 10000"/>
                <a:gd name="connsiteX17" fmla="*/ 4810 w 9713"/>
                <a:gd name="connsiteY17" fmla="*/ 1494 h 10000"/>
                <a:gd name="connsiteX18" fmla="*/ 4775 w 9713"/>
                <a:gd name="connsiteY18" fmla="*/ 1578 h 10000"/>
                <a:gd name="connsiteX19" fmla="*/ 4738 w 9713"/>
                <a:gd name="connsiteY19" fmla="*/ 1663 h 10000"/>
                <a:gd name="connsiteX20" fmla="*/ 4700 w 9713"/>
                <a:gd name="connsiteY20" fmla="*/ 1742 h 10000"/>
                <a:gd name="connsiteX21" fmla="*/ 4660 w 9713"/>
                <a:gd name="connsiteY21" fmla="*/ 1824 h 10000"/>
                <a:gd name="connsiteX22" fmla="*/ 4620 w 9713"/>
                <a:gd name="connsiteY22" fmla="*/ 1903 h 10000"/>
                <a:gd name="connsiteX23" fmla="*/ 4580 w 9713"/>
                <a:gd name="connsiteY23" fmla="*/ 1985 h 10000"/>
                <a:gd name="connsiteX24" fmla="*/ 4537 w 9713"/>
                <a:gd name="connsiteY24" fmla="*/ 2059 h 10000"/>
                <a:gd name="connsiteX25" fmla="*/ 4492 w 9713"/>
                <a:gd name="connsiteY25" fmla="*/ 2133 h 10000"/>
                <a:gd name="connsiteX26" fmla="*/ 4446 w 9713"/>
                <a:gd name="connsiteY26" fmla="*/ 2210 h 10000"/>
                <a:gd name="connsiteX27" fmla="*/ 4400 w 9713"/>
                <a:gd name="connsiteY27" fmla="*/ 2282 h 10000"/>
                <a:gd name="connsiteX28" fmla="*/ 4351 w 9713"/>
                <a:gd name="connsiteY28" fmla="*/ 2354 h 10000"/>
                <a:gd name="connsiteX29" fmla="*/ 4304 w 9713"/>
                <a:gd name="connsiteY29" fmla="*/ 2426 h 10000"/>
                <a:gd name="connsiteX30" fmla="*/ 4254 w 9713"/>
                <a:gd name="connsiteY30" fmla="*/ 2495 h 10000"/>
                <a:gd name="connsiteX31" fmla="*/ 4202 w 9713"/>
                <a:gd name="connsiteY31" fmla="*/ 2562 h 10000"/>
                <a:gd name="connsiteX32" fmla="*/ 4151 w 9713"/>
                <a:gd name="connsiteY32" fmla="*/ 2626 h 10000"/>
                <a:gd name="connsiteX33" fmla="*/ 4097 w 9713"/>
                <a:gd name="connsiteY33" fmla="*/ 2691 h 10000"/>
                <a:gd name="connsiteX34" fmla="*/ 4044 w 9713"/>
                <a:gd name="connsiteY34" fmla="*/ 2753 h 10000"/>
                <a:gd name="connsiteX35" fmla="*/ 3986 w 9713"/>
                <a:gd name="connsiteY35" fmla="*/ 2817 h 10000"/>
                <a:gd name="connsiteX36" fmla="*/ 3931 w 9713"/>
                <a:gd name="connsiteY36" fmla="*/ 2874 h 10000"/>
                <a:gd name="connsiteX37" fmla="*/ 3874 w 9713"/>
                <a:gd name="connsiteY37" fmla="*/ 2934 h 10000"/>
                <a:gd name="connsiteX38" fmla="*/ 3815 w 9713"/>
                <a:gd name="connsiteY38" fmla="*/ 2988 h 10000"/>
                <a:gd name="connsiteX39" fmla="*/ 3756 w 9713"/>
                <a:gd name="connsiteY39" fmla="*/ 3043 h 10000"/>
                <a:gd name="connsiteX40" fmla="*/ 3696 w 9713"/>
                <a:gd name="connsiteY40" fmla="*/ 3097 h 10000"/>
                <a:gd name="connsiteX41" fmla="*/ 3636 w 9713"/>
                <a:gd name="connsiteY41" fmla="*/ 3149 h 10000"/>
                <a:gd name="connsiteX42" fmla="*/ 3573 w 9713"/>
                <a:gd name="connsiteY42" fmla="*/ 3196 h 10000"/>
                <a:gd name="connsiteX43" fmla="*/ 3510 w 9713"/>
                <a:gd name="connsiteY43" fmla="*/ 3243 h 10000"/>
                <a:gd name="connsiteX44" fmla="*/ 3625 w 9713"/>
                <a:gd name="connsiteY44" fmla="*/ 6577 h 10000"/>
                <a:gd name="connsiteX45" fmla="*/ 0 w 9713"/>
                <a:gd name="connsiteY45" fmla="*/ 9673 h 10000"/>
                <a:gd name="connsiteX46" fmla="*/ 142 w 9713"/>
                <a:gd name="connsiteY46" fmla="*/ 9720 h 10000"/>
                <a:gd name="connsiteX47" fmla="*/ 288 w 9713"/>
                <a:gd name="connsiteY47" fmla="*/ 9765 h 10000"/>
                <a:gd name="connsiteX48" fmla="*/ 434 w 9713"/>
                <a:gd name="connsiteY48" fmla="*/ 9804 h 10000"/>
                <a:gd name="connsiteX49" fmla="*/ 581 w 9713"/>
                <a:gd name="connsiteY49" fmla="*/ 9839 h 10000"/>
                <a:gd name="connsiteX50" fmla="*/ 729 w 9713"/>
                <a:gd name="connsiteY50" fmla="*/ 9874 h 10000"/>
                <a:gd name="connsiteX51" fmla="*/ 880 w 9713"/>
                <a:gd name="connsiteY51" fmla="*/ 9903 h 10000"/>
                <a:gd name="connsiteX52" fmla="*/ 1028 w 9713"/>
                <a:gd name="connsiteY52" fmla="*/ 9926 h 10000"/>
                <a:gd name="connsiteX53" fmla="*/ 1179 w 9713"/>
                <a:gd name="connsiteY53" fmla="*/ 9948 h 10000"/>
                <a:gd name="connsiteX54" fmla="*/ 1330 w 9713"/>
                <a:gd name="connsiteY54" fmla="*/ 9965 h 10000"/>
                <a:gd name="connsiteX55" fmla="*/ 1482 w 9713"/>
                <a:gd name="connsiteY55" fmla="*/ 9980 h 10000"/>
                <a:gd name="connsiteX56" fmla="*/ 1637 w 9713"/>
                <a:gd name="connsiteY56" fmla="*/ 9990 h 10000"/>
                <a:gd name="connsiteX57" fmla="*/ 1791 w 9713"/>
                <a:gd name="connsiteY57" fmla="*/ 9995 h 10000"/>
                <a:gd name="connsiteX58" fmla="*/ 1944 w 9713"/>
                <a:gd name="connsiteY58" fmla="*/ 10000 h 10000"/>
                <a:gd name="connsiteX59" fmla="*/ 2129 w 9713"/>
                <a:gd name="connsiteY59" fmla="*/ 9995 h 10000"/>
                <a:gd name="connsiteX60" fmla="*/ 2308 w 9713"/>
                <a:gd name="connsiteY60" fmla="*/ 9988 h 10000"/>
                <a:gd name="connsiteX61" fmla="*/ 2489 w 9713"/>
                <a:gd name="connsiteY61" fmla="*/ 9975 h 10000"/>
                <a:gd name="connsiteX62" fmla="*/ 2665 w 9713"/>
                <a:gd name="connsiteY62" fmla="*/ 9953 h 10000"/>
                <a:gd name="connsiteX63" fmla="*/ 2845 w 9713"/>
                <a:gd name="connsiteY63" fmla="*/ 9931 h 10000"/>
                <a:gd name="connsiteX64" fmla="*/ 3021 w 9713"/>
                <a:gd name="connsiteY64" fmla="*/ 9898 h 10000"/>
                <a:gd name="connsiteX65" fmla="*/ 3197 w 9713"/>
                <a:gd name="connsiteY65" fmla="*/ 9866 h 10000"/>
                <a:gd name="connsiteX66" fmla="*/ 3372 w 9713"/>
                <a:gd name="connsiteY66" fmla="*/ 9824 h 10000"/>
                <a:gd name="connsiteX67" fmla="*/ 3542 w 9713"/>
                <a:gd name="connsiteY67" fmla="*/ 9779 h 10000"/>
                <a:gd name="connsiteX68" fmla="*/ 3717 w 9713"/>
                <a:gd name="connsiteY68" fmla="*/ 9730 h 10000"/>
                <a:gd name="connsiteX69" fmla="*/ 3884 w 9713"/>
                <a:gd name="connsiteY69" fmla="*/ 9673 h 10000"/>
                <a:gd name="connsiteX70" fmla="*/ 4054 w 9713"/>
                <a:gd name="connsiteY70" fmla="*/ 9616 h 10000"/>
                <a:gd name="connsiteX71" fmla="*/ 4221 w 9713"/>
                <a:gd name="connsiteY71" fmla="*/ 9552 h 10000"/>
                <a:gd name="connsiteX72" fmla="*/ 4387 w 9713"/>
                <a:gd name="connsiteY72" fmla="*/ 9482 h 10000"/>
                <a:gd name="connsiteX73" fmla="*/ 4549 w 9713"/>
                <a:gd name="connsiteY73" fmla="*/ 9405 h 10000"/>
                <a:gd name="connsiteX74" fmla="*/ 4711 w 9713"/>
                <a:gd name="connsiteY74" fmla="*/ 9329 h 10000"/>
                <a:gd name="connsiteX75" fmla="*/ 4873 w 9713"/>
                <a:gd name="connsiteY75" fmla="*/ 9244 h 10000"/>
                <a:gd name="connsiteX76" fmla="*/ 5032 w 9713"/>
                <a:gd name="connsiteY76" fmla="*/ 9158 h 10000"/>
                <a:gd name="connsiteX77" fmla="*/ 5188 w 9713"/>
                <a:gd name="connsiteY77" fmla="*/ 9063 h 10000"/>
                <a:gd name="connsiteX78" fmla="*/ 5343 w 9713"/>
                <a:gd name="connsiteY78" fmla="*/ 8967 h 10000"/>
                <a:gd name="connsiteX79" fmla="*/ 5499 w 9713"/>
                <a:gd name="connsiteY79" fmla="*/ 8865 h 10000"/>
                <a:gd name="connsiteX80" fmla="*/ 5649 w 9713"/>
                <a:gd name="connsiteY80" fmla="*/ 8759 h 10000"/>
                <a:gd name="connsiteX81" fmla="*/ 5800 w 9713"/>
                <a:gd name="connsiteY81" fmla="*/ 8652 h 10000"/>
                <a:gd name="connsiteX82" fmla="*/ 5948 w 9713"/>
                <a:gd name="connsiteY82" fmla="*/ 8536 h 10000"/>
                <a:gd name="connsiteX83" fmla="*/ 6094 w 9713"/>
                <a:gd name="connsiteY83" fmla="*/ 8417 h 10000"/>
                <a:gd name="connsiteX84" fmla="*/ 6236 w 9713"/>
                <a:gd name="connsiteY84" fmla="*/ 8295 h 10000"/>
                <a:gd name="connsiteX85" fmla="*/ 6379 w 9713"/>
                <a:gd name="connsiteY85" fmla="*/ 8169 h 10000"/>
                <a:gd name="connsiteX86" fmla="*/ 6516 w 9713"/>
                <a:gd name="connsiteY86" fmla="*/ 8040 h 10000"/>
                <a:gd name="connsiteX87" fmla="*/ 6652 w 9713"/>
                <a:gd name="connsiteY87" fmla="*/ 7904 h 10000"/>
                <a:gd name="connsiteX88" fmla="*/ 6787 w 9713"/>
                <a:gd name="connsiteY88" fmla="*/ 7768 h 10000"/>
                <a:gd name="connsiteX89" fmla="*/ 6921 w 9713"/>
                <a:gd name="connsiteY89" fmla="*/ 7624 h 10000"/>
                <a:gd name="connsiteX90" fmla="*/ 7050 w 9713"/>
                <a:gd name="connsiteY90" fmla="*/ 7480 h 10000"/>
                <a:gd name="connsiteX91" fmla="*/ 7178 w 9713"/>
                <a:gd name="connsiteY91" fmla="*/ 7329 h 10000"/>
                <a:gd name="connsiteX92" fmla="*/ 7304 w 9713"/>
                <a:gd name="connsiteY92" fmla="*/ 7178 h 10000"/>
                <a:gd name="connsiteX93" fmla="*/ 7426 w 9713"/>
                <a:gd name="connsiteY93" fmla="*/ 7024 h 10000"/>
                <a:gd name="connsiteX94" fmla="*/ 7546 w 9713"/>
                <a:gd name="connsiteY94" fmla="*/ 6861 h 10000"/>
                <a:gd name="connsiteX95" fmla="*/ 7665 w 9713"/>
                <a:gd name="connsiteY95" fmla="*/ 6697 h 10000"/>
                <a:gd name="connsiteX96" fmla="*/ 7779 w 9713"/>
                <a:gd name="connsiteY96" fmla="*/ 6534 h 10000"/>
                <a:gd name="connsiteX97" fmla="*/ 7891 w 9713"/>
                <a:gd name="connsiteY97" fmla="*/ 6365 h 10000"/>
                <a:gd name="connsiteX98" fmla="*/ 8001 w 9713"/>
                <a:gd name="connsiteY98" fmla="*/ 6189 h 10000"/>
                <a:gd name="connsiteX99" fmla="*/ 8108 w 9713"/>
                <a:gd name="connsiteY99" fmla="*/ 6016 h 10000"/>
                <a:gd name="connsiteX100" fmla="*/ 8213 w 9713"/>
                <a:gd name="connsiteY100" fmla="*/ 5835 h 10000"/>
                <a:gd name="connsiteX101" fmla="*/ 8315 w 9713"/>
                <a:gd name="connsiteY101" fmla="*/ 5652 h 10000"/>
                <a:gd name="connsiteX102" fmla="*/ 8413 w 9713"/>
                <a:gd name="connsiteY102" fmla="*/ 5468 h 10000"/>
                <a:gd name="connsiteX103" fmla="*/ 8508 w 9713"/>
                <a:gd name="connsiteY103" fmla="*/ 5278 h 10000"/>
                <a:gd name="connsiteX104" fmla="*/ 8602 w 9713"/>
                <a:gd name="connsiteY104" fmla="*/ 5089 h 10000"/>
                <a:gd name="connsiteX105" fmla="*/ 8692 w 9713"/>
                <a:gd name="connsiteY105" fmla="*/ 4893 h 10000"/>
                <a:gd name="connsiteX106" fmla="*/ 8779 w 9713"/>
                <a:gd name="connsiteY106" fmla="*/ 4698 h 10000"/>
                <a:gd name="connsiteX107" fmla="*/ 8862 w 9713"/>
                <a:gd name="connsiteY107" fmla="*/ 4500 h 10000"/>
                <a:gd name="connsiteX108" fmla="*/ 8942 w 9713"/>
                <a:gd name="connsiteY108" fmla="*/ 4294 h 10000"/>
                <a:gd name="connsiteX109" fmla="*/ 9019 w 9713"/>
                <a:gd name="connsiteY109" fmla="*/ 4091 h 10000"/>
                <a:gd name="connsiteX110" fmla="*/ 9092 w 9713"/>
                <a:gd name="connsiteY110" fmla="*/ 3885 h 10000"/>
                <a:gd name="connsiteX111" fmla="*/ 9164 w 9713"/>
                <a:gd name="connsiteY111" fmla="*/ 3674 h 10000"/>
                <a:gd name="connsiteX112" fmla="*/ 9231 w 9713"/>
                <a:gd name="connsiteY112" fmla="*/ 3464 h 10000"/>
                <a:gd name="connsiteX113" fmla="*/ 9297 w 9713"/>
                <a:gd name="connsiteY113" fmla="*/ 3248 h 10000"/>
                <a:gd name="connsiteX114" fmla="*/ 9357 w 9713"/>
                <a:gd name="connsiteY114" fmla="*/ 3030 h 10000"/>
                <a:gd name="connsiteX115" fmla="*/ 9414 w 9713"/>
                <a:gd name="connsiteY115" fmla="*/ 2815 h 10000"/>
                <a:gd name="connsiteX116" fmla="*/ 9468 w 9713"/>
                <a:gd name="connsiteY116" fmla="*/ 2592 h 10000"/>
                <a:gd name="connsiteX117" fmla="*/ 9519 w 9713"/>
                <a:gd name="connsiteY117" fmla="*/ 2369 h 10000"/>
                <a:gd name="connsiteX118" fmla="*/ 9564 w 9713"/>
                <a:gd name="connsiteY118" fmla="*/ 2143 h 10000"/>
                <a:gd name="connsiteX119" fmla="*/ 9608 w 9713"/>
                <a:gd name="connsiteY119" fmla="*/ 1918 h 10000"/>
                <a:gd name="connsiteX120" fmla="*/ 9647 w 9713"/>
                <a:gd name="connsiteY120" fmla="*/ 1690 h 10000"/>
                <a:gd name="connsiteX121" fmla="*/ 9682 w 9713"/>
                <a:gd name="connsiteY121" fmla="*/ 1457 h 10000"/>
                <a:gd name="connsiteX122" fmla="*/ 9713 w 9713"/>
                <a:gd name="connsiteY122" fmla="*/ 1222 h 10000"/>
                <a:gd name="connsiteX123" fmla="*/ 7239 w 9713"/>
                <a:gd name="connsiteY123" fmla="*/ 1876 h 10000"/>
                <a:gd name="connsiteX124" fmla="*/ 5172 w 9713"/>
                <a:gd name="connsiteY124" fmla="*/ 0 h 10000"/>
                <a:gd name="connsiteX0" fmla="*/ 5179 w 9854"/>
                <a:gd name="connsiteY0" fmla="*/ 0 h 10000"/>
                <a:gd name="connsiteX1" fmla="*/ 5179 w 9854"/>
                <a:gd name="connsiteY1" fmla="*/ 0 h 10000"/>
                <a:gd name="connsiteX2" fmla="*/ 5170 w 9854"/>
                <a:gd name="connsiteY2" fmla="*/ 99 h 10000"/>
                <a:gd name="connsiteX3" fmla="*/ 5154 w 9854"/>
                <a:gd name="connsiteY3" fmla="*/ 201 h 10000"/>
                <a:gd name="connsiteX4" fmla="*/ 5141 w 9854"/>
                <a:gd name="connsiteY4" fmla="*/ 300 h 10000"/>
                <a:gd name="connsiteX5" fmla="*/ 5125 w 9854"/>
                <a:gd name="connsiteY5" fmla="*/ 394 h 10000"/>
                <a:gd name="connsiteX6" fmla="*/ 5106 w 9854"/>
                <a:gd name="connsiteY6" fmla="*/ 491 h 10000"/>
                <a:gd name="connsiteX7" fmla="*/ 5086 w 9854"/>
                <a:gd name="connsiteY7" fmla="*/ 587 h 10000"/>
                <a:gd name="connsiteX8" fmla="*/ 5065 w 9854"/>
                <a:gd name="connsiteY8" fmla="*/ 684 h 10000"/>
                <a:gd name="connsiteX9" fmla="*/ 5042 w 9854"/>
                <a:gd name="connsiteY9" fmla="*/ 778 h 10000"/>
                <a:gd name="connsiteX10" fmla="*/ 5019 w 9854"/>
                <a:gd name="connsiteY10" fmla="*/ 870 h 10000"/>
                <a:gd name="connsiteX11" fmla="*/ 4990 w 9854"/>
                <a:gd name="connsiteY11" fmla="*/ 961 h 10000"/>
                <a:gd name="connsiteX12" fmla="*/ 4966 w 9854"/>
                <a:gd name="connsiteY12" fmla="*/ 1053 h 10000"/>
                <a:gd name="connsiteX13" fmla="*/ 4936 w 9854"/>
                <a:gd name="connsiteY13" fmla="*/ 1145 h 10000"/>
                <a:gd name="connsiteX14" fmla="*/ 4904 w 9854"/>
                <a:gd name="connsiteY14" fmla="*/ 1231 h 10000"/>
                <a:gd name="connsiteX15" fmla="*/ 4873 w 9854"/>
                <a:gd name="connsiteY15" fmla="*/ 1318 h 10000"/>
                <a:gd name="connsiteX16" fmla="*/ 4840 w 9854"/>
                <a:gd name="connsiteY16" fmla="*/ 1405 h 10000"/>
                <a:gd name="connsiteX17" fmla="*/ 4806 w 9854"/>
                <a:gd name="connsiteY17" fmla="*/ 1494 h 10000"/>
                <a:gd name="connsiteX18" fmla="*/ 4770 w 9854"/>
                <a:gd name="connsiteY18" fmla="*/ 1578 h 10000"/>
                <a:gd name="connsiteX19" fmla="*/ 4732 w 9854"/>
                <a:gd name="connsiteY19" fmla="*/ 1663 h 10000"/>
                <a:gd name="connsiteX20" fmla="*/ 4693 w 9854"/>
                <a:gd name="connsiteY20" fmla="*/ 1742 h 10000"/>
                <a:gd name="connsiteX21" fmla="*/ 4652 w 9854"/>
                <a:gd name="connsiteY21" fmla="*/ 1824 h 10000"/>
                <a:gd name="connsiteX22" fmla="*/ 4611 w 9854"/>
                <a:gd name="connsiteY22" fmla="*/ 1903 h 10000"/>
                <a:gd name="connsiteX23" fmla="*/ 4569 w 9854"/>
                <a:gd name="connsiteY23" fmla="*/ 1985 h 10000"/>
                <a:gd name="connsiteX24" fmla="*/ 4525 w 9854"/>
                <a:gd name="connsiteY24" fmla="*/ 2059 h 10000"/>
                <a:gd name="connsiteX25" fmla="*/ 4479 w 9854"/>
                <a:gd name="connsiteY25" fmla="*/ 2133 h 10000"/>
                <a:gd name="connsiteX26" fmla="*/ 4431 w 9854"/>
                <a:gd name="connsiteY26" fmla="*/ 2210 h 10000"/>
                <a:gd name="connsiteX27" fmla="*/ 4384 w 9854"/>
                <a:gd name="connsiteY27" fmla="*/ 2282 h 10000"/>
                <a:gd name="connsiteX28" fmla="*/ 4334 w 9854"/>
                <a:gd name="connsiteY28" fmla="*/ 2354 h 10000"/>
                <a:gd name="connsiteX29" fmla="*/ 4285 w 9854"/>
                <a:gd name="connsiteY29" fmla="*/ 2426 h 10000"/>
                <a:gd name="connsiteX30" fmla="*/ 4234 w 9854"/>
                <a:gd name="connsiteY30" fmla="*/ 2495 h 10000"/>
                <a:gd name="connsiteX31" fmla="*/ 4180 w 9854"/>
                <a:gd name="connsiteY31" fmla="*/ 2562 h 10000"/>
                <a:gd name="connsiteX32" fmla="*/ 4128 w 9854"/>
                <a:gd name="connsiteY32" fmla="*/ 2626 h 10000"/>
                <a:gd name="connsiteX33" fmla="*/ 4072 w 9854"/>
                <a:gd name="connsiteY33" fmla="*/ 2691 h 10000"/>
                <a:gd name="connsiteX34" fmla="*/ 4017 w 9854"/>
                <a:gd name="connsiteY34" fmla="*/ 2753 h 10000"/>
                <a:gd name="connsiteX35" fmla="*/ 3958 w 9854"/>
                <a:gd name="connsiteY35" fmla="*/ 2817 h 10000"/>
                <a:gd name="connsiteX36" fmla="*/ 3901 w 9854"/>
                <a:gd name="connsiteY36" fmla="*/ 2874 h 10000"/>
                <a:gd name="connsiteX37" fmla="*/ 3842 w 9854"/>
                <a:gd name="connsiteY37" fmla="*/ 2934 h 10000"/>
                <a:gd name="connsiteX38" fmla="*/ 3782 w 9854"/>
                <a:gd name="connsiteY38" fmla="*/ 2988 h 10000"/>
                <a:gd name="connsiteX39" fmla="*/ 3721 w 9854"/>
                <a:gd name="connsiteY39" fmla="*/ 3043 h 10000"/>
                <a:gd name="connsiteX40" fmla="*/ 3659 w 9854"/>
                <a:gd name="connsiteY40" fmla="*/ 3097 h 10000"/>
                <a:gd name="connsiteX41" fmla="*/ 3597 w 9854"/>
                <a:gd name="connsiteY41" fmla="*/ 3149 h 10000"/>
                <a:gd name="connsiteX42" fmla="*/ 3533 w 9854"/>
                <a:gd name="connsiteY42" fmla="*/ 3196 h 10000"/>
                <a:gd name="connsiteX43" fmla="*/ 3468 w 9854"/>
                <a:gd name="connsiteY43" fmla="*/ 3243 h 10000"/>
                <a:gd name="connsiteX44" fmla="*/ 3586 w 9854"/>
                <a:gd name="connsiteY44" fmla="*/ 6577 h 10000"/>
                <a:gd name="connsiteX45" fmla="*/ 0 w 9854"/>
                <a:gd name="connsiteY45" fmla="*/ 9720 h 10000"/>
                <a:gd name="connsiteX46" fmla="*/ 151 w 9854"/>
                <a:gd name="connsiteY46" fmla="*/ 9765 h 10000"/>
                <a:gd name="connsiteX47" fmla="*/ 301 w 9854"/>
                <a:gd name="connsiteY47" fmla="*/ 9804 h 10000"/>
                <a:gd name="connsiteX48" fmla="*/ 452 w 9854"/>
                <a:gd name="connsiteY48" fmla="*/ 9839 h 10000"/>
                <a:gd name="connsiteX49" fmla="*/ 605 w 9854"/>
                <a:gd name="connsiteY49" fmla="*/ 9874 h 10000"/>
                <a:gd name="connsiteX50" fmla="*/ 760 w 9854"/>
                <a:gd name="connsiteY50" fmla="*/ 9903 h 10000"/>
                <a:gd name="connsiteX51" fmla="*/ 912 w 9854"/>
                <a:gd name="connsiteY51" fmla="*/ 9926 h 10000"/>
                <a:gd name="connsiteX52" fmla="*/ 1068 w 9854"/>
                <a:gd name="connsiteY52" fmla="*/ 9948 h 10000"/>
                <a:gd name="connsiteX53" fmla="*/ 1223 w 9854"/>
                <a:gd name="connsiteY53" fmla="*/ 9965 h 10000"/>
                <a:gd name="connsiteX54" fmla="*/ 1380 w 9854"/>
                <a:gd name="connsiteY54" fmla="*/ 9980 h 10000"/>
                <a:gd name="connsiteX55" fmla="*/ 1539 w 9854"/>
                <a:gd name="connsiteY55" fmla="*/ 9990 h 10000"/>
                <a:gd name="connsiteX56" fmla="*/ 1698 w 9854"/>
                <a:gd name="connsiteY56" fmla="*/ 9995 h 10000"/>
                <a:gd name="connsiteX57" fmla="*/ 1855 w 9854"/>
                <a:gd name="connsiteY57" fmla="*/ 10000 h 10000"/>
                <a:gd name="connsiteX58" fmla="*/ 2046 w 9854"/>
                <a:gd name="connsiteY58" fmla="*/ 9995 h 10000"/>
                <a:gd name="connsiteX59" fmla="*/ 2230 w 9854"/>
                <a:gd name="connsiteY59" fmla="*/ 9988 h 10000"/>
                <a:gd name="connsiteX60" fmla="*/ 2417 w 9854"/>
                <a:gd name="connsiteY60" fmla="*/ 9975 h 10000"/>
                <a:gd name="connsiteX61" fmla="*/ 2598 w 9854"/>
                <a:gd name="connsiteY61" fmla="*/ 9953 h 10000"/>
                <a:gd name="connsiteX62" fmla="*/ 2783 w 9854"/>
                <a:gd name="connsiteY62" fmla="*/ 9931 h 10000"/>
                <a:gd name="connsiteX63" fmla="*/ 2964 w 9854"/>
                <a:gd name="connsiteY63" fmla="*/ 9898 h 10000"/>
                <a:gd name="connsiteX64" fmla="*/ 3145 w 9854"/>
                <a:gd name="connsiteY64" fmla="*/ 9866 h 10000"/>
                <a:gd name="connsiteX65" fmla="*/ 3326 w 9854"/>
                <a:gd name="connsiteY65" fmla="*/ 9824 h 10000"/>
                <a:gd name="connsiteX66" fmla="*/ 3501 w 9854"/>
                <a:gd name="connsiteY66" fmla="*/ 9779 h 10000"/>
                <a:gd name="connsiteX67" fmla="*/ 3681 w 9854"/>
                <a:gd name="connsiteY67" fmla="*/ 9730 h 10000"/>
                <a:gd name="connsiteX68" fmla="*/ 3853 w 9854"/>
                <a:gd name="connsiteY68" fmla="*/ 9673 h 10000"/>
                <a:gd name="connsiteX69" fmla="*/ 4028 w 9854"/>
                <a:gd name="connsiteY69" fmla="*/ 9616 h 10000"/>
                <a:gd name="connsiteX70" fmla="*/ 4200 w 9854"/>
                <a:gd name="connsiteY70" fmla="*/ 9552 h 10000"/>
                <a:gd name="connsiteX71" fmla="*/ 4371 w 9854"/>
                <a:gd name="connsiteY71" fmla="*/ 9482 h 10000"/>
                <a:gd name="connsiteX72" fmla="*/ 4537 w 9854"/>
                <a:gd name="connsiteY72" fmla="*/ 9405 h 10000"/>
                <a:gd name="connsiteX73" fmla="*/ 4704 w 9854"/>
                <a:gd name="connsiteY73" fmla="*/ 9329 h 10000"/>
                <a:gd name="connsiteX74" fmla="*/ 4871 w 9854"/>
                <a:gd name="connsiteY74" fmla="*/ 9244 h 10000"/>
                <a:gd name="connsiteX75" fmla="*/ 5035 w 9854"/>
                <a:gd name="connsiteY75" fmla="*/ 9158 h 10000"/>
                <a:gd name="connsiteX76" fmla="*/ 5195 w 9854"/>
                <a:gd name="connsiteY76" fmla="*/ 9063 h 10000"/>
                <a:gd name="connsiteX77" fmla="*/ 5355 w 9854"/>
                <a:gd name="connsiteY77" fmla="*/ 8967 h 10000"/>
                <a:gd name="connsiteX78" fmla="*/ 5515 w 9854"/>
                <a:gd name="connsiteY78" fmla="*/ 8865 h 10000"/>
                <a:gd name="connsiteX79" fmla="*/ 5670 w 9854"/>
                <a:gd name="connsiteY79" fmla="*/ 8759 h 10000"/>
                <a:gd name="connsiteX80" fmla="*/ 5825 w 9854"/>
                <a:gd name="connsiteY80" fmla="*/ 8652 h 10000"/>
                <a:gd name="connsiteX81" fmla="*/ 5978 w 9854"/>
                <a:gd name="connsiteY81" fmla="*/ 8536 h 10000"/>
                <a:gd name="connsiteX82" fmla="*/ 6128 w 9854"/>
                <a:gd name="connsiteY82" fmla="*/ 8417 h 10000"/>
                <a:gd name="connsiteX83" fmla="*/ 6274 w 9854"/>
                <a:gd name="connsiteY83" fmla="*/ 8295 h 10000"/>
                <a:gd name="connsiteX84" fmla="*/ 6421 w 9854"/>
                <a:gd name="connsiteY84" fmla="*/ 8169 h 10000"/>
                <a:gd name="connsiteX85" fmla="*/ 6563 w 9854"/>
                <a:gd name="connsiteY85" fmla="*/ 8040 h 10000"/>
                <a:gd name="connsiteX86" fmla="*/ 6703 w 9854"/>
                <a:gd name="connsiteY86" fmla="*/ 7904 h 10000"/>
                <a:gd name="connsiteX87" fmla="*/ 6842 w 9854"/>
                <a:gd name="connsiteY87" fmla="*/ 7768 h 10000"/>
                <a:gd name="connsiteX88" fmla="*/ 6980 w 9854"/>
                <a:gd name="connsiteY88" fmla="*/ 7624 h 10000"/>
                <a:gd name="connsiteX89" fmla="*/ 7112 w 9854"/>
                <a:gd name="connsiteY89" fmla="*/ 7480 h 10000"/>
                <a:gd name="connsiteX90" fmla="*/ 7244 w 9854"/>
                <a:gd name="connsiteY90" fmla="*/ 7329 h 10000"/>
                <a:gd name="connsiteX91" fmla="*/ 7374 w 9854"/>
                <a:gd name="connsiteY91" fmla="*/ 7178 h 10000"/>
                <a:gd name="connsiteX92" fmla="*/ 7499 w 9854"/>
                <a:gd name="connsiteY92" fmla="*/ 7024 h 10000"/>
                <a:gd name="connsiteX93" fmla="*/ 7623 w 9854"/>
                <a:gd name="connsiteY93" fmla="*/ 6861 h 10000"/>
                <a:gd name="connsiteX94" fmla="*/ 7745 w 9854"/>
                <a:gd name="connsiteY94" fmla="*/ 6697 h 10000"/>
                <a:gd name="connsiteX95" fmla="*/ 7863 w 9854"/>
                <a:gd name="connsiteY95" fmla="*/ 6534 h 10000"/>
                <a:gd name="connsiteX96" fmla="*/ 7978 w 9854"/>
                <a:gd name="connsiteY96" fmla="*/ 6365 h 10000"/>
                <a:gd name="connsiteX97" fmla="*/ 8091 w 9854"/>
                <a:gd name="connsiteY97" fmla="*/ 6189 h 10000"/>
                <a:gd name="connsiteX98" fmla="*/ 8202 w 9854"/>
                <a:gd name="connsiteY98" fmla="*/ 6016 h 10000"/>
                <a:gd name="connsiteX99" fmla="*/ 8310 w 9854"/>
                <a:gd name="connsiteY99" fmla="*/ 5835 h 10000"/>
                <a:gd name="connsiteX100" fmla="*/ 8415 w 9854"/>
                <a:gd name="connsiteY100" fmla="*/ 5652 h 10000"/>
                <a:gd name="connsiteX101" fmla="*/ 8516 w 9854"/>
                <a:gd name="connsiteY101" fmla="*/ 5468 h 10000"/>
                <a:gd name="connsiteX102" fmla="*/ 8613 w 9854"/>
                <a:gd name="connsiteY102" fmla="*/ 5278 h 10000"/>
                <a:gd name="connsiteX103" fmla="*/ 8710 w 9854"/>
                <a:gd name="connsiteY103" fmla="*/ 5089 h 10000"/>
                <a:gd name="connsiteX104" fmla="*/ 8803 w 9854"/>
                <a:gd name="connsiteY104" fmla="*/ 4893 h 10000"/>
                <a:gd name="connsiteX105" fmla="*/ 8892 w 9854"/>
                <a:gd name="connsiteY105" fmla="*/ 4698 h 10000"/>
                <a:gd name="connsiteX106" fmla="*/ 8978 w 9854"/>
                <a:gd name="connsiteY106" fmla="*/ 4500 h 10000"/>
                <a:gd name="connsiteX107" fmla="*/ 9060 w 9854"/>
                <a:gd name="connsiteY107" fmla="*/ 4294 h 10000"/>
                <a:gd name="connsiteX108" fmla="*/ 9139 w 9854"/>
                <a:gd name="connsiteY108" fmla="*/ 4091 h 10000"/>
                <a:gd name="connsiteX109" fmla="*/ 9215 w 9854"/>
                <a:gd name="connsiteY109" fmla="*/ 3885 h 10000"/>
                <a:gd name="connsiteX110" fmla="*/ 9289 w 9854"/>
                <a:gd name="connsiteY110" fmla="*/ 3674 h 10000"/>
                <a:gd name="connsiteX111" fmla="*/ 9358 w 9854"/>
                <a:gd name="connsiteY111" fmla="*/ 3464 h 10000"/>
                <a:gd name="connsiteX112" fmla="*/ 9426 w 9854"/>
                <a:gd name="connsiteY112" fmla="*/ 3248 h 10000"/>
                <a:gd name="connsiteX113" fmla="*/ 9487 w 9854"/>
                <a:gd name="connsiteY113" fmla="*/ 3030 h 10000"/>
                <a:gd name="connsiteX114" fmla="*/ 9546 w 9854"/>
                <a:gd name="connsiteY114" fmla="*/ 2815 h 10000"/>
                <a:gd name="connsiteX115" fmla="*/ 9602 w 9854"/>
                <a:gd name="connsiteY115" fmla="*/ 2592 h 10000"/>
                <a:gd name="connsiteX116" fmla="*/ 9654 w 9854"/>
                <a:gd name="connsiteY116" fmla="*/ 2369 h 10000"/>
                <a:gd name="connsiteX117" fmla="*/ 9701 w 9854"/>
                <a:gd name="connsiteY117" fmla="*/ 2143 h 10000"/>
                <a:gd name="connsiteX118" fmla="*/ 9746 w 9854"/>
                <a:gd name="connsiteY118" fmla="*/ 1918 h 10000"/>
                <a:gd name="connsiteX119" fmla="*/ 9786 w 9854"/>
                <a:gd name="connsiteY119" fmla="*/ 1690 h 10000"/>
                <a:gd name="connsiteX120" fmla="*/ 9822 w 9854"/>
                <a:gd name="connsiteY120" fmla="*/ 1457 h 10000"/>
                <a:gd name="connsiteX121" fmla="*/ 9854 w 9854"/>
                <a:gd name="connsiteY121" fmla="*/ 1222 h 10000"/>
                <a:gd name="connsiteX122" fmla="*/ 7307 w 9854"/>
                <a:gd name="connsiteY122" fmla="*/ 1876 h 10000"/>
                <a:gd name="connsiteX123" fmla="*/ 5179 w 9854"/>
                <a:gd name="connsiteY123" fmla="*/ 0 h 10000"/>
                <a:gd name="connsiteX0" fmla="*/ 5325 w 10069"/>
                <a:gd name="connsiteY0" fmla="*/ 0 h 10011"/>
                <a:gd name="connsiteX1" fmla="*/ 5325 w 10069"/>
                <a:gd name="connsiteY1" fmla="*/ 0 h 10011"/>
                <a:gd name="connsiteX2" fmla="*/ 5316 w 10069"/>
                <a:gd name="connsiteY2" fmla="*/ 99 h 10011"/>
                <a:gd name="connsiteX3" fmla="*/ 5299 w 10069"/>
                <a:gd name="connsiteY3" fmla="*/ 201 h 10011"/>
                <a:gd name="connsiteX4" fmla="*/ 5286 w 10069"/>
                <a:gd name="connsiteY4" fmla="*/ 300 h 10011"/>
                <a:gd name="connsiteX5" fmla="*/ 5270 w 10069"/>
                <a:gd name="connsiteY5" fmla="*/ 394 h 10011"/>
                <a:gd name="connsiteX6" fmla="*/ 5251 w 10069"/>
                <a:gd name="connsiteY6" fmla="*/ 491 h 10011"/>
                <a:gd name="connsiteX7" fmla="*/ 5230 w 10069"/>
                <a:gd name="connsiteY7" fmla="*/ 587 h 10011"/>
                <a:gd name="connsiteX8" fmla="*/ 5209 w 10069"/>
                <a:gd name="connsiteY8" fmla="*/ 684 h 10011"/>
                <a:gd name="connsiteX9" fmla="*/ 5186 w 10069"/>
                <a:gd name="connsiteY9" fmla="*/ 778 h 10011"/>
                <a:gd name="connsiteX10" fmla="*/ 5162 w 10069"/>
                <a:gd name="connsiteY10" fmla="*/ 870 h 10011"/>
                <a:gd name="connsiteX11" fmla="*/ 5133 w 10069"/>
                <a:gd name="connsiteY11" fmla="*/ 961 h 10011"/>
                <a:gd name="connsiteX12" fmla="*/ 5109 w 10069"/>
                <a:gd name="connsiteY12" fmla="*/ 1053 h 10011"/>
                <a:gd name="connsiteX13" fmla="*/ 5078 w 10069"/>
                <a:gd name="connsiteY13" fmla="*/ 1145 h 10011"/>
                <a:gd name="connsiteX14" fmla="*/ 5046 w 10069"/>
                <a:gd name="connsiteY14" fmla="*/ 1231 h 10011"/>
                <a:gd name="connsiteX15" fmla="*/ 5014 w 10069"/>
                <a:gd name="connsiteY15" fmla="*/ 1318 h 10011"/>
                <a:gd name="connsiteX16" fmla="*/ 4981 w 10069"/>
                <a:gd name="connsiteY16" fmla="*/ 1405 h 10011"/>
                <a:gd name="connsiteX17" fmla="*/ 4946 w 10069"/>
                <a:gd name="connsiteY17" fmla="*/ 1494 h 10011"/>
                <a:gd name="connsiteX18" fmla="*/ 4910 w 10069"/>
                <a:gd name="connsiteY18" fmla="*/ 1578 h 10011"/>
                <a:gd name="connsiteX19" fmla="*/ 4871 w 10069"/>
                <a:gd name="connsiteY19" fmla="*/ 1663 h 10011"/>
                <a:gd name="connsiteX20" fmla="*/ 4832 w 10069"/>
                <a:gd name="connsiteY20" fmla="*/ 1742 h 10011"/>
                <a:gd name="connsiteX21" fmla="*/ 4790 w 10069"/>
                <a:gd name="connsiteY21" fmla="*/ 1824 h 10011"/>
                <a:gd name="connsiteX22" fmla="*/ 4748 w 10069"/>
                <a:gd name="connsiteY22" fmla="*/ 1903 h 10011"/>
                <a:gd name="connsiteX23" fmla="*/ 4706 w 10069"/>
                <a:gd name="connsiteY23" fmla="*/ 1985 h 10011"/>
                <a:gd name="connsiteX24" fmla="*/ 4661 w 10069"/>
                <a:gd name="connsiteY24" fmla="*/ 2059 h 10011"/>
                <a:gd name="connsiteX25" fmla="*/ 4614 w 10069"/>
                <a:gd name="connsiteY25" fmla="*/ 2133 h 10011"/>
                <a:gd name="connsiteX26" fmla="*/ 4566 w 10069"/>
                <a:gd name="connsiteY26" fmla="*/ 2210 h 10011"/>
                <a:gd name="connsiteX27" fmla="*/ 4518 w 10069"/>
                <a:gd name="connsiteY27" fmla="*/ 2282 h 10011"/>
                <a:gd name="connsiteX28" fmla="*/ 4467 w 10069"/>
                <a:gd name="connsiteY28" fmla="*/ 2354 h 10011"/>
                <a:gd name="connsiteX29" fmla="*/ 4417 w 10069"/>
                <a:gd name="connsiteY29" fmla="*/ 2426 h 10011"/>
                <a:gd name="connsiteX30" fmla="*/ 4366 w 10069"/>
                <a:gd name="connsiteY30" fmla="*/ 2495 h 10011"/>
                <a:gd name="connsiteX31" fmla="*/ 4311 w 10069"/>
                <a:gd name="connsiteY31" fmla="*/ 2562 h 10011"/>
                <a:gd name="connsiteX32" fmla="*/ 4258 w 10069"/>
                <a:gd name="connsiteY32" fmla="*/ 2626 h 10011"/>
                <a:gd name="connsiteX33" fmla="*/ 4201 w 10069"/>
                <a:gd name="connsiteY33" fmla="*/ 2691 h 10011"/>
                <a:gd name="connsiteX34" fmla="*/ 4146 w 10069"/>
                <a:gd name="connsiteY34" fmla="*/ 2753 h 10011"/>
                <a:gd name="connsiteX35" fmla="*/ 4086 w 10069"/>
                <a:gd name="connsiteY35" fmla="*/ 2817 h 10011"/>
                <a:gd name="connsiteX36" fmla="*/ 4028 w 10069"/>
                <a:gd name="connsiteY36" fmla="*/ 2874 h 10011"/>
                <a:gd name="connsiteX37" fmla="*/ 3968 w 10069"/>
                <a:gd name="connsiteY37" fmla="*/ 2934 h 10011"/>
                <a:gd name="connsiteX38" fmla="*/ 3907 w 10069"/>
                <a:gd name="connsiteY38" fmla="*/ 2988 h 10011"/>
                <a:gd name="connsiteX39" fmla="*/ 3845 w 10069"/>
                <a:gd name="connsiteY39" fmla="*/ 3043 h 10011"/>
                <a:gd name="connsiteX40" fmla="*/ 3782 w 10069"/>
                <a:gd name="connsiteY40" fmla="*/ 3097 h 10011"/>
                <a:gd name="connsiteX41" fmla="*/ 3719 w 10069"/>
                <a:gd name="connsiteY41" fmla="*/ 3149 h 10011"/>
                <a:gd name="connsiteX42" fmla="*/ 3654 w 10069"/>
                <a:gd name="connsiteY42" fmla="*/ 3196 h 10011"/>
                <a:gd name="connsiteX43" fmla="*/ 3588 w 10069"/>
                <a:gd name="connsiteY43" fmla="*/ 3243 h 10011"/>
                <a:gd name="connsiteX44" fmla="*/ 3708 w 10069"/>
                <a:gd name="connsiteY44" fmla="*/ 6577 h 10011"/>
                <a:gd name="connsiteX45" fmla="*/ 222 w 10069"/>
                <a:gd name="connsiteY45" fmla="*/ 9765 h 10011"/>
                <a:gd name="connsiteX46" fmla="*/ 374 w 10069"/>
                <a:gd name="connsiteY46" fmla="*/ 9804 h 10011"/>
                <a:gd name="connsiteX47" fmla="*/ 528 w 10069"/>
                <a:gd name="connsiteY47" fmla="*/ 9839 h 10011"/>
                <a:gd name="connsiteX48" fmla="*/ 683 w 10069"/>
                <a:gd name="connsiteY48" fmla="*/ 9874 h 10011"/>
                <a:gd name="connsiteX49" fmla="*/ 840 w 10069"/>
                <a:gd name="connsiteY49" fmla="*/ 9903 h 10011"/>
                <a:gd name="connsiteX50" fmla="*/ 995 w 10069"/>
                <a:gd name="connsiteY50" fmla="*/ 9926 h 10011"/>
                <a:gd name="connsiteX51" fmla="*/ 1153 w 10069"/>
                <a:gd name="connsiteY51" fmla="*/ 9948 h 10011"/>
                <a:gd name="connsiteX52" fmla="*/ 1310 w 10069"/>
                <a:gd name="connsiteY52" fmla="*/ 9965 h 10011"/>
                <a:gd name="connsiteX53" fmla="*/ 1469 w 10069"/>
                <a:gd name="connsiteY53" fmla="*/ 9980 h 10011"/>
                <a:gd name="connsiteX54" fmla="*/ 1631 w 10069"/>
                <a:gd name="connsiteY54" fmla="*/ 9990 h 10011"/>
                <a:gd name="connsiteX55" fmla="*/ 1792 w 10069"/>
                <a:gd name="connsiteY55" fmla="*/ 9995 h 10011"/>
                <a:gd name="connsiteX56" fmla="*/ 1951 w 10069"/>
                <a:gd name="connsiteY56" fmla="*/ 10000 h 10011"/>
                <a:gd name="connsiteX57" fmla="*/ 2145 w 10069"/>
                <a:gd name="connsiteY57" fmla="*/ 9995 h 10011"/>
                <a:gd name="connsiteX58" fmla="*/ 2332 w 10069"/>
                <a:gd name="connsiteY58" fmla="*/ 9988 h 10011"/>
                <a:gd name="connsiteX59" fmla="*/ 2522 w 10069"/>
                <a:gd name="connsiteY59" fmla="*/ 9975 h 10011"/>
                <a:gd name="connsiteX60" fmla="*/ 2705 w 10069"/>
                <a:gd name="connsiteY60" fmla="*/ 9953 h 10011"/>
                <a:gd name="connsiteX61" fmla="*/ 2893 w 10069"/>
                <a:gd name="connsiteY61" fmla="*/ 9931 h 10011"/>
                <a:gd name="connsiteX62" fmla="*/ 3077 w 10069"/>
                <a:gd name="connsiteY62" fmla="*/ 9898 h 10011"/>
                <a:gd name="connsiteX63" fmla="*/ 3261 w 10069"/>
                <a:gd name="connsiteY63" fmla="*/ 9866 h 10011"/>
                <a:gd name="connsiteX64" fmla="*/ 3444 w 10069"/>
                <a:gd name="connsiteY64" fmla="*/ 9824 h 10011"/>
                <a:gd name="connsiteX65" fmla="*/ 3622 w 10069"/>
                <a:gd name="connsiteY65" fmla="*/ 9779 h 10011"/>
                <a:gd name="connsiteX66" fmla="*/ 3805 w 10069"/>
                <a:gd name="connsiteY66" fmla="*/ 9730 h 10011"/>
                <a:gd name="connsiteX67" fmla="*/ 3979 w 10069"/>
                <a:gd name="connsiteY67" fmla="*/ 9673 h 10011"/>
                <a:gd name="connsiteX68" fmla="*/ 4157 w 10069"/>
                <a:gd name="connsiteY68" fmla="*/ 9616 h 10011"/>
                <a:gd name="connsiteX69" fmla="*/ 4331 w 10069"/>
                <a:gd name="connsiteY69" fmla="*/ 9552 h 10011"/>
                <a:gd name="connsiteX70" fmla="*/ 4505 w 10069"/>
                <a:gd name="connsiteY70" fmla="*/ 9482 h 10011"/>
                <a:gd name="connsiteX71" fmla="*/ 4673 w 10069"/>
                <a:gd name="connsiteY71" fmla="*/ 9405 h 10011"/>
                <a:gd name="connsiteX72" fmla="*/ 4843 w 10069"/>
                <a:gd name="connsiteY72" fmla="*/ 9329 h 10011"/>
                <a:gd name="connsiteX73" fmla="*/ 5012 w 10069"/>
                <a:gd name="connsiteY73" fmla="*/ 9244 h 10011"/>
                <a:gd name="connsiteX74" fmla="*/ 5179 w 10069"/>
                <a:gd name="connsiteY74" fmla="*/ 9158 h 10011"/>
                <a:gd name="connsiteX75" fmla="*/ 5341 w 10069"/>
                <a:gd name="connsiteY75" fmla="*/ 9063 h 10011"/>
                <a:gd name="connsiteX76" fmla="*/ 5503 w 10069"/>
                <a:gd name="connsiteY76" fmla="*/ 8967 h 10011"/>
                <a:gd name="connsiteX77" fmla="*/ 5666 w 10069"/>
                <a:gd name="connsiteY77" fmla="*/ 8865 h 10011"/>
                <a:gd name="connsiteX78" fmla="*/ 5823 w 10069"/>
                <a:gd name="connsiteY78" fmla="*/ 8759 h 10011"/>
                <a:gd name="connsiteX79" fmla="*/ 5980 w 10069"/>
                <a:gd name="connsiteY79" fmla="*/ 8652 h 10011"/>
                <a:gd name="connsiteX80" fmla="*/ 6136 w 10069"/>
                <a:gd name="connsiteY80" fmla="*/ 8536 h 10011"/>
                <a:gd name="connsiteX81" fmla="*/ 6288 w 10069"/>
                <a:gd name="connsiteY81" fmla="*/ 8417 h 10011"/>
                <a:gd name="connsiteX82" fmla="*/ 6436 w 10069"/>
                <a:gd name="connsiteY82" fmla="*/ 8295 h 10011"/>
                <a:gd name="connsiteX83" fmla="*/ 6585 w 10069"/>
                <a:gd name="connsiteY83" fmla="*/ 8169 h 10011"/>
                <a:gd name="connsiteX84" fmla="*/ 6729 w 10069"/>
                <a:gd name="connsiteY84" fmla="*/ 8040 h 10011"/>
                <a:gd name="connsiteX85" fmla="*/ 6871 w 10069"/>
                <a:gd name="connsiteY85" fmla="*/ 7904 h 10011"/>
                <a:gd name="connsiteX86" fmla="*/ 7012 w 10069"/>
                <a:gd name="connsiteY86" fmla="*/ 7768 h 10011"/>
                <a:gd name="connsiteX87" fmla="*/ 7152 w 10069"/>
                <a:gd name="connsiteY87" fmla="*/ 7624 h 10011"/>
                <a:gd name="connsiteX88" fmla="*/ 7286 w 10069"/>
                <a:gd name="connsiteY88" fmla="*/ 7480 h 10011"/>
                <a:gd name="connsiteX89" fmla="*/ 7420 w 10069"/>
                <a:gd name="connsiteY89" fmla="*/ 7329 h 10011"/>
                <a:gd name="connsiteX90" fmla="*/ 7552 w 10069"/>
                <a:gd name="connsiteY90" fmla="*/ 7178 h 10011"/>
                <a:gd name="connsiteX91" fmla="*/ 7679 w 10069"/>
                <a:gd name="connsiteY91" fmla="*/ 7024 h 10011"/>
                <a:gd name="connsiteX92" fmla="*/ 7805 w 10069"/>
                <a:gd name="connsiteY92" fmla="*/ 6861 h 10011"/>
                <a:gd name="connsiteX93" fmla="*/ 7929 w 10069"/>
                <a:gd name="connsiteY93" fmla="*/ 6697 h 10011"/>
                <a:gd name="connsiteX94" fmla="*/ 8049 w 10069"/>
                <a:gd name="connsiteY94" fmla="*/ 6534 h 10011"/>
                <a:gd name="connsiteX95" fmla="*/ 8165 w 10069"/>
                <a:gd name="connsiteY95" fmla="*/ 6365 h 10011"/>
                <a:gd name="connsiteX96" fmla="*/ 8280 w 10069"/>
                <a:gd name="connsiteY96" fmla="*/ 6189 h 10011"/>
                <a:gd name="connsiteX97" fmla="*/ 8393 w 10069"/>
                <a:gd name="connsiteY97" fmla="*/ 6016 h 10011"/>
                <a:gd name="connsiteX98" fmla="*/ 8502 w 10069"/>
                <a:gd name="connsiteY98" fmla="*/ 5835 h 10011"/>
                <a:gd name="connsiteX99" fmla="*/ 8609 w 10069"/>
                <a:gd name="connsiteY99" fmla="*/ 5652 h 10011"/>
                <a:gd name="connsiteX100" fmla="*/ 8711 w 10069"/>
                <a:gd name="connsiteY100" fmla="*/ 5468 h 10011"/>
                <a:gd name="connsiteX101" fmla="*/ 8810 w 10069"/>
                <a:gd name="connsiteY101" fmla="*/ 5278 h 10011"/>
                <a:gd name="connsiteX102" fmla="*/ 8908 w 10069"/>
                <a:gd name="connsiteY102" fmla="*/ 5089 h 10011"/>
                <a:gd name="connsiteX103" fmla="*/ 9002 w 10069"/>
                <a:gd name="connsiteY103" fmla="*/ 4893 h 10011"/>
                <a:gd name="connsiteX104" fmla="*/ 9093 w 10069"/>
                <a:gd name="connsiteY104" fmla="*/ 4698 h 10011"/>
                <a:gd name="connsiteX105" fmla="*/ 9180 w 10069"/>
                <a:gd name="connsiteY105" fmla="*/ 4500 h 10011"/>
                <a:gd name="connsiteX106" fmla="*/ 9263 w 10069"/>
                <a:gd name="connsiteY106" fmla="*/ 4294 h 10011"/>
                <a:gd name="connsiteX107" fmla="*/ 9343 w 10069"/>
                <a:gd name="connsiteY107" fmla="*/ 4091 h 10011"/>
                <a:gd name="connsiteX108" fmla="*/ 9421 w 10069"/>
                <a:gd name="connsiteY108" fmla="*/ 3885 h 10011"/>
                <a:gd name="connsiteX109" fmla="*/ 9496 w 10069"/>
                <a:gd name="connsiteY109" fmla="*/ 3674 h 10011"/>
                <a:gd name="connsiteX110" fmla="*/ 9566 w 10069"/>
                <a:gd name="connsiteY110" fmla="*/ 3464 h 10011"/>
                <a:gd name="connsiteX111" fmla="*/ 9635 w 10069"/>
                <a:gd name="connsiteY111" fmla="*/ 3248 h 10011"/>
                <a:gd name="connsiteX112" fmla="*/ 9697 w 10069"/>
                <a:gd name="connsiteY112" fmla="*/ 3030 h 10011"/>
                <a:gd name="connsiteX113" fmla="*/ 9756 w 10069"/>
                <a:gd name="connsiteY113" fmla="*/ 2815 h 10011"/>
                <a:gd name="connsiteX114" fmla="*/ 9813 w 10069"/>
                <a:gd name="connsiteY114" fmla="*/ 2592 h 10011"/>
                <a:gd name="connsiteX115" fmla="*/ 9866 w 10069"/>
                <a:gd name="connsiteY115" fmla="*/ 2369 h 10011"/>
                <a:gd name="connsiteX116" fmla="*/ 9914 w 10069"/>
                <a:gd name="connsiteY116" fmla="*/ 2143 h 10011"/>
                <a:gd name="connsiteX117" fmla="*/ 9959 w 10069"/>
                <a:gd name="connsiteY117" fmla="*/ 1918 h 10011"/>
                <a:gd name="connsiteX118" fmla="*/ 10000 w 10069"/>
                <a:gd name="connsiteY118" fmla="*/ 1690 h 10011"/>
                <a:gd name="connsiteX119" fmla="*/ 10037 w 10069"/>
                <a:gd name="connsiteY119" fmla="*/ 1457 h 10011"/>
                <a:gd name="connsiteX120" fmla="*/ 10069 w 10069"/>
                <a:gd name="connsiteY120" fmla="*/ 1222 h 10011"/>
                <a:gd name="connsiteX121" fmla="*/ 7484 w 10069"/>
                <a:gd name="connsiteY121" fmla="*/ 1876 h 10011"/>
                <a:gd name="connsiteX122" fmla="*/ 5325 w 10069"/>
                <a:gd name="connsiteY122" fmla="*/ 0 h 10011"/>
                <a:gd name="connsiteX0" fmla="*/ 5162 w 9906"/>
                <a:gd name="connsiteY0" fmla="*/ 0 h 10052"/>
                <a:gd name="connsiteX1" fmla="*/ 5162 w 9906"/>
                <a:gd name="connsiteY1" fmla="*/ 0 h 10052"/>
                <a:gd name="connsiteX2" fmla="*/ 5153 w 9906"/>
                <a:gd name="connsiteY2" fmla="*/ 99 h 10052"/>
                <a:gd name="connsiteX3" fmla="*/ 5136 w 9906"/>
                <a:gd name="connsiteY3" fmla="*/ 201 h 10052"/>
                <a:gd name="connsiteX4" fmla="*/ 5123 w 9906"/>
                <a:gd name="connsiteY4" fmla="*/ 300 h 10052"/>
                <a:gd name="connsiteX5" fmla="*/ 5107 w 9906"/>
                <a:gd name="connsiteY5" fmla="*/ 394 h 10052"/>
                <a:gd name="connsiteX6" fmla="*/ 5088 w 9906"/>
                <a:gd name="connsiteY6" fmla="*/ 491 h 10052"/>
                <a:gd name="connsiteX7" fmla="*/ 5067 w 9906"/>
                <a:gd name="connsiteY7" fmla="*/ 587 h 10052"/>
                <a:gd name="connsiteX8" fmla="*/ 5046 w 9906"/>
                <a:gd name="connsiteY8" fmla="*/ 684 h 10052"/>
                <a:gd name="connsiteX9" fmla="*/ 5023 w 9906"/>
                <a:gd name="connsiteY9" fmla="*/ 778 h 10052"/>
                <a:gd name="connsiteX10" fmla="*/ 4999 w 9906"/>
                <a:gd name="connsiteY10" fmla="*/ 870 h 10052"/>
                <a:gd name="connsiteX11" fmla="*/ 4970 w 9906"/>
                <a:gd name="connsiteY11" fmla="*/ 961 h 10052"/>
                <a:gd name="connsiteX12" fmla="*/ 4946 w 9906"/>
                <a:gd name="connsiteY12" fmla="*/ 1053 h 10052"/>
                <a:gd name="connsiteX13" fmla="*/ 4915 w 9906"/>
                <a:gd name="connsiteY13" fmla="*/ 1145 h 10052"/>
                <a:gd name="connsiteX14" fmla="*/ 4883 w 9906"/>
                <a:gd name="connsiteY14" fmla="*/ 1231 h 10052"/>
                <a:gd name="connsiteX15" fmla="*/ 4851 w 9906"/>
                <a:gd name="connsiteY15" fmla="*/ 1318 h 10052"/>
                <a:gd name="connsiteX16" fmla="*/ 4818 w 9906"/>
                <a:gd name="connsiteY16" fmla="*/ 1405 h 10052"/>
                <a:gd name="connsiteX17" fmla="*/ 4783 w 9906"/>
                <a:gd name="connsiteY17" fmla="*/ 1494 h 10052"/>
                <a:gd name="connsiteX18" fmla="*/ 4747 w 9906"/>
                <a:gd name="connsiteY18" fmla="*/ 1578 h 10052"/>
                <a:gd name="connsiteX19" fmla="*/ 4708 w 9906"/>
                <a:gd name="connsiteY19" fmla="*/ 1663 h 10052"/>
                <a:gd name="connsiteX20" fmla="*/ 4669 w 9906"/>
                <a:gd name="connsiteY20" fmla="*/ 1742 h 10052"/>
                <a:gd name="connsiteX21" fmla="*/ 4627 w 9906"/>
                <a:gd name="connsiteY21" fmla="*/ 1824 h 10052"/>
                <a:gd name="connsiteX22" fmla="*/ 4585 w 9906"/>
                <a:gd name="connsiteY22" fmla="*/ 1903 h 10052"/>
                <a:gd name="connsiteX23" fmla="*/ 4543 w 9906"/>
                <a:gd name="connsiteY23" fmla="*/ 1985 h 10052"/>
                <a:gd name="connsiteX24" fmla="*/ 4498 w 9906"/>
                <a:gd name="connsiteY24" fmla="*/ 2059 h 10052"/>
                <a:gd name="connsiteX25" fmla="*/ 4451 w 9906"/>
                <a:gd name="connsiteY25" fmla="*/ 2133 h 10052"/>
                <a:gd name="connsiteX26" fmla="*/ 4403 w 9906"/>
                <a:gd name="connsiteY26" fmla="*/ 2210 h 10052"/>
                <a:gd name="connsiteX27" fmla="*/ 4355 w 9906"/>
                <a:gd name="connsiteY27" fmla="*/ 2282 h 10052"/>
                <a:gd name="connsiteX28" fmla="*/ 4304 w 9906"/>
                <a:gd name="connsiteY28" fmla="*/ 2354 h 10052"/>
                <a:gd name="connsiteX29" fmla="*/ 4254 w 9906"/>
                <a:gd name="connsiteY29" fmla="*/ 2426 h 10052"/>
                <a:gd name="connsiteX30" fmla="*/ 4203 w 9906"/>
                <a:gd name="connsiteY30" fmla="*/ 2495 h 10052"/>
                <a:gd name="connsiteX31" fmla="*/ 4148 w 9906"/>
                <a:gd name="connsiteY31" fmla="*/ 2562 h 10052"/>
                <a:gd name="connsiteX32" fmla="*/ 4095 w 9906"/>
                <a:gd name="connsiteY32" fmla="*/ 2626 h 10052"/>
                <a:gd name="connsiteX33" fmla="*/ 4038 w 9906"/>
                <a:gd name="connsiteY33" fmla="*/ 2691 h 10052"/>
                <a:gd name="connsiteX34" fmla="*/ 3983 w 9906"/>
                <a:gd name="connsiteY34" fmla="*/ 2753 h 10052"/>
                <a:gd name="connsiteX35" fmla="*/ 3923 w 9906"/>
                <a:gd name="connsiteY35" fmla="*/ 2817 h 10052"/>
                <a:gd name="connsiteX36" fmla="*/ 3865 w 9906"/>
                <a:gd name="connsiteY36" fmla="*/ 2874 h 10052"/>
                <a:gd name="connsiteX37" fmla="*/ 3805 w 9906"/>
                <a:gd name="connsiteY37" fmla="*/ 2934 h 10052"/>
                <a:gd name="connsiteX38" fmla="*/ 3744 w 9906"/>
                <a:gd name="connsiteY38" fmla="*/ 2988 h 10052"/>
                <a:gd name="connsiteX39" fmla="*/ 3682 w 9906"/>
                <a:gd name="connsiteY39" fmla="*/ 3043 h 10052"/>
                <a:gd name="connsiteX40" fmla="*/ 3619 w 9906"/>
                <a:gd name="connsiteY40" fmla="*/ 3097 h 10052"/>
                <a:gd name="connsiteX41" fmla="*/ 3556 w 9906"/>
                <a:gd name="connsiteY41" fmla="*/ 3149 h 10052"/>
                <a:gd name="connsiteX42" fmla="*/ 3491 w 9906"/>
                <a:gd name="connsiteY42" fmla="*/ 3196 h 10052"/>
                <a:gd name="connsiteX43" fmla="*/ 3425 w 9906"/>
                <a:gd name="connsiteY43" fmla="*/ 3243 h 10052"/>
                <a:gd name="connsiteX44" fmla="*/ 3545 w 9906"/>
                <a:gd name="connsiteY44" fmla="*/ 6577 h 10052"/>
                <a:gd name="connsiteX45" fmla="*/ 211 w 9906"/>
                <a:gd name="connsiteY45" fmla="*/ 9804 h 10052"/>
                <a:gd name="connsiteX46" fmla="*/ 365 w 9906"/>
                <a:gd name="connsiteY46" fmla="*/ 9839 h 10052"/>
                <a:gd name="connsiteX47" fmla="*/ 520 w 9906"/>
                <a:gd name="connsiteY47" fmla="*/ 9874 h 10052"/>
                <a:gd name="connsiteX48" fmla="*/ 677 w 9906"/>
                <a:gd name="connsiteY48" fmla="*/ 9903 h 10052"/>
                <a:gd name="connsiteX49" fmla="*/ 832 w 9906"/>
                <a:gd name="connsiteY49" fmla="*/ 9926 h 10052"/>
                <a:gd name="connsiteX50" fmla="*/ 990 w 9906"/>
                <a:gd name="connsiteY50" fmla="*/ 9948 h 10052"/>
                <a:gd name="connsiteX51" fmla="*/ 1147 w 9906"/>
                <a:gd name="connsiteY51" fmla="*/ 9965 h 10052"/>
                <a:gd name="connsiteX52" fmla="*/ 1306 w 9906"/>
                <a:gd name="connsiteY52" fmla="*/ 9980 h 10052"/>
                <a:gd name="connsiteX53" fmla="*/ 1468 w 9906"/>
                <a:gd name="connsiteY53" fmla="*/ 9990 h 10052"/>
                <a:gd name="connsiteX54" fmla="*/ 1629 w 9906"/>
                <a:gd name="connsiteY54" fmla="*/ 9995 h 10052"/>
                <a:gd name="connsiteX55" fmla="*/ 1788 w 9906"/>
                <a:gd name="connsiteY55" fmla="*/ 10000 h 10052"/>
                <a:gd name="connsiteX56" fmla="*/ 1982 w 9906"/>
                <a:gd name="connsiteY56" fmla="*/ 9995 h 10052"/>
                <a:gd name="connsiteX57" fmla="*/ 2169 w 9906"/>
                <a:gd name="connsiteY57" fmla="*/ 9988 h 10052"/>
                <a:gd name="connsiteX58" fmla="*/ 2359 w 9906"/>
                <a:gd name="connsiteY58" fmla="*/ 9975 h 10052"/>
                <a:gd name="connsiteX59" fmla="*/ 2542 w 9906"/>
                <a:gd name="connsiteY59" fmla="*/ 9953 h 10052"/>
                <a:gd name="connsiteX60" fmla="*/ 2730 w 9906"/>
                <a:gd name="connsiteY60" fmla="*/ 9931 h 10052"/>
                <a:gd name="connsiteX61" fmla="*/ 2914 w 9906"/>
                <a:gd name="connsiteY61" fmla="*/ 9898 h 10052"/>
                <a:gd name="connsiteX62" fmla="*/ 3098 w 9906"/>
                <a:gd name="connsiteY62" fmla="*/ 9866 h 10052"/>
                <a:gd name="connsiteX63" fmla="*/ 3281 w 9906"/>
                <a:gd name="connsiteY63" fmla="*/ 9824 h 10052"/>
                <a:gd name="connsiteX64" fmla="*/ 3459 w 9906"/>
                <a:gd name="connsiteY64" fmla="*/ 9779 h 10052"/>
                <a:gd name="connsiteX65" fmla="*/ 3642 w 9906"/>
                <a:gd name="connsiteY65" fmla="*/ 9730 h 10052"/>
                <a:gd name="connsiteX66" fmla="*/ 3816 w 9906"/>
                <a:gd name="connsiteY66" fmla="*/ 9673 h 10052"/>
                <a:gd name="connsiteX67" fmla="*/ 3994 w 9906"/>
                <a:gd name="connsiteY67" fmla="*/ 9616 h 10052"/>
                <a:gd name="connsiteX68" fmla="*/ 4168 w 9906"/>
                <a:gd name="connsiteY68" fmla="*/ 9552 h 10052"/>
                <a:gd name="connsiteX69" fmla="*/ 4342 w 9906"/>
                <a:gd name="connsiteY69" fmla="*/ 9482 h 10052"/>
                <a:gd name="connsiteX70" fmla="*/ 4510 w 9906"/>
                <a:gd name="connsiteY70" fmla="*/ 9405 h 10052"/>
                <a:gd name="connsiteX71" fmla="*/ 4680 w 9906"/>
                <a:gd name="connsiteY71" fmla="*/ 9329 h 10052"/>
                <a:gd name="connsiteX72" fmla="*/ 4849 w 9906"/>
                <a:gd name="connsiteY72" fmla="*/ 9244 h 10052"/>
                <a:gd name="connsiteX73" fmla="*/ 5016 w 9906"/>
                <a:gd name="connsiteY73" fmla="*/ 9158 h 10052"/>
                <a:gd name="connsiteX74" fmla="*/ 5178 w 9906"/>
                <a:gd name="connsiteY74" fmla="*/ 9063 h 10052"/>
                <a:gd name="connsiteX75" fmla="*/ 5340 w 9906"/>
                <a:gd name="connsiteY75" fmla="*/ 8967 h 10052"/>
                <a:gd name="connsiteX76" fmla="*/ 5503 w 9906"/>
                <a:gd name="connsiteY76" fmla="*/ 8865 h 10052"/>
                <a:gd name="connsiteX77" fmla="*/ 5660 w 9906"/>
                <a:gd name="connsiteY77" fmla="*/ 8759 h 10052"/>
                <a:gd name="connsiteX78" fmla="*/ 5817 w 9906"/>
                <a:gd name="connsiteY78" fmla="*/ 8652 h 10052"/>
                <a:gd name="connsiteX79" fmla="*/ 5973 w 9906"/>
                <a:gd name="connsiteY79" fmla="*/ 8536 h 10052"/>
                <a:gd name="connsiteX80" fmla="*/ 6125 w 9906"/>
                <a:gd name="connsiteY80" fmla="*/ 8417 h 10052"/>
                <a:gd name="connsiteX81" fmla="*/ 6273 w 9906"/>
                <a:gd name="connsiteY81" fmla="*/ 8295 h 10052"/>
                <a:gd name="connsiteX82" fmla="*/ 6422 w 9906"/>
                <a:gd name="connsiteY82" fmla="*/ 8169 h 10052"/>
                <a:gd name="connsiteX83" fmla="*/ 6566 w 9906"/>
                <a:gd name="connsiteY83" fmla="*/ 8040 h 10052"/>
                <a:gd name="connsiteX84" fmla="*/ 6708 w 9906"/>
                <a:gd name="connsiteY84" fmla="*/ 7904 h 10052"/>
                <a:gd name="connsiteX85" fmla="*/ 6849 w 9906"/>
                <a:gd name="connsiteY85" fmla="*/ 7768 h 10052"/>
                <a:gd name="connsiteX86" fmla="*/ 6989 w 9906"/>
                <a:gd name="connsiteY86" fmla="*/ 7624 h 10052"/>
                <a:gd name="connsiteX87" fmla="*/ 7123 w 9906"/>
                <a:gd name="connsiteY87" fmla="*/ 7480 h 10052"/>
                <a:gd name="connsiteX88" fmla="*/ 7257 w 9906"/>
                <a:gd name="connsiteY88" fmla="*/ 7329 h 10052"/>
                <a:gd name="connsiteX89" fmla="*/ 7389 w 9906"/>
                <a:gd name="connsiteY89" fmla="*/ 7178 h 10052"/>
                <a:gd name="connsiteX90" fmla="*/ 7516 w 9906"/>
                <a:gd name="connsiteY90" fmla="*/ 7024 h 10052"/>
                <a:gd name="connsiteX91" fmla="*/ 7642 w 9906"/>
                <a:gd name="connsiteY91" fmla="*/ 6861 h 10052"/>
                <a:gd name="connsiteX92" fmla="*/ 7766 w 9906"/>
                <a:gd name="connsiteY92" fmla="*/ 6697 h 10052"/>
                <a:gd name="connsiteX93" fmla="*/ 7886 w 9906"/>
                <a:gd name="connsiteY93" fmla="*/ 6534 h 10052"/>
                <a:gd name="connsiteX94" fmla="*/ 8002 w 9906"/>
                <a:gd name="connsiteY94" fmla="*/ 6365 h 10052"/>
                <a:gd name="connsiteX95" fmla="*/ 8117 w 9906"/>
                <a:gd name="connsiteY95" fmla="*/ 6189 h 10052"/>
                <a:gd name="connsiteX96" fmla="*/ 8230 w 9906"/>
                <a:gd name="connsiteY96" fmla="*/ 6016 h 10052"/>
                <a:gd name="connsiteX97" fmla="*/ 8339 w 9906"/>
                <a:gd name="connsiteY97" fmla="*/ 5835 h 10052"/>
                <a:gd name="connsiteX98" fmla="*/ 8446 w 9906"/>
                <a:gd name="connsiteY98" fmla="*/ 5652 h 10052"/>
                <a:gd name="connsiteX99" fmla="*/ 8548 w 9906"/>
                <a:gd name="connsiteY99" fmla="*/ 5468 h 10052"/>
                <a:gd name="connsiteX100" fmla="*/ 8647 w 9906"/>
                <a:gd name="connsiteY100" fmla="*/ 5278 h 10052"/>
                <a:gd name="connsiteX101" fmla="*/ 8745 w 9906"/>
                <a:gd name="connsiteY101" fmla="*/ 5089 h 10052"/>
                <a:gd name="connsiteX102" fmla="*/ 8839 w 9906"/>
                <a:gd name="connsiteY102" fmla="*/ 4893 h 10052"/>
                <a:gd name="connsiteX103" fmla="*/ 8930 w 9906"/>
                <a:gd name="connsiteY103" fmla="*/ 4698 h 10052"/>
                <a:gd name="connsiteX104" fmla="*/ 9017 w 9906"/>
                <a:gd name="connsiteY104" fmla="*/ 4500 h 10052"/>
                <a:gd name="connsiteX105" fmla="*/ 9100 w 9906"/>
                <a:gd name="connsiteY105" fmla="*/ 4294 h 10052"/>
                <a:gd name="connsiteX106" fmla="*/ 9180 w 9906"/>
                <a:gd name="connsiteY106" fmla="*/ 4091 h 10052"/>
                <a:gd name="connsiteX107" fmla="*/ 9258 w 9906"/>
                <a:gd name="connsiteY107" fmla="*/ 3885 h 10052"/>
                <a:gd name="connsiteX108" fmla="*/ 9333 w 9906"/>
                <a:gd name="connsiteY108" fmla="*/ 3674 h 10052"/>
                <a:gd name="connsiteX109" fmla="*/ 9403 w 9906"/>
                <a:gd name="connsiteY109" fmla="*/ 3464 h 10052"/>
                <a:gd name="connsiteX110" fmla="*/ 9472 w 9906"/>
                <a:gd name="connsiteY110" fmla="*/ 3248 h 10052"/>
                <a:gd name="connsiteX111" fmla="*/ 9534 w 9906"/>
                <a:gd name="connsiteY111" fmla="*/ 3030 h 10052"/>
                <a:gd name="connsiteX112" fmla="*/ 9593 w 9906"/>
                <a:gd name="connsiteY112" fmla="*/ 2815 h 10052"/>
                <a:gd name="connsiteX113" fmla="*/ 9650 w 9906"/>
                <a:gd name="connsiteY113" fmla="*/ 2592 h 10052"/>
                <a:gd name="connsiteX114" fmla="*/ 9703 w 9906"/>
                <a:gd name="connsiteY114" fmla="*/ 2369 h 10052"/>
                <a:gd name="connsiteX115" fmla="*/ 9751 w 9906"/>
                <a:gd name="connsiteY115" fmla="*/ 2143 h 10052"/>
                <a:gd name="connsiteX116" fmla="*/ 9796 w 9906"/>
                <a:gd name="connsiteY116" fmla="*/ 1918 h 10052"/>
                <a:gd name="connsiteX117" fmla="*/ 9837 w 9906"/>
                <a:gd name="connsiteY117" fmla="*/ 1690 h 10052"/>
                <a:gd name="connsiteX118" fmla="*/ 9874 w 9906"/>
                <a:gd name="connsiteY118" fmla="*/ 1457 h 10052"/>
                <a:gd name="connsiteX119" fmla="*/ 9906 w 9906"/>
                <a:gd name="connsiteY119" fmla="*/ 1222 h 10052"/>
                <a:gd name="connsiteX120" fmla="*/ 7321 w 9906"/>
                <a:gd name="connsiteY120" fmla="*/ 1876 h 10052"/>
                <a:gd name="connsiteX121" fmla="*/ 5162 w 9906"/>
                <a:gd name="connsiteY121" fmla="*/ 0 h 10052"/>
                <a:gd name="connsiteX0" fmla="*/ 4843 w 9632"/>
                <a:gd name="connsiteY0" fmla="*/ 0 h 9948"/>
                <a:gd name="connsiteX1" fmla="*/ 4843 w 9632"/>
                <a:gd name="connsiteY1" fmla="*/ 0 h 9948"/>
                <a:gd name="connsiteX2" fmla="*/ 4834 w 9632"/>
                <a:gd name="connsiteY2" fmla="*/ 98 h 9948"/>
                <a:gd name="connsiteX3" fmla="*/ 4817 w 9632"/>
                <a:gd name="connsiteY3" fmla="*/ 200 h 9948"/>
                <a:gd name="connsiteX4" fmla="*/ 4804 w 9632"/>
                <a:gd name="connsiteY4" fmla="*/ 298 h 9948"/>
                <a:gd name="connsiteX5" fmla="*/ 4787 w 9632"/>
                <a:gd name="connsiteY5" fmla="*/ 392 h 9948"/>
                <a:gd name="connsiteX6" fmla="*/ 4768 w 9632"/>
                <a:gd name="connsiteY6" fmla="*/ 488 h 9948"/>
                <a:gd name="connsiteX7" fmla="*/ 4747 w 9632"/>
                <a:gd name="connsiteY7" fmla="*/ 584 h 9948"/>
                <a:gd name="connsiteX8" fmla="*/ 4726 w 9632"/>
                <a:gd name="connsiteY8" fmla="*/ 680 h 9948"/>
                <a:gd name="connsiteX9" fmla="*/ 4703 w 9632"/>
                <a:gd name="connsiteY9" fmla="*/ 774 h 9948"/>
                <a:gd name="connsiteX10" fmla="*/ 4678 w 9632"/>
                <a:gd name="connsiteY10" fmla="*/ 865 h 9948"/>
                <a:gd name="connsiteX11" fmla="*/ 4649 w 9632"/>
                <a:gd name="connsiteY11" fmla="*/ 956 h 9948"/>
                <a:gd name="connsiteX12" fmla="*/ 4625 w 9632"/>
                <a:gd name="connsiteY12" fmla="*/ 1048 h 9948"/>
                <a:gd name="connsiteX13" fmla="*/ 4594 w 9632"/>
                <a:gd name="connsiteY13" fmla="*/ 1139 h 9948"/>
                <a:gd name="connsiteX14" fmla="*/ 4561 w 9632"/>
                <a:gd name="connsiteY14" fmla="*/ 1225 h 9948"/>
                <a:gd name="connsiteX15" fmla="*/ 4529 w 9632"/>
                <a:gd name="connsiteY15" fmla="*/ 1311 h 9948"/>
                <a:gd name="connsiteX16" fmla="*/ 4496 w 9632"/>
                <a:gd name="connsiteY16" fmla="*/ 1398 h 9948"/>
                <a:gd name="connsiteX17" fmla="*/ 4460 w 9632"/>
                <a:gd name="connsiteY17" fmla="*/ 1486 h 9948"/>
                <a:gd name="connsiteX18" fmla="*/ 4424 w 9632"/>
                <a:gd name="connsiteY18" fmla="*/ 1570 h 9948"/>
                <a:gd name="connsiteX19" fmla="*/ 4385 w 9632"/>
                <a:gd name="connsiteY19" fmla="*/ 1654 h 9948"/>
                <a:gd name="connsiteX20" fmla="*/ 4345 w 9632"/>
                <a:gd name="connsiteY20" fmla="*/ 1733 h 9948"/>
                <a:gd name="connsiteX21" fmla="*/ 4303 w 9632"/>
                <a:gd name="connsiteY21" fmla="*/ 1815 h 9948"/>
                <a:gd name="connsiteX22" fmla="*/ 4261 w 9632"/>
                <a:gd name="connsiteY22" fmla="*/ 1893 h 9948"/>
                <a:gd name="connsiteX23" fmla="*/ 4218 w 9632"/>
                <a:gd name="connsiteY23" fmla="*/ 1975 h 9948"/>
                <a:gd name="connsiteX24" fmla="*/ 4173 w 9632"/>
                <a:gd name="connsiteY24" fmla="*/ 2048 h 9948"/>
                <a:gd name="connsiteX25" fmla="*/ 4125 w 9632"/>
                <a:gd name="connsiteY25" fmla="*/ 2122 h 9948"/>
                <a:gd name="connsiteX26" fmla="*/ 4077 w 9632"/>
                <a:gd name="connsiteY26" fmla="*/ 2199 h 9948"/>
                <a:gd name="connsiteX27" fmla="*/ 4028 w 9632"/>
                <a:gd name="connsiteY27" fmla="*/ 2270 h 9948"/>
                <a:gd name="connsiteX28" fmla="*/ 3977 w 9632"/>
                <a:gd name="connsiteY28" fmla="*/ 2342 h 9948"/>
                <a:gd name="connsiteX29" fmla="*/ 3926 w 9632"/>
                <a:gd name="connsiteY29" fmla="*/ 2413 h 9948"/>
                <a:gd name="connsiteX30" fmla="*/ 3875 w 9632"/>
                <a:gd name="connsiteY30" fmla="*/ 2482 h 9948"/>
                <a:gd name="connsiteX31" fmla="*/ 3819 w 9632"/>
                <a:gd name="connsiteY31" fmla="*/ 2549 h 9948"/>
                <a:gd name="connsiteX32" fmla="*/ 3766 w 9632"/>
                <a:gd name="connsiteY32" fmla="*/ 2612 h 9948"/>
                <a:gd name="connsiteX33" fmla="*/ 3708 w 9632"/>
                <a:gd name="connsiteY33" fmla="*/ 2677 h 9948"/>
                <a:gd name="connsiteX34" fmla="*/ 3653 w 9632"/>
                <a:gd name="connsiteY34" fmla="*/ 2739 h 9948"/>
                <a:gd name="connsiteX35" fmla="*/ 3592 w 9632"/>
                <a:gd name="connsiteY35" fmla="*/ 2802 h 9948"/>
                <a:gd name="connsiteX36" fmla="*/ 3534 w 9632"/>
                <a:gd name="connsiteY36" fmla="*/ 2859 h 9948"/>
                <a:gd name="connsiteX37" fmla="*/ 3473 w 9632"/>
                <a:gd name="connsiteY37" fmla="*/ 2919 h 9948"/>
                <a:gd name="connsiteX38" fmla="*/ 3412 w 9632"/>
                <a:gd name="connsiteY38" fmla="*/ 2973 h 9948"/>
                <a:gd name="connsiteX39" fmla="*/ 3349 w 9632"/>
                <a:gd name="connsiteY39" fmla="*/ 3027 h 9948"/>
                <a:gd name="connsiteX40" fmla="*/ 3285 w 9632"/>
                <a:gd name="connsiteY40" fmla="*/ 3081 h 9948"/>
                <a:gd name="connsiteX41" fmla="*/ 3222 w 9632"/>
                <a:gd name="connsiteY41" fmla="*/ 3133 h 9948"/>
                <a:gd name="connsiteX42" fmla="*/ 3156 w 9632"/>
                <a:gd name="connsiteY42" fmla="*/ 3179 h 9948"/>
                <a:gd name="connsiteX43" fmla="*/ 3090 w 9632"/>
                <a:gd name="connsiteY43" fmla="*/ 3226 h 9948"/>
                <a:gd name="connsiteX44" fmla="*/ 3211 w 9632"/>
                <a:gd name="connsiteY44" fmla="*/ 6543 h 9948"/>
                <a:gd name="connsiteX45" fmla="*/ 0 w 9632"/>
                <a:gd name="connsiteY45" fmla="*/ 9788 h 9948"/>
                <a:gd name="connsiteX46" fmla="*/ 157 w 9632"/>
                <a:gd name="connsiteY46" fmla="*/ 9823 h 9948"/>
                <a:gd name="connsiteX47" fmla="*/ 315 w 9632"/>
                <a:gd name="connsiteY47" fmla="*/ 9852 h 9948"/>
                <a:gd name="connsiteX48" fmla="*/ 472 w 9632"/>
                <a:gd name="connsiteY48" fmla="*/ 9875 h 9948"/>
                <a:gd name="connsiteX49" fmla="*/ 631 w 9632"/>
                <a:gd name="connsiteY49" fmla="*/ 9897 h 9948"/>
                <a:gd name="connsiteX50" fmla="*/ 790 w 9632"/>
                <a:gd name="connsiteY50" fmla="*/ 9913 h 9948"/>
                <a:gd name="connsiteX51" fmla="*/ 950 w 9632"/>
                <a:gd name="connsiteY51" fmla="*/ 9928 h 9948"/>
                <a:gd name="connsiteX52" fmla="*/ 1114 w 9632"/>
                <a:gd name="connsiteY52" fmla="*/ 9938 h 9948"/>
                <a:gd name="connsiteX53" fmla="*/ 1276 w 9632"/>
                <a:gd name="connsiteY53" fmla="*/ 9943 h 9948"/>
                <a:gd name="connsiteX54" fmla="*/ 1437 w 9632"/>
                <a:gd name="connsiteY54" fmla="*/ 9948 h 9948"/>
                <a:gd name="connsiteX55" fmla="*/ 1633 w 9632"/>
                <a:gd name="connsiteY55" fmla="*/ 9943 h 9948"/>
                <a:gd name="connsiteX56" fmla="*/ 1822 w 9632"/>
                <a:gd name="connsiteY56" fmla="*/ 9936 h 9948"/>
                <a:gd name="connsiteX57" fmla="*/ 2013 w 9632"/>
                <a:gd name="connsiteY57" fmla="*/ 9923 h 9948"/>
                <a:gd name="connsiteX58" fmla="*/ 2198 w 9632"/>
                <a:gd name="connsiteY58" fmla="*/ 9902 h 9948"/>
                <a:gd name="connsiteX59" fmla="*/ 2388 w 9632"/>
                <a:gd name="connsiteY59" fmla="*/ 9880 h 9948"/>
                <a:gd name="connsiteX60" fmla="*/ 2574 w 9632"/>
                <a:gd name="connsiteY60" fmla="*/ 9847 h 9948"/>
                <a:gd name="connsiteX61" fmla="*/ 2759 w 9632"/>
                <a:gd name="connsiteY61" fmla="*/ 9815 h 9948"/>
                <a:gd name="connsiteX62" fmla="*/ 2944 w 9632"/>
                <a:gd name="connsiteY62" fmla="*/ 9773 h 9948"/>
                <a:gd name="connsiteX63" fmla="*/ 3124 w 9632"/>
                <a:gd name="connsiteY63" fmla="*/ 9728 h 9948"/>
                <a:gd name="connsiteX64" fmla="*/ 3309 w 9632"/>
                <a:gd name="connsiteY64" fmla="*/ 9680 h 9948"/>
                <a:gd name="connsiteX65" fmla="*/ 3484 w 9632"/>
                <a:gd name="connsiteY65" fmla="*/ 9623 h 9948"/>
                <a:gd name="connsiteX66" fmla="*/ 3664 w 9632"/>
                <a:gd name="connsiteY66" fmla="*/ 9566 h 9948"/>
                <a:gd name="connsiteX67" fmla="*/ 3840 w 9632"/>
                <a:gd name="connsiteY67" fmla="*/ 9503 h 9948"/>
                <a:gd name="connsiteX68" fmla="*/ 4015 w 9632"/>
                <a:gd name="connsiteY68" fmla="*/ 9433 h 9948"/>
                <a:gd name="connsiteX69" fmla="*/ 4185 w 9632"/>
                <a:gd name="connsiteY69" fmla="*/ 9356 h 9948"/>
                <a:gd name="connsiteX70" fmla="*/ 4356 w 9632"/>
                <a:gd name="connsiteY70" fmla="*/ 9281 h 9948"/>
                <a:gd name="connsiteX71" fmla="*/ 4527 w 9632"/>
                <a:gd name="connsiteY71" fmla="*/ 9196 h 9948"/>
                <a:gd name="connsiteX72" fmla="*/ 4696 w 9632"/>
                <a:gd name="connsiteY72" fmla="*/ 9111 h 9948"/>
                <a:gd name="connsiteX73" fmla="*/ 4859 w 9632"/>
                <a:gd name="connsiteY73" fmla="*/ 9016 h 9948"/>
                <a:gd name="connsiteX74" fmla="*/ 5023 w 9632"/>
                <a:gd name="connsiteY74" fmla="*/ 8921 h 9948"/>
                <a:gd name="connsiteX75" fmla="*/ 5187 w 9632"/>
                <a:gd name="connsiteY75" fmla="*/ 8819 h 9948"/>
                <a:gd name="connsiteX76" fmla="*/ 5346 w 9632"/>
                <a:gd name="connsiteY76" fmla="*/ 8714 h 9948"/>
                <a:gd name="connsiteX77" fmla="*/ 5504 w 9632"/>
                <a:gd name="connsiteY77" fmla="*/ 8607 h 9948"/>
                <a:gd name="connsiteX78" fmla="*/ 5662 w 9632"/>
                <a:gd name="connsiteY78" fmla="*/ 8492 h 9948"/>
                <a:gd name="connsiteX79" fmla="*/ 5815 w 9632"/>
                <a:gd name="connsiteY79" fmla="*/ 8373 h 9948"/>
                <a:gd name="connsiteX80" fmla="*/ 5965 w 9632"/>
                <a:gd name="connsiteY80" fmla="*/ 8252 h 9948"/>
                <a:gd name="connsiteX81" fmla="*/ 6115 w 9632"/>
                <a:gd name="connsiteY81" fmla="*/ 8127 h 9948"/>
                <a:gd name="connsiteX82" fmla="*/ 6260 w 9632"/>
                <a:gd name="connsiteY82" fmla="*/ 7998 h 9948"/>
                <a:gd name="connsiteX83" fmla="*/ 6404 w 9632"/>
                <a:gd name="connsiteY83" fmla="*/ 7863 h 9948"/>
                <a:gd name="connsiteX84" fmla="*/ 6546 w 9632"/>
                <a:gd name="connsiteY84" fmla="*/ 7728 h 9948"/>
                <a:gd name="connsiteX85" fmla="*/ 6687 w 9632"/>
                <a:gd name="connsiteY85" fmla="*/ 7585 h 9948"/>
                <a:gd name="connsiteX86" fmla="*/ 6823 w 9632"/>
                <a:gd name="connsiteY86" fmla="*/ 7441 h 9948"/>
                <a:gd name="connsiteX87" fmla="*/ 6958 w 9632"/>
                <a:gd name="connsiteY87" fmla="*/ 7291 h 9948"/>
                <a:gd name="connsiteX88" fmla="*/ 7091 w 9632"/>
                <a:gd name="connsiteY88" fmla="*/ 7141 h 9948"/>
                <a:gd name="connsiteX89" fmla="*/ 7219 w 9632"/>
                <a:gd name="connsiteY89" fmla="*/ 6988 h 9948"/>
                <a:gd name="connsiteX90" fmla="*/ 7347 w 9632"/>
                <a:gd name="connsiteY90" fmla="*/ 6826 h 9948"/>
                <a:gd name="connsiteX91" fmla="*/ 7472 w 9632"/>
                <a:gd name="connsiteY91" fmla="*/ 6662 h 9948"/>
                <a:gd name="connsiteX92" fmla="*/ 7593 w 9632"/>
                <a:gd name="connsiteY92" fmla="*/ 6500 h 9948"/>
                <a:gd name="connsiteX93" fmla="*/ 7710 w 9632"/>
                <a:gd name="connsiteY93" fmla="*/ 6332 h 9948"/>
                <a:gd name="connsiteX94" fmla="*/ 7826 w 9632"/>
                <a:gd name="connsiteY94" fmla="*/ 6157 h 9948"/>
                <a:gd name="connsiteX95" fmla="*/ 7940 w 9632"/>
                <a:gd name="connsiteY95" fmla="*/ 5985 h 9948"/>
                <a:gd name="connsiteX96" fmla="*/ 8050 w 9632"/>
                <a:gd name="connsiteY96" fmla="*/ 5805 h 9948"/>
                <a:gd name="connsiteX97" fmla="*/ 8158 w 9632"/>
                <a:gd name="connsiteY97" fmla="*/ 5623 h 9948"/>
                <a:gd name="connsiteX98" fmla="*/ 8261 w 9632"/>
                <a:gd name="connsiteY98" fmla="*/ 5440 h 9948"/>
                <a:gd name="connsiteX99" fmla="*/ 8361 w 9632"/>
                <a:gd name="connsiteY99" fmla="*/ 5251 h 9948"/>
                <a:gd name="connsiteX100" fmla="*/ 8460 w 9632"/>
                <a:gd name="connsiteY100" fmla="*/ 5063 h 9948"/>
                <a:gd name="connsiteX101" fmla="*/ 8555 w 9632"/>
                <a:gd name="connsiteY101" fmla="*/ 4868 h 9948"/>
                <a:gd name="connsiteX102" fmla="*/ 8647 w 9632"/>
                <a:gd name="connsiteY102" fmla="*/ 4674 h 9948"/>
                <a:gd name="connsiteX103" fmla="*/ 8735 w 9632"/>
                <a:gd name="connsiteY103" fmla="*/ 4477 h 9948"/>
                <a:gd name="connsiteX104" fmla="*/ 8818 w 9632"/>
                <a:gd name="connsiteY104" fmla="*/ 4272 h 9948"/>
                <a:gd name="connsiteX105" fmla="*/ 8899 w 9632"/>
                <a:gd name="connsiteY105" fmla="*/ 4070 h 9948"/>
                <a:gd name="connsiteX106" fmla="*/ 8978 w 9632"/>
                <a:gd name="connsiteY106" fmla="*/ 3865 h 9948"/>
                <a:gd name="connsiteX107" fmla="*/ 9054 w 9632"/>
                <a:gd name="connsiteY107" fmla="*/ 3655 h 9948"/>
                <a:gd name="connsiteX108" fmla="*/ 9124 w 9632"/>
                <a:gd name="connsiteY108" fmla="*/ 3446 h 9948"/>
                <a:gd name="connsiteX109" fmla="*/ 9194 w 9632"/>
                <a:gd name="connsiteY109" fmla="*/ 3231 h 9948"/>
                <a:gd name="connsiteX110" fmla="*/ 9256 w 9632"/>
                <a:gd name="connsiteY110" fmla="*/ 3014 h 9948"/>
                <a:gd name="connsiteX111" fmla="*/ 9316 w 9632"/>
                <a:gd name="connsiteY111" fmla="*/ 2800 h 9948"/>
                <a:gd name="connsiteX112" fmla="*/ 9374 w 9632"/>
                <a:gd name="connsiteY112" fmla="*/ 2579 h 9948"/>
                <a:gd name="connsiteX113" fmla="*/ 9427 w 9632"/>
                <a:gd name="connsiteY113" fmla="*/ 2357 h 9948"/>
                <a:gd name="connsiteX114" fmla="*/ 9476 w 9632"/>
                <a:gd name="connsiteY114" fmla="*/ 2132 h 9948"/>
                <a:gd name="connsiteX115" fmla="*/ 9521 w 9632"/>
                <a:gd name="connsiteY115" fmla="*/ 1908 h 9948"/>
                <a:gd name="connsiteX116" fmla="*/ 9562 w 9632"/>
                <a:gd name="connsiteY116" fmla="*/ 1681 h 9948"/>
                <a:gd name="connsiteX117" fmla="*/ 9600 w 9632"/>
                <a:gd name="connsiteY117" fmla="*/ 1449 h 9948"/>
                <a:gd name="connsiteX118" fmla="*/ 9632 w 9632"/>
                <a:gd name="connsiteY118" fmla="*/ 1216 h 9948"/>
                <a:gd name="connsiteX119" fmla="*/ 7022 w 9632"/>
                <a:gd name="connsiteY119" fmla="*/ 1866 h 9948"/>
                <a:gd name="connsiteX120" fmla="*/ 4843 w 9632"/>
                <a:gd name="connsiteY120" fmla="*/ 0 h 9948"/>
                <a:gd name="connsiteX0" fmla="*/ 4865 w 9837"/>
                <a:gd name="connsiteY0" fmla="*/ 0 h 10000"/>
                <a:gd name="connsiteX1" fmla="*/ 4865 w 9837"/>
                <a:gd name="connsiteY1" fmla="*/ 0 h 10000"/>
                <a:gd name="connsiteX2" fmla="*/ 4856 w 9837"/>
                <a:gd name="connsiteY2" fmla="*/ 99 h 10000"/>
                <a:gd name="connsiteX3" fmla="*/ 4838 w 9837"/>
                <a:gd name="connsiteY3" fmla="*/ 201 h 10000"/>
                <a:gd name="connsiteX4" fmla="*/ 4825 w 9837"/>
                <a:gd name="connsiteY4" fmla="*/ 300 h 10000"/>
                <a:gd name="connsiteX5" fmla="*/ 4807 w 9837"/>
                <a:gd name="connsiteY5" fmla="*/ 394 h 10000"/>
                <a:gd name="connsiteX6" fmla="*/ 4787 w 9837"/>
                <a:gd name="connsiteY6" fmla="*/ 491 h 10000"/>
                <a:gd name="connsiteX7" fmla="*/ 4765 w 9837"/>
                <a:gd name="connsiteY7" fmla="*/ 587 h 10000"/>
                <a:gd name="connsiteX8" fmla="*/ 4744 w 9837"/>
                <a:gd name="connsiteY8" fmla="*/ 684 h 10000"/>
                <a:gd name="connsiteX9" fmla="*/ 4720 w 9837"/>
                <a:gd name="connsiteY9" fmla="*/ 778 h 10000"/>
                <a:gd name="connsiteX10" fmla="*/ 4694 w 9837"/>
                <a:gd name="connsiteY10" fmla="*/ 870 h 10000"/>
                <a:gd name="connsiteX11" fmla="*/ 4664 w 9837"/>
                <a:gd name="connsiteY11" fmla="*/ 961 h 10000"/>
                <a:gd name="connsiteX12" fmla="*/ 4639 w 9837"/>
                <a:gd name="connsiteY12" fmla="*/ 1053 h 10000"/>
                <a:gd name="connsiteX13" fmla="*/ 4607 w 9837"/>
                <a:gd name="connsiteY13" fmla="*/ 1145 h 10000"/>
                <a:gd name="connsiteX14" fmla="*/ 4572 w 9837"/>
                <a:gd name="connsiteY14" fmla="*/ 1231 h 10000"/>
                <a:gd name="connsiteX15" fmla="*/ 4539 w 9837"/>
                <a:gd name="connsiteY15" fmla="*/ 1318 h 10000"/>
                <a:gd name="connsiteX16" fmla="*/ 4505 w 9837"/>
                <a:gd name="connsiteY16" fmla="*/ 1405 h 10000"/>
                <a:gd name="connsiteX17" fmla="*/ 4467 w 9837"/>
                <a:gd name="connsiteY17" fmla="*/ 1494 h 10000"/>
                <a:gd name="connsiteX18" fmla="*/ 4430 w 9837"/>
                <a:gd name="connsiteY18" fmla="*/ 1578 h 10000"/>
                <a:gd name="connsiteX19" fmla="*/ 4390 w 9837"/>
                <a:gd name="connsiteY19" fmla="*/ 1663 h 10000"/>
                <a:gd name="connsiteX20" fmla="*/ 4348 w 9837"/>
                <a:gd name="connsiteY20" fmla="*/ 1742 h 10000"/>
                <a:gd name="connsiteX21" fmla="*/ 4304 w 9837"/>
                <a:gd name="connsiteY21" fmla="*/ 1824 h 10000"/>
                <a:gd name="connsiteX22" fmla="*/ 4261 w 9837"/>
                <a:gd name="connsiteY22" fmla="*/ 1903 h 10000"/>
                <a:gd name="connsiteX23" fmla="*/ 4216 w 9837"/>
                <a:gd name="connsiteY23" fmla="*/ 1985 h 10000"/>
                <a:gd name="connsiteX24" fmla="*/ 4169 w 9837"/>
                <a:gd name="connsiteY24" fmla="*/ 2059 h 10000"/>
                <a:gd name="connsiteX25" fmla="*/ 4120 w 9837"/>
                <a:gd name="connsiteY25" fmla="*/ 2133 h 10000"/>
                <a:gd name="connsiteX26" fmla="*/ 4070 w 9837"/>
                <a:gd name="connsiteY26" fmla="*/ 2210 h 10000"/>
                <a:gd name="connsiteX27" fmla="*/ 4019 w 9837"/>
                <a:gd name="connsiteY27" fmla="*/ 2282 h 10000"/>
                <a:gd name="connsiteX28" fmla="*/ 3966 w 9837"/>
                <a:gd name="connsiteY28" fmla="*/ 2354 h 10000"/>
                <a:gd name="connsiteX29" fmla="*/ 3913 w 9837"/>
                <a:gd name="connsiteY29" fmla="*/ 2426 h 10000"/>
                <a:gd name="connsiteX30" fmla="*/ 3860 w 9837"/>
                <a:gd name="connsiteY30" fmla="*/ 2495 h 10000"/>
                <a:gd name="connsiteX31" fmla="*/ 3802 w 9837"/>
                <a:gd name="connsiteY31" fmla="*/ 2562 h 10000"/>
                <a:gd name="connsiteX32" fmla="*/ 3747 w 9837"/>
                <a:gd name="connsiteY32" fmla="*/ 2626 h 10000"/>
                <a:gd name="connsiteX33" fmla="*/ 3687 w 9837"/>
                <a:gd name="connsiteY33" fmla="*/ 2691 h 10000"/>
                <a:gd name="connsiteX34" fmla="*/ 3630 w 9837"/>
                <a:gd name="connsiteY34" fmla="*/ 2753 h 10000"/>
                <a:gd name="connsiteX35" fmla="*/ 3566 w 9837"/>
                <a:gd name="connsiteY35" fmla="*/ 2817 h 10000"/>
                <a:gd name="connsiteX36" fmla="*/ 3506 w 9837"/>
                <a:gd name="connsiteY36" fmla="*/ 2874 h 10000"/>
                <a:gd name="connsiteX37" fmla="*/ 3443 w 9837"/>
                <a:gd name="connsiteY37" fmla="*/ 2934 h 10000"/>
                <a:gd name="connsiteX38" fmla="*/ 3379 w 9837"/>
                <a:gd name="connsiteY38" fmla="*/ 2989 h 10000"/>
                <a:gd name="connsiteX39" fmla="*/ 3314 w 9837"/>
                <a:gd name="connsiteY39" fmla="*/ 3043 h 10000"/>
                <a:gd name="connsiteX40" fmla="*/ 3248 w 9837"/>
                <a:gd name="connsiteY40" fmla="*/ 3097 h 10000"/>
                <a:gd name="connsiteX41" fmla="*/ 3182 w 9837"/>
                <a:gd name="connsiteY41" fmla="*/ 3149 h 10000"/>
                <a:gd name="connsiteX42" fmla="*/ 3114 w 9837"/>
                <a:gd name="connsiteY42" fmla="*/ 3196 h 10000"/>
                <a:gd name="connsiteX43" fmla="*/ 3045 w 9837"/>
                <a:gd name="connsiteY43" fmla="*/ 3243 h 10000"/>
                <a:gd name="connsiteX44" fmla="*/ 3171 w 9837"/>
                <a:gd name="connsiteY44" fmla="*/ 6577 h 10000"/>
                <a:gd name="connsiteX45" fmla="*/ 0 w 9837"/>
                <a:gd name="connsiteY45" fmla="*/ 9874 h 10000"/>
                <a:gd name="connsiteX46" fmla="*/ 164 w 9837"/>
                <a:gd name="connsiteY46" fmla="*/ 9903 h 10000"/>
                <a:gd name="connsiteX47" fmla="*/ 327 w 9837"/>
                <a:gd name="connsiteY47" fmla="*/ 9927 h 10000"/>
                <a:gd name="connsiteX48" fmla="*/ 492 w 9837"/>
                <a:gd name="connsiteY48" fmla="*/ 9949 h 10000"/>
                <a:gd name="connsiteX49" fmla="*/ 657 w 9837"/>
                <a:gd name="connsiteY49" fmla="*/ 9965 h 10000"/>
                <a:gd name="connsiteX50" fmla="*/ 823 w 9837"/>
                <a:gd name="connsiteY50" fmla="*/ 9980 h 10000"/>
                <a:gd name="connsiteX51" fmla="*/ 994 w 9837"/>
                <a:gd name="connsiteY51" fmla="*/ 9990 h 10000"/>
                <a:gd name="connsiteX52" fmla="*/ 1162 w 9837"/>
                <a:gd name="connsiteY52" fmla="*/ 9995 h 10000"/>
                <a:gd name="connsiteX53" fmla="*/ 1329 w 9837"/>
                <a:gd name="connsiteY53" fmla="*/ 10000 h 10000"/>
                <a:gd name="connsiteX54" fmla="*/ 1532 w 9837"/>
                <a:gd name="connsiteY54" fmla="*/ 9995 h 10000"/>
                <a:gd name="connsiteX55" fmla="*/ 1729 w 9837"/>
                <a:gd name="connsiteY55" fmla="*/ 9988 h 10000"/>
                <a:gd name="connsiteX56" fmla="*/ 1927 w 9837"/>
                <a:gd name="connsiteY56" fmla="*/ 9975 h 10000"/>
                <a:gd name="connsiteX57" fmla="*/ 2119 w 9837"/>
                <a:gd name="connsiteY57" fmla="*/ 9954 h 10000"/>
                <a:gd name="connsiteX58" fmla="*/ 2316 w 9837"/>
                <a:gd name="connsiteY58" fmla="*/ 9932 h 10000"/>
                <a:gd name="connsiteX59" fmla="*/ 2509 w 9837"/>
                <a:gd name="connsiteY59" fmla="*/ 9898 h 10000"/>
                <a:gd name="connsiteX60" fmla="*/ 2701 w 9837"/>
                <a:gd name="connsiteY60" fmla="*/ 9866 h 10000"/>
                <a:gd name="connsiteX61" fmla="*/ 2893 w 9837"/>
                <a:gd name="connsiteY61" fmla="*/ 9824 h 10000"/>
                <a:gd name="connsiteX62" fmla="*/ 3080 w 9837"/>
                <a:gd name="connsiteY62" fmla="*/ 9779 h 10000"/>
                <a:gd name="connsiteX63" fmla="*/ 3272 w 9837"/>
                <a:gd name="connsiteY63" fmla="*/ 9731 h 10000"/>
                <a:gd name="connsiteX64" fmla="*/ 3454 w 9837"/>
                <a:gd name="connsiteY64" fmla="*/ 9673 h 10000"/>
                <a:gd name="connsiteX65" fmla="*/ 3641 w 9837"/>
                <a:gd name="connsiteY65" fmla="*/ 9616 h 10000"/>
                <a:gd name="connsiteX66" fmla="*/ 3824 w 9837"/>
                <a:gd name="connsiteY66" fmla="*/ 9553 h 10000"/>
                <a:gd name="connsiteX67" fmla="*/ 4005 w 9837"/>
                <a:gd name="connsiteY67" fmla="*/ 9482 h 10000"/>
                <a:gd name="connsiteX68" fmla="*/ 4182 w 9837"/>
                <a:gd name="connsiteY68" fmla="*/ 9405 h 10000"/>
                <a:gd name="connsiteX69" fmla="*/ 4359 w 9837"/>
                <a:gd name="connsiteY69" fmla="*/ 9330 h 10000"/>
                <a:gd name="connsiteX70" fmla="*/ 4537 w 9837"/>
                <a:gd name="connsiteY70" fmla="*/ 9244 h 10000"/>
                <a:gd name="connsiteX71" fmla="*/ 4712 w 9837"/>
                <a:gd name="connsiteY71" fmla="*/ 9159 h 10000"/>
                <a:gd name="connsiteX72" fmla="*/ 4882 w 9837"/>
                <a:gd name="connsiteY72" fmla="*/ 9063 h 10000"/>
                <a:gd name="connsiteX73" fmla="*/ 5052 w 9837"/>
                <a:gd name="connsiteY73" fmla="*/ 8968 h 10000"/>
                <a:gd name="connsiteX74" fmla="*/ 5222 w 9837"/>
                <a:gd name="connsiteY74" fmla="*/ 8865 h 10000"/>
                <a:gd name="connsiteX75" fmla="*/ 5387 w 9837"/>
                <a:gd name="connsiteY75" fmla="*/ 8760 h 10000"/>
                <a:gd name="connsiteX76" fmla="*/ 5551 w 9837"/>
                <a:gd name="connsiteY76" fmla="*/ 8652 h 10000"/>
                <a:gd name="connsiteX77" fmla="*/ 5715 w 9837"/>
                <a:gd name="connsiteY77" fmla="*/ 8536 h 10000"/>
                <a:gd name="connsiteX78" fmla="*/ 5874 w 9837"/>
                <a:gd name="connsiteY78" fmla="*/ 8417 h 10000"/>
                <a:gd name="connsiteX79" fmla="*/ 6030 w 9837"/>
                <a:gd name="connsiteY79" fmla="*/ 8295 h 10000"/>
                <a:gd name="connsiteX80" fmla="*/ 6186 w 9837"/>
                <a:gd name="connsiteY80" fmla="*/ 8169 h 10000"/>
                <a:gd name="connsiteX81" fmla="*/ 6336 w 9837"/>
                <a:gd name="connsiteY81" fmla="*/ 8040 h 10000"/>
                <a:gd name="connsiteX82" fmla="*/ 6486 w 9837"/>
                <a:gd name="connsiteY82" fmla="*/ 7904 h 10000"/>
                <a:gd name="connsiteX83" fmla="*/ 6633 w 9837"/>
                <a:gd name="connsiteY83" fmla="*/ 7768 h 10000"/>
                <a:gd name="connsiteX84" fmla="*/ 6779 w 9837"/>
                <a:gd name="connsiteY84" fmla="*/ 7625 h 10000"/>
                <a:gd name="connsiteX85" fmla="*/ 6921 w 9837"/>
                <a:gd name="connsiteY85" fmla="*/ 7480 h 10000"/>
                <a:gd name="connsiteX86" fmla="*/ 7061 w 9837"/>
                <a:gd name="connsiteY86" fmla="*/ 7329 h 10000"/>
                <a:gd name="connsiteX87" fmla="*/ 7199 w 9837"/>
                <a:gd name="connsiteY87" fmla="*/ 7178 h 10000"/>
                <a:gd name="connsiteX88" fmla="*/ 7332 w 9837"/>
                <a:gd name="connsiteY88" fmla="*/ 7025 h 10000"/>
                <a:gd name="connsiteX89" fmla="*/ 7465 w 9837"/>
                <a:gd name="connsiteY89" fmla="*/ 6862 h 10000"/>
                <a:gd name="connsiteX90" fmla="*/ 7594 w 9837"/>
                <a:gd name="connsiteY90" fmla="*/ 6697 h 10000"/>
                <a:gd name="connsiteX91" fmla="*/ 7720 w 9837"/>
                <a:gd name="connsiteY91" fmla="*/ 6534 h 10000"/>
                <a:gd name="connsiteX92" fmla="*/ 7842 w 9837"/>
                <a:gd name="connsiteY92" fmla="*/ 6365 h 10000"/>
                <a:gd name="connsiteX93" fmla="*/ 7962 w 9837"/>
                <a:gd name="connsiteY93" fmla="*/ 6189 h 10000"/>
                <a:gd name="connsiteX94" fmla="*/ 8080 w 9837"/>
                <a:gd name="connsiteY94" fmla="*/ 6016 h 10000"/>
                <a:gd name="connsiteX95" fmla="*/ 8195 w 9837"/>
                <a:gd name="connsiteY95" fmla="*/ 5835 h 10000"/>
                <a:gd name="connsiteX96" fmla="*/ 8307 w 9837"/>
                <a:gd name="connsiteY96" fmla="*/ 5652 h 10000"/>
                <a:gd name="connsiteX97" fmla="*/ 8414 w 9837"/>
                <a:gd name="connsiteY97" fmla="*/ 5468 h 10000"/>
                <a:gd name="connsiteX98" fmla="*/ 8517 w 9837"/>
                <a:gd name="connsiteY98" fmla="*/ 5278 h 10000"/>
                <a:gd name="connsiteX99" fmla="*/ 8620 w 9837"/>
                <a:gd name="connsiteY99" fmla="*/ 5089 h 10000"/>
                <a:gd name="connsiteX100" fmla="*/ 8719 w 9837"/>
                <a:gd name="connsiteY100" fmla="*/ 4893 h 10000"/>
                <a:gd name="connsiteX101" fmla="*/ 8814 w 9837"/>
                <a:gd name="connsiteY101" fmla="*/ 4698 h 10000"/>
                <a:gd name="connsiteX102" fmla="*/ 8906 w 9837"/>
                <a:gd name="connsiteY102" fmla="*/ 4500 h 10000"/>
                <a:gd name="connsiteX103" fmla="*/ 8992 w 9837"/>
                <a:gd name="connsiteY103" fmla="*/ 4294 h 10000"/>
                <a:gd name="connsiteX104" fmla="*/ 9076 w 9837"/>
                <a:gd name="connsiteY104" fmla="*/ 4091 h 10000"/>
                <a:gd name="connsiteX105" fmla="*/ 9158 w 9837"/>
                <a:gd name="connsiteY105" fmla="*/ 3885 h 10000"/>
                <a:gd name="connsiteX106" fmla="*/ 9237 w 9837"/>
                <a:gd name="connsiteY106" fmla="*/ 3674 h 10000"/>
                <a:gd name="connsiteX107" fmla="*/ 9310 w 9837"/>
                <a:gd name="connsiteY107" fmla="*/ 3464 h 10000"/>
                <a:gd name="connsiteX108" fmla="*/ 9382 w 9837"/>
                <a:gd name="connsiteY108" fmla="*/ 3248 h 10000"/>
                <a:gd name="connsiteX109" fmla="*/ 9447 w 9837"/>
                <a:gd name="connsiteY109" fmla="*/ 3030 h 10000"/>
                <a:gd name="connsiteX110" fmla="*/ 9509 w 9837"/>
                <a:gd name="connsiteY110" fmla="*/ 2815 h 10000"/>
                <a:gd name="connsiteX111" fmla="*/ 9569 w 9837"/>
                <a:gd name="connsiteY111" fmla="*/ 2592 h 10000"/>
                <a:gd name="connsiteX112" fmla="*/ 9624 w 9837"/>
                <a:gd name="connsiteY112" fmla="*/ 2369 h 10000"/>
                <a:gd name="connsiteX113" fmla="*/ 9675 w 9837"/>
                <a:gd name="connsiteY113" fmla="*/ 2143 h 10000"/>
                <a:gd name="connsiteX114" fmla="*/ 9722 w 9837"/>
                <a:gd name="connsiteY114" fmla="*/ 1918 h 10000"/>
                <a:gd name="connsiteX115" fmla="*/ 9764 w 9837"/>
                <a:gd name="connsiteY115" fmla="*/ 1690 h 10000"/>
                <a:gd name="connsiteX116" fmla="*/ 9804 w 9837"/>
                <a:gd name="connsiteY116" fmla="*/ 1457 h 10000"/>
                <a:gd name="connsiteX117" fmla="*/ 9837 w 9837"/>
                <a:gd name="connsiteY117" fmla="*/ 1222 h 10000"/>
                <a:gd name="connsiteX118" fmla="*/ 7127 w 9837"/>
                <a:gd name="connsiteY118" fmla="*/ 1876 h 10000"/>
                <a:gd name="connsiteX119" fmla="*/ 4865 w 9837"/>
                <a:gd name="connsiteY119" fmla="*/ 0 h 10000"/>
                <a:gd name="connsiteX0" fmla="*/ 4946 w 10000"/>
                <a:gd name="connsiteY0" fmla="*/ 0 h 10000"/>
                <a:gd name="connsiteX1" fmla="*/ 4946 w 10000"/>
                <a:gd name="connsiteY1" fmla="*/ 0 h 10000"/>
                <a:gd name="connsiteX2" fmla="*/ 4936 w 10000"/>
                <a:gd name="connsiteY2" fmla="*/ 99 h 10000"/>
                <a:gd name="connsiteX3" fmla="*/ 4918 w 10000"/>
                <a:gd name="connsiteY3" fmla="*/ 201 h 10000"/>
                <a:gd name="connsiteX4" fmla="*/ 4905 w 10000"/>
                <a:gd name="connsiteY4" fmla="*/ 300 h 10000"/>
                <a:gd name="connsiteX5" fmla="*/ 4887 w 10000"/>
                <a:gd name="connsiteY5" fmla="*/ 394 h 10000"/>
                <a:gd name="connsiteX6" fmla="*/ 4866 w 10000"/>
                <a:gd name="connsiteY6" fmla="*/ 491 h 10000"/>
                <a:gd name="connsiteX7" fmla="*/ 4844 w 10000"/>
                <a:gd name="connsiteY7" fmla="*/ 587 h 10000"/>
                <a:gd name="connsiteX8" fmla="*/ 4823 w 10000"/>
                <a:gd name="connsiteY8" fmla="*/ 684 h 10000"/>
                <a:gd name="connsiteX9" fmla="*/ 4798 w 10000"/>
                <a:gd name="connsiteY9" fmla="*/ 778 h 10000"/>
                <a:gd name="connsiteX10" fmla="*/ 4772 w 10000"/>
                <a:gd name="connsiteY10" fmla="*/ 870 h 10000"/>
                <a:gd name="connsiteX11" fmla="*/ 4741 w 10000"/>
                <a:gd name="connsiteY11" fmla="*/ 961 h 10000"/>
                <a:gd name="connsiteX12" fmla="*/ 4716 w 10000"/>
                <a:gd name="connsiteY12" fmla="*/ 1053 h 10000"/>
                <a:gd name="connsiteX13" fmla="*/ 4683 w 10000"/>
                <a:gd name="connsiteY13" fmla="*/ 1145 h 10000"/>
                <a:gd name="connsiteX14" fmla="*/ 4648 w 10000"/>
                <a:gd name="connsiteY14" fmla="*/ 1231 h 10000"/>
                <a:gd name="connsiteX15" fmla="*/ 4614 w 10000"/>
                <a:gd name="connsiteY15" fmla="*/ 1318 h 10000"/>
                <a:gd name="connsiteX16" fmla="*/ 4580 w 10000"/>
                <a:gd name="connsiteY16" fmla="*/ 1405 h 10000"/>
                <a:gd name="connsiteX17" fmla="*/ 4541 w 10000"/>
                <a:gd name="connsiteY17" fmla="*/ 1494 h 10000"/>
                <a:gd name="connsiteX18" fmla="*/ 4503 w 10000"/>
                <a:gd name="connsiteY18" fmla="*/ 1578 h 10000"/>
                <a:gd name="connsiteX19" fmla="*/ 4463 w 10000"/>
                <a:gd name="connsiteY19" fmla="*/ 1663 h 10000"/>
                <a:gd name="connsiteX20" fmla="*/ 4420 w 10000"/>
                <a:gd name="connsiteY20" fmla="*/ 1742 h 10000"/>
                <a:gd name="connsiteX21" fmla="*/ 4375 w 10000"/>
                <a:gd name="connsiteY21" fmla="*/ 1824 h 10000"/>
                <a:gd name="connsiteX22" fmla="*/ 4332 w 10000"/>
                <a:gd name="connsiteY22" fmla="*/ 1903 h 10000"/>
                <a:gd name="connsiteX23" fmla="*/ 4286 w 10000"/>
                <a:gd name="connsiteY23" fmla="*/ 1985 h 10000"/>
                <a:gd name="connsiteX24" fmla="*/ 4238 w 10000"/>
                <a:gd name="connsiteY24" fmla="*/ 2059 h 10000"/>
                <a:gd name="connsiteX25" fmla="*/ 4188 w 10000"/>
                <a:gd name="connsiteY25" fmla="*/ 2133 h 10000"/>
                <a:gd name="connsiteX26" fmla="*/ 4137 w 10000"/>
                <a:gd name="connsiteY26" fmla="*/ 2210 h 10000"/>
                <a:gd name="connsiteX27" fmla="*/ 4086 w 10000"/>
                <a:gd name="connsiteY27" fmla="*/ 2282 h 10000"/>
                <a:gd name="connsiteX28" fmla="*/ 4032 w 10000"/>
                <a:gd name="connsiteY28" fmla="*/ 2354 h 10000"/>
                <a:gd name="connsiteX29" fmla="*/ 3978 w 10000"/>
                <a:gd name="connsiteY29" fmla="*/ 2426 h 10000"/>
                <a:gd name="connsiteX30" fmla="*/ 3924 w 10000"/>
                <a:gd name="connsiteY30" fmla="*/ 2495 h 10000"/>
                <a:gd name="connsiteX31" fmla="*/ 3865 w 10000"/>
                <a:gd name="connsiteY31" fmla="*/ 2562 h 10000"/>
                <a:gd name="connsiteX32" fmla="*/ 3809 w 10000"/>
                <a:gd name="connsiteY32" fmla="*/ 2626 h 10000"/>
                <a:gd name="connsiteX33" fmla="*/ 3748 w 10000"/>
                <a:gd name="connsiteY33" fmla="*/ 2691 h 10000"/>
                <a:gd name="connsiteX34" fmla="*/ 3690 w 10000"/>
                <a:gd name="connsiteY34" fmla="*/ 2753 h 10000"/>
                <a:gd name="connsiteX35" fmla="*/ 3625 w 10000"/>
                <a:gd name="connsiteY35" fmla="*/ 2817 h 10000"/>
                <a:gd name="connsiteX36" fmla="*/ 3564 w 10000"/>
                <a:gd name="connsiteY36" fmla="*/ 2874 h 10000"/>
                <a:gd name="connsiteX37" fmla="*/ 3500 w 10000"/>
                <a:gd name="connsiteY37" fmla="*/ 2934 h 10000"/>
                <a:gd name="connsiteX38" fmla="*/ 3435 w 10000"/>
                <a:gd name="connsiteY38" fmla="*/ 2989 h 10000"/>
                <a:gd name="connsiteX39" fmla="*/ 3369 w 10000"/>
                <a:gd name="connsiteY39" fmla="*/ 3043 h 10000"/>
                <a:gd name="connsiteX40" fmla="*/ 3302 w 10000"/>
                <a:gd name="connsiteY40" fmla="*/ 3097 h 10000"/>
                <a:gd name="connsiteX41" fmla="*/ 3235 w 10000"/>
                <a:gd name="connsiteY41" fmla="*/ 3149 h 10000"/>
                <a:gd name="connsiteX42" fmla="*/ 3166 w 10000"/>
                <a:gd name="connsiteY42" fmla="*/ 3196 h 10000"/>
                <a:gd name="connsiteX43" fmla="*/ 3095 w 10000"/>
                <a:gd name="connsiteY43" fmla="*/ 3243 h 10000"/>
                <a:gd name="connsiteX44" fmla="*/ 3224 w 10000"/>
                <a:gd name="connsiteY44" fmla="*/ 6577 h 10000"/>
                <a:gd name="connsiteX45" fmla="*/ 0 w 10000"/>
                <a:gd name="connsiteY45" fmla="*/ 9874 h 10000"/>
                <a:gd name="connsiteX46" fmla="*/ 32 w 10000"/>
                <a:gd name="connsiteY46" fmla="*/ 9868 h 10000"/>
                <a:gd name="connsiteX47" fmla="*/ 167 w 10000"/>
                <a:gd name="connsiteY47" fmla="*/ 9903 h 10000"/>
                <a:gd name="connsiteX48" fmla="*/ 332 w 10000"/>
                <a:gd name="connsiteY48" fmla="*/ 9927 h 10000"/>
                <a:gd name="connsiteX49" fmla="*/ 500 w 10000"/>
                <a:gd name="connsiteY49" fmla="*/ 9949 h 10000"/>
                <a:gd name="connsiteX50" fmla="*/ 668 w 10000"/>
                <a:gd name="connsiteY50" fmla="*/ 9965 h 10000"/>
                <a:gd name="connsiteX51" fmla="*/ 837 w 10000"/>
                <a:gd name="connsiteY51" fmla="*/ 9980 h 10000"/>
                <a:gd name="connsiteX52" fmla="*/ 1010 w 10000"/>
                <a:gd name="connsiteY52" fmla="*/ 9990 h 10000"/>
                <a:gd name="connsiteX53" fmla="*/ 1181 w 10000"/>
                <a:gd name="connsiteY53" fmla="*/ 9995 h 10000"/>
                <a:gd name="connsiteX54" fmla="*/ 1351 w 10000"/>
                <a:gd name="connsiteY54" fmla="*/ 10000 h 10000"/>
                <a:gd name="connsiteX55" fmla="*/ 1557 w 10000"/>
                <a:gd name="connsiteY55" fmla="*/ 9995 h 10000"/>
                <a:gd name="connsiteX56" fmla="*/ 1758 w 10000"/>
                <a:gd name="connsiteY56" fmla="*/ 9988 h 10000"/>
                <a:gd name="connsiteX57" fmla="*/ 1959 w 10000"/>
                <a:gd name="connsiteY57" fmla="*/ 9975 h 10000"/>
                <a:gd name="connsiteX58" fmla="*/ 2154 w 10000"/>
                <a:gd name="connsiteY58" fmla="*/ 9954 h 10000"/>
                <a:gd name="connsiteX59" fmla="*/ 2354 w 10000"/>
                <a:gd name="connsiteY59" fmla="*/ 9932 h 10000"/>
                <a:gd name="connsiteX60" fmla="*/ 2551 w 10000"/>
                <a:gd name="connsiteY60" fmla="*/ 9898 h 10000"/>
                <a:gd name="connsiteX61" fmla="*/ 2746 w 10000"/>
                <a:gd name="connsiteY61" fmla="*/ 9866 h 10000"/>
                <a:gd name="connsiteX62" fmla="*/ 2941 w 10000"/>
                <a:gd name="connsiteY62" fmla="*/ 9824 h 10000"/>
                <a:gd name="connsiteX63" fmla="*/ 3131 w 10000"/>
                <a:gd name="connsiteY63" fmla="*/ 9779 h 10000"/>
                <a:gd name="connsiteX64" fmla="*/ 3326 w 10000"/>
                <a:gd name="connsiteY64" fmla="*/ 9731 h 10000"/>
                <a:gd name="connsiteX65" fmla="*/ 3511 w 10000"/>
                <a:gd name="connsiteY65" fmla="*/ 9673 h 10000"/>
                <a:gd name="connsiteX66" fmla="*/ 3701 w 10000"/>
                <a:gd name="connsiteY66" fmla="*/ 9616 h 10000"/>
                <a:gd name="connsiteX67" fmla="*/ 3887 w 10000"/>
                <a:gd name="connsiteY67" fmla="*/ 9553 h 10000"/>
                <a:gd name="connsiteX68" fmla="*/ 4071 w 10000"/>
                <a:gd name="connsiteY68" fmla="*/ 9482 h 10000"/>
                <a:gd name="connsiteX69" fmla="*/ 4251 w 10000"/>
                <a:gd name="connsiteY69" fmla="*/ 9405 h 10000"/>
                <a:gd name="connsiteX70" fmla="*/ 4431 w 10000"/>
                <a:gd name="connsiteY70" fmla="*/ 9330 h 10000"/>
                <a:gd name="connsiteX71" fmla="*/ 4612 w 10000"/>
                <a:gd name="connsiteY71" fmla="*/ 9244 h 10000"/>
                <a:gd name="connsiteX72" fmla="*/ 4790 w 10000"/>
                <a:gd name="connsiteY72" fmla="*/ 9159 h 10000"/>
                <a:gd name="connsiteX73" fmla="*/ 4963 w 10000"/>
                <a:gd name="connsiteY73" fmla="*/ 9063 h 10000"/>
                <a:gd name="connsiteX74" fmla="*/ 5136 w 10000"/>
                <a:gd name="connsiteY74" fmla="*/ 8968 h 10000"/>
                <a:gd name="connsiteX75" fmla="*/ 5309 w 10000"/>
                <a:gd name="connsiteY75" fmla="*/ 8865 h 10000"/>
                <a:gd name="connsiteX76" fmla="*/ 5476 w 10000"/>
                <a:gd name="connsiteY76" fmla="*/ 8760 h 10000"/>
                <a:gd name="connsiteX77" fmla="*/ 5643 w 10000"/>
                <a:gd name="connsiteY77" fmla="*/ 8652 h 10000"/>
                <a:gd name="connsiteX78" fmla="*/ 5810 w 10000"/>
                <a:gd name="connsiteY78" fmla="*/ 8536 h 10000"/>
                <a:gd name="connsiteX79" fmla="*/ 5971 w 10000"/>
                <a:gd name="connsiteY79" fmla="*/ 8417 h 10000"/>
                <a:gd name="connsiteX80" fmla="*/ 6130 w 10000"/>
                <a:gd name="connsiteY80" fmla="*/ 8295 h 10000"/>
                <a:gd name="connsiteX81" fmla="*/ 6289 w 10000"/>
                <a:gd name="connsiteY81" fmla="*/ 8169 h 10000"/>
                <a:gd name="connsiteX82" fmla="*/ 6441 w 10000"/>
                <a:gd name="connsiteY82" fmla="*/ 8040 h 10000"/>
                <a:gd name="connsiteX83" fmla="*/ 6593 w 10000"/>
                <a:gd name="connsiteY83" fmla="*/ 7904 h 10000"/>
                <a:gd name="connsiteX84" fmla="*/ 6743 w 10000"/>
                <a:gd name="connsiteY84" fmla="*/ 7768 h 10000"/>
                <a:gd name="connsiteX85" fmla="*/ 6891 w 10000"/>
                <a:gd name="connsiteY85" fmla="*/ 7625 h 10000"/>
                <a:gd name="connsiteX86" fmla="*/ 7036 w 10000"/>
                <a:gd name="connsiteY86" fmla="*/ 7480 h 10000"/>
                <a:gd name="connsiteX87" fmla="*/ 7178 w 10000"/>
                <a:gd name="connsiteY87" fmla="*/ 7329 h 10000"/>
                <a:gd name="connsiteX88" fmla="*/ 7318 w 10000"/>
                <a:gd name="connsiteY88" fmla="*/ 7178 h 10000"/>
                <a:gd name="connsiteX89" fmla="*/ 7453 w 10000"/>
                <a:gd name="connsiteY89" fmla="*/ 7025 h 10000"/>
                <a:gd name="connsiteX90" fmla="*/ 7589 w 10000"/>
                <a:gd name="connsiteY90" fmla="*/ 6862 h 10000"/>
                <a:gd name="connsiteX91" fmla="*/ 7720 w 10000"/>
                <a:gd name="connsiteY91" fmla="*/ 6697 h 10000"/>
                <a:gd name="connsiteX92" fmla="*/ 7848 w 10000"/>
                <a:gd name="connsiteY92" fmla="*/ 6534 h 10000"/>
                <a:gd name="connsiteX93" fmla="*/ 7972 w 10000"/>
                <a:gd name="connsiteY93" fmla="*/ 6365 h 10000"/>
                <a:gd name="connsiteX94" fmla="*/ 8094 w 10000"/>
                <a:gd name="connsiteY94" fmla="*/ 6189 h 10000"/>
                <a:gd name="connsiteX95" fmla="*/ 8214 w 10000"/>
                <a:gd name="connsiteY95" fmla="*/ 6016 h 10000"/>
                <a:gd name="connsiteX96" fmla="*/ 8331 w 10000"/>
                <a:gd name="connsiteY96" fmla="*/ 5835 h 10000"/>
                <a:gd name="connsiteX97" fmla="*/ 8445 w 10000"/>
                <a:gd name="connsiteY97" fmla="*/ 5652 h 10000"/>
                <a:gd name="connsiteX98" fmla="*/ 8553 w 10000"/>
                <a:gd name="connsiteY98" fmla="*/ 5468 h 10000"/>
                <a:gd name="connsiteX99" fmla="*/ 8658 w 10000"/>
                <a:gd name="connsiteY99" fmla="*/ 5278 h 10000"/>
                <a:gd name="connsiteX100" fmla="*/ 8763 w 10000"/>
                <a:gd name="connsiteY100" fmla="*/ 5089 h 10000"/>
                <a:gd name="connsiteX101" fmla="*/ 8863 w 10000"/>
                <a:gd name="connsiteY101" fmla="*/ 4893 h 10000"/>
                <a:gd name="connsiteX102" fmla="*/ 8960 w 10000"/>
                <a:gd name="connsiteY102" fmla="*/ 4698 h 10000"/>
                <a:gd name="connsiteX103" fmla="*/ 9054 w 10000"/>
                <a:gd name="connsiteY103" fmla="*/ 4500 h 10000"/>
                <a:gd name="connsiteX104" fmla="*/ 9141 w 10000"/>
                <a:gd name="connsiteY104" fmla="*/ 4294 h 10000"/>
                <a:gd name="connsiteX105" fmla="*/ 9226 w 10000"/>
                <a:gd name="connsiteY105" fmla="*/ 4091 h 10000"/>
                <a:gd name="connsiteX106" fmla="*/ 9310 w 10000"/>
                <a:gd name="connsiteY106" fmla="*/ 3885 h 10000"/>
                <a:gd name="connsiteX107" fmla="*/ 9390 w 10000"/>
                <a:gd name="connsiteY107" fmla="*/ 3674 h 10000"/>
                <a:gd name="connsiteX108" fmla="*/ 9464 w 10000"/>
                <a:gd name="connsiteY108" fmla="*/ 3464 h 10000"/>
                <a:gd name="connsiteX109" fmla="*/ 9537 w 10000"/>
                <a:gd name="connsiteY109" fmla="*/ 3248 h 10000"/>
                <a:gd name="connsiteX110" fmla="*/ 9604 w 10000"/>
                <a:gd name="connsiteY110" fmla="*/ 3030 h 10000"/>
                <a:gd name="connsiteX111" fmla="*/ 9667 w 10000"/>
                <a:gd name="connsiteY111" fmla="*/ 2815 h 10000"/>
                <a:gd name="connsiteX112" fmla="*/ 9728 w 10000"/>
                <a:gd name="connsiteY112" fmla="*/ 2592 h 10000"/>
                <a:gd name="connsiteX113" fmla="*/ 9783 w 10000"/>
                <a:gd name="connsiteY113" fmla="*/ 2369 h 10000"/>
                <a:gd name="connsiteX114" fmla="*/ 9835 w 10000"/>
                <a:gd name="connsiteY114" fmla="*/ 2143 h 10000"/>
                <a:gd name="connsiteX115" fmla="*/ 9883 w 10000"/>
                <a:gd name="connsiteY115" fmla="*/ 1918 h 10000"/>
                <a:gd name="connsiteX116" fmla="*/ 9926 w 10000"/>
                <a:gd name="connsiteY116" fmla="*/ 1690 h 10000"/>
                <a:gd name="connsiteX117" fmla="*/ 9966 w 10000"/>
                <a:gd name="connsiteY117" fmla="*/ 1457 h 10000"/>
                <a:gd name="connsiteX118" fmla="*/ 10000 w 10000"/>
                <a:gd name="connsiteY118" fmla="*/ 1222 h 10000"/>
                <a:gd name="connsiteX119" fmla="*/ 7245 w 10000"/>
                <a:gd name="connsiteY119" fmla="*/ 1876 h 10000"/>
                <a:gd name="connsiteX120" fmla="*/ 4946 w 10000"/>
                <a:gd name="connsiteY120" fmla="*/ 0 h 10000"/>
                <a:gd name="connsiteX0" fmla="*/ 4946 w 10000"/>
                <a:gd name="connsiteY0" fmla="*/ 0 h 10000"/>
                <a:gd name="connsiteX1" fmla="*/ 4946 w 10000"/>
                <a:gd name="connsiteY1" fmla="*/ 0 h 10000"/>
                <a:gd name="connsiteX2" fmla="*/ 4936 w 10000"/>
                <a:gd name="connsiteY2" fmla="*/ 99 h 10000"/>
                <a:gd name="connsiteX3" fmla="*/ 4918 w 10000"/>
                <a:gd name="connsiteY3" fmla="*/ 201 h 10000"/>
                <a:gd name="connsiteX4" fmla="*/ 4905 w 10000"/>
                <a:gd name="connsiteY4" fmla="*/ 300 h 10000"/>
                <a:gd name="connsiteX5" fmla="*/ 4887 w 10000"/>
                <a:gd name="connsiteY5" fmla="*/ 394 h 10000"/>
                <a:gd name="connsiteX6" fmla="*/ 4866 w 10000"/>
                <a:gd name="connsiteY6" fmla="*/ 491 h 10000"/>
                <a:gd name="connsiteX7" fmla="*/ 4844 w 10000"/>
                <a:gd name="connsiteY7" fmla="*/ 587 h 10000"/>
                <a:gd name="connsiteX8" fmla="*/ 4823 w 10000"/>
                <a:gd name="connsiteY8" fmla="*/ 684 h 10000"/>
                <a:gd name="connsiteX9" fmla="*/ 4798 w 10000"/>
                <a:gd name="connsiteY9" fmla="*/ 778 h 10000"/>
                <a:gd name="connsiteX10" fmla="*/ 4772 w 10000"/>
                <a:gd name="connsiteY10" fmla="*/ 870 h 10000"/>
                <a:gd name="connsiteX11" fmla="*/ 4741 w 10000"/>
                <a:gd name="connsiteY11" fmla="*/ 961 h 10000"/>
                <a:gd name="connsiteX12" fmla="*/ 4716 w 10000"/>
                <a:gd name="connsiteY12" fmla="*/ 1053 h 10000"/>
                <a:gd name="connsiteX13" fmla="*/ 4683 w 10000"/>
                <a:gd name="connsiteY13" fmla="*/ 1145 h 10000"/>
                <a:gd name="connsiteX14" fmla="*/ 4648 w 10000"/>
                <a:gd name="connsiteY14" fmla="*/ 1231 h 10000"/>
                <a:gd name="connsiteX15" fmla="*/ 4614 w 10000"/>
                <a:gd name="connsiteY15" fmla="*/ 1318 h 10000"/>
                <a:gd name="connsiteX16" fmla="*/ 4580 w 10000"/>
                <a:gd name="connsiteY16" fmla="*/ 1405 h 10000"/>
                <a:gd name="connsiteX17" fmla="*/ 4541 w 10000"/>
                <a:gd name="connsiteY17" fmla="*/ 1494 h 10000"/>
                <a:gd name="connsiteX18" fmla="*/ 4503 w 10000"/>
                <a:gd name="connsiteY18" fmla="*/ 1578 h 10000"/>
                <a:gd name="connsiteX19" fmla="*/ 4463 w 10000"/>
                <a:gd name="connsiteY19" fmla="*/ 1663 h 10000"/>
                <a:gd name="connsiteX20" fmla="*/ 4420 w 10000"/>
                <a:gd name="connsiteY20" fmla="*/ 1742 h 10000"/>
                <a:gd name="connsiteX21" fmla="*/ 4375 w 10000"/>
                <a:gd name="connsiteY21" fmla="*/ 1824 h 10000"/>
                <a:gd name="connsiteX22" fmla="*/ 4332 w 10000"/>
                <a:gd name="connsiteY22" fmla="*/ 1903 h 10000"/>
                <a:gd name="connsiteX23" fmla="*/ 4286 w 10000"/>
                <a:gd name="connsiteY23" fmla="*/ 1985 h 10000"/>
                <a:gd name="connsiteX24" fmla="*/ 4238 w 10000"/>
                <a:gd name="connsiteY24" fmla="*/ 2059 h 10000"/>
                <a:gd name="connsiteX25" fmla="*/ 4188 w 10000"/>
                <a:gd name="connsiteY25" fmla="*/ 2133 h 10000"/>
                <a:gd name="connsiteX26" fmla="*/ 4137 w 10000"/>
                <a:gd name="connsiteY26" fmla="*/ 2210 h 10000"/>
                <a:gd name="connsiteX27" fmla="*/ 4086 w 10000"/>
                <a:gd name="connsiteY27" fmla="*/ 2282 h 10000"/>
                <a:gd name="connsiteX28" fmla="*/ 4032 w 10000"/>
                <a:gd name="connsiteY28" fmla="*/ 2354 h 10000"/>
                <a:gd name="connsiteX29" fmla="*/ 3978 w 10000"/>
                <a:gd name="connsiteY29" fmla="*/ 2426 h 10000"/>
                <a:gd name="connsiteX30" fmla="*/ 3924 w 10000"/>
                <a:gd name="connsiteY30" fmla="*/ 2495 h 10000"/>
                <a:gd name="connsiteX31" fmla="*/ 3865 w 10000"/>
                <a:gd name="connsiteY31" fmla="*/ 2562 h 10000"/>
                <a:gd name="connsiteX32" fmla="*/ 3809 w 10000"/>
                <a:gd name="connsiteY32" fmla="*/ 2626 h 10000"/>
                <a:gd name="connsiteX33" fmla="*/ 3748 w 10000"/>
                <a:gd name="connsiteY33" fmla="*/ 2691 h 10000"/>
                <a:gd name="connsiteX34" fmla="*/ 3690 w 10000"/>
                <a:gd name="connsiteY34" fmla="*/ 2753 h 10000"/>
                <a:gd name="connsiteX35" fmla="*/ 3625 w 10000"/>
                <a:gd name="connsiteY35" fmla="*/ 2817 h 10000"/>
                <a:gd name="connsiteX36" fmla="*/ 3564 w 10000"/>
                <a:gd name="connsiteY36" fmla="*/ 2874 h 10000"/>
                <a:gd name="connsiteX37" fmla="*/ 3500 w 10000"/>
                <a:gd name="connsiteY37" fmla="*/ 2934 h 10000"/>
                <a:gd name="connsiteX38" fmla="*/ 3435 w 10000"/>
                <a:gd name="connsiteY38" fmla="*/ 2989 h 10000"/>
                <a:gd name="connsiteX39" fmla="*/ 3369 w 10000"/>
                <a:gd name="connsiteY39" fmla="*/ 3043 h 10000"/>
                <a:gd name="connsiteX40" fmla="*/ 3302 w 10000"/>
                <a:gd name="connsiteY40" fmla="*/ 3097 h 10000"/>
                <a:gd name="connsiteX41" fmla="*/ 3235 w 10000"/>
                <a:gd name="connsiteY41" fmla="*/ 3149 h 10000"/>
                <a:gd name="connsiteX42" fmla="*/ 3166 w 10000"/>
                <a:gd name="connsiteY42" fmla="*/ 3196 h 10000"/>
                <a:gd name="connsiteX43" fmla="*/ 3095 w 10000"/>
                <a:gd name="connsiteY43" fmla="*/ 3243 h 10000"/>
                <a:gd name="connsiteX44" fmla="*/ 3224 w 10000"/>
                <a:gd name="connsiteY44" fmla="*/ 6577 h 10000"/>
                <a:gd name="connsiteX45" fmla="*/ 0 w 10000"/>
                <a:gd name="connsiteY45" fmla="*/ 9874 h 10000"/>
                <a:gd name="connsiteX46" fmla="*/ 167 w 10000"/>
                <a:gd name="connsiteY46" fmla="*/ 9903 h 10000"/>
                <a:gd name="connsiteX47" fmla="*/ 332 w 10000"/>
                <a:gd name="connsiteY47" fmla="*/ 9927 h 10000"/>
                <a:gd name="connsiteX48" fmla="*/ 500 w 10000"/>
                <a:gd name="connsiteY48" fmla="*/ 9949 h 10000"/>
                <a:gd name="connsiteX49" fmla="*/ 668 w 10000"/>
                <a:gd name="connsiteY49" fmla="*/ 9965 h 10000"/>
                <a:gd name="connsiteX50" fmla="*/ 837 w 10000"/>
                <a:gd name="connsiteY50" fmla="*/ 9980 h 10000"/>
                <a:gd name="connsiteX51" fmla="*/ 1010 w 10000"/>
                <a:gd name="connsiteY51" fmla="*/ 9990 h 10000"/>
                <a:gd name="connsiteX52" fmla="*/ 1181 w 10000"/>
                <a:gd name="connsiteY52" fmla="*/ 9995 h 10000"/>
                <a:gd name="connsiteX53" fmla="*/ 1351 w 10000"/>
                <a:gd name="connsiteY53" fmla="*/ 10000 h 10000"/>
                <a:gd name="connsiteX54" fmla="*/ 1557 w 10000"/>
                <a:gd name="connsiteY54" fmla="*/ 9995 h 10000"/>
                <a:gd name="connsiteX55" fmla="*/ 1758 w 10000"/>
                <a:gd name="connsiteY55" fmla="*/ 9988 h 10000"/>
                <a:gd name="connsiteX56" fmla="*/ 1959 w 10000"/>
                <a:gd name="connsiteY56" fmla="*/ 9975 h 10000"/>
                <a:gd name="connsiteX57" fmla="*/ 2154 w 10000"/>
                <a:gd name="connsiteY57" fmla="*/ 9954 h 10000"/>
                <a:gd name="connsiteX58" fmla="*/ 2354 w 10000"/>
                <a:gd name="connsiteY58" fmla="*/ 9932 h 10000"/>
                <a:gd name="connsiteX59" fmla="*/ 2551 w 10000"/>
                <a:gd name="connsiteY59" fmla="*/ 9898 h 10000"/>
                <a:gd name="connsiteX60" fmla="*/ 2746 w 10000"/>
                <a:gd name="connsiteY60" fmla="*/ 9866 h 10000"/>
                <a:gd name="connsiteX61" fmla="*/ 2941 w 10000"/>
                <a:gd name="connsiteY61" fmla="*/ 9824 h 10000"/>
                <a:gd name="connsiteX62" fmla="*/ 3131 w 10000"/>
                <a:gd name="connsiteY62" fmla="*/ 9779 h 10000"/>
                <a:gd name="connsiteX63" fmla="*/ 3326 w 10000"/>
                <a:gd name="connsiteY63" fmla="*/ 9731 h 10000"/>
                <a:gd name="connsiteX64" fmla="*/ 3511 w 10000"/>
                <a:gd name="connsiteY64" fmla="*/ 9673 h 10000"/>
                <a:gd name="connsiteX65" fmla="*/ 3701 w 10000"/>
                <a:gd name="connsiteY65" fmla="*/ 9616 h 10000"/>
                <a:gd name="connsiteX66" fmla="*/ 3887 w 10000"/>
                <a:gd name="connsiteY66" fmla="*/ 9553 h 10000"/>
                <a:gd name="connsiteX67" fmla="*/ 4071 w 10000"/>
                <a:gd name="connsiteY67" fmla="*/ 9482 h 10000"/>
                <a:gd name="connsiteX68" fmla="*/ 4251 w 10000"/>
                <a:gd name="connsiteY68" fmla="*/ 9405 h 10000"/>
                <a:gd name="connsiteX69" fmla="*/ 4431 w 10000"/>
                <a:gd name="connsiteY69" fmla="*/ 9330 h 10000"/>
                <a:gd name="connsiteX70" fmla="*/ 4612 w 10000"/>
                <a:gd name="connsiteY70" fmla="*/ 9244 h 10000"/>
                <a:gd name="connsiteX71" fmla="*/ 4790 w 10000"/>
                <a:gd name="connsiteY71" fmla="*/ 9159 h 10000"/>
                <a:gd name="connsiteX72" fmla="*/ 4963 w 10000"/>
                <a:gd name="connsiteY72" fmla="*/ 9063 h 10000"/>
                <a:gd name="connsiteX73" fmla="*/ 5136 w 10000"/>
                <a:gd name="connsiteY73" fmla="*/ 8968 h 10000"/>
                <a:gd name="connsiteX74" fmla="*/ 5309 w 10000"/>
                <a:gd name="connsiteY74" fmla="*/ 8865 h 10000"/>
                <a:gd name="connsiteX75" fmla="*/ 5476 w 10000"/>
                <a:gd name="connsiteY75" fmla="*/ 8760 h 10000"/>
                <a:gd name="connsiteX76" fmla="*/ 5643 w 10000"/>
                <a:gd name="connsiteY76" fmla="*/ 8652 h 10000"/>
                <a:gd name="connsiteX77" fmla="*/ 5810 w 10000"/>
                <a:gd name="connsiteY77" fmla="*/ 8536 h 10000"/>
                <a:gd name="connsiteX78" fmla="*/ 5971 w 10000"/>
                <a:gd name="connsiteY78" fmla="*/ 8417 h 10000"/>
                <a:gd name="connsiteX79" fmla="*/ 6130 w 10000"/>
                <a:gd name="connsiteY79" fmla="*/ 8295 h 10000"/>
                <a:gd name="connsiteX80" fmla="*/ 6289 w 10000"/>
                <a:gd name="connsiteY80" fmla="*/ 8169 h 10000"/>
                <a:gd name="connsiteX81" fmla="*/ 6441 w 10000"/>
                <a:gd name="connsiteY81" fmla="*/ 8040 h 10000"/>
                <a:gd name="connsiteX82" fmla="*/ 6593 w 10000"/>
                <a:gd name="connsiteY82" fmla="*/ 7904 h 10000"/>
                <a:gd name="connsiteX83" fmla="*/ 6743 w 10000"/>
                <a:gd name="connsiteY83" fmla="*/ 7768 h 10000"/>
                <a:gd name="connsiteX84" fmla="*/ 6891 w 10000"/>
                <a:gd name="connsiteY84" fmla="*/ 7625 h 10000"/>
                <a:gd name="connsiteX85" fmla="*/ 7036 w 10000"/>
                <a:gd name="connsiteY85" fmla="*/ 7480 h 10000"/>
                <a:gd name="connsiteX86" fmla="*/ 7178 w 10000"/>
                <a:gd name="connsiteY86" fmla="*/ 7329 h 10000"/>
                <a:gd name="connsiteX87" fmla="*/ 7318 w 10000"/>
                <a:gd name="connsiteY87" fmla="*/ 7178 h 10000"/>
                <a:gd name="connsiteX88" fmla="*/ 7453 w 10000"/>
                <a:gd name="connsiteY88" fmla="*/ 7025 h 10000"/>
                <a:gd name="connsiteX89" fmla="*/ 7589 w 10000"/>
                <a:gd name="connsiteY89" fmla="*/ 6862 h 10000"/>
                <a:gd name="connsiteX90" fmla="*/ 7720 w 10000"/>
                <a:gd name="connsiteY90" fmla="*/ 6697 h 10000"/>
                <a:gd name="connsiteX91" fmla="*/ 7848 w 10000"/>
                <a:gd name="connsiteY91" fmla="*/ 6534 h 10000"/>
                <a:gd name="connsiteX92" fmla="*/ 7972 w 10000"/>
                <a:gd name="connsiteY92" fmla="*/ 6365 h 10000"/>
                <a:gd name="connsiteX93" fmla="*/ 8094 w 10000"/>
                <a:gd name="connsiteY93" fmla="*/ 6189 h 10000"/>
                <a:gd name="connsiteX94" fmla="*/ 8214 w 10000"/>
                <a:gd name="connsiteY94" fmla="*/ 6016 h 10000"/>
                <a:gd name="connsiteX95" fmla="*/ 8331 w 10000"/>
                <a:gd name="connsiteY95" fmla="*/ 5835 h 10000"/>
                <a:gd name="connsiteX96" fmla="*/ 8445 w 10000"/>
                <a:gd name="connsiteY96" fmla="*/ 5652 h 10000"/>
                <a:gd name="connsiteX97" fmla="*/ 8553 w 10000"/>
                <a:gd name="connsiteY97" fmla="*/ 5468 h 10000"/>
                <a:gd name="connsiteX98" fmla="*/ 8658 w 10000"/>
                <a:gd name="connsiteY98" fmla="*/ 5278 h 10000"/>
                <a:gd name="connsiteX99" fmla="*/ 8763 w 10000"/>
                <a:gd name="connsiteY99" fmla="*/ 5089 h 10000"/>
                <a:gd name="connsiteX100" fmla="*/ 8863 w 10000"/>
                <a:gd name="connsiteY100" fmla="*/ 4893 h 10000"/>
                <a:gd name="connsiteX101" fmla="*/ 8960 w 10000"/>
                <a:gd name="connsiteY101" fmla="*/ 4698 h 10000"/>
                <a:gd name="connsiteX102" fmla="*/ 9054 w 10000"/>
                <a:gd name="connsiteY102" fmla="*/ 4500 h 10000"/>
                <a:gd name="connsiteX103" fmla="*/ 9141 w 10000"/>
                <a:gd name="connsiteY103" fmla="*/ 4294 h 10000"/>
                <a:gd name="connsiteX104" fmla="*/ 9226 w 10000"/>
                <a:gd name="connsiteY104" fmla="*/ 4091 h 10000"/>
                <a:gd name="connsiteX105" fmla="*/ 9310 w 10000"/>
                <a:gd name="connsiteY105" fmla="*/ 3885 h 10000"/>
                <a:gd name="connsiteX106" fmla="*/ 9390 w 10000"/>
                <a:gd name="connsiteY106" fmla="*/ 3674 h 10000"/>
                <a:gd name="connsiteX107" fmla="*/ 9464 w 10000"/>
                <a:gd name="connsiteY107" fmla="*/ 3464 h 10000"/>
                <a:gd name="connsiteX108" fmla="*/ 9537 w 10000"/>
                <a:gd name="connsiteY108" fmla="*/ 3248 h 10000"/>
                <a:gd name="connsiteX109" fmla="*/ 9604 w 10000"/>
                <a:gd name="connsiteY109" fmla="*/ 3030 h 10000"/>
                <a:gd name="connsiteX110" fmla="*/ 9667 w 10000"/>
                <a:gd name="connsiteY110" fmla="*/ 2815 h 10000"/>
                <a:gd name="connsiteX111" fmla="*/ 9728 w 10000"/>
                <a:gd name="connsiteY111" fmla="*/ 2592 h 10000"/>
                <a:gd name="connsiteX112" fmla="*/ 9783 w 10000"/>
                <a:gd name="connsiteY112" fmla="*/ 2369 h 10000"/>
                <a:gd name="connsiteX113" fmla="*/ 9835 w 10000"/>
                <a:gd name="connsiteY113" fmla="*/ 2143 h 10000"/>
                <a:gd name="connsiteX114" fmla="*/ 9883 w 10000"/>
                <a:gd name="connsiteY114" fmla="*/ 1918 h 10000"/>
                <a:gd name="connsiteX115" fmla="*/ 9926 w 10000"/>
                <a:gd name="connsiteY115" fmla="*/ 1690 h 10000"/>
                <a:gd name="connsiteX116" fmla="*/ 9966 w 10000"/>
                <a:gd name="connsiteY116" fmla="*/ 1457 h 10000"/>
                <a:gd name="connsiteX117" fmla="*/ 10000 w 10000"/>
                <a:gd name="connsiteY117" fmla="*/ 1222 h 10000"/>
                <a:gd name="connsiteX118" fmla="*/ 7245 w 10000"/>
                <a:gd name="connsiteY118" fmla="*/ 1876 h 10000"/>
                <a:gd name="connsiteX119" fmla="*/ 4946 w 10000"/>
                <a:gd name="connsiteY119" fmla="*/ 0 h 10000"/>
                <a:gd name="connsiteX0" fmla="*/ 4779 w 9833"/>
                <a:gd name="connsiteY0" fmla="*/ 0 h 10000"/>
                <a:gd name="connsiteX1" fmla="*/ 4779 w 9833"/>
                <a:gd name="connsiteY1" fmla="*/ 0 h 10000"/>
                <a:gd name="connsiteX2" fmla="*/ 4769 w 9833"/>
                <a:gd name="connsiteY2" fmla="*/ 99 h 10000"/>
                <a:gd name="connsiteX3" fmla="*/ 4751 w 9833"/>
                <a:gd name="connsiteY3" fmla="*/ 201 h 10000"/>
                <a:gd name="connsiteX4" fmla="*/ 4738 w 9833"/>
                <a:gd name="connsiteY4" fmla="*/ 300 h 10000"/>
                <a:gd name="connsiteX5" fmla="*/ 4720 w 9833"/>
                <a:gd name="connsiteY5" fmla="*/ 394 h 10000"/>
                <a:gd name="connsiteX6" fmla="*/ 4699 w 9833"/>
                <a:gd name="connsiteY6" fmla="*/ 491 h 10000"/>
                <a:gd name="connsiteX7" fmla="*/ 4677 w 9833"/>
                <a:gd name="connsiteY7" fmla="*/ 587 h 10000"/>
                <a:gd name="connsiteX8" fmla="*/ 4656 w 9833"/>
                <a:gd name="connsiteY8" fmla="*/ 684 h 10000"/>
                <a:gd name="connsiteX9" fmla="*/ 4631 w 9833"/>
                <a:gd name="connsiteY9" fmla="*/ 778 h 10000"/>
                <a:gd name="connsiteX10" fmla="*/ 4605 w 9833"/>
                <a:gd name="connsiteY10" fmla="*/ 870 h 10000"/>
                <a:gd name="connsiteX11" fmla="*/ 4574 w 9833"/>
                <a:gd name="connsiteY11" fmla="*/ 961 h 10000"/>
                <a:gd name="connsiteX12" fmla="*/ 4549 w 9833"/>
                <a:gd name="connsiteY12" fmla="*/ 1053 h 10000"/>
                <a:gd name="connsiteX13" fmla="*/ 4516 w 9833"/>
                <a:gd name="connsiteY13" fmla="*/ 1145 h 10000"/>
                <a:gd name="connsiteX14" fmla="*/ 4481 w 9833"/>
                <a:gd name="connsiteY14" fmla="*/ 1231 h 10000"/>
                <a:gd name="connsiteX15" fmla="*/ 4447 w 9833"/>
                <a:gd name="connsiteY15" fmla="*/ 1318 h 10000"/>
                <a:gd name="connsiteX16" fmla="*/ 4413 w 9833"/>
                <a:gd name="connsiteY16" fmla="*/ 1405 h 10000"/>
                <a:gd name="connsiteX17" fmla="*/ 4374 w 9833"/>
                <a:gd name="connsiteY17" fmla="*/ 1494 h 10000"/>
                <a:gd name="connsiteX18" fmla="*/ 4336 w 9833"/>
                <a:gd name="connsiteY18" fmla="*/ 1578 h 10000"/>
                <a:gd name="connsiteX19" fmla="*/ 4296 w 9833"/>
                <a:gd name="connsiteY19" fmla="*/ 1663 h 10000"/>
                <a:gd name="connsiteX20" fmla="*/ 4253 w 9833"/>
                <a:gd name="connsiteY20" fmla="*/ 1742 h 10000"/>
                <a:gd name="connsiteX21" fmla="*/ 4208 w 9833"/>
                <a:gd name="connsiteY21" fmla="*/ 1824 h 10000"/>
                <a:gd name="connsiteX22" fmla="*/ 4165 w 9833"/>
                <a:gd name="connsiteY22" fmla="*/ 1903 h 10000"/>
                <a:gd name="connsiteX23" fmla="*/ 4119 w 9833"/>
                <a:gd name="connsiteY23" fmla="*/ 1985 h 10000"/>
                <a:gd name="connsiteX24" fmla="*/ 4071 w 9833"/>
                <a:gd name="connsiteY24" fmla="*/ 2059 h 10000"/>
                <a:gd name="connsiteX25" fmla="*/ 4021 w 9833"/>
                <a:gd name="connsiteY25" fmla="*/ 2133 h 10000"/>
                <a:gd name="connsiteX26" fmla="*/ 3970 w 9833"/>
                <a:gd name="connsiteY26" fmla="*/ 2210 h 10000"/>
                <a:gd name="connsiteX27" fmla="*/ 3919 w 9833"/>
                <a:gd name="connsiteY27" fmla="*/ 2282 h 10000"/>
                <a:gd name="connsiteX28" fmla="*/ 3865 w 9833"/>
                <a:gd name="connsiteY28" fmla="*/ 2354 h 10000"/>
                <a:gd name="connsiteX29" fmla="*/ 3811 w 9833"/>
                <a:gd name="connsiteY29" fmla="*/ 2426 h 10000"/>
                <a:gd name="connsiteX30" fmla="*/ 3757 w 9833"/>
                <a:gd name="connsiteY30" fmla="*/ 2495 h 10000"/>
                <a:gd name="connsiteX31" fmla="*/ 3698 w 9833"/>
                <a:gd name="connsiteY31" fmla="*/ 2562 h 10000"/>
                <a:gd name="connsiteX32" fmla="*/ 3642 w 9833"/>
                <a:gd name="connsiteY32" fmla="*/ 2626 h 10000"/>
                <a:gd name="connsiteX33" fmla="*/ 3581 w 9833"/>
                <a:gd name="connsiteY33" fmla="*/ 2691 h 10000"/>
                <a:gd name="connsiteX34" fmla="*/ 3523 w 9833"/>
                <a:gd name="connsiteY34" fmla="*/ 2753 h 10000"/>
                <a:gd name="connsiteX35" fmla="*/ 3458 w 9833"/>
                <a:gd name="connsiteY35" fmla="*/ 2817 h 10000"/>
                <a:gd name="connsiteX36" fmla="*/ 3397 w 9833"/>
                <a:gd name="connsiteY36" fmla="*/ 2874 h 10000"/>
                <a:gd name="connsiteX37" fmla="*/ 3333 w 9833"/>
                <a:gd name="connsiteY37" fmla="*/ 2934 h 10000"/>
                <a:gd name="connsiteX38" fmla="*/ 3268 w 9833"/>
                <a:gd name="connsiteY38" fmla="*/ 2989 h 10000"/>
                <a:gd name="connsiteX39" fmla="*/ 3202 w 9833"/>
                <a:gd name="connsiteY39" fmla="*/ 3043 h 10000"/>
                <a:gd name="connsiteX40" fmla="*/ 3135 w 9833"/>
                <a:gd name="connsiteY40" fmla="*/ 3097 h 10000"/>
                <a:gd name="connsiteX41" fmla="*/ 3068 w 9833"/>
                <a:gd name="connsiteY41" fmla="*/ 3149 h 10000"/>
                <a:gd name="connsiteX42" fmla="*/ 2999 w 9833"/>
                <a:gd name="connsiteY42" fmla="*/ 3196 h 10000"/>
                <a:gd name="connsiteX43" fmla="*/ 2928 w 9833"/>
                <a:gd name="connsiteY43" fmla="*/ 3243 h 10000"/>
                <a:gd name="connsiteX44" fmla="*/ 3057 w 9833"/>
                <a:gd name="connsiteY44" fmla="*/ 6577 h 10000"/>
                <a:gd name="connsiteX45" fmla="*/ 0 w 9833"/>
                <a:gd name="connsiteY45" fmla="*/ 9903 h 10000"/>
                <a:gd name="connsiteX46" fmla="*/ 165 w 9833"/>
                <a:gd name="connsiteY46" fmla="*/ 9927 h 10000"/>
                <a:gd name="connsiteX47" fmla="*/ 333 w 9833"/>
                <a:gd name="connsiteY47" fmla="*/ 9949 h 10000"/>
                <a:gd name="connsiteX48" fmla="*/ 501 w 9833"/>
                <a:gd name="connsiteY48" fmla="*/ 9965 h 10000"/>
                <a:gd name="connsiteX49" fmla="*/ 670 w 9833"/>
                <a:gd name="connsiteY49" fmla="*/ 9980 h 10000"/>
                <a:gd name="connsiteX50" fmla="*/ 843 w 9833"/>
                <a:gd name="connsiteY50" fmla="*/ 9990 h 10000"/>
                <a:gd name="connsiteX51" fmla="*/ 1014 w 9833"/>
                <a:gd name="connsiteY51" fmla="*/ 9995 h 10000"/>
                <a:gd name="connsiteX52" fmla="*/ 1184 w 9833"/>
                <a:gd name="connsiteY52" fmla="*/ 10000 h 10000"/>
                <a:gd name="connsiteX53" fmla="*/ 1390 w 9833"/>
                <a:gd name="connsiteY53" fmla="*/ 9995 h 10000"/>
                <a:gd name="connsiteX54" fmla="*/ 1591 w 9833"/>
                <a:gd name="connsiteY54" fmla="*/ 9988 h 10000"/>
                <a:gd name="connsiteX55" fmla="*/ 1792 w 9833"/>
                <a:gd name="connsiteY55" fmla="*/ 9975 h 10000"/>
                <a:gd name="connsiteX56" fmla="*/ 1987 w 9833"/>
                <a:gd name="connsiteY56" fmla="*/ 9954 h 10000"/>
                <a:gd name="connsiteX57" fmla="*/ 2187 w 9833"/>
                <a:gd name="connsiteY57" fmla="*/ 9932 h 10000"/>
                <a:gd name="connsiteX58" fmla="*/ 2384 w 9833"/>
                <a:gd name="connsiteY58" fmla="*/ 9898 h 10000"/>
                <a:gd name="connsiteX59" fmla="*/ 2579 w 9833"/>
                <a:gd name="connsiteY59" fmla="*/ 9866 h 10000"/>
                <a:gd name="connsiteX60" fmla="*/ 2774 w 9833"/>
                <a:gd name="connsiteY60" fmla="*/ 9824 h 10000"/>
                <a:gd name="connsiteX61" fmla="*/ 2964 w 9833"/>
                <a:gd name="connsiteY61" fmla="*/ 9779 h 10000"/>
                <a:gd name="connsiteX62" fmla="*/ 3159 w 9833"/>
                <a:gd name="connsiteY62" fmla="*/ 9731 h 10000"/>
                <a:gd name="connsiteX63" fmla="*/ 3344 w 9833"/>
                <a:gd name="connsiteY63" fmla="*/ 9673 h 10000"/>
                <a:gd name="connsiteX64" fmla="*/ 3534 w 9833"/>
                <a:gd name="connsiteY64" fmla="*/ 9616 h 10000"/>
                <a:gd name="connsiteX65" fmla="*/ 3720 w 9833"/>
                <a:gd name="connsiteY65" fmla="*/ 9553 h 10000"/>
                <a:gd name="connsiteX66" fmla="*/ 3904 w 9833"/>
                <a:gd name="connsiteY66" fmla="*/ 9482 h 10000"/>
                <a:gd name="connsiteX67" fmla="*/ 4084 w 9833"/>
                <a:gd name="connsiteY67" fmla="*/ 9405 h 10000"/>
                <a:gd name="connsiteX68" fmla="*/ 4264 w 9833"/>
                <a:gd name="connsiteY68" fmla="*/ 9330 h 10000"/>
                <a:gd name="connsiteX69" fmla="*/ 4445 w 9833"/>
                <a:gd name="connsiteY69" fmla="*/ 9244 h 10000"/>
                <a:gd name="connsiteX70" fmla="*/ 4623 w 9833"/>
                <a:gd name="connsiteY70" fmla="*/ 9159 h 10000"/>
                <a:gd name="connsiteX71" fmla="*/ 4796 w 9833"/>
                <a:gd name="connsiteY71" fmla="*/ 9063 h 10000"/>
                <a:gd name="connsiteX72" fmla="*/ 4969 w 9833"/>
                <a:gd name="connsiteY72" fmla="*/ 8968 h 10000"/>
                <a:gd name="connsiteX73" fmla="*/ 5142 w 9833"/>
                <a:gd name="connsiteY73" fmla="*/ 8865 h 10000"/>
                <a:gd name="connsiteX74" fmla="*/ 5309 w 9833"/>
                <a:gd name="connsiteY74" fmla="*/ 8760 h 10000"/>
                <a:gd name="connsiteX75" fmla="*/ 5476 w 9833"/>
                <a:gd name="connsiteY75" fmla="*/ 8652 h 10000"/>
                <a:gd name="connsiteX76" fmla="*/ 5643 w 9833"/>
                <a:gd name="connsiteY76" fmla="*/ 8536 h 10000"/>
                <a:gd name="connsiteX77" fmla="*/ 5804 w 9833"/>
                <a:gd name="connsiteY77" fmla="*/ 8417 h 10000"/>
                <a:gd name="connsiteX78" fmla="*/ 5963 w 9833"/>
                <a:gd name="connsiteY78" fmla="*/ 8295 h 10000"/>
                <a:gd name="connsiteX79" fmla="*/ 6122 w 9833"/>
                <a:gd name="connsiteY79" fmla="*/ 8169 h 10000"/>
                <a:gd name="connsiteX80" fmla="*/ 6274 w 9833"/>
                <a:gd name="connsiteY80" fmla="*/ 8040 h 10000"/>
                <a:gd name="connsiteX81" fmla="*/ 6426 w 9833"/>
                <a:gd name="connsiteY81" fmla="*/ 7904 h 10000"/>
                <a:gd name="connsiteX82" fmla="*/ 6576 w 9833"/>
                <a:gd name="connsiteY82" fmla="*/ 7768 h 10000"/>
                <a:gd name="connsiteX83" fmla="*/ 6724 w 9833"/>
                <a:gd name="connsiteY83" fmla="*/ 7625 h 10000"/>
                <a:gd name="connsiteX84" fmla="*/ 6869 w 9833"/>
                <a:gd name="connsiteY84" fmla="*/ 7480 h 10000"/>
                <a:gd name="connsiteX85" fmla="*/ 7011 w 9833"/>
                <a:gd name="connsiteY85" fmla="*/ 7329 h 10000"/>
                <a:gd name="connsiteX86" fmla="*/ 7151 w 9833"/>
                <a:gd name="connsiteY86" fmla="*/ 7178 h 10000"/>
                <a:gd name="connsiteX87" fmla="*/ 7286 w 9833"/>
                <a:gd name="connsiteY87" fmla="*/ 7025 h 10000"/>
                <a:gd name="connsiteX88" fmla="*/ 7422 w 9833"/>
                <a:gd name="connsiteY88" fmla="*/ 6862 h 10000"/>
                <a:gd name="connsiteX89" fmla="*/ 7553 w 9833"/>
                <a:gd name="connsiteY89" fmla="*/ 6697 h 10000"/>
                <a:gd name="connsiteX90" fmla="*/ 7681 w 9833"/>
                <a:gd name="connsiteY90" fmla="*/ 6534 h 10000"/>
                <a:gd name="connsiteX91" fmla="*/ 7805 w 9833"/>
                <a:gd name="connsiteY91" fmla="*/ 6365 h 10000"/>
                <a:gd name="connsiteX92" fmla="*/ 7927 w 9833"/>
                <a:gd name="connsiteY92" fmla="*/ 6189 h 10000"/>
                <a:gd name="connsiteX93" fmla="*/ 8047 w 9833"/>
                <a:gd name="connsiteY93" fmla="*/ 6016 h 10000"/>
                <a:gd name="connsiteX94" fmla="*/ 8164 w 9833"/>
                <a:gd name="connsiteY94" fmla="*/ 5835 h 10000"/>
                <a:gd name="connsiteX95" fmla="*/ 8278 w 9833"/>
                <a:gd name="connsiteY95" fmla="*/ 5652 h 10000"/>
                <a:gd name="connsiteX96" fmla="*/ 8386 w 9833"/>
                <a:gd name="connsiteY96" fmla="*/ 5468 h 10000"/>
                <a:gd name="connsiteX97" fmla="*/ 8491 w 9833"/>
                <a:gd name="connsiteY97" fmla="*/ 5278 h 10000"/>
                <a:gd name="connsiteX98" fmla="*/ 8596 w 9833"/>
                <a:gd name="connsiteY98" fmla="*/ 5089 h 10000"/>
                <a:gd name="connsiteX99" fmla="*/ 8696 w 9833"/>
                <a:gd name="connsiteY99" fmla="*/ 4893 h 10000"/>
                <a:gd name="connsiteX100" fmla="*/ 8793 w 9833"/>
                <a:gd name="connsiteY100" fmla="*/ 4698 h 10000"/>
                <a:gd name="connsiteX101" fmla="*/ 8887 w 9833"/>
                <a:gd name="connsiteY101" fmla="*/ 4500 h 10000"/>
                <a:gd name="connsiteX102" fmla="*/ 8974 w 9833"/>
                <a:gd name="connsiteY102" fmla="*/ 4294 h 10000"/>
                <a:gd name="connsiteX103" fmla="*/ 9059 w 9833"/>
                <a:gd name="connsiteY103" fmla="*/ 4091 h 10000"/>
                <a:gd name="connsiteX104" fmla="*/ 9143 w 9833"/>
                <a:gd name="connsiteY104" fmla="*/ 3885 h 10000"/>
                <a:gd name="connsiteX105" fmla="*/ 9223 w 9833"/>
                <a:gd name="connsiteY105" fmla="*/ 3674 h 10000"/>
                <a:gd name="connsiteX106" fmla="*/ 9297 w 9833"/>
                <a:gd name="connsiteY106" fmla="*/ 3464 h 10000"/>
                <a:gd name="connsiteX107" fmla="*/ 9370 w 9833"/>
                <a:gd name="connsiteY107" fmla="*/ 3248 h 10000"/>
                <a:gd name="connsiteX108" fmla="*/ 9437 w 9833"/>
                <a:gd name="connsiteY108" fmla="*/ 3030 h 10000"/>
                <a:gd name="connsiteX109" fmla="*/ 9500 w 9833"/>
                <a:gd name="connsiteY109" fmla="*/ 2815 h 10000"/>
                <a:gd name="connsiteX110" fmla="*/ 9561 w 9833"/>
                <a:gd name="connsiteY110" fmla="*/ 2592 h 10000"/>
                <a:gd name="connsiteX111" fmla="*/ 9616 w 9833"/>
                <a:gd name="connsiteY111" fmla="*/ 2369 h 10000"/>
                <a:gd name="connsiteX112" fmla="*/ 9668 w 9833"/>
                <a:gd name="connsiteY112" fmla="*/ 2143 h 10000"/>
                <a:gd name="connsiteX113" fmla="*/ 9716 w 9833"/>
                <a:gd name="connsiteY113" fmla="*/ 1918 h 10000"/>
                <a:gd name="connsiteX114" fmla="*/ 9759 w 9833"/>
                <a:gd name="connsiteY114" fmla="*/ 1690 h 10000"/>
                <a:gd name="connsiteX115" fmla="*/ 9799 w 9833"/>
                <a:gd name="connsiteY115" fmla="*/ 1457 h 10000"/>
                <a:gd name="connsiteX116" fmla="*/ 9833 w 9833"/>
                <a:gd name="connsiteY116" fmla="*/ 1222 h 10000"/>
                <a:gd name="connsiteX117" fmla="*/ 7078 w 9833"/>
                <a:gd name="connsiteY117" fmla="*/ 1876 h 10000"/>
                <a:gd name="connsiteX118" fmla="*/ 4779 w 9833"/>
                <a:gd name="connsiteY118" fmla="*/ 0 h 10000"/>
                <a:gd name="connsiteX0" fmla="*/ 4860 w 10000"/>
                <a:gd name="connsiteY0" fmla="*/ 0 h 10000"/>
                <a:gd name="connsiteX1" fmla="*/ 4860 w 10000"/>
                <a:gd name="connsiteY1" fmla="*/ 0 h 10000"/>
                <a:gd name="connsiteX2" fmla="*/ 4850 w 10000"/>
                <a:gd name="connsiteY2" fmla="*/ 99 h 10000"/>
                <a:gd name="connsiteX3" fmla="*/ 4832 w 10000"/>
                <a:gd name="connsiteY3" fmla="*/ 201 h 10000"/>
                <a:gd name="connsiteX4" fmla="*/ 4818 w 10000"/>
                <a:gd name="connsiteY4" fmla="*/ 300 h 10000"/>
                <a:gd name="connsiteX5" fmla="*/ 4800 w 10000"/>
                <a:gd name="connsiteY5" fmla="*/ 394 h 10000"/>
                <a:gd name="connsiteX6" fmla="*/ 4779 w 10000"/>
                <a:gd name="connsiteY6" fmla="*/ 491 h 10000"/>
                <a:gd name="connsiteX7" fmla="*/ 4756 w 10000"/>
                <a:gd name="connsiteY7" fmla="*/ 587 h 10000"/>
                <a:gd name="connsiteX8" fmla="*/ 4735 w 10000"/>
                <a:gd name="connsiteY8" fmla="*/ 684 h 10000"/>
                <a:gd name="connsiteX9" fmla="*/ 4710 w 10000"/>
                <a:gd name="connsiteY9" fmla="*/ 778 h 10000"/>
                <a:gd name="connsiteX10" fmla="*/ 4683 w 10000"/>
                <a:gd name="connsiteY10" fmla="*/ 870 h 10000"/>
                <a:gd name="connsiteX11" fmla="*/ 4652 w 10000"/>
                <a:gd name="connsiteY11" fmla="*/ 961 h 10000"/>
                <a:gd name="connsiteX12" fmla="*/ 4626 w 10000"/>
                <a:gd name="connsiteY12" fmla="*/ 1053 h 10000"/>
                <a:gd name="connsiteX13" fmla="*/ 4593 w 10000"/>
                <a:gd name="connsiteY13" fmla="*/ 1145 h 10000"/>
                <a:gd name="connsiteX14" fmla="*/ 4557 w 10000"/>
                <a:gd name="connsiteY14" fmla="*/ 1231 h 10000"/>
                <a:gd name="connsiteX15" fmla="*/ 4523 w 10000"/>
                <a:gd name="connsiteY15" fmla="*/ 1318 h 10000"/>
                <a:gd name="connsiteX16" fmla="*/ 4488 w 10000"/>
                <a:gd name="connsiteY16" fmla="*/ 1405 h 10000"/>
                <a:gd name="connsiteX17" fmla="*/ 4448 w 10000"/>
                <a:gd name="connsiteY17" fmla="*/ 1494 h 10000"/>
                <a:gd name="connsiteX18" fmla="*/ 4410 w 10000"/>
                <a:gd name="connsiteY18" fmla="*/ 1578 h 10000"/>
                <a:gd name="connsiteX19" fmla="*/ 4369 w 10000"/>
                <a:gd name="connsiteY19" fmla="*/ 1663 h 10000"/>
                <a:gd name="connsiteX20" fmla="*/ 4325 w 10000"/>
                <a:gd name="connsiteY20" fmla="*/ 1742 h 10000"/>
                <a:gd name="connsiteX21" fmla="*/ 4279 w 10000"/>
                <a:gd name="connsiteY21" fmla="*/ 1824 h 10000"/>
                <a:gd name="connsiteX22" fmla="*/ 4236 w 10000"/>
                <a:gd name="connsiteY22" fmla="*/ 1903 h 10000"/>
                <a:gd name="connsiteX23" fmla="*/ 4189 w 10000"/>
                <a:gd name="connsiteY23" fmla="*/ 1985 h 10000"/>
                <a:gd name="connsiteX24" fmla="*/ 4140 w 10000"/>
                <a:gd name="connsiteY24" fmla="*/ 2059 h 10000"/>
                <a:gd name="connsiteX25" fmla="*/ 4089 w 10000"/>
                <a:gd name="connsiteY25" fmla="*/ 2133 h 10000"/>
                <a:gd name="connsiteX26" fmla="*/ 4037 w 10000"/>
                <a:gd name="connsiteY26" fmla="*/ 2210 h 10000"/>
                <a:gd name="connsiteX27" fmla="*/ 3986 w 10000"/>
                <a:gd name="connsiteY27" fmla="*/ 2282 h 10000"/>
                <a:gd name="connsiteX28" fmla="*/ 3931 w 10000"/>
                <a:gd name="connsiteY28" fmla="*/ 2354 h 10000"/>
                <a:gd name="connsiteX29" fmla="*/ 3876 w 10000"/>
                <a:gd name="connsiteY29" fmla="*/ 2426 h 10000"/>
                <a:gd name="connsiteX30" fmla="*/ 3821 w 10000"/>
                <a:gd name="connsiteY30" fmla="*/ 2495 h 10000"/>
                <a:gd name="connsiteX31" fmla="*/ 3761 w 10000"/>
                <a:gd name="connsiteY31" fmla="*/ 2562 h 10000"/>
                <a:gd name="connsiteX32" fmla="*/ 3704 w 10000"/>
                <a:gd name="connsiteY32" fmla="*/ 2626 h 10000"/>
                <a:gd name="connsiteX33" fmla="*/ 3642 w 10000"/>
                <a:gd name="connsiteY33" fmla="*/ 2691 h 10000"/>
                <a:gd name="connsiteX34" fmla="*/ 3583 w 10000"/>
                <a:gd name="connsiteY34" fmla="*/ 2753 h 10000"/>
                <a:gd name="connsiteX35" fmla="*/ 3517 w 10000"/>
                <a:gd name="connsiteY35" fmla="*/ 2817 h 10000"/>
                <a:gd name="connsiteX36" fmla="*/ 3455 w 10000"/>
                <a:gd name="connsiteY36" fmla="*/ 2874 h 10000"/>
                <a:gd name="connsiteX37" fmla="*/ 3390 w 10000"/>
                <a:gd name="connsiteY37" fmla="*/ 2934 h 10000"/>
                <a:gd name="connsiteX38" fmla="*/ 3324 w 10000"/>
                <a:gd name="connsiteY38" fmla="*/ 2989 h 10000"/>
                <a:gd name="connsiteX39" fmla="*/ 3256 w 10000"/>
                <a:gd name="connsiteY39" fmla="*/ 3043 h 10000"/>
                <a:gd name="connsiteX40" fmla="*/ 3188 w 10000"/>
                <a:gd name="connsiteY40" fmla="*/ 3097 h 10000"/>
                <a:gd name="connsiteX41" fmla="*/ 3120 w 10000"/>
                <a:gd name="connsiteY41" fmla="*/ 3149 h 10000"/>
                <a:gd name="connsiteX42" fmla="*/ 3050 w 10000"/>
                <a:gd name="connsiteY42" fmla="*/ 3196 h 10000"/>
                <a:gd name="connsiteX43" fmla="*/ 2978 w 10000"/>
                <a:gd name="connsiteY43" fmla="*/ 3243 h 10000"/>
                <a:gd name="connsiteX44" fmla="*/ 3109 w 10000"/>
                <a:gd name="connsiteY44" fmla="*/ 6577 h 10000"/>
                <a:gd name="connsiteX45" fmla="*/ 0 w 10000"/>
                <a:gd name="connsiteY45" fmla="*/ 9903 h 10000"/>
                <a:gd name="connsiteX46" fmla="*/ 339 w 10000"/>
                <a:gd name="connsiteY46" fmla="*/ 9949 h 10000"/>
                <a:gd name="connsiteX47" fmla="*/ 510 w 10000"/>
                <a:gd name="connsiteY47" fmla="*/ 9965 h 10000"/>
                <a:gd name="connsiteX48" fmla="*/ 681 w 10000"/>
                <a:gd name="connsiteY48" fmla="*/ 9980 h 10000"/>
                <a:gd name="connsiteX49" fmla="*/ 857 w 10000"/>
                <a:gd name="connsiteY49" fmla="*/ 9990 h 10000"/>
                <a:gd name="connsiteX50" fmla="*/ 1031 w 10000"/>
                <a:gd name="connsiteY50" fmla="*/ 9995 h 10000"/>
                <a:gd name="connsiteX51" fmla="*/ 1204 w 10000"/>
                <a:gd name="connsiteY51" fmla="*/ 10000 h 10000"/>
                <a:gd name="connsiteX52" fmla="*/ 1414 w 10000"/>
                <a:gd name="connsiteY52" fmla="*/ 9995 h 10000"/>
                <a:gd name="connsiteX53" fmla="*/ 1618 w 10000"/>
                <a:gd name="connsiteY53" fmla="*/ 9988 h 10000"/>
                <a:gd name="connsiteX54" fmla="*/ 1822 w 10000"/>
                <a:gd name="connsiteY54" fmla="*/ 9975 h 10000"/>
                <a:gd name="connsiteX55" fmla="*/ 2021 w 10000"/>
                <a:gd name="connsiteY55" fmla="*/ 9954 h 10000"/>
                <a:gd name="connsiteX56" fmla="*/ 2224 w 10000"/>
                <a:gd name="connsiteY56" fmla="*/ 9932 h 10000"/>
                <a:gd name="connsiteX57" fmla="*/ 2424 w 10000"/>
                <a:gd name="connsiteY57" fmla="*/ 9898 h 10000"/>
                <a:gd name="connsiteX58" fmla="*/ 2623 w 10000"/>
                <a:gd name="connsiteY58" fmla="*/ 9866 h 10000"/>
                <a:gd name="connsiteX59" fmla="*/ 2821 w 10000"/>
                <a:gd name="connsiteY59" fmla="*/ 9824 h 10000"/>
                <a:gd name="connsiteX60" fmla="*/ 3014 w 10000"/>
                <a:gd name="connsiteY60" fmla="*/ 9779 h 10000"/>
                <a:gd name="connsiteX61" fmla="*/ 3213 w 10000"/>
                <a:gd name="connsiteY61" fmla="*/ 9731 h 10000"/>
                <a:gd name="connsiteX62" fmla="*/ 3401 w 10000"/>
                <a:gd name="connsiteY62" fmla="*/ 9673 h 10000"/>
                <a:gd name="connsiteX63" fmla="*/ 3594 w 10000"/>
                <a:gd name="connsiteY63" fmla="*/ 9616 h 10000"/>
                <a:gd name="connsiteX64" fmla="*/ 3783 w 10000"/>
                <a:gd name="connsiteY64" fmla="*/ 9553 h 10000"/>
                <a:gd name="connsiteX65" fmla="*/ 3970 w 10000"/>
                <a:gd name="connsiteY65" fmla="*/ 9482 h 10000"/>
                <a:gd name="connsiteX66" fmla="*/ 4153 w 10000"/>
                <a:gd name="connsiteY66" fmla="*/ 9405 h 10000"/>
                <a:gd name="connsiteX67" fmla="*/ 4336 w 10000"/>
                <a:gd name="connsiteY67" fmla="*/ 9330 h 10000"/>
                <a:gd name="connsiteX68" fmla="*/ 4520 w 10000"/>
                <a:gd name="connsiteY68" fmla="*/ 9244 h 10000"/>
                <a:gd name="connsiteX69" fmla="*/ 4702 w 10000"/>
                <a:gd name="connsiteY69" fmla="*/ 9159 h 10000"/>
                <a:gd name="connsiteX70" fmla="*/ 4877 w 10000"/>
                <a:gd name="connsiteY70" fmla="*/ 9063 h 10000"/>
                <a:gd name="connsiteX71" fmla="*/ 5053 w 10000"/>
                <a:gd name="connsiteY71" fmla="*/ 8968 h 10000"/>
                <a:gd name="connsiteX72" fmla="*/ 5229 w 10000"/>
                <a:gd name="connsiteY72" fmla="*/ 8865 h 10000"/>
                <a:gd name="connsiteX73" fmla="*/ 5399 w 10000"/>
                <a:gd name="connsiteY73" fmla="*/ 8760 h 10000"/>
                <a:gd name="connsiteX74" fmla="*/ 5569 w 10000"/>
                <a:gd name="connsiteY74" fmla="*/ 8652 h 10000"/>
                <a:gd name="connsiteX75" fmla="*/ 5739 w 10000"/>
                <a:gd name="connsiteY75" fmla="*/ 8536 h 10000"/>
                <a:gd name="connsiteX76" fmla="*/ 5903 w 10000"/>
                <a:gd name="connsiteY76" fmla="*/ 8417 h 10000"/>
                <a:gd name="connsiteX77" fmla="*/ 6064 w 10000"/>
                <a:gd name="connsiteY77" fmla="*/ 8295 h 10000"/>
                <a:gd name="connsiteX78" fmla="*/ 6226 w 10000"/>
                <a:gd name="connsiteY78" fmla="*/ 8169 h 10000"/>
                <a:gd name="connsiteX79" fmla="*/ 6381 w 10000"/>
                <a:gd name="connsiteY79" fmla="*/ 8040 h 10000"/>
                <a:gd name="connsiteX80" fmla="*/ 6535 w 10000"/>
                <a:gd name="connsiteY80" fmla="*/ 7904 h 10000"/>
                <a:gd name="connsiteX81" fmla="*/ 6688 w 10000"/>
                <a:gd name="connsiteY81" fmla="*/ 7768 h 10000"/>
                <a:gd name="connsiteX82" fmla="*/ 6838 w 10000"/>
                <a:gd name="connsiteY82" fmla="*/ 7625 h 10000"/>
                <a:gd name="connsiteX83" fmla="*/ 6986 w 10000"/>
                <a:gd name="connsiteY83" fmla="*/ 7480 h 10000"/>
                <a:gd name="connsiteX84" fmla="*/ 7130 w 10000"/>
                <a:gd name="connsiteY84" fmla="*/ 7329 h 10000"/>
                <a:gd name="connsiteX85" fmla="*/ 7272 w 10000"/>
                <a:gd name="connsiteY85" fmla="*/ 7178 h 10000"/>
                <a:gd name="connsiteX86" fmla="*/ 7410 w 10000"/>
                <a:gd name="connsiteY86" fmla="*/ 7025 h 10000"/>
                <a:gd name="connsiteX87" fmla="*/ 7548 w 10000"/>
                <a:gd name="connsiteY87" fmla="*/ 6862 h 10000"/>
                <a:gd name="connsiteX88" fmla="*/ 7681 w 10000"/>
                <a:gd name="connsiteY88" fmla="*/ 6697 h 10000"/>
                <a:gd name="connsiteX89" fmla="*/ 7811 w 10000"/>
                <a:gd name="connsiteY89" fmla="*/ 6534 h 10000"/>
                <a:gd name="connsiteX90" fmla="*/ 7938 w 10000"/>
                <a:gd name="connsiteY90" fmla="*/ 6365 h 10000"/>
                <a:gd name="connsiteX91" fmla="*/ 8062 w 10000"/>
                <a:gd name="connsiteY91" fmla="*/ 6189 h 10000"/>
                <a:gd name="connsiteX92" fmla="*/ 8184 w 10000"/>
                <a:gd name="connsiteY92" fmla="*/ 6016 h 10000"/>
                <a:gd name="connsiteX93" fmla="*/ 8303 w 10000"/>
                <a:gd name="connsiteY93" fmla="*/ 5835 h 10000"/>
                <a:gd name="connsiteX94" fmla="*/ 8419 w 10000"/>
                <a:gd name="connsiteY94" fmla="*/ 5652 h 10000"/>
                <a:gd name="connsiteX95" fmla="*/ 8528 w 10000"/>
                <a:gd name="connsiteY95" fmla="*/ 5468 h 10000"/>
                <a:gd name="connsiteX96" fmla="*/ 8635 w 10000"/>
                <a:gd name="connsiteY96" fmla="*/ 5278 h 10000"/>
                <a:gd name="connsiteX97" fmla="*/ 8742 w 10000"/>
                <a:gd name="connsiteY97" fmla="*/ 5089 h 10000"/>
                <a:gd name="connsiteX98" fmla="*/ 8844 w 10000"/>
                <a:gd name="connsiteY98" fmla="*/ 4893 h 10000"/>
                <a:gd name="connsiteX99" fmla="*/ 8942 w 10000"/>
                <a:gd name="connsiteY99" fmla="*/ 4698 h 10000"/>
                <a:gd name="connsiteX100" fmla="*/ 9038 w 10000"/>
                <a:gd name="connsiteY100" fmla="*/ 4500 h 10000"/>
                <a:gd name="connsiteX101" fmla="*/ 9126 w 10000"/>
                <a:gd name="connsiteY101" fmla="*/ 4294 h 10000"/>
                <a:gd name="connsiteX102" fmla="*/ 9213 w 10000"/>
                <a:gd name="connsiteY102" fmla="*/ 4091 h 10000"/>
                <a:gd name="connsiteX103" fmla="*/ 9298 w 10000"/>
                <a:gd name="connsiteY103" fmla="*/ 3885 h 10000"/>
                <a:gd name="connsiteX104" fmla="*/ 9380 w 10000"/>
                <a:gd name="connsiteY104" fmla="*/ 3674 h 10000"/>
                <a:gd name="connsiteX105" fmla="*/ 9455 w 10000"/>
                <a:gd name="connsiteY105" fmla="*/ 3464 h 10000"/>
                <a:gd name="connsiteX106" fmla="*/ 9529 w 10000"/>
                <a:gd name="connsiteY106" fmla="*/ 3248 h 10000"/>
                <a:gd name="connsiteX107" fmla="*/ 9597 w 10000"/>
                <a:gd name="connsiteY107" fmla="*/ 3030 h 10000"/>
                <a:gd name="connsiteX108" fmla="*/ 9661 w 10000"/>
                <a:gd name="connsiteY108" fmla="*/ 2815 h 10000"/>
                <a:gd name="connsiteX109" fmla="*/ 9723 w 10000"/>
                <a:gd name="connsiteY109" fmla="*/ 2592 h 10000"/>
                <a:gd name="connsiteX110" fmla="*/ 9779 w 10000"/>
                <a:gd name="connsiteY110" fmla="*/ 2369 h 10000"/>
                <a:gd name="connsiteX111" fmla="*/ 9832 w 10000"/>
                <a:gd name="connsiteY111" fmla="*/ 2143 h 10000"/>
                <a:gd name="connsiteX112" fmla="*/ 9881 w 10000"/>
                <a:gd name="connsiteY112" fmla="*/ 1918 h 10000"/>
                <a:gd name="connsiteX113" fmla="*/ 9925 w 10000"/>
                <a:gd name="connsiteY113" fmla="*/ 1690 h 10000"/>
                <a:gd name="connsiteX114" fmla="*/ 9965 w 10000"/>
                <a:gd name="connsiteY114" fmla="*/ 1457 h 10000"/>
                <a:gd name="connsiteX115" fmla="*/ 10000 w 10000"/>
                <a:gd name="connsiteY115" fmla="*/ 1222 h 10000"/>
                <a:gd name="connsiteX116" fmla="*/ 7198 w 10000"/>
                <a:gd name="connsiteY116" fmla="*/ 1876 h 10000"/>
                <a:gd name="connsiteX117" fmla="*/ 4860 w 10000"/>
                <a:gd name="connsiteY117" fmla="*/ 0 h 10000"/>
                <a:gd name="connsiteX0" fmla="*/ 4687 w 9827"/>
                <a:gd name="connsiteY0" fmla="*/ 0 h 10203"/>
                <a:gd name="connsiteX1" fmla="*/ 4687 w 9827"/>
                <a:gd name="connsiteY1" fmla="*/ 0 h 10203"/>
                <a:gd name="connsiteX2" fmla="*/ 4677 w 9827"/>
                <a:gd name="connsiteY2" fmla="*/ 99 h 10203"/>
                <a:gd name="connsiteX3" fmla="*/ 4659 w 9827"/>
                <a:gd name="connsiteY3" fmla="*/ 201 h 10203"/>
                <a:gd name="connsiteX4" fmla="*/ 4645 w 9827"/>
                <a:gd name="connsiteY4" fmla="*/ 300 h 10203"/>
                <a:gd name="connsiteX5" fmla="*/ 4627 w 9827"/>
                <a:gd name="connsiteY5" fmla="*/ 394 h 10203"/>
                <a:gd name="connsiteX6" fmla="*/ 4606 w 9827"/>
                <a:gd name="connsiteY6" fmla="*/ 491 h 10203"/>
                <a:gd name="connsiteX7" fmla="*/ 4583 w 9827"/>
                <a:gd name="connsiteY7" fmla="*/ 587 h 10203"/>
                <a:gd name="connsiteX8" fmla="*/ 4562 w 9827"/>
                <a:gd name="connsiteY8" fmla="*/ 684 h 10203"/>
                <a:gd name="connsiteX9" fmla="*/ 4537 w 9827"/>
                <a:gd name="connsiteY9" fmla="*/ 778 h 10203"/>
                <a:gd name="connsiteX10" fmla="*/ 4510 w 9827"/>
                <a:gd name="connsiteY10" fmla="*/ 870 h 10203"/>
                <a:gd name="connsiteX11" fmla="*/ 4479 w 9827"/>
                <a:gd name="connsiteY11" fmla="*/ 961 h 10203"/>
                <a:gd name="connsiteX12" fmla="*/ 4453 w 9827"/>
                <a:gd name="connsiteY12" fmla="*/ 1053 h 10203"/>
                <a:gd name="connsiteX13" fmla="*/ 4420 w 9827"/>
                <a:gd name="connsiteY13" fmla="*/ 1145 h 10203"/>
                <a:gd name="connsiteX14" fmla="*/ 4384 w 9827"/>
                <a:gd name="connsiteY14" fmla="*/ 1231 h 10203"/>
                <a:gd name="connsiteX15" fmla="*/ 4350 w 9827"/>
                <a:gd name="connsiteY15" fmla="*/ 1318 h 10203"/>
                <a:gd name="connsiteX16" fmla="*/ 4315 w 9827"/>
                <a:gd name="connsiteY16" fmla="*/ 1405 h 10203"/>
                <a:gd name="connsiteX17" fmla="*/ 4275 w 9827"/>
                <a:gd name="connsiteY17" fmla="*/ 1494 h 10203"/>
                <a:gd name="connsiteX18" fmla="*/ 4237 w 9827"/>
                <a:gd name="connsiteY18" fmla="*/ 1578 h 10203"/>
                <a:gd name="connsiteX19" fmla="*/ 4196 w 9827"/>
                <a:gd name="connsiteY19" fmla="*/ 1663 h 10203"/>
                <a:gd name="connsiteX20" fmla="*/ 4152 w 9827"/>
                <a:gd name="connsiteY20" fmla="*/ 1742 h 10203"/>
                <a:gd name="connsiteX21" fmla="*/ 4106 w 9827"/>
                <a:gd name="connsiteY21" fmla="*/ 1824 h 10203"/>
                <a:gd name="connsiteX22" fmla="*/ 4063 w 9827"/>
                <a:gd name="connsiteY22" fmla="*/ 1903 h 10203"/>
                <a:gd name="connsiteX23" fmla="*/ 4016 w 9827"/>
                <a:gd name="connsiteY23" fmla="*/ 1985 h 10203"/>
                <a:gd name="connsiteX24" fmla="*/ 3967 w 9827"/>
                <a:gd name="connsiteY24" fmla="*/ 2059 h 10203"/>
                <a:gd name="connsiteX25" fmla="*/ 3916 w 9827"/>
                <a:gd name="connsiteY25" fmla="*/ 2133 h 10203"/>
                <a:gd name="connsiteX26" fmla="*/ 3864 w 9827"/>
                <a:gd name="connsiteY26" fmla="*/ 2210 h 10203"/>
                <a:gd name="connsiteX27" fmla="*/ 3813 w 9827"/>
                <a:gd name="connsiteY27" fmla="*/ 2282 h 10203"/>
                <a:gd name="connsiteX28" fmla="*/ 3758 w 9827"/>
                <a:gd name="connsiteY28" fmla="*/ 2354 h 10203"/>
                <a:gd name="connsiteX29" fmla="*/ 3703 w 9827"/>
                <a:gd name="connsiteY29" fmla="*/ 2426 h 10203"/>
                <a:gd name="connsiteX30" fmla="*/ 3648 w 9827"/>
                <a:gd name="connsiteY30" fmla="*/ 2495 h 10203"/>
                <a:gd name="connsiteX31" fmla="*/ 3588 w 9827"/>
                <a:gd name="connsiteY31" fmla="*/ 2562 h 10203"/>
                <a:gd name="connsiteX32" fmla="*/ 3531 w 9827"/>
                <a:gd name="connsiteY32" fmla="*/ 2626 h 10203"/>
                <a:gd name="connsiteX33" fmla="*/ 3469 w 9827"/>
                <a:gd name="connsiteY33" fmla="*/ 2691 h 10203"/>
                <a:gd name="connsiteX34" fmla="*/ 3410 w 9827"/>
                <a:gd name="connsiteY34" fmla="*/ 2753 h 10203"/>
                <a:gd name="connsiteX35" fmla="*/ 3344 w 9827"/>
                <a:gd name="connsiteY35" fmla="*/ 2817 h 10203"/>
                <a:gd name="connsiteX36" fmla="*/ 3282 w 9827"/>
                <a:gd name="connsiteY36" fmla="*/ 2874 h 10203"/>
                <a:gd name="connsiteX37" fmla="*/ 3217 w 9827"/>
                <a:gd name="connsiteY37" fmla="*/ 2934 h 10203"/>
                <a:gd name="connsiteX38" fmla="*/ 3151 w 9827"/>
                <a:gd name="connsiteY38" fmla="*/ 2989 h 10203"/>
                <a:gd name="connsiteX39" fmla="*/ 3083 w 9827"/>
                <a:gd name="connsiteY39" fmla="*/ 3043 h 10203"/>
                <a:gd name="connsiteX40" fmla="*/ 3015 w 9827"/>
                <a:gd name="connsiteY40" fmla="*/ 3097 h 10203"/>
                <a:gd name="connsiteX41" fmla="*/ 2947 w 9827"/>
                <a:gd name="connsiteY41" fmla="*/ 3149 h 10203"/>
                <a:gd name="connsiteX42" fmla="*/ 2877 w 9827"/>
                <a:gd name="connsiteY42" fmla="*/ 3196 h 10203"/>
                <a:gd name="connsiteX43" fmla="*/ 2805 w 9827"/>
                <a:gd name="connsiteY43" fmla="*/ 3243 h 10203"/>
                <a:gd name="connsiteX44" fmla="*/ 2936 w 9827"/>
                <a:gd name="connsiteY44" fmla="*/ 6577 h 10203"/>
                <a:gd name="connsiteX45" fmla="*/ 166 w 9827"/>
                <a:gd name="connsiteY45" fmla="*/ 9949 h 10203"/>
                <a:gd name="connsiteX46" fmla="*/ 337 w 9827"/>
                <a:gd name="connsiteY46" fmla="*/ 9965 h 10203"/>
                <a:gd name="connsiteX47" fmla="*/ 508 w 9827"/>
                <a:gd name="connsiteY47" fmla="*/ 9980 h 10203"/>
                <a:gd name="connsiteX48" fmla="*/ 684 w 9827"/>
                <a:gd name="connsiteY48" fmla="*/ 9990 h 10203"/>
                <a:gd name="connsiteX49" fmla="*/ 858 w 9827"/>
                <a:gd name="connsiteY49" fmla="*/ 9995 h 10203"/>
                <a:gd name="connsiteX50" fmla="*/ 1031 w 9827"/>
                <a:gd name="connsiteY50" fmla="*/ 10000 h 10203"/>
                <a:gd name="connsiteX51" fmla="*/ 1241 w 9827"/>
                <a:gd name="connsiteY51" fmla="*/ 9995 h 10203"/>
                <a:gd name="connsiteX52" fmla="*/ 1445 w 9827"/>
                <a:gd name="connsiteY52" fmla="*/ 9988 h 10203"/>
                <a:gd name="connsiteX53" fmla="*/ 1649 w 9827"/>
                <a:gd name="connsiteY53" fmla="*/ 9975 h 10203"/>
                <a:gd name="connsiteX54" fmla="*/ 1848 w 9827"/>
                <a:gd name="connsiteY54" fmla="*/ 9954 h 10203"/>
                <a:gd name="connsiteX55" fmla="*/ 2051 w 9827"/>
                <a:gd name="connsiteY55" fmla="*/ 9932 h 10203"/>
                <a:gd name="connsiteX56" fmla="*/ 2251 w 9827"/>
                <a:gd name="connsiteY56" fmla="*/ 9898 h 10203"/>
                <a:gd name="connsiteX57" fmla="*/ 2450 w 9827"/>
                <a:gd name="connsiteY57" fmla="*/ 9866 h 10203"/>
                <a:gd name="connsiteX58" fmla="*/ 2648 w 9827"/>
                <a:gd name="connsiteY58" fmla="*/ 9824 h 10203"/>
                <a:gd name="connsiteX59" fmla="*/ 2841 w 9827"/>
                <a:gd name="connsiteY59" fmla="*/ 9779 h 10203"/>
                <a:gd name="connsiteX60" fmla="*/ 3040 w 9827"/>
                <a:gd name="connsiteY60" fmla="*/ 9731 h 10203"/>
                <a:gd name="connsiteX61" fmla="*/ 3228 w 9827"/>
                <a:gd name="connsiteY61" fmla="*/ 9673 h 10203"/>
                <a:gd name="connsiteX62" fmla="*/ 3421 w 9827"/>
                <a:gd name="connsiteY62" fmla="*/ 9616 h 10203"/>
                <a:gd name="connsiteX63" fmla="*/ 3610 w 9827"/>
                <a:gd name="connsiteY63" fmla="*/ 9553 h 10203"/>
                <a:gd name="connsiteX64" fmla="*/ 3797 w 9827"/>
                <a:gd name="connsiteY64" fmla="*/ 9482 h 10203"/>
                <a:gd name="connsiteX65" fmla="*/ 3980 w 9827"/>
                <a:gd name="connsiteY65" fmla="*/ 9405 h 10203"/>
                <a:gd name="connsiteX66" fmla="*/ 4163 w 9827"/>
                <a:gd name="connsiteY66" fmla="*/ 9330 h 10203"/>
                <a:gd name="connsiteX67" fmla="*/ 4347 w 9827"/>
                <a:gd name="connsiteY67" fmla="*/ 9244 h 10203"/>
                <a:gd name="connsiteX68" fmla="*/ 4529 w 9827"/>
                <a:gd name="connsiteY68" fmla="*/ 9159 h 10203"/>
                <a:gd name="connsiteX69" fmla="*/ 4704 w 9827"/>
                <a:gd name="connsiteY69" fmla="*/ 9063 h 10203"/>
                <a:gd name="connsiteX70" fmla="*/ 4880 w 9827"/>
                <a:gd name="connsiteY70" fmla="*/ 8968 h 10203"/>
                <a:gd name="connsiteX71" fmla="*/ 5056 w 9827"/>
                <a:gd name="connsiteY71" fmla="*/ 8865 h 10203"/>
                <a:gd name="connsiteX72" fmla="*/ 5226 w 9827"/>
                <a:gd name="connsiteY72" fmla="*/ 8760 h 10203"/>
                <a:gd name="connsiteX73" fmla="*/ 5396 w 9827"/>
                <a:gd name="connsiteY73" fmla="*/ 8652 h 10203"/>
                <a:gd name="connsiteX74" fmla="*/ 5566 w 9827"/>
                <a:gd name="connsiteY74" fmla="*/ 8536 h 10203"/>
                <a:gd name="connsiteX75" fmla="*/ 5730 w 9827"/>
                <a:gd name="connsiteY75" fmla="*/ 8417 h 10203"/>
                <a:gd name="connsiteX76" fmla="*/ 5891 w 9827"/>
                <a:gd name="connsiteY76" fmla="*/ 8295 h 10203"/>
                <a:gd name="connsiteX77" fmla="*/ 6053 w 9827"/>
                <a:gd name="connsiteY77" fmla="*/ 8169 h 10203"/>
                <a:gd name="connsiteX78" fmla="*/ 6208 w 9827"/>
                <a:gd name="connsiteY78" fmla="*/ 8040 h 10203"/>
                <a:gd name="connsiteX79" fmla="*/ 6362 w 9827"/>
                <a:gd name="connsiteY79" fmla="*/ 7904 h 10203"/>
                <a:gd name="connsiteX80" fmla="*/ 6515 w 9827"/>
                <a:gd name="connsiteY80" fmla="*/ 7768 h 10203"/>
                <a:gd name="connsiteX81" fmla="*/ 6665 w 9827"/>
                <a:gd name="connsiteY81" fmla="*/ 7625 h 10203"/>
                <a:gd name="connsiteX82" fmla="*/ 6813 w 9827"/>
                <a:gd name="connsiteY82" fmla="*/ 7480 h 10203"/>
                <a:gd name="connsiteX83" fmla="*/ 6957 w 9827"/>
                <a:gd name="connsiteY83" fmla="*/ 7329 h 10203"/>
                <a:gd name="connsiteX84" fmla="*/ 7099 w 9827"/>
                <a:gd name="connsiteY84" fmla="*/ 7178 h 10203"/>
                <a:gd name="connsiteX85" fmla="*/ 7237 w 9827"/>
                <a:gd name="connsiteY85" fmla="*/ 7025 h 10203"/>
                <a:gd name="connsiteX86" fmla="*/ 7375 w 9827"/>
                <a:gd name="connsiteY86" fmla="*/ 6862 h 10203"/>
                <a:gd name="connsiteX87" fmla="*/ 7508 w 9827"/>
                <a:gd name="connsiteY87" fmla="*/ 6697 h 10203"/>
                <a:gd name="connsiteX88" fmla="*/ 7638 w 9827"/>
                <a:gd name="connsiteY88" fmla="*/ 6534 h 10203"/>
                <a:gd name="connsiteX89" fmla="*/ 7765 w 9827"/>
                <a:gd name="connsiteY89" fmla="*/ 6365 h 10203"/>
                <a:gd name="connsiteX90" fmla="*/ 7889 w 9827"/>
                <a:gd name="connsiteY90" fmla="*/ 6189 h 10203"/>
                <a:gd name="connsiteX91" fmla="*/ 8011 w 9827"/>
                <a:gd name="connsiteY91" fmla="*/ 6016 h 10203"/>
                <a:gd name="connsiteX92" fmla="*/ 8130 w 9827"/>
                <a:gd name="connsiteY92" fmla="*/ 5835 h 10203"/>
                <a:gd name="connsiteX93" fmla="*/ 8246 w 9827"/>
                <a:gd name="connsiteY93" fmla="*/ 5652 h 10203"/>
                <a:gd name="connsiteX94" fmla="*/ 8355 w 9827"/>
                <a:gd name="connsiteY94" fmla="*/ 5468 h 10203"/>
                <a:gd name="connsiteX95" fmla="*/ 8462 w 9827"/>
                <a:gd name="connsiteY95" fmla="*/ 5278 h 10203"/>
                <a:gd name="connsiteX96" fmla="*/ 8569 w 9827"/>
                <a:gd name="connsiteY96" fmla="*/ 5089 h 10203"/>
                <a:gd name="connsiteX97" fmla="*/ 8671 w 9827"/>
                <a:gd name="connsiteY97" fmla="*/ 4893 h 10203"/>
                <a:gd name="connsiteX98" fmla="*/ 8769 w 9827"/>
                <a:gd name="connsiteY98" fmla="*/ 4698 h 10203"/>
                <a:gd name="connsiteX99" fmla="*/ 8865 w 9827"/>
                <a:gd name="connsiteY99" fmla="*/ 4500 h 10203"/>
                <a:gd name="connsiteX100" fmla="*/ 8953 w 9827"/>
                <a:gd name="connsiteY100" fmla="*/ 4294 h 10203"/>
                <a:gd name="connsiteX101" fmla="*/ 9040 w 9827"/>
                <a:gd name="connsiteY101" fmla="*/ 4091 h 10203"/>
                <a:gd name="connsiteX102" fmla="*/ 9125 w 9827"/>
                <a:gd name="connsiteY102" fmla="*/ 3885 h 10203"/>
                <a:gd name="connsiteX103" fmla="*/ 9207 w 9827"/>
                <a:gd name="connsiteY103" fmla="*/ 3674 h 10203"/>
                <a:gd name="connsiteX104" fmla="*/ 9282 w 9827"/>
                <a:gd name="connsiteY104" fmla="*/ 3464 h 10203"/>
                <a:gd name="connsiteX105" fmla="*/ 9356 w 9827"/>
                <a:gd name="connsiteY105" fmla="*/ 3248 h 10203"/>
                <a:gd name="connsiteX106" fmla="*/ 9424 w 9827"/>
                <a:gd name="connsiteY106" fmla="*/ 3030 h 10203"/>
                <a:gd name="connsiteX107" fmla="*/ 9488 w 9827"/>
                <a:gd name="connsiteY107" fmla="*/ 2815 h 10203"/>
                <a:gd name="connsiteX108" fmla="*/ 9550 w 9827"/>
                <a:gd name="connsiteY108" fmla="*/ 2592 h 10203"/>
                <a:gd name="connsiteX109" fmla="*/ 9606 w 9827"/>
                <a:gd name="connsiteY109" fmla="*/ 2369 h 10203"/>
                <a:gd name="connsiteX110" fmla="*/ 9659 w 9827"/>
                <a:gd name="connsiteY110" fmla="*/ 2143 h 10203"/>
                <a:gd name="connsiteX111" fmla="*/ 9708 w 9827"/>
                <a:gd name="connsiteY111" fmla="*/ 1918 h 10203"/>
                <a:gd name="connsiteX112" fmla="*/ 9752 w 9827"/>
                <a:gd name="connsiteY112" fmla="*/ 1690 h 10203"/>
                <a:gd name="connsiteX113" fmla="*/ 9792 w 9827"/>
                <a:gd name="connsiteY113" fmla="*/ 1457 h 10203"/>
                <a:gd name="connsiteX114" fmla="*/ 9827 w 9827"/>
                <a:gd name="connsiteY114" fmla="*/ 1222 h 10203"/>
                <a:gd name="connsiteX115" fmla="*/ 7025 w 9827"/>
                <a:gd name="connsiteY115" fmla="*/ 1876 h 10203"/>
                <a:gd name="connsiteX116" fmla="*/ 4687 w 9827"/>
                <a:gd name="connsiteY116" fmla="*/ 0 h 10203"/>
                <a:gd name="connsiteX0" fmla="*/ 4427 w 9657"/>
                <a:gd name="connsiteY0" fmla="*/ 0 h 9801"/>
                <a:gd name="connsiteX1" fmla="*/ 4427 w 9657"/>
                <a:gd name="connsiteY1" fmla="*/ 0 h 9801"/>
                <a:gd name="connsiteX2" fmla="*/ 4416 w 9657"/>
                <a:gd name="connsiteY2" fmla="*/ 97 h 9801"/>
                <a:gd name="connsiteX3" fmla="*/ 4398 w 9657"/>
                <a:gd name="connsiteY3" fmla="*/ 197 h 9801"/>
                <a:gd name="connsiteX4" fmla="*/ 4384 w 9657"/>
                <a:gd name="connsiteY4" fmla="*/ 294 h 9801"/>
                <a:gd name="connsiteX5" fmla="*/ 4365 w 9657"/>
                <a:gd name="connsiteY5" fmla="*/ 386 h 9801"/>
                <a:gd name="connsiteX6" fmla="*/ 4344 w 9657"/>
                <a:gd name="connsiteY6" fmla="*/ 481 h 9801"/>
                <a:gd name="connsiteX7" fmla="*/ 4321 w 9657"/>
                <a:gd name="connsiteY7" fmla="*/ 575 h 9801"/>
                <a:gd name="connsiteX8" fmla="*/ 4299 w 9657"/>
                <a:gd name="connsiteY8" fmla="*/ 670 h 9801"/>
                <a:gd name="connsiteX9" fmla="*/ 4274 w 9657"/>
                <a:gd name="connsiteY9" fmla="*/ 763 h 9801"/>
                <a:gd name="connsiteX10" fmla="*/ 4246 w 9657"/>
                <a:gd name="connsiteY10" fmla="*/ 853 h 9801"/>
                <a:gd name="connsiteX11" fmla="*/ 4215 w 9657"/>
                <a:gd name="connsiteY11" fmla="*/ 942 h 9801"/>
                <a:gd name="connsiteX12" fmla="*/ 4188 w 9657"/>
                <a:gd name="connsiteY12" fmla="*/ 1032 h 9801"/>
                <a:gd name="connsiteX13" fmla="*/ 4155 w 9657"/>
                <a:gd name="connsiteY13" fmla="*/ 1122 h 9801"/>
                <a:gd name="connsiteX14" fmla="*/ 4118 w 9657"/>
                <a:gd name="connsiteY14" fmla="*/ 1207 h 9801"/>
                <a:gd name="connsiteX15" fmla="*/ 4084 w 9657"/>
                <a:gd name="connsiteY15" fmla="*/ 1292 h 9801"/>
                <a:gd name="connsiteX16" fmla="*/ 4048 w 9657"/>
                <a:gd name="connsiteY16" fmla="*/ 1377 h 9801"/>
                <a:gd name="connsiteX17" fmla="*/ 4007 w 9657"/>
                <a:gd name="connsiteY17" fmla="*/ 1464 h 9801"/>
                <a:gd name="connsiteX18" fmla="*/ 3969 w 9657"/>
                <a:gd name="connsiteY18" fmla="*/ 1547 h 9801"/>
                <a:gd name="connsiteX19" fmla="*/ 3927 w 9657"/>
                <a:gd name="connsiteY19" fmla="*/ 1630 h 9801"/>
                <a:gd name="connsiteX20" fmla="*/ 3882 w 9657"/>
                <a:gd name="connsiteY20" fmla="*/ 1707 h 9801"/>
                <a:gd name="connsiteX21" fmla="*/ 3835 w 9657"/>
                <a:gd name="connsiteY21" fmla="*/ 1788 h 9801"/>
                <a:gd name="connsiteX22" fmla="*/ 3792 w 9657"/>
                <a:gd name="connsiteY22" fmla="*/ 1865 h 9801"/>
                <a:gd name="connsiteX23" fmla="*/ 3744 w 9657"/>
                <a:gd name="connsiteY23" fmla="*/ 1946 h 9801"/>
                <a:gd name="connsiteX24" fmla="*/ 3694 w 9657"/>
                <a:gd name="connsiteY24" fmla="*/ 2018 h 9801"/>
                <a:gd name="connsiteX25" fmla="*/ 3642 w 9657"/>
                <a:gd name="connsiteY25" fmla="*/ 2091 h 9801"/>
                <a:gd name="connsiteX26" fmla="*/ 3589 w 9657"/>
                <a:gd name="connsiteY26" fmla="*/ 2166 h 9801"/>
                <a:gd name="connsiteX27" fmla="*/ 3537 w 9657"/>
                <a:gd name="connsiteY27" fmla="*/ 2237 h 9801"/>
                <a:gd name="connsiteX28" fmla="*/ 3481 w 9657"/>
                <a:gd name="connsiteY28" fmla="*/ 2307 h 9801"/>
                <a:gd name="connsiteX29" fmla="*/ 3425 w 9657"/>
                <a:gd name="connsiteY29" fmla="*/ 2378 h 9801"/>
                <a:gd name="connsiteX30" fmla="*/ 3369 w 9657"/>
                <a:gd name="connsiteY30" fmla="*/ 2445 h 9801"/>
                <a:gd name="connsiteX31" fmla="*/ 3308 w 9657"/>
                <a:gd name="connsiteY31" fmla="*/ 2511 h 9801"/>
                <a:gd name="connsiteX32" fmla="*/ 3250 w 9657"/>
                <a:gd name="connsiteY32" fmla="*/ 2574 h 9801"/>
                <a:gd name="connsiteX33" fmla="*/ 3187 w 9657"/>
                <a:gd name="connsiteY33" fmla="*/ 2637 h 9801"/>
                <a:gd name="connsiteX34" fmla="*/ 3127 w 9657"/>
                <a:gd name="connsiteY34" fmla="*/ 2698 h 9801"/>
                <a:gd name="connsiteX35" fmla="*/ 3060 w 9657"/>
                <a:gd name="connsiteY35" fmla="*/ 2761 h 9801"/>
                <a:gd name="connsiteX36" fmla="*/ 2997 w 9657"/>
                <a:gd name="connsiteY36" fmla="*/ 2817 h 9801"/>
                <a:gd name="connsiteX37" fmla="*/ 2931 w 9657"/>
                <a:gd name="connsiteY37" fmla="*/ 2876 h 9801"/>
                <a:gd name="connsiteX38" fmla="*/ 2863 w 9657"/>
                <a:gd name="connsiteY38" fmla="*/ 2930 h 9801"/>
                <a:gd name="connsiteX39" fmla="*/ 2794 w 9657"/>
                <a:gd name="connsiteY39" fmla="*/ 2982 h 9801"/>
                <a:gd name="connsiteX40" fmla="*/ 2725 w 9657"/>
                <a:gd name="connsiteY40" fmla="*/ 3035 h 9801"/>
                <a:gd name="connsiteX41" fmla="*/ 2656 w 9657"/>
                <a:gd name="connsiteY41" fmla="*/ 3086 h 9801"/>
                <a:gd name="connsiteX42" fmla="*/ 2585 w 9657"/>
                <a:gd name="connsiteY42" fmla="*/ 3132 h 9801"/>
                <a:gd name="connsiteX43" fmla="*/ 2511 w 9657"/>
                <a:gd name="connsiteY43" fmla="*/ 3178 h 9801"/>
                <a:gd name="connsiteX44" fmla="*/ 2645 w 9657"/>
                <a:gd name="connsiteY44" fmla="*/ 6446 h 9801"/>
                <a:gd name="connsiteX45" fmla="*/ 0 w 9657"/>
                <a:gd name="connsiteY45" fmla="*/ 9767 h 9801"/>
                <a:gd name="connsiteX46" fmla="*/ 174 w 9657"/>
                <a:gd name="connsiteY46" fmla="*/ 9781 h 9801"/>
                <a:gd name="connsiteX47" fmla="*/ 353 w 9657"/>
                <a:gd name="connsiteY47" fmla="*/ 9791 h 9801"/>
                <a:gd name="connsiteX48" fmla="*/ 530 w 9657"/>
                <a:gd name="connsiteY48" fmla="*/ 9796 h 9801"/>
                <a:gd name="connsiteX49" fmla="*/ 706 w 9657"/>
                <a:gd name="connsiteY49" fmla="*/ 9801 h 9801"/>
                <a:gd name="connsiteX50" fmla="*/ 920 w 9657"/>
                <a:gd name="connsiteY50" fmla="*/ 9796 h 9801"/>
                <a:gd name="connsiteX51" fmla="*/ 1127 w 9657"/>
                <a:gd name="connsiteY51" fmla="*/ 9789 h 9801"/>
                <a:gd name="connsiteX52" fmla="*/ 1335 w 9657"/>
                <a:gd name="connsiteY52" fmla="*/ 9777 h 9801"/>
                <a:gd name="connsiteX53" fmla="*/ 1538 w 9657"/>
                <a:gd name="connsiteY53" fmla="*/ 9756 h 9801"/>
                <a:gd name="connsiteX54" fmla="*/ 1744 w 9657"/>
                <a:gd name="connsiteY54" fmla="*/ 9734 h 9801"/>
                <a:gd name="connsiteX55" fmla="*/ 1948 w 9657"/>
                <a:gd name="connsiteY55" fmla="*/ 9701 h 9801"/>
                <a:gd name="connsiteX56" fmla="*/ 2150 w 9657"/>
                <a:gd name="connsiteY56" fmla="*/ 9670 h 9801"/>
                <a:gd name="connsiteX57" fmla="*/ 2352 w 9657"/>
                <a:gd name="connsiteY57" fmla="*/ 9629 h 9801"/>
                <a:gd name="connsiteX58" fmla="*/ 2548 w 9657"/>
                <a:gd name="connsiteY58" fmla="*/ 9584 h 9801"/>
                <a:gd name="connsiteX59" fmla="*/ 2751 w 9657"/>
                <a:gd name="connsiteY59" fmla="*/ 9537 h 9801"/>
                <a:gd name="connsiteX60" fmla="*/ 2942 w 9657"/>
                <a:gd name="connsiteY60" fmla="*/ 9481 h 9801"/>
                <a:gd name="connsiteX61" fmla="*/ 3138 w 9657"/>
                <a:gd name="connsiteY61" fmla="*/ 9425 h 9801"/>
                <a:gd name="connsiteX62" fmla="*/ 3331 w 9657"/>
                <a:gd name="connsiteY62" fmla="*/ 9363 h 9801"/>
                <a:gd name="connsiteX63" fmla="*/ 3521 w 9657"/>
                <a:gd name="connsiteY63" fmla="*/ 9293 h 9801"/>
                <a:gd name="connsiteX64" fmla="*/ 3707 w 9657"/>
                <a:gd name="connsiteY64" fmla="*/ 9218 h 9801"/>
                <a:gd name="connsiteX65" fmla="*/ 3893 w 9657"/>
                <a:gd name="connsiteY65" fmla="*/ 9144 h 9801"/>
                <a:gd name="connsiteX66" fmla="*/ 4081 w 9657"/>
                <a:gd name="connsiteY66" fmla="*/ 9060 h 9801"/>
                <a:gd name="connsiteX67" fmla="*/ 4266 w 9657"/>
                <a:gd name="connsiteY67" fmla="*/ 8977 h 9801"/>
                <a:gd name="connsiteX68" fmla="*/ 4444 w 9657"/>
                <a:gd name="connsiteY68" fmla="*/ 8883 h 9801"/>
                <a:gd name="connsiteX69" fmla="*/ 4623 w 9657"/>
                <a:gd name="connsiteY69" fmla="*/ 8790 h 9801"/>
                <a:gd name="connsiteX70" fmla="*/ 4802 w 9657"/>
                <a:gd name="connsiteY70" fmla="*/ 8689 h 9801"/>
                <a:gd name="connsiteX71" fmla="*/ 4975 w 9657"/>
                <a:gd name="connsiteY71" fmla="*/ 8586 h 9801"/>
                <a:gd name="connsiteX72" fmla="*/ 5148 w 9657"/>
                <a:gd name="connsiteY72" fmla="*/ 8480 h 9801"/>
                <a:gd name="connsiteX73" fmla="*/ 5321 w 9657"/>
                <a:gd name="connsiteY73" fmla="*/ 8366 h 9801"/>
                <a:gd name="connsiteX74" fmla="*/ 5488 w 9657"/>
                <a:gd name="connsiteY74" fmla="*/ 8250 h 9801"/>
                <a:gd name="connsiteX75" fmla="*/ 5652 w 9657"/>
                <a:gd name="connsiteY75" fmla="*/ 8130 h 9801"/>
                <a:gd name="connsiteX76" fmla="*/ 5817 w 9657"/>
                <a:gd name="connsiteY76" fmla="*/ 8006 h 9801"/>
                <a:gd name="connsiteX77" fmla="*/ 5974 w 9657"/>
                <a:gd name="connsiteY77" fmla="*/ 7880 h 9801"/>
                <a:gd name="connsiteX78" fmla="*/ 6131 w 9657"/>
                <a:gd name="connsiteY78" fmla="*/ 7747 h 9801"/>
                <a:gd name="connsiteX79" fmla="*/ 6287 w 9657"/>
                <a:gd name="connsiteY79" fmla="*/ 7613 h 9801"/>
                <a:gd name="connsiteX80" fmla="*/ 6439 w 9657"/>
                <a:gd name="connsiteY80" fmla="*/ 7473 h 9801"/>
                <a:gd name="connsiteX81" fmla="*/ 6590 w 9657"/>
                <a:gd name="connsiteY81" fmla="*/ 7331 h 9801"/>
                <a:gd name="connsiteX82" fmla="*/ 6736 w 9657"/>
                <a:gd name="connsiteY82" fmla="*/ 7183 h 9801"/>
                <a:gd name="connsiteX83" fmla="*/ 6881 w 9657"/>
                <a:gd name="connsiteY83" fmla="*/ 7035 h 9801"/>
                <a:gd name="connsiteX84" fmla="*/ 7021 w 9657"/>
                <a:gd name="connsiteY84" fmla="*/ 6885 h 9801"/>
                <a:gd name="connsiteX85" fmla="*/ 7162 w 9657"/>
                <a:gd name="connsiteY85" fmla="*/ 6725 h 9801"/>
                <a:gd name="connsiteX86" fmla="*/ 7297 w 9657"/>
                <a:gd name="connsiteY86" fmla="*/ 6564 h 9801"/>
                <a:gd name="connsiteX87" fmla="*/ 7429 w 9657"/>
                <a:gd name="connsiteY87" fmla="*/ 6404 h 9801"/>
                <a:gd name="connsiteX88" fmla="*/ 7559 w 9657"/>
                <a:gd name="connsiteY88" fmla="*/ 6238 h 9801"/>
                <a:gd name="connsiteX89" fmla="*/ 7685 w 9657"/>
                <a:gd name="connsiteY89" fmla="*/ 6066 h 9801"/>
                <a:gd name="connsiteX90" fmla="*/ 7809 w 9657"/>
                <a:gd name="connsiteY90" fmla="*/ 5896 h 9801"/>
                <a:gd name="connsiteX91" fmla="*/ 7930 w 9657"/>
                <a:gd name="connsiteY91" fmla="*/ 5719 h 9801"/>
                <a:gd name="connsiteX92" fmla="*/ 8048 w 9657"/>
                <a:gd name="connsiteY92" fmla="*/ 5540 h 9801"/>
                <a:gd name="connsiteX93" fmla="*/ 8159 w 9657"/>
                <a:gd name="connsiteY93" fmla="*/ 5359 h 9801"/>
                <a:gd name="connsiteX94" fmla="*/ 8268 w 9657"/>
                <a:gd name="connsiteY94" fmla="*/ 5173 h 9801"/>
                <a:gd name="connsiteX95" fmla="*/ 8377 w 9657"/>
                <a:gd name="connsiteY95" fmla="*/ 4988 h 9801"/>
                <a:gd name="connsiteX96" fmla="*/ 8481 w 9657"/>
                <a:gd name="connsiteY96" fmla="*/ 4796 h 9801"/>
                <a:gd name="connsiteX97" fmla="*/ 8580 w 9657"/>
                <a:gd name="connsiteY97" fmla="*/ 4605 h 9801"/>
                <a:gd name="connsiteX98" fmla="*/ 8678 w 9657"/>
                <a:gd name="connsiteY98" fmla="*/ 4410 h 9801"/>
                <a:gd name="connsiteX99" fmla="*/ 8768 w 9657"/>
                <a:gd name="connsiteY99" fmla="*/ 4209 h 9801"/>
                <a:gd name="connsiteX100" fmla="*/ 8856 w 9657"/>
                <a:gd name="connsiteY100" fmla="*/ 4010 h 9801"/>
                <a:gd name="connsiteX101" fmla="*/ 8943 w 9657"/>
                <a:gd name="connsiteY101" fmla="*/ 3808 h 9801"/>
                <a:gd name="connsiteX102" fmla="*/ 9026 w 9657"/>
                <a:gd name="connsiteY102" fmla="*/ 3601 h 9801"/>
                <a:gd name="connsiteX103" fmla="*/ 9102 w 9657"/>
                <a:gd name="connsiteY103" fmla="*/ 3395 h 9801"/>
                <a:gd name="connsiteX104" fmla="*/ 9178 w 9657"/>
                <a:gd name="connsiteY104" fmla="*/ 3183 h 9801"/>
                <a:gd name="connsiteX105" fmla="*/ 9247 w 9657"/>
                <a:gd name="connsiteY105" fmla="*/ 2970 h 9801"/>
                <a:gd name="connsiteX106" fmla="*/ 9312 w 9657"/>
                <a:gd name="connsiteY106" fmla="*/ 2759 h 9801"/>
                <a:gd name="connsiteX107" fmla="*/ 9375 w 9657"/>
                <a:gd name="connsiteY107" fmla="*/ 2540 h 9801"/>
                <a:gd name="connsiteX108" fmla="*/ 9432 w 9657"/>
                <a:gd name="connsiteY108" fmla="*/ 2322 h 9801"/>
                <a:gd name="connsiteX109" fmla="*/ 9486 w 9657"/>
                <a:gd name="connsiteY109" fmla="*/ 2100 h 9801"/>
                <a:gd name="connsiteX110" fmla="*/ 9536 w 9657"/>
                <a:gd name="connsiteY110" fmla="*/ 1880 h 9801"/>
                <a:gd name="connsiteX111" fmla="*/ 9581 w 9657"/>
                <a:gd name="connsiteY111" fmla="*/ 1656 h 9801"/>
                <a:gd name="connsiteX112" fmla="*/ 9621 w 9657"/>
                <a:gd name="connsiteY112" fmla="*/ 1428 h 9801"/>
                <a:gd name="connsiteX113" fmla="*/ 9657 w 9657"/>
                <a:gd name="connsiteY113" fmla="*/ 1198 h 9801"/>
                <a:gd name="connsiteX114" fmla="*/ 6806 w 9657"/>
                <a:gd name="connsiteY114" fmla="*/ 1839 h 9801"/>
                <a:gd name="connsiteX115" fmla="*/ 4427 w 9657"/>
                <a:gd name="connsiteY115" fmla="*/ 0 h 9801"/>
                <a:gd name="connsiteX0" fmla="*/ 4552 w 9968"/>
                <a:gd name="connsiteY0" fmla="*/ 0 h 10234"/>
                <a:gd name="connsiteX1" fmla="*/ 4552 w 9968"/>
                <a:gd name="connsiteY1" fmla="*/ 0 h 10234"/>
                <a:gd name="connsiteX2" fmla="*/ 4541 w 9968"/>
                <a:gd name="connsiteY2" fmla="*/ 99 h 10234"/>
                <a:gd name="connsiteX3" fmla="*/ 4522 w 9968"/>
                <a:gd name="connsiteY3" fmla="*/ 201 h 10234"/>
                <a:gd name="connsiteX4" fmla="*/ 4508 w 9968"/>
                <a:gd name="connsiteY4" fmla="*/ 300 h 10234"/>
                <a:gd name="connsiteX5" fmla="*/ 4488 w 9968"/>
                <a:gd name="connsiteY5" fmla="*/ 394 h 10234"/>
                <a:gd name="connsiteX6" fmla="*/ 4466 w 9968"/>
                <a:gd name="connsiteY6" fmla="*/ 491 h 10234"/>
                <a:gd name="connsiteX7" fmla="*/ 4442 w 9968"/>
                <a:gd name="connsiteY7" fmla="*/ 587 h 10234"/>
                <a:gd name="connsiteX8" fmla="*/ 4420 w 9968"/>
                <a:gd name="connsiteY8" fmla="*/ 684 h 10234"/>
                <a:gd name="connsiteX9" fmla="*/ 4394 w 9968"/>
                <a:gd name="connsiteY9" fmla="*/ 778 h 10234"/>
                <a:gd name="connsiteX10" fmla="*/ 4365 w 9968"/>
                <a:gd name="connsiteY10" fmla="*/ 870 h 10234"/>
                <a:gd name="connsiteX11" fmla="*/ 4333 w 9968"/>
                <a:gd name="connsiteY11" fmla="*/ 961 h 10234"/>
                <a:gd name="connsiteX12" fmla="*/ 4305 w 9968"/>
                <a:gd name="connsiteY12" fmla="*/ 1053 h 10234"/>
                <a:gd name="connsiteX13" fmla="*/ 4271 w 9968"/>
                <a:gd name="connsiteY13" fmla="*/ 1145 h 10234"/>
                <a:gd name="connsiteX14" fmla="*/ 4232 w 9968"/>
                <a:gd name="connsiteY14" fmla="*/ 1232 h 10234"/>
                <a:gd name="connsiteX15" fmla="*/ 4197 w 9968"/>
                <a:gd name="connsiteY15" fmla="*/ 1318 h 10234"/>
                <a:gd name="connsiteX16" fmla="*/ 4160 w 9968"/>
                <a:gd name="connsiteY16" fmla="*/ 1405 h 10234"/>
                <a:gd name="connsiteX17" fmla="*/ 4117 w 9968"/>
                <a:gd name="connsiteY17" fmla="*/ 1494 h 10234"/>
                <a:gd name="connsiteX18" fmla="*/ 4078 w 9968"/>
                <a:gd name="connsiteY18" fmla="*/ 1578 h 10234"/>
                <a:gd name="connsiteX19" fmla="*/ 4034 w 9968"/>
                <a:gd name="connsiteY19" fmla="*/ 1663 h 10234"/>
                <a:gd name="connsiteX20" fmla="*/ 3988 w 9968"/>
                <a:gd name="connsiteY20" fmla="*/ 1742 h 10234"/>
                <a:gd name="connsiteX21" fmla="*/ 3939 w 9968"/>
                <a:gd name="connsiteY21" fmla="*/ 1824 h 10234"/>
                <a:gd name="connsiteX22" fmla="*/ 3895 w 9968"/>
                <a:gd name="connsiteY22" fmla="*/ 1903 h 10234"/>
                <a:gd name="connsiteX23" fmla="*/ 3845 w 9968"/>
                <a:gd name="connsiteY23" fmla="*/ 1986 h 10234"/>
                <a:gd name="connsiteX24" fmla="*/ 3793 w 9968"/>
                <a:gd name="connsiteY24" fmla="*/ 2059 h 10234"/>
                <a:gd name="connsiteX25" fmla="*/ 3739 w 9968"/>
                <a:gd name="connsiteY25" fmla="*/ 2133 h 10234"/>
                <a:gd name="connsiteX26" fmla="*/ 3684 w 9968"/>
                <a:gd name="connsiteY26" fmla="*/ 2210 h 10234"/>
                <a:gd name="connsiteX27" fmla="*/ 3631 w 9968"/>
                <a:gd name="connsiteY27" fmla="*/ 2282 h 10234"/>
                <a:gd name="connsiteX28" fmla="*/ 3573 w 9968"/>
                <a:gd name="connsiteY28" fmla="*/ 2354 h 10234"/>
                <a:gd name="connsiteX29" fmla="*/ 3515 w 9968"/>
                <a:gd name="connsiteY29" fmla="*/ 2426 h 10234"/>
                <a:gd name="connsiteX30" fmla="*/ 3457 w 9968"/>
                <a:gd name="connsiteY30" fmla="*/ 2495 h 10234"/>
                <a:gd name="connsiteX31" fmla="*/ 3393 w 9968"/>
                <a:gd name="connsiteY31" fmla="*/ 2562 h 10234"/>
                <a:gd name="connsiteX32" fmla="*/ 3333 w 9968"/>
                <a:gd name="connsiteY32" fmla="*/ 2626 h 10234"/>
                <a:gd name="connsiteX33" fmla="*/ 3268 w 9968"/>
                <a:gd name="connsiteY33" fmla="*/ 2691 h 10234"/>
                <a:gd name="connsiteX34" fmla="*/ 3206 w 9968"/>
                <a:gd name="connsiteY34" fmla="*/ 2753 h 10234"/>
                <a:gd name="connsiteX35" fmla="*/ 3137 w 9968"/>
                <a:gd name="connsiteY35" fmla="*/ 2817 h 10234"/>
                <a:gd name="connsiteX36" fmla="*/ 3071 w 9968"/>
                <a:gd name="connsiteY36" fmla="*/ 2874 h 10234"/>
                <a:gd name="connsiteX37" fmla="*/ 3003 w 9968"/>
                <a:gd name="connsiteY37" fmla="*/ 2934 h 10234"/>
                <a:gd name="connsiteX38" fmla="*/ 2933 w 9968"/>
                <a:gd name="connsiteY38" fmla="*/ 2989 h 10234"/>
                <a:gd name="connsiteX39" fmla="*/ 2861 w 9968"/>
                <a:gd name="connsiteY39" fmla="*/ 3043 h 10234"/>
                <a:gd name="connsiteX40" fmla="*/ 2790 w 9968"/>
                <a:gd name="connsiteY40" fmla="*/ 3097 h 10234"/>
                <a:gd name="connsiteX41" fmla="*/ 2718 w 9968"/>
                <a:gd name="connsiteY41" fmla="*/ 3149 h 10234"/>
                <a:gd name="connsiteX42" fmla="*/ 2645 w 9968"/>
                <a:gd name="connsiteY42" fmla="*/ 3196 h 10234"/>
                <a:gd name="connsiteX43" fmla="*/ 2568 w 9968"/>
                <a:gd name="connsiteY43" fmla="*/ 3243 h 10234"/>
                <a:gd name="connsiteX44" fmla="*/ 2707 w 9968"/>
                <a:gd name="connsiteY44" fmla="*/ 6577 h 10234"/>
                <a:gd name="connsiteX45" fmla="*/ 148 w 9968"/>
                <a:gd name="connsiteY45" fmla="*/ 9980 h 10234"/>
                <a:gd name="connsiteX46" fmla="*/ 334 w 9968"/>
                <a:gd name="connsiteY46" fmla="*/ 9990 h 10234"/>
                <a:gd name="connsiteX47" fmla="*/ 517 w 9968"/>
                <a:gd name="connsiteY47" fmla="*/ 9995 h 10234"/>
                <a:gd name="connsiteX48" fmla="*/ 699 w 9968"/>
                <a:gd name="connsiteY48" fmla="*/ 10000 h 10234"/>
                <a:gd name="connsiteX49" fmla="*/ 921 w 9968"/>
                <a:gd name="connsiteY49" fmla="*/ 9995 h 10234"/>
                <a:gd name="connsiteX50" fmla="*/ 1135 w 9968"/>
                <a:gd name="connsiteY50" fmla="*/ 9988 h 10234"/>
                <a:gd name="connsiteX51" fmla="*/ 1350 w 9968"/>
                <a:gd name="connsiteY51" fmla="*/ 9976 h 10234"/>
                <a:gd name="connsiteX52" fmla="*/ 1561 w 9968"/>
                <a:gd name="connsiteY52" fmla="*/ 9954 h 10234"/>
                <a:gd name="connsiteX53" fmla="*/ 1774 w 9968"/>
                <a:gd name="connsiteY53" fmla="*/ 9932 h 10234"/>
                <a:gd name="connsiteX54" fmla="*/ 1985 w 9968"/>
                <a:gd name="connsiteY54" fmla="*/ 9898 h 10234"/>
                <a:gd name="connsiteX55" fmla="*/ 2194 w 9968"/>
                <a:gd name="connsiteY55" fmla="*/ 9866 h 10234"/>
                <a:gd name="connsiteX56" fmla="*/ 2404 w 9968"/>
                <a:gd name="connsiteY56" fmla="*/ 9825 h 10234"/>
                <a:gd name="connsiteX57" fmla="*/ 2607 w 9968"/>
                <a:gd name="connsiteY57" fmla="*/ 9779 h 10234"/>
                <a:gd name="connsiteX58" fmla="*/ 2817 w 9968"/>
                <a:gd name="connsiteY58" fmla="*/ 9731 h 10234"/>
                <a:gd name="connsiteX59" fmla="*/ 3014 w 9968"/>
                <a:gd name="connsiteY59" fmla="*/ 9674 h 10234"/>
                <a:gd name="connsiteX60" fmla="*/ 3217 w 9968"/>
                <a:gd name="connsiteY60" fmla="*/ 9616 h 10234"/>
                <a:gd name="connsiteX61" fmla="*/ 3417 w 9968"/>
                <a:gd name="connsiteY61" fmla="*/ 9553 h 10234"/>
                <a:gd name="connsiteX62" fmla="*/ 3614 w 9968"/>
                <a:gd name="connsiteY62" fmla="*/ 9482 h 10234"/>
                <a:gd name="connsiteX63" fmla="*/ 3807 w 9968"/>
                <a:gd name="connsiteY63" fmla="*/ 9405 h 10234"/>
                <a:gd name="connsiteX64" fmla="*/ 3999 w 9968"/>
                <a:gd name="connsiteY64" fmla="*/ 9330 h 10234"/>
                <a:gd name="connsiteX65" fmla="*/ 4194 w 9968"/>
                <a:gd name="connsiteY65" fmla="*/ 9244 h 10234"/>
                <a:gd name="connsiteX66" fmla="*/ 4386 w 9968"/>
                <a:gd name="connsiteY66" fmla="*/ 9159 h 10234"/>
                <a:gd name="connsiteX67" fmla="*/ 4570 w 9968"/>
                <a:gd name="connsiteY67" fmla="*/ 9063 h 10234"/>
                <a:gd name="connsiteX68" fmla="*/ 4755 w 9968"/>
                <a:gd name="connsiteY68" fmla="*/ 8968 h 10234"/>
                <a:gd name="connsiteX69" fmla="*/ 4941 w 9968"/>
                <a:gd name="connsiteY69" fmla="*/ 8865 h 10234"/>
                <a:gd name="connsiteX70" fmla="*/ 5120 w 9968"/>
                <a:gd name="connsiteY70" fmla="*/ 8760 h 10234"/>
                <a:gd name="connsiteX71" fmla="*/ 5299 w 9968"/>
                <a:gd name="connsiteY71" fmla="*/ 8652 h 10234"/>
                <a:gd name="connsiteX72" fmla="*/ 5478 w 9968"/>
                <a:gd name="connsiteY72" fmla="*/ 8536 h 10234"/>
                <a:gd name="connsiteX73" fmla="*/ 5651 w 9968"/>
                <a:gd name="connsiteY73" fmla="*/ 8418 h 10234"/>
                <a:gd name="connsiteX74" fmla="*/ 5821 w 9968"/>
                <a:gd name="connsiteY74" fmla="*/ 8295 h 10234"/>
                <a:gd name="connsiteX75" fmla="*/ 5992 w 9968"/>
                <a:gd name="connsiteY75" fmla="*/ 8169 h 10234"/>
                <a:gd name="connsiteX76" fmla="*/ 6154 w 9968"/>
                <a:gd name="connsiteY76" fmla="*/ 8040 h 10234"/>
                <a:gd name="connsiteX77" fmla="*/ 6317 w 9968"/>
                <a:gd name="connsiteY77" fmla="*/ 7904 h 10234"/>
                <a:gd name="connsiteX78" fmla="*/ 6478 w 9968"/>
                <a:gd name="connsiteY78" fmla="*/ 7768 h 10234"/>
                <a:gd name="connsiteX79" fmla="*/ 6636 w 9968"/>
                <a:gd name="connsiteY79" fmla="*/ 7625 h 10234"/>
                <a:gd name="connsiteX80" fmla="*/ 6792 w 9968"/>
                <a:gd name="connsiteY80" fmla="*/ 7480 h 10234"/>
                <a:gd name="connsiteX81" fmla="*/ 6943 w 9968"/>
                <a:gd name="connsiteY81" fmla="*/ 7329 h 10234"/>
                <a:gd name="connsiteX82" fmla="*/ 7093 w 9968"/>
                <a:gd name="connsiteY82" fmla="*/ 7178 h 10234"/>
                <a:gd name="connsiteX83" fmla="*/ 7238 w 9968"/>
                <a:gd name="connsiteY83" fmla="*/ 7025 h 10234"/>
                <a:gd name="connsiteX84" fmla="*/ 7384 w 9968"/>
                <a:gd name="connsiteY84" fmla="*/ 6862 h 10234"/>
                <a:gd name="connsiteX85" fmla="*/ 7524 w 9968"/>
                <a:gd name="connsiteY85" fmla="*/ 6697 h 10234"/>
                <a:gd name="connsiteX86" fmla="*/ 7661 w 9968"/>
                <a:gd name="connsiteY86" fmla="*/ 6534 h 10234"/>
                <a:gd name="connsiteX87" fmla="*/ 7795 w 9968"/>
                <a:gd name="connsiteY87" fmla="*/ 6365 h 10234"/>
                <a:gd name="connsiteX88" fmla="*/ 7926 w 9968"/>
                <a:gd name="connsiteY88" fmla="*/ 6189 h 10234"/>
                <a:gd name="connsiteX89" fmla="*/ 8054 w 9968"/>
                <a:gd name="connsiteY89" fmla="*/ 6016 h 10234"/>
                <a:gd name="connsiteX90" fmla="*/ 8180 w 9968"/>
                <a:gd name="connsiteY90" fmla="*/ 5835 h 10234"/>
                <a:gd name="connsiteX91" fmla="*/ 8302 w 9968"/>
                <a:gd name="connsiteY91" fmla="*/ 5652 h 10234"/>
                <a:gd name="connsiteX92" fmla="*/ 8417 w 9968"/>
                <a:gd name="connsiteY92" fmla="*/ 5468 h 10234"/>
                <a:gd name="connsiteX93" fmla="*/ 8530 w 9968"/>
                <a:gd name="connsiteY93" fmla="*/ 5278 h 10234"/>
                <a:gd name="connsiteX94" fmla="*/ 8643 w 9968"/>
                <a:gd name="connsiteY94" fmla="*/ 5089 h 10234"/>
                <a:gd name="connsiteX95" fmla="*/ 8750 w 9968"/>
                <a:gd name="connsiteY95" fmla="*/ 4893 h 10234"/>
                <a:gd name="connsiteX96" fmla="*/ 8853 w 9968"/>
                <a:gd name="connsiteY96" fmla="*/ 4699 h 10234"/>
                <a:gd name="connsiteX97" fmla="*/ 8954 w 9968"/>
                <a:gd name="connsiteY97" fmla="*/ 4500 h 10234"/>
                <a:gd name="connsiteX98" fmla="*/ 9047 w 9968"/>
                <a:gd name="connsiteY98" fmla="*/ 4294 h 10234"/>
                <a:gd name="connsiteX99" fmla="*/ 9139 w 9968"/>
                <a:gd name="connsiteY99" fmla="*/ 4091 h 10234"/>
                <a:gd name="connsiteX100" fmla="*/ 9229 w 9968"/>
                <a:gd name="connsiteY100" fmla="*/ 3885 h 10234"/>
                <a:gd name="connsiteX101" fmla="*/ 9315 w 9968"/>
                <a:gd name="connsiteY101" fmla="*/ 3674 h 10234"/>
                <a:gd name="connsiteX102" fmla="*/ 9393 w 9968"/>
                <a:gd name="connsiteY102" fmla="*/ 3464 h 10234"/>
                <a:gd name="connsiteX103" fmla="*/ 9472 w 9968"/>
                <a:gd name="connsiteY103" fmla="*/ 3248 h 10234"/>
                <a:gd name="connsiteX104" fmla="*/ 9543 w 9968"/>
                <a:gd name="connsiteY104" fmla="*/ 3030 h 10234"/>
                <a:gd name="connsiteX105" fmla="*/ 9611 w 9968"/>
                <a:gd name="connsiteY105" fmla="*/ 2815 h 10234"/>
                <a:gd name="connsiteX106" fmla="*/ 9676 w 9968"/>
                <a:gd name="connsiteY106" fmla="*/ 2592 h 10234"/>
                <a:gd name="connsiteX107" fmla="*/ 9735 w 9968"/>
                <a:gd name="connsiteY107" fmla="*/ 2369 h 10234"/>
                <a:gd name="connsiteX108" fmla="*/ 9791 w 9968"/>
                <a:gd name="connsiteY108" fmla="*/ 2143 h 10234"/>
                <a:gd name="connsiteX109" fmla="*/ 9843 w 9968"/>
                <a:gd name="connsiteY109" fmla="*/ 1918 h 10234"/>
                <a:gd name="connsiteX110" fmla="*/ 9889 w 9968"/>
                <a:gd name="connsiteY110" fmla="*/ 1690 h 10234"/>
                <a:gd name="connsiteX111" fmla="*/ 9931 w 9968"/>
                <a:gd name="connsiteY111" fmla="*/ 1457 h 10234"/>
                <a:gd name="connsiteX112" fmla="*/ 9968 w 9968"/>
                <a:gd name="connsiteY112" fmla="*/ 1222 h 10234"/>
                <a:gd name="connsiteX113" fmla="*/ 7016 w 9968"/>
                <a:gd name="connsiteY113" fmla="*/ 1876 h 10234"/>
                <a:gd name="connsiteX114" fmla="*/ 4552 w 9968"/>
                <a:gd name="connsiteY114" fmla="*/ 0 h 10234"/>
                <a:gd name="connsiteX0" fmla="*/ 4367 w 9800"/>
                <a:gd name="connsiteY0" fmla="*/ 0 h 10009"/>
                <a:gd name="connsiteX1" fmla="*/ 4367 w 9800"/>
                <a:gd name="connsiteY1" fmla="*/ 0 h 10009"/>
                <a:gd name="connsiteX2" fmla="*/ 4356 w 9800"/>
                <a:gd name="connsiteY2" fmla="*/ 97 h 10009"/>
                <a:gd name="connsiteX3" fmla="*/ 4337 w 9800"/>
                <a:gd name="connsiteY3" fmla="*/ 196 h 10009"/>
                <a:gd name="connsiteX4" fmla="*/ 4322 w 9800"/>
                <a:gd name="connsiteY4" fmla="*/ 293 h 10009"/>
                <a:gd name="connsiteX5" fmla="*/ 4302 w 9800"/>
                <a:gd name="connsiteY5" fmla="*/ 385 h 10009"/>
                <a:gd name="connsiteX6" fmla="*/ 4280 w 9800"/>
                <a:gd name="connsiteY6" fmla="*/ 480 h 10009"/>
                <a:gd name="connsiteX7" fmla="*/ 4256 w 9800"/>
                <a:gd name="connsiteY7" fmla="*/ 574 h 10009"/>
                <a:gd name="connsiteX8" fmla="*/ 4234 w 9800"/>
                <a:gd name="connsiteY8" fmla="*/ 668 h 10009"/>
                <a:gd name="connsiteX9" fmla="*/ 4208 w 9800"/>
                <a:gd name="connsiteY9" fmla="*/ 760 h 10009"/>
                <a:gd name="connsiteX10" fmla="*/ 4179 w 9800"/>
                <a:gd name="connsiteY10" fmla="*/ 850 h 10009"/>
                <a:gd name="connsiteX11" fmla="*/ 4147 w 9800"/>
                <a:gd name="connsiteY11" fmla="*/ 939 h 10009"/>
                <a:gd name="connsiteX12" fmla="*/ 4119 w 9800"/>
                <a:gd name="connsiteY12" fmla="*/ 1029 h 10009"/>
                <a:gd name="connsiteX13" fmla="*/ 4085 w 9800"/>
                <a:gd name="connsiteY13" fmla="*/ 1119 h 10009"/>
                <a:gd name="connsiteX14" fmla="*/ 4046 w 9800"/>
                <a:gd name="connsiteY14" fmla="*/ 1204 h 10009"/>
                <a:gd name="connsiteX15" fmla="*/ 4010 w 9800"/>
                <a:gd name="connsiteY15" fmla="*/ 1288 h 10009"/>
                <a:gd name="connsiteX16" fmla="*/ 3973 w 9800"/>
                <a:gd name="connsiteY16" fmla="*/ 1373 h 10009"/>
                <a:gd name="connsiteX17" fmla="*/ 3930 w 9800"/>
                <a:gd name="connsiteY17" fmla="*/ 1460 h 10009"/>
                <a:gd name="connsiteX18" fmla="*/ 3891 w 9800"/>
                <a:gd name="connsiteY18" fmla="*/ 1542 h 10009"/>
                <a:gd name="connsiteX19" fmla="*/ 3847 w 9800"/>
                <a:gd name="connsiteY19" fmla="*/ 1625 h 10009"/>
                <a:gd name="connsiteX20" fmla="*/ 3801 w 9800"/>
                <a:gd name="connsiteY20" fmla="*/ 1702 h 10009"/>
                <a:gd name="connsiteX21" fmla="*/ 3752 w 9800"/>
                <a:gd name="connsiteY21" fmla="*/ 1782 h 10009"/>
                <a:gd name="connsiteX22" fmla="*/ 3708 w 9800"/>
                <a:gd name="connsiteY22" fmla="*/ 1859 h 10009"/>
                <a:gd name="connsiteX23" fmla="*/ 3657 w 9800"/>
                <a:gd name="connsiteY23" fmla="*/ 1941 h 10009"/>
                <a:gd name="connsiteX24" fmla="*/ 3605 w 9800"/>
                <a:gd name="connsiteY24" fmla="*/ 2012 h 10009"/>
                <a:gd name="connsiteX25" fmla="*/ 3551 w 9800"/>
                <a:gd name="connsiteY25" fmla="*/ 2084 h 10009"/>
                <a:gd name="connsiteX26" fmla="*/ 3496 w 9800"/>
                <a:gd name="connsiteY26" fmla="*/ 2159 h 10009"/>
                <a:gd name="connsiteX27" fmla="*/ 3443 w 9800"/>
                <a:gd name="connsiteY27" fmla="*/ 2230 h 10009"/>
                <a:gd name="connsiteX28" fmla="*/ 3384 w 9800"/>
                <a:gd name="connsiteY28" fmla="*/ 2300 h 10009"/>
                <a:gd name="connsiteX29" fmla="*/ 3326 w 9800"/>
                <a:gd name="connsiteY29" fmla="*/ 2371 h 10009"/>
                <a:gd name="connsiteX30" fmla="*/ 3268 w 9800"/>
                <a:gd name="connsiteY30" fmla="*/ 2438 h 10009"/>
                <a:gd name="connsiteX31" fmla="*/ 3204 w 9800"/>
                <a:gd name="connsiteY31" fmla="*/ 2503 h 10009"/>
                <a:gd name="connsiteX32" fmla="*/ 3144 w 9800"/>
                <a:gd name="connsiteY32" fmla="*/ 2566 h 10009"/>
                <a:gd name="connsiteX33" fmla="*/ 3078 w 9800"/>
                <a:gd name="connsiteY33" fmla="*/ 2629 h 10009"/>
                <a:gd name="connsiteX34" fmla="*/ 3016 w 9800"/>
                <a:gd name="connsiteY34" fmla="*/ 2690 h 10009"/>
                <a:gd name="connsiteX35" fmla="*/ 2947 w 9800"/>
                <a:gd name="connsiteY35" fmla="*/ 2753 h 10009"/>
                <a:gd name="connsiteX36" fmla="*/ 2881 w 9800"/>
                <a:gd name="connsiteY36" fmla="*/ 2808 h 10009"/>
                <a:gd name="connsiteX37" fmla="*/ 2813 w 9800"/>
                <a:gd name="connsiteY37" fmla="*/ 2867 h 10009"/>
                <a:gd name="connsiteX38" fmla="*/ 2742 w 9800"/>
                <a:gd name="connsiteY38" fmla="*/ 2921 h 10009"/>
                <a:gd name="connsiteX39" fmla="*/ 2670 w 9800"/>
                <a:gd name="connsiteY39" fmla="*/ 2973 h 10009"/>
                <a:gd name="connsiteX40" fmla="*/ 2599 w 9800"/>
                <a:gd name="connsiteY40" fmla="*/ 3026 h 10009"/>
                <a:gd name="connsiteX41" fmla="*/ 2527 w 9800"/>
                <a:gd name="connsiteY41" fmla="*/ 3077 h 10009"/>
                <a:gd name="connsiteX42" fmla="*/ 2453 w 9800"/>
                <a:gd name="connsiteY42" fmla="*/ 3123 h 10009"/>
                <a:gd name="connsiteX43" fmla="*/ 2376 w 9800"/>
                <a:gd name="connsiteY43" fmla="*/ 3169 h 10009"/>
                <a:gd name="connsiteX44" fmla="*/ 2516 w 9800"/>
                <a:gd name="connsiteY44" fmla="*/ 6427 h 10009"/>
                <a:gd name="connsiteX45" fmla="*/ 135 w 9800"/>
                <a:gd name="connsiteY45" fmla="*/ 9762 h 10009"/>
                <a:gd name="connsiteX46" fmla="*/ 319 w 9800"/>
                <a:gd name="connsiteY46" fmla="*/ 9766 h 10009"/>
                <a:gd name="connsiteX47" fmla="*/ 501 w 9800"/>
                <a:gd name="connsiteY47" fmla="*/ 9771 h 10009"/>
                <a:gd name="connsiteX48" fmla="*/ 724 w 9800"/>
                <a:gd name="connsiteY48" fmla="*/ 9766 h 10009"/>
                <a:gd name="connsiteX49" fmla="*/ 939 w 9800"/>
                <a:gd name="connsiteY49" fmla="*/ 9760 h 10009"/>
                <a:gd name="connsiteX50" fmla="*/ 1154 w 9800"/>
                <a:gd name="connsiteY50" fmla="*/ 9748 h 10009"/>
                <a:gd name="connsiteX51" fmla="*/ 1366 w 9800"/>
                <a:gd name="connsiteY51" fmla="*/ 9726 h 10009"/>
                <a:gd name="connsiteX52" fmla="*/ 1580 w 9800"/>
                <a:gd name="connsiteY52" fmla="*/ 9705 h 10009"/>
                <a:gd name="connsiteX53" fmla="*/ 1791 w 9800"/>
                <a:gd name="connsiteY53" fmla="*/ 9672 h 10009"/>
                <a:gd name="connsiteX54" fmla="*/ 2001 w 9800"/>
                <a:gd name="connsiteY54" fmla="*/ 9640 h 10009"/>
                <a:gd name="connsiteX55" fmla="*/ 2212 w 9800"/>
                <a:gd name="connsiteY55" fmla="*/ 9600 h 10009"/>
                <a:gd name="connsiteX56" fmla="*/ 2415 w 9800"/>
                <a:gd name="connsiteY56" fmla="*/ 9555 h 10009"/>
                <a:gd name="connsiteX57" fmla="*/ 2626 w 9800"/>
                <a:gd name="connsiteY57" fmla="*/ 9509 h 10009"/>
                <a:gd name="connsiteX58" fmla="*/ 2824 w 9800"/>
                <a:gd name="connsiteY58" fmla="*/ 9453 h 10009"/>
                <a:gd name="connsiteX59" fmla="*/ 3027 w 9800"/>
                <a:gd name="connsiteY59" fmla="*/ 9396 h 10009"/>
                <a:gd name="connsiteX60" fmla="*/ 3228 w 9800"/>
                <a:gd name="connsiteY60" fmla="*/ 9335 h 10009"/>
                <a:gd name="connsiteX61" fmla="*/ 3426 w 9800"/>
                <a:gd name="connsiteY61" fmla="*/ 9265 h 10009"/>
                <a:gd name="connsiteX62" fmla="*/ 3619 w 9800"/>
                <a:gd name="connsiteY62" fmla="*/ 9190 h 10009"/>
                <a:gd name="connsiteX63" fmla="*/ 3812 w 9800"/>
                <a:gd name="connsiteY63" fmla="*/ 9117 h 10009"/>
                <a:gd name="connsiteX64" fmla="*/ 4007 w 9800"/>
                <a:gd name="connsiteY64" fmla="*/ 9033 h 10009"/>
                <a:gd name="connsiteX65" fmla="*/ 4200 w 9800"/>
                <a:gd name="connsiteY65" fmla="*/ 8950 h 10009"/>
                <a:gd name="connsiteX66" fmla="*/ 4385 w 9800"/>
                <a:gd name="connsiteY66" fmla="*/ 8856 h 10009"/>
                <a:gd name="connsiteX67" fmla="*/ 4570 w 9800"/>
                <a:gd name="connsiteY67" fmla="*/ 8763 h 10009"/>
                <a:gd name="connsiteX68" fmla="*/ 4757 w 9800"/>
                <a:gd name="connsiteY68" fmla="*/ 8662 h 10009"/>
                <a:gd name="connsiteX69" fmla="*/ 4936 w 9800"/>
                <a:gd name="connsiteY69" fmla="*/ 8560 h 10009"/>
                <a:gd name="connsiteX70" fmla="*/ 5116 w 9800"/>
                <a:gd name="connsiteY70" fmla="*/ 8454 h 10009"/>
                <a:gd name="connsiteX71" fmla="*/ 5296 w 9800"/>
                <a:gd name="connsiteY71" fmla="*/ 8341 h 10009"/>
                <a:gd name="connsiteX72" fmla="*/ 5469 w 9800"/>
                <a:gd name="connsiteY72" fmla="*/ 8226 h 10009"/>
                <a:gd name="connsiteX73" fmla="*/ 5640 w 9800"/>
                <a:gd name="connsiteY73" fmla="*/ 8105 h 10009"/>
                <a:gd name="connsiteX74" fmla="*/ 5811 w 9800"/>
                <a:gd name="connsiteY74" fmla="*/ 7982 h 10009"/>
                <a:gd name="connsiteX75" fmla="*/ 5974 w 9800"/>
                <a:gd name="connsiteY75" fmla="*/ 7856 h 10009"/>
                <a:gd name="connsiteX76" fmla="*/ 6137 w 9800"/>
                <a:gd name="connsiteY76" fmla="*/ 7723 h 10009"/>
                <a:gd name="connsiteX77" fmla="*/ 6299 w 9800"/>
                <a:gd name="connsiteY77" fmla="*/ 7590 h 10009"/>
                <a:gd name="connsiteX78" fmla="*/ 6457 w 9800"/>
                <a:gd name="connsiteY78" fmla="*/ 7451 h 10009"/>
                <a:gd name="connsiteX79" fmla="*/ 6614 w 9800"/>
                <a:gd name="connsiteY79" fmla="*/ 7309 h 10009"/>
                <a:gd name="connsiteX80" fmla="*/ 6765 w 9800"/>
                <a:gd name="connsiteY80" fmla="*/ 7161 h 10009"/>
                <a:gd name="connsiteX81" fmla="*/ 6916 w 9800"/>
                <a:gd name="connsiteY81" fmla="*/ 7014 h 10009"/>
                <a:gd name="connsiteX82" fmla="*/ 7061 w 9800"/>
                <a:gd name="connsiteY82" fmla="*/ 6864 h 10009"/>
                <a:gd name="connsiteX83" fmla="*/ 7208 w 9800"/>
                <a:gd name="connsiteY83" fmla="*/ 6705 h 10009"/>
                <a:gd name="connsiteX84" fmla="*/ 7348 w 9800"/>
                <a:gd name="connsiteY84" fmla="*/ 6544 h 10009"/>
                <a:gd name="connsiteX85" fmla="*/ 7486 w 9800"/>
                <a:gd name="connsiteY85" fmla="*/ 6385 h 10009"/>
                <a:gd name="connsiteX86" fmla="*/ 7620 w 9800"/>
                <a:gd name="connsiteY86" fmla="*/ 6219 h 10009"/>
                <a:gd name="connsiteX87" fmla="*/ 7751 w 9800"/>
                <a:gd name="connsiteY87" fmla="*/ 6047 h 10009"/>
                <a:gd name="connsiteX88" fmla="*/ 7880 w 9800"/>
                <a:gd name="connsiteY88" fmla="*/ 5878 h 10009"/>
                <a:gd name="connsiteX89" fmla="*/ 8006 w 9800"/>
                <a:gd name="connsiteY89" fmla="*/ 5702 h 10009"/>
                <a:gd name="connsiteX90" fmla="*/ 8129 w 9800"/>
                <a:gd name="connsiteY90" fmla="*/ 5523 h 10009"/>
                <a:gd name="connsiteX91" fmla="*/ 8244 w 9800"/>
                <a:gd name="connsiteY91" fmla="*/ 5343 h 10009"/>
                <a:gd name="connsiteX92" fmla="*/ 8357 w 9800"/>
                <a:gd name="connsiteY92" fmla="*/ 5157 h 10009"/>
                <a:gd name="connsiteX93" fmla="*/ 8471 w 9800"/>
                <a:gd name="connsiteY93" fmla="*/ 4973 h 10009"/>
                <a:gd name="connsiteX94" fmla="*/ 8578 w 9800"/>
                <a:gd name="connsiteY94" fmla="*/ 4781 h 10009"/>
                <a:gd name="connsiteX95" fmla="*/ 8681 w 9800"/>
                <a:gd name="connsiteY95" fmla="*/ 4592 h 10009"/>
                <a:gd name="connsiteX96" fmla="*/ 8783 w 9800"/>
                <a:gd name="connsiteY96" fmla="*/ 4397 h 10009"/>
                <a:gd name="connsiteX97" fmla="*/ 8876 w 9800"/>
                <a:gd name="connsiteY97" fmla="*/ 4196 h 10009"/>
                <a:gd name="connsiteX98" fmla="*/ 8968 w 9800"/>
                <a:gd name="connsiteY98" fmla="*/ 3997 h 10009"/>
                <a:gd name="connsiteX99" fmla="*/ 9059 w 9800"/>
                <a:gd name="connsiteY99" fmla="*/ 3796 h 10009"/>
                <a:gd name="connsiteX100" fmla="*/ 9145 w 9800"/>
                <a:gd name="connsiteY100" fmla="*/ 3590 h 10009"/>
                <a:gd name="connsiteX101" fmla="*/ 9223 w 9800"/>
                <a:gd name="connsiteY101" fmla="*/ 3385 h 10009"/>
                <a:gd name="connsiteX102" fmla="*/ 9302 w 9800"/>
                <a:gd name="connsiteY102" fmla="*/ 3174 h 10009"/>
                <a:gd name="connsiteX103" fmla="*/ 9374 w 9800"/>
                <a:gd name="connsiteY103" fmla="*/ 2961 h 10009"/>
                <a:gd name="connsiteX104" fmla="*/ 9442 w 9800"/>
                <a:gd name="connsiteY104" fmla="*/ 2751 h 10009"/>
                <a:gd name="connsiteX105" fmla="*/ 9507 w 9800"/>
                <a:gd name="connsiteY105" fmla="*/ 2533 h 10009"/>
                <a:gd name="connsiteX106" fmla="*/ 9566 w 9800"/>
                <a:gd name="connsiteY106" fmla="*/ 2315 h 10009"/>
                <a:gd name="connsiteX107" fmla="*/ 9622 w 9800"/>
                <a:gd name="connsiteY107" fmla="*/ 2094 h 10009"/>
                <a:gd name="connsiteX108" fmla="*/ 9675 w 9800"/>
                <a:gd name="connsiteY108" fmla="*/ 1874 h 10009"/>
                <a:gd name="connsiteX109" fmla="*/ 9721 w 9800"/>
                <a:gd name="connsiteY109" fmla="*/ 1651 h 10009"/>
                <a:gd name="connsiteX110" fmla="*/ 9763 w 9800"/>
                <a:gd name="connsiteY110" fmla="*/ 1424 h 10009"/>
                <a:gd name="connsiteX111" fmla="*/ 9800 w 9800"/>
                <a:gd name="connsiteY111" fmla="*/ 1194 h 10009"/>
                <a:gd name="connsiteX112" fmla="*/ 6839 w 9800"/>
                <a:gd name="connsiteY112" fmla="*/ 1833 h 10009"/>
                <a:gd name="connsiteX113" fmla="*/ 4367 w 9800"/>
                <a:gd name="connsiteY113" fmla="*/ 0 h 10009"/>
                <a:gd name="connsiteX0" fmla="*/ 4130 w 9674"/>
                <a:gd name="connsiteY0" fmla="*/ 0 h 9762"/>
                <a:gd name="connsiteX1" fmla="*/ 4130 w 9674"/>
                <a:gd name="connsiteY1" fmla="*/ 0 h 9762"/>
                <a:gd name="connsiteX2" fmla="*/ 4119 w 9674"/>
                <a:gd name="connsiteY2" fmla="*/ 97 h 9762"/>
                <a:gd name="connsiteX3" fmla="*/ 4100 w 9674"/>
                <a:gd name="connsiteY3" fmla="*/ 196 h 9762"/>
                <a:gd name="connsiteX4" fmla="*/ 4084 w 9674"/>
                <a:gd name="connsiteY4" fmla="*/ 293 h 9762"/>
                <a:gd name="connsiteX5" fmla="*/ 4064 w 9674"/>
                <a:gd name="connsiteY5" fmla="*/ 385 h 9762"/>
                <a:gd name="connsiteX6" fmla="*/ 4041 w 9674"/>
                <a:gd name="connsiteY6" fmla="*/ 480 h 9762"/>
                <a:gd name="connsiteX7" fmla="*/ 4017 w 9674"/>
                <a:gd name="connsiteY7" fmla="*/ 573 h 9762"/>
                <a:gd name="connsiteX8" fmla="*/ 3994 w 9674"/>
                <a:gd name="connsiteY8" fmla="*/ 667 h 9762"/>
                <a:gd name="connsiteX9" fmla="*/ 3968 w 9674"/>
                <a:gd name="connsiteY9" fmla="*/ 759 h 9762"/>
                <a:gd name="connsiteX10" fmla="*/ 3938 w 9674"/>
                <a:gd name="connsiteY10" fmla="*/ 849 h 9762"/>
                <a:gd name="connsiteX11" fmla="*/ 3906 w 9674"/>
                <a:gd name="connsiteY11" fmla="*/ 938 h 9762"/>
                <a:gd name="connsiteX12" fmla="*/ 3877 w 9674"/>
                <a:gd name="connsiteY12" fmla="*/ 1028 h 9762"/>
                <a:gd name="connsiteX13" fmla="*/ 3842 w 9674"/>
                <a:gd name="connsiteY13" fmla="*/ 1118 h 9762"/>
                <a:gd name="connsiteX14" fmla="*/ 3803 w 9674"/>
                <a:gd name="connsiteY14" fmla="*/ 1203 h 9762"/>
                <a:gd name="connsiteX15" fmla="*/ 3766 w 9674"/>
                <a:gd name="connsiteY15" fmla="*/ 1287 h 9762"/>
                <a:gd name="connsiteX16" fmla="*/ 3728 w 9674"/>
                <a:gd name="connsiteY16" fmla="*/ 1372 h 9762"/>
                <a:gd name="connsiteX17" fmla="*/ 3684 w 9674"/>
                <a:gd name="connsiteY17" fmla="*/ 1459 h 9762"/>
                <a:gd name="connsiteX18" fmla="*/ 3644 w 9674"/>
                <a:gd name="connsiteY18" fmla="*/ 1541 h 9762"/>
                <a:gd name="connsiteX19" fmla="*/ 3600 w 9674"/>
                <a:gd name="connsiteY19" fmla="*/ 1624 h 9762"/>
                <a:gd name="connsiteX20" fmla="*/ 3553 w 9674"/>
                <a:gd name="connsiteY20" fmla="*/ 1700 h 9762"/>
                <a:gd name="connsiteX21" fmla="*/ 3503 w 9674"/>
                <a:gd name="connsiteY21" fmla="*/ 1780 h 9762"/>
                <a:gd name="connsiteX22" fmla="*/ 3458 w 9674"/>
                <a:gd name="connsiteY22" fmla="*/ 1857 h 9762"/>
                <a:gd name="connsiteX23" fmla="*/ 3406 w 9674"/>
                <a:gd name="connsiteY23" fmla="*/ 1939 h 9762"/>
                <a:gd name="connsiteX24" fmla="*/ 3353 w 9674"/>
                <a:gd name="connsiteY24" fmla="*/ 2010 h 9762"/>
                <a:gd name="connsiteX25" fmla="*/ 3297 w 9674"/>
                <a:gd name="connsiteY25" fmla="*/ 2082 h 9762"/>
                <a:gd name="connsiteX26" fmla="*/ 3241 w 9674"/>
                <a:gd name="connsiteY26" fmla="*/ 2157 h 9762"/>
                <a:gd name="connsiteX27" fmla="*/ 3187 w 9674"/>
                <a:gd name="connsiteY27" fmla="*/ 2228 h 9762"/>
                <a:gd name="connsiteX28" fmla="*/ 3127 w 9674"/>
                <a:gd name="connsiteY28" fmla="*/ 2298 h 9762"/>
                <a:gd name="connsiteX29" fmla="*/ 3068 w 9674"/>
                <a:gd name="connsiteY29" fmla="*/ 2369 h 9762"/>
                <a:gd name="connsiteX30" fmla="*/ 3009 w 9674"/>
                <a:gd name="connsiteY30" fmla="*/ 2436 h 9762"/>
                <a:gd name="connsiteX31" fmla="*/ 2943 w 9674"/>
                <a:gd name="connsiteY31" fmla="*/ 2501 h 9762"/>
                <a:gd name="connsiteX32" fmla="*/ 2882 w 9674"/>
                <a:gd name="connsiteY32" fmla="*/ 2564 h 9762"/>
                <a:gd name="connsiteX33" fmla="*/ 2815 w 9674"/>
                <a:gd name="connsiteY33" fmla="*/ 2627 h 9762"/>
                <a:gd name="connsiteX34" fmla="*/ 2752 w 9674"/>
                <a:gd name="connsiteY34" fmla="*/ 2688 h 9762"/>
                <a:gd name="connsiteX35" fmla="*/ 2681 w 9674"/>
                <a:gd name="connsiteY35" fmla="*/ 2751 h 9762"/>
                <a:gd name="connsiteX36" fmla="*/ 2614 w 9674"/>
                <a:gd name="connsiteY36" fmla="*/ 2805 h 9762"/>
                <a:gd name="connsiteX37" fmla="*/ 2544 w 9674"/>
                <a:gd name="connsiteY37" fmla="*/ 2864 h 9762"/>
                <a:gd name="connsiteX38" fmla="*/ 2472 w 9674"/>
                <a:gd name="connsiteY38" fmla="*/ 2918 h 9762"/>
                <a:gd name="connsiteX39" fmla="*/ 2398 w 9674"/>
                <a:gd name="connsiteY39" fmla="*/ 2970 h 9762"/>
                <a:gd name="connsiteX40" fmla="*/ 2326 w 9674"/>
                <a:gd name="connsiteY40" fmla="*/ 3023 h 9762"/>
                <a:gd name="connsiteX41" fmla="*/ 2253 w 9674"/>
                <a:gd name="connsiteY41" fmla="*/ 3074 h 9762"/>
                <a:gd name="connsiteX42" fmla="*/ 2177 w 9674"/>
                <a:gd name="connsiteY42" fmla="*/ 3120 h 9762"/>
                <a:gd name="connsiteX43" fmla="*/ 2098 w 9674"/>
                <a:gd name="connsiteY43" fmla="*/ 3166 h 9762"/>
                <a:gd name="connsiteX44" fmla="*/ 2241 w 9674"/>
                <a:gd name="connsiteY44" fmla="*/ 6421 h 9762"/>
                <a:gd name="connsiteX45" fmla="*/ 0 w 9674"/>
                <a:gd name="connsiteY45" fmla="*/ 9757 h 9762"/>
                <a:gd name="connsiteX46" fmla="*/ 185 w 9674"/>
                <a:gd name="connsiteY46" fmla="*/ 9762 h 9762"/>
                <a:gd name="connsiteX47" fmla="*/ 413 w 9674"/>
                <a:gd name="connsiteY47" fmla="*/ 9757 h 9762"/>
                <a:gd name="connsiteX48" fmla="*/ 632 w 9674"/>
                <a:gd name="connsiteY48" fmla="*/ 9751 h 9762"/>
                <a:gd name="connsiteX49" fmla="*/ 852 w 9674"/>
                <a:gd name="connsiteY49" fmla="*/ 9739 h 9762"/>
                <a:gd name="connsiteX50" fmla="*/ 1068 w 9674"/>
                <a:gd name="connsiteY50" fmla="*/ 9717 h 9762"/>
                <a:gd name="connsiteX51" fmla="*/ 1286 w 9674"/>
                <a:gd name="connsiteY51" fmla="*/ 9696 h 9762"/>
                <a:gd name="connsiteX52" fmla="*/ 1502 w 9674"/>
                <a:gd name="connsiteY52" fmla="*/ 9663 h 9762"/>
                <a:gd name="connsiteX53" fmla="*/ 1716 w 9674"/>
                <a:gd name="connsiteY53" fmla="*/ 9631 h 9762"/>
                <a:gd name="connsiteX54" fmla="*/ 1931 w 9674"/>
                <a:gd name="connsiteY54" fmla="*/ 9591 h 9762"/>
                <a:gd name="connsiteX55" fmla="*/ 2138 w 9674"/>
                <a:gd name="connsiteY55" fmla="*/ 9546 h 9762"/>
                <a:gd name="connsiteX56" fmla="*/ 2354 w 9674"/>
                <a:gd name="connsiteY56" fmla="*/ 9500 h 9762"/>
                <a:gd name="connsiteX57" fmla="*/ 2556 w 9674"/>
                <a:gd name="connsiteY57" fmla="*/ 9444 h 9762"/>
                <a:gd name="connsiteX58" fmla="*/ 2763 w 9674"/>
                <a:gd name="connsiteY58" fmla="*/ 9388 h 9762"/>
                <a:gd name="connsiteX59" fmla="*/ 2968 w 9674"/>
                <a:gd name="connsiteY59" fmla="*/ 9327 h 9762"/>
                <a:gd name="connsiteX60" fmla="*/ 3170 w 9674"/>
                <a:gd name="connsiteY60" fmla="*/ 9257 h 9762"/>
                <a:gd name="connsiteX61" fmla="*/ 3367 w 9674"/>
                <a:gd name="connsiteY61" fmla="*/ 9182 h 9762"/>
                <a:gd name="connsiteX62" fmla="*/ 3564 w 9674"/>
                <a:gd name="connsiteY62" fmla="*/ 9109 h 9762"/>
                <a:gd name="connsiteX63" fmla="*/ 3763 w 9674"/>
                <a:gd name="connsiteY63" fmla="*/ 9025 h 9762"/>
                <a:gd name="connsiteX64" fmla="*/ 3960 w 9674"/>
                <a:gd name="connsiteY64" fmla="*/ 8942 h 9762"/>
                <a:gd name="connsiteX65" fmla="*/ 4148 w 9674"/>
                <a:gd name="connsiteY65" fmla="*/ 8848 h 9762"/>
                <a:gd name="connsiteX66" fmla="*/ 4337 w 9674"/>
                <a:gd name="connsiteY66" fmla="*/ 8755 h 9762"/>
                <a:gd name="connsiteX67" fmla="*/ 4528 w 9674"/>
                <a:gd name="connsiteY67" fmla="*/ 8654 h 9762"/>
                <a:gd name="connsiteX68" fmla="*/ 4711 w 9674"/>
                <a:gd name="connsiteY68" fmla="*/ 8552 h 9762"/>
                <a:gd name="connsiteX69" fmla="*/ 4894 w 9674"/>
                <a:gd name="connsiteY69" fmla="*/ 8446 h 9762"/>
                <a:gd name="connsiteX70" fmla="*/ 5078 w 9674"/>
                <a:gd name="connsiteY70" fmla="*/ 8333 h 9762"/>
                <a:gd name="connsiteX71" fmla="*/ 5255 w 9674"/>
                <a:gd name="connsiteY71" fmla="*/ 8219 h 9762"/>
                <a:gd name="connsiteX72" fmla="*/ 5429 w 9674"/>
                <a:gd name="connsiteY72" fmla="*/ 8098 h 9762"/>
                <a:gd name="connsiteX73" fmla="*/ 5604 w 9674"/>
                <a:gd name="connsiteY73" fmla="*/ 7975 h 9762"/>
                <a:gd name="connsiteX74" fmla="*/ 5770 w 9674"/>
                <a:gd name="connsiteY74" fmla="*/ 7849 h 9762"/>
                <a:gd name="connsiteX75" fmla="*/ 5936 w 9674"/>
                <a:gd name="connsiteY75" fmla="*/ 7716 h 9762"/>
                <a:gd name="connsiteX76" fmla="*/ 6102 w 9674"/>
                <a:gd name="connsiteY76" fmla="*/ 7583 h 9762"/>
                <a:gd name="connsiteX77" fmla="*/ 6263 w 9674"/>
                <a:gd name="connsiteY77" fmla="*/ 7444 h 9762"/>
                <a:gd name="connsiteX78" fmla="*/ 6423 w 9674"/>
                <a:gd name="connsiteY78" fmla="*/ 7302 h 9762"/>
                <a:gd name="connsiteX79" fmla="*/ 6577 w 9674"/>
                <a:gd name="connsiteY79" fmla="*/ 7155 h 9762"/>
                <a:gd name="connsiteX80" fmla="*/ 6731 w 9674"/>
                <a:gd name="connsiteY80" fmla="*/ 7008 h 9762"/>
                <a:gd name="connsiteX81" fmla="*/ 6879 w 9674"/>
                <a:gd name="connsiteY81" fmla="*/ 6858 h 9762"/>
                <a:gd name="connsiteX82" fmla="*/ 7029 w 9674"/>
                <a:gd name="connsiteY82" fmla="*/ 6699 h 9762"/>
                <a:gd name="connsiteX83" fmla="*/ 7172 w 9674"/>
                <a:gd name="connsiteY83" fmla="*/ 6538 h 9762"/>
                <a:gd name="connsiteX84" fmla="*/ 7313 w 9674"/>
                <a:gd name="connsiteY84" fmla="*/ 6379 h 9762"/>
                <a:gd name="connsiteX85" fmla="*/ 7450 w 9674"/>
                <a:gd name="connsiteY85" fmla="*/ 6213 h 9762"/>
                <a:gd name="connsiteX86" fmla="*/ 7583 w 9674"/>
                <a:gd name="connsiteY86" fmla="*/ 6042 h 9762"/>
                <a:gd name="connsiteX87" fmla="*/ 7715 w 9674"/>
                <a:gd name="connsiteY87" fmla="*/ 5873 h 9762"/>
                <a:gd name="connsiteX88" fmla="*/ 7843 w 9674"/>
                <a:gd name="connsiteY88" fmla="*/ 5697 h 9762"/>
                <a:gd name="connsiteX89" fmla="*/ 7969 w 9674"/>
                <a:gd name="connsiteY89" fmla="*/ 5518 h 9762"/>
                <a:gd name="connsiteX90" fmla="*/ 8086 w 9674"/>
                <a:gd name="connsiteY90" fmla="*/ 5338 h 9762"/>
                <a:gd name="connsiteX91" fmla="*/ 8202 w 9674"/>
                <a:gd name="connsiteY91" fmla="*/ 5152 h 9762"/>
                <a:gd name="connsiteX92" fmla="*/ 8318 w 9674"/>
                <a:gd name="connsiteY92" fmla="*/ 4969 h 9762"/>
                <a:gd name="connsiteX93" fmla="*/ 8427 w 9674"/>
                <a:gd name="connsiteY93" fmla="*/ 4777 h 9762"/>
                <a:gd name="connsiteX94" fmla="*/ 8532 w 9674"/>
                <a:gd name="connsiteY94" fmla="*/ 4588 h 9762"/>
                <a:gd name="connsiteX95" fmla="*/ 8636 w 9674"/>
                <a:gd name="connsiteY95" fmla="*/ 4393 h 9762"/>
                <a:gd name="connsiteX96" fmla="*/ 8731 w 9674"/>
                <a:gd name="connsiteY96" fmla="*/ 4192 h 9762"/>
                <a:gd name="connsiteX97" fmla="*/ 8825 w 9674"/>
                <a:gd name="connsiteY97" fmla="*/ 3993 h 9762"/>
                <a:gd name="connsiteX98" fmla="*/ 8918 w 9674"/>
                <a:gd name="connsiteY98" fmla="*/ 3793 h 9762"/>
                <a:gd name="connsiteX99" fmla="*/ 9006 w 9674"/>
                <a:gd name="connsiteY99" fmla="*/ 3587 h 9762"/>
                <a:gd name="connsiteX100" fmla="*/ 9085 w 9674"/>
                <a:gd name="connsiteY100" fmla="*/ 3382 h 9762"/>
                <a:gd name="connsiteX101" fmla="*/ 9166 w 9674"/>
                <a:gd name="connsiteY101" fmla="*/ 3171 h 9762"/>
                <a:gd name="connsiteX102" fmla="*/ 9239 w 9674"/>
                <a:gd name="connsiteY102" fmla="*/ 2958 h 9762"/>
                <a:gd name="connsiteX103" fmla="*/ 9309 w 9674"/>
                <a:gd name="connsiteY103" fmla="*/ 2749 h 9762"/>
                <a:gd name="connsiteX104" fmla="*/ 9375 w 9674"/>
                <a:gd name="connsiteY104" fmla="*/ 2531 h 9762"/>
                <a:gd name="connsiteX105" fmla="*/ 9435 w 9674"/>
                <a:gd name="connsiteY105" fmla="*/ 2313 h 9762"/>
                <a:gd name="connsiteX106" fmla="*/ 9492 w 9674"/>
                <a:gd name="connsiteY106" fmla="*/ 2092 h 9762"/>
                <a:gd name="connsiteX107" fmla="*/ 9546 w 9674"/>
                <a:gd name="connsiteY107" fmla="*/ 1872 h 9762"/>
                <a:gd name="connsiteX108" fmla="*/ 9593 w 9674"/>
                <a:gd name="connsiteY108" fmla="*/ 1650 h 9762"/>
                <a:gd name="connsiteX109" fmla="*/ 9636 w 9674"/>
                <a:gd name="connsiteY109" fmla="*/ 1423 h 9762"/>
                <a:gd name="connsiteX110" fmla="*/ 9674 w 9674"/>
                <a:gd name="connsiteY110" fmla="*/ 1193 h 9762"/>
                <a:gd name="connsiteX111" fmla="*/ 6653 w 9674"/>
                <a:gd name="connsiteY111" fmla="*/ 1831 h 9762"/>
                <a:gd name="connsiteX112" fmla="*/ 4130 w 9674"/>
                <a:gd name="connsiteY112" fmla="*/ 0 h 9762"/>
                <a:gd name="connsiteX0" fmla="*/ 4078 w 9809"/>
                <a:gd name="connsiteY0" fmla="*/ 0 h 10000"/>
                <a:gd name="connsiteX1" fmla="*/ 4078 w 9809"/>
                <a:gd name="connsiteY1" fmla="*/ 0 h 10000"/>
                <a:gd name="connsiteX2" fmla="*/ 4067 w 9809"/>
                <a:gd name="connsiteY2" fmla="*/ 99 h 10000"/>
                <a:gd name="connsiteX3" fmla="*/ 4047 w 9809"/>
                <a:gd name="connsiteY3" fmla="*/ 201 h 10000"/>
                <a:gd name="connsiteX4" fmla="*/ 4031 w 9809"/>
                <a:gd name="connsiteY4" fmla="*/ 300 h 10000"/>
                <a:gd name="connsiteX5" fmla="*/ 4010 w 9809"/>
                <a:gd name="connsiteY5" fmla="*/ 394 h 10000"/>
                <a:gd name="connsiteX6" fmla="*/ 3986 w 9809"/>
                <a:gd name="connsiteY6" fmla="*/ 492 h 10000"/>
                <a:gd name="connsiteX7" fmla="*/ 3961 w 9809"/>
                <a:gd name="connsiteY7" fmla="*/ 587 h 10000"/>
                <a:gd name="connsiteX8" fmla="*/ 3938 w 9809"/>
                <a:gd name="connsiteY8" fmla="*/ 683 h 10000"/>
                <a:gd name="connsiteX9" fmla="*/ 3911 w 9809"/>
                <a:gd name="connsiteY9" fmla="*/ 778 h 10000"/>
                <a:gd name="connsiteX10" fmla="*/ 3880 w 9809"/>
                <a:gd name="connsiteY10" fmla="*/ 870 h 10000"/>
                <a:gd name="connsiteX11" fmla="*/ 3847 w 9809"/>
                <a:gd name="connsiteY11" fmla="*/ 961 h 10000"/>
                <a:gd name="connsiteX12" fmla="*/ 3817 w 9809"/>
                <a:gd name="connsiteY12" fmla="*/ 1053 h 10000"/>
                <a:gd name="connsiteX13" fmla="*/ 3780 w 9809"/>
                <a:gd name="connsiteY13" fmla="*/ 1145 h 10000"/>
                <a:gd name="connsiteX14" fmla="*/ 3740 w 9809"/>
                <a:gd name="connsiteY14" fmla="*/ 1232 h 10000"/>
                <a:gd name="connsiteX15" fmla="*/ 3702 w 9809"/>
                <a:gd name="connsiteY15" fmla="*/ 1318 h 10000"/>
                <a:gd name="connsiteX16" fmla="*/ 3663 w 9809"/>
                <a:gd name="connsiteY16" fmla="*/ 1405 h 10000"/>
                <a:gd name="connsiteX17" fmla="*/ 3617 w 9809"/>
                <a:gd name="connsiteY17" fmla="*/ 1495 h 10000"/>
                <a:gd name="connsiteX18" fmla="*/ 3576 w 9809"/>
                <a:gd name="connsiteY18" fmla="*/ 1579 h 10000"/>
                <a:gd name="connsiteX19" fmla="*/ 3530 w 9809"/>
                <a:gd name="connsiteY19" fmla="*/ 1664 h 10000"/>
                <a:gd name="connsiteX20" fmla="*/ 3482 w 9809"/>
                <a:gd name="connsiteY20" fmla="*/ 1741 h 10000"/>
                <a:gd name="connsiteX21" fmla="*/ 3430 w 9809"/>
                <a:gd name="connsiteY21" fmla="*/ 1823 h 10000"/>
                <a:gd name="connsiteX22" fmla="*/ 3384 w 9809"/>
                <a:gd name="connsiteY22" fmla="*/ 1902 h 10000"/>
                <a:gd name="connsiteX23" fmla="*/ 3330 w 9809"/>
                <a:gd name="connsiteY23" fmla="*/ 1986 h 10000"/>
                <a:gd name="connsiteX24" fmla="*/ 3275 w 9809"/>
                <a:gd name="connsiteY24" fmla="*/ 2059 h 10000"/>
                <a:gd name="connsiteX25" fmla="*/ 3217 w 9809"/>
                <a:gd name="connsiteY25" fmla="*/ 2133 h 10000"/>
                <a:gd name="connsiteX26" fmla="*/ 3159 w 9809"/>
                <a:gd name="connsiteY26" fmla="*/ 2210 h 10000"/>
                <a:gd name="connsiteX27" fmla="*/ 3103 w 9809"/>
                <a:gd name="connsiteY27" fmla="*/ 2282 h 10000"/>
                <a:gd name="connsiteX28" fmla="*/ 3041 w 9809"/>
                <a:gd name="connsiteY28" fmla="*/ 2354 h 10000"/>
                <a:gd name="connsiteX29" fmla="*/ 2980 w 9809"/>
                <a:gd name="connsiteY29" fmla="*/ 2427 h 10000"/>
                <a:gd name="connsiteX30" fmla="*/ 2919 w 9809"/>
                <a:gd name="connsiteY30" fmla="*/ 2495 h 10000"/>
                <a:gd name="connsiteX31" fmla="*/ 2851 w 9809"/>
                <a:gd name="connsiteY31" fmla="*/ 2562 h 10000"/>
                <a:gd name="connsiteX32" fmla="*/ 2788 w 9809"/>
                <a:gd name="connsiteY32" fmla="*/ 2627 h 10000"/>
                <a:gd name="connsiteX33" fmla="*/ 2719 w 9809"/>
                <a:gd name="connsiteY33" fmla="*/ 2691 h 10000"/>
                <a:gd name="connsiteX34" fmla="*/ 2654 w 9809"/>
                <a:gd name="connsiteY34" fmla="*/ 2754 h 10000"/>
                <a:gd name="connsiteX35" fmla="*/ 2580 w 9809"/>
                <a:gd name="connsiteY35" fmla="*/ 2818 h 10000"/>
                <a:gd name="connsiteX36" fmla="*/ 2511 w 9809"/>
                <a:gd name="connsiteY36" fmla="*/ 2873 h 10000"/>
                <a:gd name="connsiteX37" fmla="*/ 2439 w 9809"/>
                <a:gd name="connsiteY37" fmla="*/ 2934 h 10000"/>
                <a:gd name="connsiteX38" fmla="*/ 2364 w 9809"/>
                <a:gd name="connsiteY38" fmla="*/ 2989 h 10000"/>
                <a:gd name="connsiteX39" fmla="*/ 2288 w 9809"/>
                <a:gd name="connsiteY39" fmla="*/ 3042 h 10000"/>
                <a:gd name="connsiteX40" fmla="*/ 2213 w 9809"/>
                <a:gd name="connsiteY40" fmla="*/ 3097 h 10000"/>
                <a:gd name="connsiteX41" fmla="*/ 2138 w 9809"/>
                <a:gd name="connsiteY41" fmla="*/ 3149 h 10000"/>
                <a:gd name="connsiteX42" fmla="*/ 2059 w 9809"/>
                <a:gd name="connsiteY42" fmla="*/ 3196 h 10000"/>
                <a:gd name="connsiteX43" fmla="*/ 1978 w 9809"/>
                <a:gd name="connsiteY43" fmla="*/ 3243 h 10000"/>
                <a:gd name="connsiteX44" fmla="*/ 2126 w 9809"/>
                <a:gd name="connsiteY44" fmla="*/ 6578 h 10000"/>
                <a:gd name="connsiteX45" fmla="*/ 0 w 9809"/>
                <a:gd name="connsiteY45" fmla="*/ 10000 h 10000"/>
                <a:gd name="connsiteX46" fmla="*/ 236 w 9809"/>
                <a:gd name="connsiteY46" fmla="*/ 9995 h 10000"/>
                <a:gd name="connsiteX47" fmla="*/ 462 w 9809"/>
                <a:gd name="connsiteY47" fmla="*/ 9989 h 10000"/>
                <a:gd name="connsiteX48" fmla="*/ 690 w 9809"/>
                <a:gd name="connsiteY48" fmla="*/ 9976 h 10000"/>
                <a:gd name="connsiteX49" fmla="*/ 913 w 9809"/>
                <a:gd name="connsiteY49" fmla="*/ 9954 h 10000"/>
                <a:gd name="connsiteX50" fmla="*/ 1138 w 9809"/>
                <a:gd name="connsiteY50" fmla="*/ 9932 h 10000"/>
                <a:gd name="connsiteX51" fmla="*/ 1362 w 9809"/>
                <a:gd name="connsiteY51" fmla="*/ 9899 h 10000"/>
                <a:gd name="connsiteX52" fmla="*/ 1583 w 9809"/>
                <a:gd name="connsiteY52" fmla="*/ 9866 h 10000"/>
                <a:gd name="connsiteX53" fmla="*/ 1805 w 9809"/>
                <a:gd name="connsiteY53" fmla="*/ 9825 h 10000"/>
                <a:gd name="connsiteX54" fmla="*/ 2019 w 9809"/>
                <a:gd name="connsiteY54" fmla="*/ 9779 h 10000"/>
                <a:gd name="connsiteX55" fmla="*/ 2242 w 9809"/>
                <a:gd name="connsiteY55" fmla="*/ 9732 h 10000"/>
                <a:gd name="connsiteX56" fmla="*/ 2451 w 9809"/>
                <a:gd name="connsiteY56" fmla="*/ 9674 h 10000"/>
                <a:gd name="connsiteX57" fmla="*/ 2665 w 9809"/>
                <a:gd name="connsiteY57" fmla="*/ 9617 h 10000"/>
                <a:gd name="connsiteX58" fmla="*/ 2877 w 9809"/>
                <a:gd name="connsiteY58" fmla="*/ 9554 h 10000"/>
                <a:gd name="connsiteX59" fmla="*/ 3086 w 9809"/>
                <a:gd name="connsiteY59" fmla="*/ 9483 h 10000"/>
                <a:gd name="connsiteX60" fmla="*/ 3289 w 9809"/>
                <a:gd name="connsiteY60" fmla="*/ 9406 h 10000"/>
                <a:gd name="connsiteX61" fmla="*/ 3493 w 9809"/>
                <a:gd name="connsiteY61" fmla="*/ 9331 h 10000"/>
                <a:gd name="connsiteX62" fmla="*/ 3699 w 9809"/>
                <a:gd name="connsiteY62" fmla="*/ 9245 h 10000"/>
                <a:gd name="connsiteX63" fmla="*/ 3902 w 9809"/>
                <a:gd name="connsiteY63" fmla="*/ 9160 h 10000"/>
                <a:gd name="connsiteX64" fmla="*/ 4097 w 9809"/>
                <a:gd name="connsiteY64" fmla="*/ 9064 h 10000"/>
                <a:gd name="connsiteX65" fmla="*/ 4292 w 9809"/>
                <a:gd name="connsiteY65" fmla="*/ 8968 h 10000"/>
                <a:gd name="connsiteX66" fmla="*/ 4490 w 9809"/>
                <a:gd name="connsiteY66" fmla="*/ 8865 h 10000"/>
                <a:gd name="connsiteX67" fmla="*/ 4679 w 9809"/>
                <a:gd name="connsiteY67" fmla="*/ 8760 h 10000"/>
                <a:gd name="connsiteX68" fmla="*/ 4868 w 9809"/>
                <a:gd name="connsiteY68" fmla="*/ 8652 h 10000"/>
                <a:gd name="connsiteX69" fmla="*/ 5058 w 9809"/>
                <a:gd name="connsiteY69" fmla="*/ 8536 h 10000"/>
                <a:gd name="connsiteX70" fmla="*/ 5241 w 9809"/>
                <a:gd name="connsiteY70" fmla="*/ 8419 h 10000"/>
                <a:gd name="connsiteX71" fmla="*/ 5421 w 9809"/>
                <a:gd name="connsiteY71" fmla="*/ 8295 h 10000"/>
                <a:gd name="connsiteX72" fmla="*/ 5602 w 9809"/>
                <a:gd name="connsiteY72" fmla="*/ 8169 h 10000"/>
                <a:gd name="connsiteX73" fmla="*/ 5773 w 9809"/>
                <a:gd name="connsiteY73" fmla="*/ 8040 h 10000"/>
                <a:gd name="connsiteX74" fmla="*/ 5945 w 9809"/>
                <a:gd name="connsiteY74" fmla="*/ 7904 h 10000"/>
                <a:gd name="connsiteX75" fmla="*/ 6117 w 9809"/>
                <a:gd name="connsiteY75" fmla="*/ 7768 h 10000"/>
                <a:gd name="connsiteX76" fmla="*/ 6283 w 9809"/>
                <a:gd name="connsiteY76" fmla="*/ 7625 h 10000"/>
                <a:gd name="connsiteX77" fmla="*/ 6448 w 9809"/>
                <a:gd name="connsiteY77" fmla="*/ 7480 h 10000"/>
                <a:gd name="connsiteX78" fmla="*/ 6608 w 9809"/>
                <a:gd name="connsiteY78" fmla="*/ 7329 h 10000"/>
                <a:gd name="connsiteX79" fmla="*/ 6767 w 9809"/>
                <a:gd name="connsiteY79" fmla="*/ 7179 h 10000"/>
                <a:gd name="connsiteX80" fmla="*/ 6920 w 9809"/>
                <a:gd name="connsiteY80" fmla="*/ 7025 h 10000"/>
                <a:gd name="connsiteX81" fmla="*/ 7075 w 9809"/>
                <a:gd name="connsiteY81" fmla="*/ 6862 h 10000"/>
                <a:gd name="connsiteX82" fmla="*/ 7223 w 9809"/>
                <a:gd name="connsiteY82" fmla="*/ 6697 h 10000"/>
                <a:gd name="connsiteX83" fmla="*/ 7368 w 9809"/>
                <a:gd name="connsiteY83" fmla="*/ 6535 h 10000"/>
                <a:gd name="connsiteX84" fmla="*/ 7510 w 9809"/>
                <a:gd name="connsiteY84" fmla="*/ 6364 h 10000"/>
                <a:gd name="connsiteX85" fmla="*/ 7648 w 9809"/>
                <a:gd name="connsiteY85" fmla="*/ 6189 h 10000"/>
                <a:gd name="connsiteX86" fmla="*/ 7784 w 9809"/>
                <a:gd name="connsiteY86" fmla="*/ 6016 h 10000"/>
                <a:gd name="connsiteX87" fmla="*/ 7916 w 9809"/>
                <a:gd name="connsiteY87" fmla="*/ 5836 h 10000"/>
                <a:gd name="connsiteX88" fmla="*/ 8047 w 9809"/>
                <a:gd name="connsiteY88" fmla="*/ 5653 h 10000"/>
                <a:gd name="connsiteX89" fmla="*/ 8167 w 9809"/>
                <a:gd name="connsiteY89" fmla="*/ 5468 h 10000"/>
                <a:gd name="connsiteX90" fmla="*/ 8287 w 9809"/>
                <a:gd name="connsiteY90" fmla="*/ 5278 h 10000"/>
                <a:gd name="connsiteX91" fmla="*/ 8407 w 9809"/>
                <a:gd name="connsiteY91" fmla="*/ 5090 h 10000"/>
                <a:gd name="connsiteX92" fmla="*/ 8520 w 9809"/>
                <a:gd name="connsiteY92" fmla="*/ 4893 h 10000"/>
                <a:gd name="connsiteX93" fmla="*/ 8629 w 9809"/>
                <a:gd name="connsiteY93" fmla="*/ 4700 h 10000"/>
                <a:gd name="connsiteX94" fmla="*/ 8736 w 9809"/>
                <a:gd name="connsiteY94" fmla="*/ 4500 h 10000"/>
                <a:gd name="connsiteX95" fmla="*/ 8834 w 9809"/>
                <a:gd name="connsiteY95" fmla="*/ 4294 h 10000"/>
                <a:gd name="connsiteX96" fmla="*/ 8931 w 9809"/>
                <a:gd name="connsiteY96" fmla="*/ 4090 h 10000"/>
                <a:gd name="connsiteX97" fmla="*/ 9028 w 9809"/>
                <a:gd name="connsiteY97" fmla="*/ 3885 h 10000"/>
                <a:gd name="connsiteX98" fmla="*/ 9118 w 9809"/>
                <a:gd name="connsiteY98" fmla="*/ 3674 h 10000"/>
                <a:gd name="connsiteX99" fmla="*/ 9200 w 9809"/>
                <a:gd name="connsiteY99" fmla="*/ 3464 h 10000"/>
                <a:gd name="connsiteX100" fmla="*/ 9284 w 9809"/>
                <a:gd name="connsiteY100" fmla="*/ 3248 h 10000"/>
                <a:gd name="connsiteX101" fmla="*/ 9359 w 9809"/>
                <a:gd name="connsiteY101" fmla="*/ 3030 h 10000"/>
                <a:gd name="connsiteX102" fmla="*/ 9432 w 9809"/>
                <a:gd name="connsiteY102" fmla="*/ 2816 h 10000"/>
                <a:gd name="connsiteX103" fmla="*/ 9500 w 9809"/>
                <a:gd name="connsiteY103" fmla="*/ 2593 h 10000"/>
                <a:gd name="connsiteX104" fmla="*/ 9562 w 9809"/>
                <a:gd name="connsiteY104" fmla="*/ 2369 h 10000"/>
                <a:gd name="connsiteX105" fmla="*/ 9621 w 9809"/>
                <a:gd name="connsiteY105" fmla="*/ 2143 h 10000"/>
                <a:gd name="connsiteX106" fmla="*/ 9677 w 9809"/>
                <a:gd name="connsiteY106" fmla="*/ 1918 h 10000"/>
                <a:gd name="connsiteX107" fmla="*/ 9725 w 9809"/>
                <a:gd name="connsiteY107" fmla="*/ 1690 h 10000"/>
                <a:gd name="connsiteX108" fmla="*/ 9770 w 9809"/>
                <a:gd name="connsiteY108" fmla="*/ 1458 h 10000"/>
                <a:gd name="connsiteX109" fmla="*/ 9809 w 9809"/>
                <a:gd name="connsiteY109" fmla="*/ 1222 h 10000"/>
                <a:gd name="connsiteX110" fmla="*/ 6686 w 9809"/>
                <a:gd name="connsiteY110" fmla="*/ 1876 h 10000"/>
                <a:gd name="connsiteX111" fmla="*/ 4078 w 9809"/>
                <a:gd name="connsiteY111" fmla="*/ 0 h 10000"/>
                <a:gd name="connsiteX0" fmla="*/ 3916 w 9759"/>
                <a:gd name="connsiteY0" fmla="*/ 0 h 9995"/>
                <a:gd name="connsiteX1" fmla="*/ 3916 w 9759"/>
                <a:gd name="connsiteY1" fmla="*/ 0 h 9995"/>
                <a:gd name="connsiteX2" fmla="*/ 3905 w 9759"/>
                <a:gd name="connsiteY2" fmla="*/ 99 h 9995"/>
                <a:gd name="connsiteX3" fmla="*/ 3885 w 9759"/>
                <a:gd name="connsiteY3" fmla="*/ 201 h 9995"/>
                <a:gd name="connsiteX4" fmla="*/ 3868 w 9759"/>
                <a:gd name="connsiteY4" fmla="*/ 300 h 9995"/>
                <a:gd name="connsiteX5" fmla="*/ 3847 w 9759"/>
                <a:gd name="connsiteY5" fmla="*/ 394 h 9995"/>
                <a:gd name="connsiteX6" fmla="*/ 3823 w 9759"/>
                <a:gd name="connsiteY6" fmla="*/ 492 h 9995"/>
                <a:gd name="connsiteX7" fmla="*/ 3797 w 9759"/>
                <a:gd name="connsiteY7" fmla="*/ 587 h 9995"/>
                <a:gd name="connsiteX8" fmla="*/ 3774 w 9759"/>
                <a:gd name="connsiteY8" fmla="*/ 683 h 9995"/>
                <a:gd name="connsiteX9" fmla="*/ 3746 w 9759"/>
                <a:gd name="connsiteY9" fmla="*/ 778 h 9995"/>
                <a:gd name="connsiteX10" fmla="*/ 3715 w 9759"/>
                <a:gd name="connsiteY10" fmla="*/ 870 h 9995"/>
                <a:gd name="connsiteX11" fmla="*/ 3681 w 9759"/>
                <a:gd name="connsiteY11" fmla="*/ 961 h 9995"/>
                <a:gd name="connsiteX12" fmla="*/ 3650 w 9759"/>
                <a:gd name="connsiteY12" fmla="*/ 1053 h 9995"/>
                <a:gd name="connsiteX13" fmla="*/ 3613 w 9759"/>
                <a:gd name="connsiteY13" fmla="*/ 1145 h 9995"/>
                <a:gd name="connsiteX14" fmla="*/ 3572 w 9759"/>
                <a:gd name="connsiteY14" fmla="*/ 1232 h 9995"/>
                <a:gd name="connsiteX15" fmla="*/ 3533 w 9759"/>
                <a:gd name="connsiteY15" fmla="*/ 1318 h 9995"/>
                <a:gd name="connsiteX16" fmla="*/ 3493 w 9759"/>
                <a:gd name="connsiteY16" fmla="*/ 1405 h 9995"/>
                <a:gd name="connsiteX17" fmla="*/ 3446 w 9759"/>
                <a:gd name="connsiteY17" fmla="*/ 1495 h 9995"/>
                <a:gd name="connsiteX18" fmla="*/ 3405 w 9759"/>
                <a:gd name="connsiteY18" fmla="*/ 1579 h 9995"/>
                <a:gd name="connsiteX19" fmla="*/ 3358 w 9759"/>
                <a:gd name="connsiteY19" fmla="*/ 1664 h 9995"/>
                <a:gd name="connsiteX20" fmla="*/ 3309 w 9759"/>
                <a:gd name="connsiteY20" fmla="*/ 1741 h 9995"/>
                <a:gd name="connsiteX21" fmla="*/ 3256 w 9759"/>
                <a:gd name="connsiteY21" fmla="*/ 1823 h 9995"/>
                <a:gd name="connsiteX22" fmla="*/ 3209 w 9759"/>
                <a:gd name="connsiteY22" fmla="*/ 1902 h 9995"/>
                <a:gd name="connsiteX23" fmla="*/ 3154 w 9759"/>
                <a:gd name="connsiteY23" fmla="*/ 1986 h 9995"/>
                <a:gd name="connsiteX24" fmla="*/ 3098 w 9759"/>
                <a:gd name="connsiteY24" fmla="*/ 2059 h 9995"/>
                <a:gd name="connsiteX25" fmla="*/ 3039 w 9759"/>
                <a:gd name="connsiteY25" fmla="*/ 2133 h 9995"/>
                <a:gd name="connsiteX26" fmla="*/ 2980 w 9759"/>
                <a:gd name="connsiteY26" fmla="*/ 2210 h 9995"/>
                <a:gd name="connsiteX27" fmla="*/ 2922 w 9759"/>
                <a:gd name="connsiteY27" fmla="*/ 2282 h 9995"/>
                <a:gd name="connsiteX28" fmla="*/ 2859 w 9759"/>
                <a:gd name="connsiteY28" fmla="*/ 2354 h 9995"/>
                <a:gd name="connsiteX29" fmla="*/ 2797 w 9759"/>
                <a:gd name="connsiteY29" fmla="*/ 2427 h 9995"/>
                <a:gd name="connsiteX30" fmla="*/ 2735 w 9759"/>
                <a:gd name="connsiteY30" fmla="*/ 2495 h 9995"/>
                <a:gd name="connsiteX31" fmla="*/ 2666 w 9759"/>
                <a:gd name="connsiteY31" fmla="*/ 2562 h 9995"/>
                <a:gd name="connsiteX32" fmla="*/ 2601 w 9759"/>
                <a:gd name="connsiteY32" fmla="*/ 2627 h 9995"/>
                <a:gd name="connsiteX33" fmla="*/ 2531 w 9759"/>
                <a:gd name="connsiteY33" fmla="*/ 2691 h 9995"/>
                <a:gd name="connsiteX34" fmla="*/ 2465 w 9759"/>
                <a:gd name="connsiteY34" fmla="*/ 2754 h 9995"/>
                <a:gd name="connsiteX35" fmla="*/ 2389 w 9759"/>
                <a:gd name="connsiteY35" fmla="*/ 2818 h 9995"/>
                <a:gd name="connsiteX36" fmla="*/ 2319 w 9759"/>
                <a:gd name="connsiteY36" fmla="*/ 2873 h 9995"/>
                <a:gd name="connsiteX37" fmla="*/ 2245 w 9759"/>
                <a:gd name="connsiteY37" fmla="*/ 2934 h 9995"/>
                <a:gd name="connsiteX38" fmla="*/ 2169 w 9759"/>
                <a:gd name="connsiteY38" fmla="*/ 2989 h 9995"/>
                <a:gd name="connsiteX39" fmla="*/ 2092 w 9759"/>
                <a:gd name="connsiteY39" fmla="*/ 3042 h 9995"/>
                <a:gd name="connsiteX40" fmla="*/ 2015 w 9759"/>
                <a:gd name="connsiteY40" fmla="*/ 3097 h 9995"/>
                <a:gd name="connsiteX41" fmla="*/ 1939 w 9759"/>
                <a:gd name="connsiteY41" fmla="*/ 3149 h 9995"/>
                <a:gd name="connsiteX42" fmla="*/ 1858 w 9759"/>
                <a:gd name="connsiteY42" fmla="*/ 3196 h 9995"/>
                <a:gd name="connsiteX43" fmla="*/ 1776 w 9759"/>
                <a:gd name="connsiteY43" fmla="*/ 3243 h 9995"/>
                <a:gd name="connsiteX44" fmla="*/ 1926 w 9759"/>
                <a:gd name="connsiteY44" fmla="*/ 6578 h 9995"/>
                <a:gd name="connsiteX45" fmla="*/ 0 w 9759"/>
                <a:gd name="connsiteY45" fmla="*/ 9995 h 9995"/>
                <a:gd name="connsiteX46" fmla="*/ 230 w 9759"/>
                <a:gd name="connsiteY46" fmla="*/ 9989 h 9995"/>
                <a:gd name="connsiteX47" fmla="*/ 462 w 9759"/>
                <a:gd name="connsiteY47" fmla="*/ 9976 h 9995"/>
                <a:gd name="connsiteX48" fmla="*/ 690 w 9759"/>
                <a:gd name="connsiteY48" fmla="*/ 9954 h 9995"/>
                <a:gd name="connsiteX49" fmla="*/ 919 w 9759"/>
                <a:gd name="connsiteY49" fmla="*/ 9932 h 9995"/>
                <a:gd name="connsiteX50" fmla="*/ 1148 w 9759"/>
                <a:gd name="connsiteY50" fmla="*/ 9899 h 9995"/>
                <a:gd name="connsiteX51" fmla="*/ 1373 w 9759"/>
                <a:gd name="connsiteY51" fmla="*/ 9866 h 9995"/>
                <a:gd name="connsiteX52" fmla="*/ 1599 w 9759"/>
                <a:gd name="connsiteY52" fmla="*/ 9825 h 9995"/>
                <a:gd name="connsiteX53" fmla="*/ 1817 w 9759"/>
                <a:gd name="connsiteY53" fmla="*/ 9779 h 9995"/>
                <a:gd name="connsiteX54" fmla="*/ 2045 w 9759"/>
                <a:gd name="connsiteY54" fmla="*/ 9732 h 9995"/>
                <a:gd name="connsiteX55" fmla="*/ 2258 w 9759"/>
                <a:gd name="connsiteY55" fmla="*/ 9674 h 9995"/>
                <a:gd name="connsiteX56" fmla="*/ 2476 w 9759"/>
                <a:gd name="connsiteY56" fmla="*/ 9617 h 9995"/>
                <a:gd name="connsiteX57" fmla="*/ 2692 w 9759"/>
                <a:gd name="connsiteY57" fmla="*/ 9554 h 9995"/>
                <a:gd name="connsiteX58" fmla="*/ 2905 w 9759"/>
                <a:gd name="connsiteY58" fmla="*/ 9483 h 9995"/>
                <a:gd name="connsiteX59" fmla="*/ 3112 w 9759"/>
                <a:gd name="connsiteY59" fmla="*/ 9406 h 9995"/>
                <a:gd name="connsiteX60" fmla="*/ 3320 w 9759"/>
                <a:gd name="connsiteY60" fmla="*/ 9331 h 9995"/>
                <a:gd name="connsiteX61" fmla="*/ 3530 w 9759"/>
                <a:gd name="connsiteY61" fmla="*/ 9245 h 9995"/>
                <a:gd name="connsiteX62" fmla="*/ 3737 w 9759"/>
                <a:gd name="connsiteY62" fmla="*/ 9160 h 9995"/>
                <a:gd name="connsiteX63" fmla="*/ 3936 w 9759"/>
                <a:gd name="connsiteY63" fmla="*/ 9064 h 9995"/>
                <a:gd name="connsiteX64" fmla="*/ 4135 w 9759"/>
                <a:gd name="connsiteY64" fmla="*/ 8968 h 9995"/>
                <a:gd name="connsiteX65" fmla="*/ 4336 w 9759"/>
                <a:gd name="connsiteY65" fmla="*/ 8865 h 9995"/>
                <a:gd name="connsiteX66" fmla="*/ 4529 w 9759"/>
                <a:gd name="connsiteY66" fmla="*/ 8760 h 9995"/>
                <a:gd name="connsiteX67" fmla="*/ 4722 w 9759"/>
                <a:gd name="connsiteY67" fmla="*/ 8652 h 9995"/>
                <a:gd name="connsiteX68" fmla="*/ 4915 w 9759"/>
                <a:gd name="connsiteY68" fmla="*/ 8536 h 9995"/>
                <a:gd name="connsiteX69" fmla="*/ 5102 w 9759"/>
                <a:gd name="connsiteY69" fmla="*/ 8419 h 9995"/>
                <a:gd name="connsiteX70" fmla="*/ 5286 w 9759"/>
                <a:gd name="connsiteY70" fmla="*/ 8295 h 9995"/>
                <a:gd name="connsiteX71" fmla="*/ 5470 w 9759"/>
                <a:gd name="connsiteY71" fmla="*/ 8169 h 9995"/>
                <a:gd name="connsiteX72" fmla="*/ 5644 w 9759"/>
                <a:gd name="connsiteY72" fmla="*/ 8040 h 9995"/>
                <a:gd name="connsiteX73" fmla="*/ 5820 w 9759"/>
                <a:gd name="connsiteY73" fmla="*/ 7904 h 9995"/>
                <a:gd name="connsiteX74" fmla="*/ 5995 w 9759"/>
                <a:gd name="connsiteY74" fmla="*/ 7768 h 9995"/>
                <a:gd name="connsiteX75" fmla="*/ 6164 w 9759"/>
                <a:gd name="connsiteY75" fmla="*/ 7625 h 9995"/>
                <a:gd name="connsiteX76" fmla="*/ 6333 w 9759"/>
                <a:gd name="connsiteY76" fmla="*/ 7480 h 9995"/>
                <a:gd name="connsiteX77" fmla="*/ 6496 w 9759"/>
                <a:gd name="connsiteY77" fmla="*/ 7329 h 9995"/>
                <a:gd name="connsiteX78" fmla="*/ 6658 w 9759"/>
                <a:gd name="connsiteY78" fmla="*/ 7179 h 9995"/>
                <a:gd name="connsiteX79" fmla="*/ 6814 w 9759"/>
                <a:gd name="connsiteY79" fmla="*/ 7025 h 9995"/>
                <a:gd name="connsiteX80" fmla="*/ 6972 w 9759"/>
                <a:gd name="connsiteY80" fmla="*/ 6862 h 9995"/>
                <a:gd name="connsiteX81" fmla="*/ 7123 w 9759"/>
                <a:gd name="connsiteY81" fmla="*/ 6697 h 9995"/>
                <a:gd name="connsiteX82" fmla="*/ 7270 w 9759"/>
                <a:gd name="connsiteY82" fmla="*/ 6535 h 9995"/>
                <a:gd name="connsiteX83" fmla="*/ 7415 w 9759"/>
                <a:gd name="connsiteY83" fmla="*/ 6364 h 9995"/>
                <a:gd name="connsiteX84" fmla="*/ 7556 w 9759"/>
                <a:gd name="connsiteY84" fmla="*/ 6189 h 9995"/>
                <a:gd name="connsiteX85" fmla="*/ 7695 w 9759"/>
                <a:gd name="connsiteY85" fmla="*/ 6016 h 9995"/>
                <a:gd name="connsiteX86" fmla="*/ 7829 w 9759"/>
                <a:gd name="connsiteY86" fmla="*/ 5836 h 9995"/>
                <a:gd name="connsiteX87" fmla="*/ 7963 w 9759"/>
                <a:gd name="connsiteY87" fmla="*/ 5653 h 9995"/>
                <a:gd name="connsiteX88" fmla="*/ 8085 w 9759"/>
                <a:gd name="connsiteY88" fmla="*/ 5468 h 9995"/>
                <a:gd name="connsiteX89" fmla="*/ 8207 w 9759"/>
                <a:gd name="connsiteY89" fmla="*/ 5278 h 9995"/>
                <a:gd name="connsiteX90" fmla="*/ 8330 w 9759"/>
                <a:gd name="connsiteY90" fmla="*/ 5090 h 9995"/>
                <a:gd name="connsiteX91" fmla="*/ 8445 w 9759"/>
                <a:gd name="connsiteY91" fmla="*/ 4893 h 9995"/>
                <a:gd name="connsiteX92" fmla="*/ 8556 w 9759"/>
                <a:gd name="connsiteY92" fmla="*/ 4700 h 9995"/>
                <a:gd name="connsiteX93" fmla="*/ 8665 w 9759"/>
                <a:gd name="connsiteY93" fmla="*/ 4500 h 9995"/>
                <a:gd name="connsiteX94" fmla="*/ 8765 w 9759"/>
                <a:gd name="connsiteY94" fmla="*/ 4294 h 9995"/>
                <a:gd name="connsiteX95" fmla="*/ 8864 w 9759"/>
                <a:gd name="connsiteY95" fmla="*/ 4090 h 9995"/>
                <a:gd name="connsiteX96" fmla="*/ 8963 w 9759"/>
                <a:gd name="connsiteY96" fmla="*/ 3885 h 9995"/>
                <a:gd name="connsiteX97" fmla="*/ 9055 w 9759"/>
                <a:gd name="connsiteY97" fmla="*/ 3674 h 9995"/>
                <a:gd name="connsiteX98" fmla="*/ 9138 w 9759"/>
                <a:gd name="connsiteY98" fmla="*/ 3464 h 9995"/>
                <a:gd name="connsiteX99" fmla="*/ 9224 w 9759"/>
                <a:gd name="connsiteY99" fmla="*/ 3248 h 9995"/>
                <a:gd name="connsiteX100" fmla="*/ 9300 w 9759"/>
                <a:gd name="connsiteY100" fmla="*/ 3030 h 9995"/>
                <a:gd name="connsiteX101" fmla="*/ 9375 w 9759"/>
                <a:gd name="connsiteY101" fmla="*/ 2816 h 9995"/>
                <a:gd name="connsiteX102" fmla="*/ 9444 w 9759"/>
                <a:gd name="connsiteY102" fmla="*/ 2593 h 9995"/>
                <a:gd name="connsiteX103" fmla="*/ 9507 w 9759"/>
                <a:gd name="connsiteY103" fmla="*/ 2369 h 9995"/>
                <a:gd name="connsiteX104" fmla="*/ 9567 w 9759"/>
                <a:gd name="connsiteY104" fmla="*/ 2143 h 9995"/>
                <a:gd name="connsiteX105" fmla="*/ 9624 w 9759"/>
                <a:gd name="connsiteY105" fmla="*/ 1918 h 9995"/>
                <a:gd name="connsiteX106" fmla="*/ 9673 w 9759"/>
                <a:gd name="connsiteY106" fmla="*/ 1690 h 9995"/>
                <a:gd name="connsiteX107" fmla="*/ 9719 w 9759"/>
                <a:gd name="connsiteY107" fmla="*/ 1458 h 9995"/>
                <a:gd name="connsiteX108" fmla="*/ 9759 w 9759"/>
                <a:gd name="connsiteY108" fmla="*/ 1222 h 9995"/>
                <a:gd name="connsiteX109" fmla="*/ 6575 w 9759"/>
                <a:gd name="connsiteY109" fmla="*/ 1876 h 9995"/>
                <a:gd name="connsiteX110" fmla="*/ 3916 w 9759"/>
                <a:gd name="connsiteY110" fmla="*/ 0 h 9995"/>
                <a:gd name="connsiteX0" fmla="*/ 3777 w 9764"/>
                <a:gd name="connsiteY0" fmla="*/ 0 h 9994"/>
                <a:gd name="connsiteX1" fmla="*/ 3777 w 9764"/>
                <a:gd name="connsiteY1" fmla="*/ 0 h 9994"/>
                <a:gd name="connsiteX2" fmla="*/ 3765 w 9764"/>
                <a:gd name="connsiteY2" fmla="*/ 99 h 9994"/>
                <a:gd name="connsiteX3" fmla="*/ 3745 w 9764"/>
                <a:gd name="connsiteY3" fmla="*/ 201 h 9994"/>
                <a:gd name="connsiteX4" fmla="*/ 3728 w 9764"/>
                <a:gd name="connsiteY4" fmla="*/ 300 h 9994"/>
                <a:gd name="connsiteX5" fmla="*/ 3706 w 9764"/>
                <a:gd name="connsiteY5" fmla="*/ 394 h 9994"/>
                <a:gd name="connsiteX6" fmla="*/ 3681 w 9764"/>
                <a:gd name="connsiteY6" fmla="*/ 492 h 9994"/>
                <a:gd name="connsiteX7" fmla="*/ 3655 w 9764"/>
                <a:gd name="connsiteY7" fmla="*/ 587 h 9994"/>
                <a:gd name="connsiteX8" fmla="*/ 3631 w 9764"/>
                <a:gd name="connsiteY8" fmla="*/ 683 h 9994"/>
                <a:gd name="connsiteX9" fmla="*/ 3603 w 9764"/>
                <a:gd name="connsiteY9" fmla="*/ 778 h 9994"/>
                <a:gd name="connsiteX10" fmla="*/ 3571 w 9764"/>
                <a:gd name="connsiteY10" fmla="*/ 870 h 9994"/>
                <a:gd name="connsiteX11" fmla="*/ 3536 w 9764"/>
                <a:gd name="connsiteY11" fmla="*/ 961 h 9994"/>
                <a:gd name="connsiteX12" fmla="*/ 3504 w 9764"/>
                <a:gd name="connsiteY12" fmla="*/ 1054 h 9994"/>
                <a:gd name="connsiteX13" fmla="*/ 3466 w 9764"/>
                <a:gd name="connsiteY13" fmla="*/ 1146 h 9994"/>
                <a:gd name="connsiteX14" fmla="*/ 3424 w 9764"/>
                <a:gd name="connsiteY14" fmla="*/ 1233 h 9994"/>
                <a:gd name="connsiteX15" fmla="*/ 3384 w 9764"/>
                <a:gd name="connsiteY15" fmla="*/ 1319 h 9994"/>
                <a:gd name="connsiteX16" fmla="*/ 3343 w 9764"/>
                <a:gd name="connsiteY16" fmla="*/ 1406 h 9994"/>
                <a:gd name="connsiteX17" fmla="*/ 3295 w 9764"/>
                <a:gd name="connsiteY17" fmla="*/ 1496 h 9994"/>
                <a:gd name="connsiteX18" fmla="*/ 3253 w 9764"/>
                <a:gd name="connsiteY18" fmla="*/ 1580 h 9994"/>
                <a:gd name="connsiteX19" fmla="*/ 3205 w 9764"/>
                <a:gd name="connsiteY19" fmla="*/ 1665 h 9994"/>
                <a:gd name="connsiteX20" fmla="*/ 3155 w 9764"/>
                <a:gd name="connsiteY20" fmla="*/ 1742 h 9994"/>
                <a:gd name="connsiteX21" fmla="*/ 3100 w 9764"/>
                <a:gd name="connsiteY21" fmla="*/ 1824 h 9994"/>
                <a:gd name="connsiteX22" fmla="*/ 3052 w 9764"/>
                <a:gd name="connsiteY22" fmla="*/ 1903 h 9994"/>
                <a:gd name="connsiteX23" fmla="*/ 2996 w 9764"/>
                <a:gd name="connsiteY23" fmla="*/ 1987 h 9994"/>
                <a:gd name="connsiteX24" fmla="*/ 2939 w 9764"/>
                <a:gd name="connsiteY24" fmla="*/ 2060 h 9994"/>
                <a:gd name="connsiteX25" fmla="*/ 2878 w 9764"/>
                <a:gd name="connsiteY25" fmla="*/ 2134 h 9994"/>
                <a:gd name="connsiteX26" fmla="*/ 2818 w 9764"/>
                <a:gd name="connsiteY26" fmla="*/ 2211 h 9994"/>
                <a:gd name="connsiteX27" fmla="*/ 2758 w 9764"/>
                <a:gd name="connsiteY27" fmla="*/ 2283 h 9994"/>
                <a:gd name="connsiteX28" fmla="*/ 2694 w 9764"/>
                <a:gd name="connsiteY28" fmla="*/ 2355 h 9994"/>
                <a:gd name="connsiteX29" fmla="*/ 2630 w 9764"/>
                <a:gd name="connsiteY29" fmla="*/ 2428 h 9994"/>
                <a:gd name="connsiteX30" fmla="*/ 2567 w 9764"/>
                <a:gd name="connsiteY30" fmla="*/ 2496 h 9994"/>
                <a:gd name="connsiteX31" fmla="*/ 2496 w 9764"/>
                <a:gd name="connsiteY31" fmla="*/ 2563 h 9994"/>
                <a:gd name="connsiteX32" fmla="*/ 2429 w 9764"/>
                <a:gd name="connsiteY32" fmla="*/ 2628 h 9994"/>
                <a:gd name="connsiteX33" fmla="*/ 2358 w 9764"/>
                <a:gd name="connsiteY33" fmla="*/ 2692 h 9994"/>
                <a:gd name="connsiteX34" fmla="*/ 2290 w 9764"/>
                <a:gd name="connsiteY34" fmla="*/ 2755 h 9994"/>
                <a:gd name="connsiteX35" fmla="*/ 2212 w 9764"/>
                <a:gd name="connsiteY35" fmla="*/ 2819 h 9994"/>
                <a:gd name="connsiteX36" fmla="*/ 2140 w 9764"/>
                <a:gd name="connsiteY36" fmla="*/ 2874 h 9994"/>
                <a:gd name="connsiteX37" fmla="*/ 2064 w 9764"/>
                <a:gd name="connsiteY37" fmla="*/ 2935 h 9994"/>
                <a:gd name="connsiteX38" fmla="*/ 1987 w 9764"/>
                <a:gd name="connsiteY38" fmla="*/ 2990 h 9994"/>
                <a:gd name="connsiteX39" fmla="*/ 1908 w 9764"/>
                <a:gd name="connsiteY39" fmla="*/ 3044 h 9994"/>
                <a:gd name="connsiteX40" fmla="*/ 1829 w 9764"/>
                <a:gd name="connsiteY40" fmla="*/ 3099 h 9994"/>
                <a:gd name="connsiteX41" fmla="*/ 1751 w 9764"/>
                <a:gd name="connsiteY41" fmla="*/ 3151 h 9994"/>
                <a:gd name="connsiteX42" fmla="*/ 1668 w 9764"/>
                <a:gd name="connsiteY42" fmla="*/ 3198 h 9994"/>
                <a:gd name="connsiteX43" fmla="*/ 1584 w 9764"/>
                <a:gd name="connsiteY43" fmla="*/ 3245 h 9994"/>
                <a:gd name="connsiteX44" fmla="*/ 1738 w 9764"/>
                <a:gd name="connsiteY44" fmla="*/ 6581 h 9994"/>
                <a:gd name="connsiteX45" fmla="*/ 0 w 9764"/>
                <a:gd name="connsiteY45" fmla="*/ 9994 h 9994"/>
                <a:gd name="connsiteX46" fmla="*/ 237 w 9764"/>
                <a:gd name="connsiteY46" fmla="*/ 9981 h 9994"/>
                <a:gd name="connsiteX47" fmla="*/ 471 w 9764"/>
                <a:gd name="connsiteY47" fmla="*/ 9959 h 9994"/>
                <a:gd name="connsiteX48" fmla="*/ 706 w 9764"/>
                <a:gd name="connsiteY48" fmla="*/ 9937 h 9994"/>
                <a:gd name="connsiteX49" fmla="*/ 940 w 9764"/>
                <a:gd name="connsiteY49" fmla="*/ 9904 h 9994"/>
                <a:gd name="connsiteX50" fmla="*/ 1171 w 9764"/>
                <a:gd name="connsiteY50" fmla="*/ 9871 h 9994"/>
                <a:gd name="connsiteX51" fmla="*/ 1402 w 9764"/>
                <a:gd name="connsiteY51" fmla="*/ 9830 h 9994"/>
                <a:gd name="connsiteX52" fmla="*/ 1626 w 9764"/>
                <a:gd name="connsiteY52" fmla="*/ 9784 h 9994"/>
                <a:gd name="connsiteX53" fmla="*/ 1860 w 9764"/>
                <a:gd name="connsiteY53" fmla="*/ 9737 h 9994"/>
                <a:gd name="connsiteX54" fmla="*/ 2078 w 9764"/>
                <a:gd name="connsiteY54" fmla="*/ 9679 h 9994"/>
                <a:gd name="connsiteX55" fmla="*/ 2301 w 9764"/>
                <a:gd name="connsiteY55" fmla="*/ 9622 h 9994"/>
                <a:gd name="connsiteX56" fmla="*/ 2522 w 9764"/>
                <a:gd name="connsiteY56" fmla="*/ 9559 h 9994"/>
                <a:gd name="connsiteX57" fmla="*/ 2741 w 9764"/>
                <a:gd name="connsiteY57" fmla="*/ 9488 h 9994"/>
                <a:gd name="connsiteX58" fmla="*/ 2953 w 9764"/>
                <a:gd name="connsiteY58" fmla="*/ 9411 h 9994"/>
                <a:gd name="connsiteX59" fmla="*/ 3166 w 9764"/>
                <a:gd name="connsiteY59" fmla="*/ 9336 h 9994"/>
                <a:gd name="connsiteX60" fmla="*/ 3381 w 9764"/>
                <a:gd name="connsiteY60" fmla="*/ 9250 h 9994"/>
                <a:gd name="connsiteX61" fmla="*/ 3593 w 9764"/>
                <a:gd name="connsiteY61" fmla="*/ 9165 h 9994"/>
                <a:gd name="connsiteX62" fmla="*/ 3797 w 9764"/>
                <a:gd name="connsiteY62" fmla="*/ 9069 h 9994"/>
                <a:gd name="connsiteX63" fmla="*/ 4001 w 9764"/>
                <a:gd name="connsiteY63" fmla="*/ 8972 h 9994"/>
                <a:gd name="connsiteX64" fmla="*/ 4207 w 9764"/>
                <a:gd name="connsiteY64" fmla="*/ 8869 h 9994"/>
                <a:gd name="connsiteX65" fmla="*/ 4405 w 9764"/>
                <a:gd name="connsiteY65" fmla="*/ 8764 h 9994"/>
                <a:gd name="connsiteX66" fmla="*/ 4603 w 9764"/>
                <a:gd name="connsiteY66" fmla="*/ 8656 h 9994"/>
                <a:gd name="connsiteX67" fmla="*/ 4800 w 9764"/>
                <a:gd name="connsiteY67" fmla="*/ 8540 h 9994"/>
                <a:gd name="connsiteX68" fmla="*/ 4992 w 9764"/>
                <a:gd name="connsiteY68" fmla="*/ 8423 h 9994"/>
                <a:gd name="connsiteX69" fmla="*/ 5181 w 9764"/>
                <a:gd name="connsiteY69" fmla="*/ 8299 h 9994"/>
                <a:gd name="connsiteX70" fmla="*/ 5369 w 9764"/>
                <a:gd name="connsiteY70" fmla="*/ 8173 h 9994"/>
                <a:gd name="connsiteX71" fmla="*/ 5547 w 9764"/>
                <a:gd name="connsiteY71" fmla="*/ 8044 h 9994"/>
                <a:gd name="connsiteX72" fmla="*/ 5728 w 9764"/>
                <a:gd name="connsiteY72" fmla="*/ 7908 h 9994"/>
                <a:gd name="connsiteX73" fmla="*/ 5907 w 9764"/>
                <a:gd name="connsiteY73" fmla="*/ 7772 h 9994"/>
                <a:gd name="connsiteX74" fmla="*/ 6080 w 9764"/>
                <a:gd name="connsiteY74" fmla="*/ 7629 h 9994"/>
                <a:gd name="connsiteX75" fmla="*/ 6253 w 9764"/>
                <a:gd name="connsiteY75" fmla="*/ 7484 h 9994"/>
                <a:gd name="connsiteX76" fmla="*/ 6420 w 9764"/>
                <a:gd name="connsiteY76" fmla="*/ 7333 h 9994"/>
                <a:gd name="connsiteX77" fmla="*/ 6586 w 9764"/>
                <a:gd name="connsiteY77" fmla="*/ 7183 h 9994"/>
                <a:gd name="connsiteX78" fmla="*/ 6746 w 9764"/>
                <a:gd name="connsiteY78" fmla="*/ 7029 h 9994"/>
                <a:gd name="connsiteX79" fmla="*/ 6908 w 9764"/>
                <a:gd name="connsiteY79" fmla="*/ 6865 h 9994"/>
                <a:gd name="connsiteX80" fmla="*/ 7063 w 9764"/>
                <a:gd name="connsiteY80" fmla="*/ 6700 h 9994"/>
                <a:gd name="connsiteX81" fmla="*/ 7214 w 9764"/>
                <a:gd name="connsiteY81" fmla="*/ 6538 h 9994"/>
                <a:gd name="connsiteX82" fmla="*/ 7362 w 9764"/>
                <a:gd name="connsiteY82" fmla="*/ 6367 h 9994"/>
                <a:gd name="connsiteX83" fmla="*/ 7507 w 9764"/>
                <a:gd name="connsiteY83" fmla="*/ 6192 h 9994"/>
                <a:gd name="connsiteX84" fmla="*/ 7649 w 9764"/>
                <a:gd name="connsiteY84" fmla="*/ 6019 h 9994"/>
                <a:gd name="connsiteX85" fmla="*/ 7786 w 9764"/>
                <a:gd name="connsiteY85" fmla="*/ 5839 h 9994"/>
                <a:gd name="connsiteX86" fmla="*/ 7924 w 9764"/>
                <a:gd name="connsiteY86" fmla="*/ 5656 h 9994"/>
                <a:gd name="connsiteX87" fmla="*/ 8049 w 9764"/>
                <a:gd name="connsiteY87" fmla="*/ 5471 h 9994"/>
                <a:gd name="connsiteX88" fmla="*/ 8174 w 9764"/>
                <a:gd name="connsiteY88" fmla="*/ 5281 h 9994"/>
                <a:gd name="connsiteX89" fmla="*/ 8300 w 9764"/>
                <a:gd name="connsiteY89" fmla="*/ 5093 h 9994"/>
                <a:gd name="connsiteX90" fmla="*/ 8418 w 9764"/>
                <a:gd name="connsiteY90" fmla="*/ 4895 h 9994"/>
                <a:gd name="connsiteX91" fmla="*/ 8531 w 9764"/>
                <a:gd name="connsiteY91" fmla="*/ 4702 h 9994"/>
                <a:gd name="connsiteX92" fmla="*/ 8643 w 9764"/>
                <a:gd name="connsiteY92" fmla="*/ 4502 h 9994"/>
                <a:gd name="connsiteX93" fmla="*/ 8745 w 9764"/>
                <a:gd name="connsiteY93" fmla="*/ 4296 h 9994"/>
                <a:gd name="connsiteX94" fmla="*/ 8847 w 9764"/>
                <a:gd name="connsiteY94" fmla="*/ 4092 h 9994"/>
                <a:gd name="connsiteX95" fmla="*/ 8948 w 9764"/>
                <a:gd name="connsiteY95" fmla="*/ 3887 h 9994"/>
                <a:gd name="connsiteX96" fmla="*/ 9043 w 9764"/>
                <a:gd name="connsiteY96" fmla="*/ 3676 h 9994"/>
                <a:gd name="connsiteX97" fmla="*/ 9128 w 9764"/>
                <a:gd name="connsiteY97" fmla="*/ 3466 h 9994"/>
                <a:gd name="connsiteX98" fmla="*/ 9216 w 9764"/>
                <a:gd name="connsiteY98" fmla="*/ 3250 h 9994"/>
                <a:gd name="connsiteX99" fmla="*/ 9294 w 9764"/>
                <a:gd name="connsiteY99" fmla="*/ 3032 h 9994"/>
                <a:gd name="connsiteX100" fmla="*/ 9371 w 9764"/>
                <a:gd name="connsiteY100" fmla="*/ 2817 h 9994"/>
                <a:gd name="connsiteX101" fmla="*/ 9441 w 9764"/>
                <a:gd name="connsiteY101" fmla="*/ 2594 h 9994"/>
                <a:gd name="connsiteX102" fmla="*/ 9506 w 9764"/>
                <a:gd name="connsiteY102" fmla="*/ 2370 h 9994"/>
                <a:gd name="connsiteX103" fmla="*/ 9567 w 9764"/>
                <a:gd name="connsiteY103" fmla="*/ 2144 h 9994"/>
                <a:gd name="connsiteX104" fmla="*/ 9626 w 9764"/>
                <a:gd name="connsiteY104" fmla="*/ 1919 h 9994"/>
                <a:gd name="connsiteX105" fmla="*/ 9676 w 9764"/>
                <a:gd name="connsiteY105" fmla="*/ 1691 h 9994"/>
                <a:gd name="connsiteX106" fmla="*/ 9723 w 9764"/>
                <a:gd name="connsiteY106" fmla="*/ 1459 h 9994"/>
                <a:gd name="connsiteX107" fmla="*/ 9764 w 9764"/>
                <a:gd name="connsiteY107" fmla="*/ 1223 h 9994"/>
                <a:gd name="connsiteX108" fmla="*/ 6501 w 9764"/>
                <a:gd name="connsiteY108" fmla="*/ 1877 h 9994"/>
                <a:gd name="connsiteX109" fmla="*/ 3777 w 9764"/>
                <a:gd name="connsiteY109" fmla="*/ 0 h 9994"/>
                <a:gd name="connsiteX0" fmla="*/ 3692 w 9824"/>
                <a:gd name="connsiteY0" fmla="*/ 0 h 10233"/>
                <a:gd name="connsiteX1" fmla="*/ 3692 w 9824"/>
                <a:gd name="connsiteY1" fmla="*/ 0 h 10233"/>
                <a:gd name="connsiteX2" fmla="*/ 3680 w 9824"/>
                <a:gd name="connsiteY2" fmla="*/ 99 h 10233"/>
                <a:gd name="connsiteX3" fmla="*/ 3660 w 9824"/>
                <a:gd name="connsiteY3" fmla="*/ 201 h 10233"/>
                <a:gd name="connsiteX4" fmla="*/ 3642 w 9824"/>
                <a:gd name="connsiteY4" fmla="*/ 300 h 10233"/>
                <a:gd name="connsiteX5" fmla="*/ 3620 w 9824"/>
                <a:gd name="connsiteY5" fmla="*/ 394 h 10233"/>
                <a:gd name="connsiteX6" fmla="*/ 3594 w 9824"/>
                <a:gd name="connsiteY6" fmla="*/ 492 h 10233"/>
                <a:gd name="connsiteX7" fmla="*/ 3567 w 9824"/>
                <a:gd name="connsiteY7" fmla="*/ 587 h 10233"/>
                <a:gd name="connsiteX8" fmla="*/ 3543 w 9824"/>
                <a:gd name="connsiteY8" fmla="*/ 683 h 10233"/>
                <a:gd name="connsiteX9" fmla="*/ 3514 w 9824"/>
                <a:gd name="connsiteY9" fmla="*/ 778 h 10233"/>
                <a:gd name="connsiteX10" fmla="*/ 3481 w 9824"/>
                <a:gd name="connsiteY10" fmla="*/ 871 h 10233"/>
                <a:gd name="connsiteX11" fmla="*/ 3445 w 9824"/>
                <a:gd name="connsiteY11" fmla="*/ 962 h 10233"/>
                <a:gd name="connsiteX12" fmla="*/ 3413 w 9824"/>
                <a:gd name="connsiteY12" fmla="*/ 1055 h 10233"/>
                <a:gd name="connsiteX13" fmla="*/ 3374 w 9824"/>
                <a:gd name="connsiteY13" fmla="*/ 1147 h 10233"/>
                <a:gd name="connsiteX14" fmla="*/ 3331 w 9824"/>
                <a:gd name="connsiteY14" fmla="*/ 1234 h 10233"/>
                <a:gd name="connsiteX15" fmla="*/ 3290 w 9824"/>
                <a:gd name="connsiteY15" fmla="*/ 1320 h 10233"/>
                <a:gd name="connsiteX16" fmla="*/ 3248 w 9824"/>
                <a:gd name="connsiteY16" fmla="*/ 1407 h 10233"/>
                <a:gd name="connsiteX17" fmla="*/ 3199 w 9824"/>
                <a:gd name="connsiteY17" fmla="*/ 1497 h 10233"/>
                <a:gd name="connsiteX18" fmla="*/ 3156 w 9824"/>
                <a:gd name="connsiteY18" fmla="*/ 1581 h 10233"/>
                <a:gd name="connsiteX19" fmla="*/ 3106 w 9824"/>
                <a:gd name="connsiteY19" fmla="*/ 1666 h 10233"/>
                <a:gd name="connsiteX20" fmla="*/ 3055 w 9824"/>
                <a:gd name="connsiteY20" fmla="*/ 1743 h 10233"/>
                <a:gd name="connsiteX21" fmla="*/ 2999 w 9824"/>
                <a:gd name="connsiteY21" fmla="*/ 1825 h 10233"/>
                <a:gd name="connsiteX22" fmla="*/ 2950 w 9824"/>
                <a:gd name="connsiteY22" fmla="*/ 1904 h 10233"/>
                <a:gd name="connsiteX23" fmla="*/ 2892 w 9824"/>
                <a:gd name="connsiteY23" fmla="*/ 1988 h 10233"/>
                <a:gd name="connsiteX24" fmla="*/ 2834 w 9824"/>
                <a:gd name="connsiteY24" fmla="*/ 2061 h 10233"/>
                <a:gd name="connsiteX25" fmla="*/ 2772 w 9824"/>
                <a:gd name="connsiteY25" fmla="*/ 2135 h 10233"/>
                <a:gd name="connsiteX26" fmla="*/ 2710 w 9824"/>
                <a:gd name="connsiteY26" fmla="*/ 2212 h 10233"/>
                <a:gd name="connsiteX27" fmla="*/ 2649 w 9824"/>
                <a:gd name="connsiteY27" fmla="*/ 2284 h 10233"/>
                <a:gd name="connsiteX28" fmla="*/ 2583 w 9824"/>
                <a:gd name="connsiteY28" fmla="*/ 2356 h 10233"/>
                <a:gd name="connsiteX29" fmla="*/ 2518 w 9824"/>
                <a:gd name="connsiteY29" fmla="*/ 2429 h 10233"/>
                <a:gd name="connsiteX30" fmla="*/ 2453 w 9824"/>
                <a:gd name="connsiteY30" fmla="*/ 2497 h 10233"/>
                <a:gd name="connsiteX31" fmla="*/ 2380 w 9824"/>
                <a:gd name="connsiteY31" fmla="*/ 2565 h 10233"/>
                <a:gd name="connsiteX32" fmla="*/ 2312 w 9824"/>
                <a:gd name="connsiteY32" fmla="*/ 2630 h 10233"/>
                <a:gd name="connsiteX33" fmla="*/ 2239 w 9824"/>
                <a:gd name="connsiteY33" fmla="*/ 2694 h 10233"/>
                <a:gd name="connsiteX34" fmla="*/ 2169 w 9824"/>
                <a:gd name="connsiteY34" fmla="*/ 2757 h 10233"/>
                <a:gd name="connsiteX35" fmla="*/ 2089 w 9824"/>
                <a:gd name="connsiteY35" fmla="*/ 2821 h 10233"/>
                <a:gd name="connsiteX36" fmla="*/ 2016 w 9824"/>
                <a:gd name="connsiteY36" fmla="*/ 2876 h 10233"/>
                <a:gd name="connsiteX37" fmla="*/ 1938 w 9824"/>
                <a:gd name="connsiteY37" fmla="*/ 2937 h 10233"/>
                <a:gd name="connsiteX38" fmla="*/ 1859 w 9824"/>
                <a:gd name="connsiteY38" fmla="*/ 2992 h 10233"/>
                <a:gd name="connsiteX39" fmla="*/ 1778 w 9824"/>
                <a:gd name="connsiteY39" fmla="*/ 3046 h 10233"/>
                <a:gd name="connsiteX40" fmla="*/ 1697 w 9824"/>
                <a:gd name="connsiteY40" fmla="*/ 3101 h 10233"/>
                <a:gd name="connsiteX41" fmla="*/ 1617 w 9824"/>
                <a:gd name="connsiteY41" fmla="*/ 3153 h 10233"/>
                <a:gd name="connsiteX42" fmla="*/ 1532 w 9824"/>
                <a:gd name="connsiteY42" fmla="*/ 3200 h 10233"/>
                <a:gd name="connsiteX43" fmla="*/ 1446 w 9824"/>
                <a:gd name="connsiteY43" fmla="*/ 3247 h 10233"/>
                <a:gd name="connsiteX44" fmla="*/ 1604 w 9824"/>
                <a:gd name="connsiteY44" fmla="*/ 6585 h 10233"/>
                <a:gd name="connsiteX45" fmla="*/ 67 w 9824"/>
                <a:gd name="connsiteY45" fmla="*/ 9987 h 10233"/>
                <a:gd name="connsiteX46" fmla="*/ 306 w 9824"/>
                <a:gd name="connsiteY46" fmla="*/ 9965 h 10233"/>
                <a:gd name="connsiteX47" fmla="*/ 547 w 9824"/>
                <a:gd name="connsiteY47" fmla="*/ 9943 h 10233"/>
                <a:gd name="connsiteX48" fmla="*/ 787 w 9824"/>
                <a:gd name="connsiteY48" fmla="*/ 9910 h 10233"/>
                <a:gd name="connsiteX49" fmla="*/ 1023 w 9824"/>
                <a:gd name="connsiteY49" fmla="*/ 9877 h 10233"/>
                <a:gd name="connsiteX50" fmla="*/ 1260 w 9824"/>
                <a:gd name="connsiteY50" fmla="*/ 9836 h 10233"/>
                <a:gd name="connsiteX51" fmla="*/ 1489 w 9824"/>
                <a:gd name="connsiteY51" fmla="*/ 9790 h 10233"/>
                <a:gd name="connsiteX52" fmla="*/ 1729 w 9824"/>
                <a:gd name="connsiteY52" fmla="*/ 9743 h 10233"/>
                <a:gd name="connsiteX53" fmla="*/ 1952 w 9824"/>
                <a:gd name="connsiteY53" fmla="*/ 9685 h 10233"/>
                <a:gd name="connsiteX54" fmla="*/ 2181 w 9824"/>
                <a:gd name="connsiteY54" fmla="*/ 9628 h 10233"/>
                <a:gd name="connsiteX55" fmla="*/ 2407 w 9824"/>
                <a:gd name="connsiteY55" fmla="*/ 9565 h 10233"/>
                <a:gd name="connsiteX56" fmla="*/ 2631 w 9824"/>
                <a:gd name="connsiteY56" fmla="*/ 9494 h 10233"/>
                <a:gd name="connsiteX57" fmla="*/ 2848 w 9824"/>
                <a:gd name="connsiteY57" fmla="*/ 9417 h 10233"/>
                <a:gd name="connsiteX58" fmla="*/ 3067 w 9824"/>
                <a:gd name="connsiteY58" fmla="*/ 9342 h 10233"/>
                <a:gd name="connsiteX59" fmla="*/ 3287 w 9824"/>
                <a:gd name="connsiteY59" fmla="*/ 9256 h 10233"/>
                <a:gd name="connsiteX60" fmla="*/ 3504 w 9824"/>
                <a:gd name="connsiteY60" fmla="*/ 9171 h 10233"/>
                <a:gd name="connsiteX61" fmla="*/ 3713 w 9824"/>
                <a:gd name="connsiteY61" fmla="*/ 9074 h 10233"/>
                <a:gd name="connsiteX62" fmla="*/ 3922 w 9824"/>
                <a:gd name="connsiteY62" fmla="*/ 8977 h 10233"/>
                <a:gd name="connsiteX63" fmla="*/ 4133 w 9824"/>
                <a:gd name="connsiteY63" fmla="*/ 8874 h 10233"/>
                <a:gd name="connsiteX64" fmla="*/ 4335 w 9824"/>
                <a:gd name="connsiteY64" fmla="*/ 8769 h 10233"/>
                <a:gd name="connsiteX65" fmla="*/ 4538 w 9824"/>
                <a:gd name="connsiteY65" fmla="*/ 8661 h 10233"/>
                <a:gd name="connsiteX66" fmla="*/ 4740 w 9824"/>
                <a:gd name="connsiteY66" fmla="*/ 8545 h 10233"/>
                <a:gd name="connsiteX67" fmla="*/ 4937 w 9824"/>
                <a:gd name="connsiteY67" fmla="*/ 8428 h 10233"/>
                <a:gd name="connsiteX68" fmla="*/ 5130 w 9824"/>
                <a:gd name="connsiteY68" fmla="*/ 8304 h 10233"/>
                <a:gd name="connsiteX69" fmla="*/ 5323 w 9824"/>
                <a:gd name="connsiteY69" fmla="*/ 8178 h 10233"/>
                <a:gd name="connsiteX70" fmla="*/ 5505 w 9824"/>
                <a:gd name="connsiteY70" fmla="*/ 8049 h 10233"/>
                <a:gd name="connsiteX71" fmla="*/ 5690 w 9824"/>
                <a:gd name="connsiteY71" fmla="*/ 7913 h 10233"/>
                <a:gd name="connsiteX72" fmla="*/ 5874 w 9824"/>
                <a:gd name="connsiteY72" fmla="*/ 7777 h 10233"/>
                <a:gd name="connsiteX73" fmla="*/ 6051 w 9824"/>
                <a:gd name="connsiteY73" fmla="*/ 7634 h 10233"/>
                <a:gd name="connsiteX74" fmla="*/ 6228 w 9824"/>
                <a:gd name="connsiteY74" fmla="*/ 7488 h 10233"/>
                <a:gd name="connsiteX75" fmla="*/ 6399 w 9824"/>
                <a:gd name="connsiteY75" fmla="*/ 7337 h 10233"/>
                <a:gd name="connsiteX76" fmla="*/ 6569 w 9824"/>
                <a:gd name="connsiteY76" fmla="*/ 7187 h 10233"/>
                <a:gd name="connsiteX77" fmla="*/ 6733 w 9824"/>
                <a:gd name="connsiteY77" fmla="*/ 7033 h 10233"/>
                <a:gd name="connsiteX78" fmla="*/ 6899 w 9824"/>
                <a:gd name="connsiteY78" fmla="*/ 6869 h 10233"/>
                <a:gd name="connsiteX79" fmla="*/ 7058 w 9824"/>
                <a:gd name="connsiteY79" fmla="*/ 6704 h 10233"/>
                <a:gd name="connsiteX80" fmla="*/ 7212 w 9824"/>
                <a:gd name="connsiteY80" fmla="*/ 6542 h 10233"/>
                <a:gd name="connsiteX81" fmla="*/ 7364 w 9824"/>
                <a:gd name="connsiteY81" fmla="*/ 6371 h 10233"/>
                <a:gd name="connsiteX82" fmla="*/ 7512 w 9824"/>
                <a:gd name="connsiteY82" fmla="*/ 6196 h 10233"/>
                <a:gd name="connsiteX83" fmla="*/ 7658 w 9824"/>
                <a:gd name="connsiteY83" fmla="*/ 6023 h 10233"/>
                <a:gd name="connsiteX84" fmla="*/ 7798 w 9824"/>
                <a:gd name="connsiteY84" fmla="*/ 5843 h 10233"/>
                <a:gd name="connsiteX85" fmla="*/ 7940 w 9824"/>
                <a:gd name="connsiteY85" fmla="*/ 5659 h 10233"/>
                <a:gd name="connsiteX86" fmla="*/ 8068 w 9824"/>
                <a:gd name="connsiteY86" fmla="*/ 5474 h 10233"/>
                <a:gd name="connsiteX87" fmla="*/ 8196 w 9824"/>
                <a:gd name="connsiteY87" fmla="*/ 5284 h 10233"/>
                <a:gd name="connsiteX88" fmla="*/ 8325 w 9824"/>
                <a:gd name="connsiteY88" fmla="*/ 5096 h 10233"/>
                <a:gd name="connsiteX89" fmla="*/ 8445 w 9824"/>
                <a:gd name="connsiteY89" fmla="*/ 4898 h 10233"/>
                <a:gd name="connsiteX90" fmla="*/ 8561 w 9824"/>
                <a:gd name="connsiteY90" fmla="*/ 4705 h 10233"/>
                <a:gd name="connsiteX91" fmla="*/ 8676 w 9824"/>
                <a:gd name="connsiteY91" fmla="*/ 4505 h 10233"/>
                <a:gd name="connsiteX92" fmla="*/ 8780 w 9824"/>
                <a:gd name="connsiteY92" fmla="*/ 4299 h 10233"/>
                <a:gd name="connsiteX93" fmla="*/ 8885 w 9824"/>
                <a:gd name="connsiteY93" fmla="*/ 4094 h 10233"/>
                <a:gd name="connsiteX94" fmla="*/ 8988 w 9824"/>
                <a:gd name="connsiteY94" fmla="*/ 3889 h 10233"/>
                <a:gd name="connsiteX95" fmla="*/ 9086 w 9824"/>
                <a:gd name="connsiteY95" fmla="*/ 3678 h 10233"/>
                <a:gd name="connsiteX96" fmla="*/ 9173 w 9824"/>
                <a:gd name="connsiteY96" fmla="*/ 3468 h 10233"/>
                <a:gd name="connsiteX97" fmla="*/ 9263 w 9824"/>
                <a:gd name="connsiteY97" fmla="*/ 3252 h 10233"/>
                <a:gd name="connsiteX98" fmla="*/ 9343 w 9824"/>
                <a:gd name="connsiteY98" fmla="*/ 3034 h 10233"/>
                <a:gd name="connsiteX99" fmla="*/ 9422 w 9824"/>
                <a:gd name="connsiteY99" fmla="*/ 2819 h 10233"/>
                <a:gd name="connsiteX100" fmla="*/ 9493 w 9824"/>
                <a:gd name="connsiteY100" fmla="*/ 2596 h 10233"/>
                <a:gd name="connsiteX101" fmla="*/ 9560 w 9824"/>
                <a:gd name="connsiteY101" fmla="*/ 2371 h 10233"/>
                <a:gd name="connsiteX102" fmla="*/ 9622 w 9824"/>
                <a:gd name="connsiteY102" fmla="*/ 2145 h 10233"/>
                <a:gd name="connsiteX103" fmla="*/ 9683 w 9824"/>
                <a:gd name="connsiteY103" fmla="*/ 1920 h 10233"/>
                <a:gd name="connsiteX104" fmla="*/ 9734 w 9824"/>
                <a:gd name="connsiteY104" fmla="*/ 1692 h 10233"/>
                <a:gd name="connsiteX105" fmla="*/ 9782 w 9824"/>
                <a:gd name="connsiteY105" fmla="*/ 1460 h 10233"/>
                <a:gd name="connsiteX106" fmla="*/ 9824 w 9824"/>
                <a:gd name="connsiteY106" fmla="*/ 1224 h 10233"/>
                <a:gd name="connsiteX107" fmla="*/ 6482 w 9824"/>
                <a:gd name="connsiteY107" fmla="*/ 1878 h 10233"/>
                <a:gd name="connsiteX108" fmla="*/ 3692 w 9824"/>
                <a:gd name="connsiteY108" fmla="*/ 0 h 10233"/>
                <a:gd name="connsiteX0" fmla="*/ 3447 w 9689"/>
                <a:gd name="connsiteY0" fmla="*/ 0 h 9738"/>
                <a:gd name="connsiteX1" fmla="*/ 3447 w 9689"/>
                <a:gd name="connsiteY1" fmla="*/ 0 h 9738"/>
                <a:gd name="connsiteX2" fmla="*/ 3435 w 9689"/>
                <a:gd name="connsiteY2" fmla="*/ 97 h 9738"/>
                <a:gd name="connsiteX3" fmla="*/ 3415 w 9689"/>
                <a:gd name="connsiteY3" fmla="*/ 196 h 9738"/>
                <a:gd name="connsiteX4" fmla="*/ 3396 w 9689"/>
                <a:gd name="connsiteY4" fmla="*/ 293 h 9738"/>
                <a:gd name="connsiteX5" fmla="*/ 3374 w 9689"/>
                <a:gd name="connsiteY5" fmla="*/ 385 h 9738"/>
                <a:gd name="connsiteX6" fmla="*/ 3347 w 9689"/>
                <a:gd name="connsiteY6" fmla="*/ 481 h 9738"/>
                <a:gd name="connsiteX7" fmla="*/ 3320 w 9689"/>
                <a:gd name="connsiteY7" fmla="*/ 574 h 9738"/>
                <a:gd name="connsiteX8" fmla="*/ 3295 w 9689"/>
                <a:gd name="connsiteY8" fmla="*/ 667 h 9738"/>
                <a:gd name="connsiteX9" fmla="*/ 3266 w 9689"/>
                <a:gd name="connsiteY9" fmla="*/ 760 h 9738"/>
                <a:gd name="connsiteX10" fmla="*/ 3232 w 9689"/>
                <a:gd name="connsiteY10" fmla="*/ 851 h 9738"/>
                <a:gd name="connsiteX11" fmla="*/ 3196 w 9689"/>
                <a:gd name="connsiteY11" fmla="*/ 940 h 9738"/>
                <a:gd name="connsiteX12" fmla="*/ 3163 w 9689"/>
                <a:gd name="connsiteY12" fmla="*/ 1031 h 9738"/>
                <a:gd name="connsiteX13" fmla="*/ 3123 w 9689"/>
                <a:gd name="connsiteY13" fmla="*/ 1121 h 9738"/>
                <a:gd name="connsiteX14" fmla="*/ 3080 w 9689"/>
                <a:gd name="connsiteY14" fmla="*/ 1206 h 9738"/>
                <a:gd name="connsiteX15" fmla="*/ 3038 w 9689"/>
                <a:gd name="connsiteY15" fmla="*/ 1290 h 9738"/>
                <a:gd name="connsiteX16" fmla="*/ 2995 w 9689"/>
                <a:gd name="connsiteY16" fmla="*/ 1375 h 9738"/>
                <a:gd name="connsiteX17" fmla="*/ 2945 w 9689"/>
                <a:gd name="connsiteY17" fmla="*/ 1463 h 9738"/>
                <a:gd name="connsiteX18" fmla="*/ 2902 w 9689"/>
                <a:gd name="connsiteY18" fmla="*/ 1545 h 9738"/>
                <a:gd name="connsiteX19" fmla="*/ 2851 w 9689"/>
                <a:gd name="connsiteY19" fmla="*/ 1628 h 9738"/>
                <a:gd name="connsiteX20" fmla="*/ 2799 w 9689"/>
                <a:gd name="connsiteY20" fmla="*/ 1703 h 9738"/>
                <a:gd name="connsiteX21" fmla="*/ 2742 w 9689"/>
                <a:gd name="connsiteY21" fmla="*/ 1783 h 9738"/>
                <a:gd name="connsiteX22" fmla="*/ 2692 w 9689"/>
                <a:gd name="connsiteY22" fmla="*/ 1861 h 9738"/>
                <a:gd name="connsiteX23" fmla="*/ 2633 w 9689"/>
                <a:gd name="connsiteY23" fmla="*/ 1943 h 9738"/>
                <a:gd name="connsiteX24" fmla="*/ 2574 w 9689"/>
                <a:gd name="connsiteY24" fmla="*/ 2014 h 9738"/>
                <a:gd name="connsiteX25" fmla="*/ 2511 w 9689"/>
                <a:gd name="connsiteY25" fmla="*/ 2086 h 9738"/>
                <a:gd name="connsiteX26" fmla="*/ 2448 w 9689"/>
                <a:gd name="connsiteY26" fmla="*/ 2162 h 9738"/>
                <a:gd name="connsiteX27" fmla="*/ 2385 w 9689"/>
                <a:gd name="connsiteY27" fmla="*/ 2232 h 9738"/>
                <a:gd name="connsiteX28" fmla="*/ 2318 w 9689"/>
                <a:gd name="connsiteY28" fmla="*/ 2302 h 9738"/>
                <a:gd name="connsiteX29" fmla="*/ 2252 w 9689"/>
                <a:gd name="connsiteY29" fmla="*/ 2374 h 9738"/>
                <a:gd name="connsiteX30" fmla="*/ 2186 w 9689"/>
                <a:gd name="connsiteY30" fmla="*/ 2440 h 9738"/>
                <a:gd name="connsiteX31" fmla="*/ 2112 w 9689"/>
                <a:gd name="connsiteY31" fmla="*/ 2507 h 9738"/>
                <a:gd name="connsiteX32" fmla="*/ 2042 w 9689"/>
                <a:gd name="connsiteY32" fmla="*/ 2570 h 9738"/>
                <a:gd name="connsiteX33" fmla="*/ 1968 w 9689"/>
                <a:gd name="connsiteY33" fmla="*/ 2633 h 9738"/>
                <a:gd name="connsiteX34" fmla="*/ 1897 w 9689"/>
                <a:gd name="connsiteY34" fmla="*/ 2694 h 9738"/>
                <a:gd name="connsiteX35" fmla="*/ 1815 w 9689"/>
                <a:gd name="connsiteY35" fmla="*/ 2757 h 9738"/>
                <a:gd name="connsiteX36" fmla="*/ 1741 w 9689"/>
                <a:gd name="connsiteY36" fmla="*/ 2811 h 9738"/>
                <a:gd name="connsiteX37" fmla="*/ 1662 w 9689"/>
                <a:gd name="connsiteY37" fmla="*/ 2870 h 9738"/>
                <a:gd name="connsiteX38" fmla="*/ 1581 w 9689"/>
                <a:gd name="connsiteY38" fmla="*/ 2924 h 9738"/>
                <a:gd name="connsiteX39" fmla="*/ 1499 w 9689"/>
                <a:gd name="connsiteY39" fmla="*/ 2977 h 9738"/>
                <a:gd name="connsiteX40" fmla="*/ 1416 w 9689"/>
                <a:gd name="connsiteY40" fmla="*/ 3030 h 9738"/>
                <a:gd name="connsiteX41" fmla="*/ 1335 w 9689"/>
                <a:gd name="connsiteY41" fmla="*/ 3081 h 9738"/>
                <a:gd name="connsiteX42" fmla="*/ 1248 w 9689"/>
                <a:gd name="connsiteY42" fmla="*/ 3127 h 9738"/>
                <a:gd name="connsiteX43" fmla="*/ 1161 w 9689"/>
                <a:gd name="connsiteY43" fmla="*/ 3173 h 9738"/>
                <a:gd name="connsiteX44" fmla="*/ 1322 w 9689"/>
                <a:gd name="connsiteY44" fmla="*/ 6435 h 9738"/>
                <a:gd name="connsiteX45" fmla="*/ 0 w 9689"/>
                <a:gd name="connsiteY45" fmla="*/ 9738 h 9738"/>
                <a:gd name="connsiteX46" fmla="*/ 246 w 9689"/>
                <a:gd name="connsiteY46" fmla="*/ 9717 h 9738"/>
                <a:gd name="connsiteX47" fmla="*/ 490 w 9689"/>
                <a:gd name="connsiteY47" fmla="*/ 9684 h 9738"/>
                <a:gd name="connsiteX48" fmla="*/ 730 w 9689"/>
                <a:gd name="connsiteY48" fmla="*/ 9652 h 9738"/>
                <a:gd name="connsiteX49" fmla="*/ 972 w 9689"/>
                <a:gd name="connsiteY49" fmla="*/ 9612 h 9738"/>
                <a:gd name="connsiteX50" fmla="*/ 1205 w 9689"/>
                <a:gd name="connsiteY50" fmla="*/ 9567 h 9738"/>
                <a:gd name="connsiteX51" fmla="*/ 1449 w 9689"/>
                <a:gd name="connsiteY51" fmla="*/ 9521 h 9738"/>
                <a:gd name="connsiteX52" fmla="*/ 1676 w 9689"/>
                <a:gd name="connsiteY52" fmla="*/ 9464 h 9738"/>
                <a:gd name="connsiteX53" fmla="*/ 1909 w 9689"/>
                <a:gd name="connsiteY53" fmla="*/ 9409 h 9738"/>
                <a:gd name="connsiteX54" fmla="*/ 2139 w 9689"/>
                <a:gd name="connsiteY54" fmla="*/ 9347 h 9738"/>
                <a:gd name="connsiteX55" fmla="*/ 2367 w 9689"/>
                <a:gd name="connsiteY55" fmla="*/ 9278 h 9738"/>
                <a:gd name="connsiteX56" fmla="*/ 2588 w 9689"/>
                <a:gd name="connsiteY56" fmla="*/ 9203 h 9738"/>
                <a:gd name="connsiteX57" fmla="*/ 2811 w 9689"/>
                <a:gd name="connsiteY57" fmla="*/ 9129 h 9738"/>
                <a:gd name="connsiteX58" fmla="*/ 3035 w 9689"/>
                <a:gd name="connsiteY58" fmla="*/ 9045 h 9738"/>
                <a:gd name="connsiteX59" fmla="*/ 3256 w 9689"/>
                <a:gd name="connsiteY59" fmla="*/ 8962 h 9738"/>
                <a:gd name="connsiteX60" fmla="*/ 3469 w 9689"/>
                <a:gd name="connsiteY60" fmla="*/ 8867 h 9738"/>
                <a:gd name="connsiteX61" fmla="*/ 3681 w 9689"/>
                <a:gd name="connsiteY61" fmla="*/ 8773 h 9738"/>
                <a:gd name="connsiteX62" fmla="*/ 3896 w 9689"/>
                <a:gd name="connsiteY62" fmla="*/ 8672 h 9738"/>
                <a:gd name="connsiteX63" fmla="*/ 4102 w 9689"/>
                <a:gd name="connsiteY63" fmla="*/ 8569 h 9738"/>
                <a:gd name="connsiteX64" fmla="*/ 4308 w 9689"/>
                <a:gd name="connsiteY64" fmla="*/ 8464 h 9738"/>
                <a:gd name="connsiteX65" fmla="*/ 4514 w 9689"/>
                <a:gd name="connsiteY65" fmla="*/ 8350 h 9738"/>
                <a:gd name="connsiteX66" fmla="*/ 4714 w 9689"/>
                <a:gd name="connsiteY66" fmla="*/ 8236 h 9738"/>
                <a:gd name="connsiteX67" fmla="*/ 4911 w 9689"/>
                <a:gd name="connsiteY67" fmla="*/ 8115 h 9738"/>
                <a:gd name="connsiteX68" fmla="*/ 5107 w 9689"/>
                <a:gd name="connsiteY68" fmla="*/ 7992 h 9738"/>
                <a:gd name="connsiteX69" fmla="*/ 5293 w 9689"/>
                <a:gd name="connsiteY69" fmla="*/ 7866 h 9738"/>
                <a:gd name="connsiteX70" fmla="*/ 5481 w 9689"/>
                <a:gd name="connsiteY70" fmla="*/ 7733 h 9738"/>
                <a:gd name="connsiteX71" fmla="*/ 5668 w 9689"/>
                <a:gd name="connsiteY71" fmla="*/ 7600 h 9738"/>
                <a:gd name="connsiteX72" fmla="*/ 5848 w 9689"/>
                <a:gd name="connsiteY72" fmla="*/ 7460 h 9738"/>
                <a:gd name="connsiteX73" fmla="*/ 6029 w 9689"/>
                <a:gd name="connsiteY73" fmla="*/ 7318 h 9738"/>
                <a:gd name="connsiteX74" fmla="*/ 6203 w 9689"/>
                <a:gd name="connsiteY74" fmla="*/ 7170 h 9738"/>
                <a:gd name="connsiteX75" fmla="*/ 6376 w 9689"/>
                <a:gd name="connsiteY75" fmla="*/ 7023 h 9738"/>
                <a:gd name="connsiteX76" fmla="*/ 6543 w 9689"/>
                <a:gd name="connsiteY76" fmla="*/ 6873 h 9738"/>
                <a:gd name="connsiteX77" fmla="*/ 6712 w 9689"/>
                <a:gd name="connsiteY77" fmla="*/ 6713 h 9738"/>
                <a:gd name="connsiteX78" fmla="*/ 6873 w 9689"/>
                <a:gd name="connsiteY78" fmla="*/ 6551 h 9738"/>
                <a:gd name="connsiteX79" fmla="*/ 7030 w 9689"/>
                <a:gd name="connsiteY79" fmla="*/ 6393 h 9738"/>
                <a:gd name="connsiteX80" fmla="*/ 7185 w 9689"/>
                <a:gd name="connsiteY80" fmla="*/ 6226 h 9738"/>
                <a:gd name="connsiteX81" fmla="*/ 7336 w 9689"/>
                <a:gd name="connsiteY81" fmla="*/ 6055 h 9738"/>
                <a:gd name="connsiteX82" fmla="*/ 7484 w 9689"/>
                <a:gd name="connsiteY82" fmla="*/ 5886 h 9738"/>
                <a:gd name="connsiteX83" fmla="*/ 7627 w 9689"/>
                <a:gd name="connsiteY83" fmla="*/ 5710 h 9738"/>
                <a:gd name="connsiteX84" fmla="*/ 7771 w 9689"/>
                <a:gd name="connsiteY84" fmla="*/ 5530 h 9738"/>
                <a:gd name="connsiteX85" fmla="*/ 7902 w 9689"/>
                <a:gd name="connsiteY85" fmla="*/ 5349 h 9738"/>
                <a:gd name="connsiteX86" fmla="*/ 8032 w 9689"/>
                <a:gd name="connsiteY86" fmla="*/ 5164 h 9738"/>
                <a:gd name="connsiteX87" fmla="*/ 8163 w 9689"/>
                <a:gd name="connsiteY87" fmla="*/ 4980 h 9738"/>
                <a:gd name="connsiteX88" fmla="*/ 8285 w 9689"/>
                <a:gd name="connsiteY88" fmla="*/ 4786 h 9738"/>
                <a:gd name="connsiteX89" fmla="*/ 8403 w 9689"/>
                <a:gd name="connsiteY89" fmla="*/ 4598 h 9738"/>
                <a:gd name="connsiteX90" fmla="*/ 8520 w 9689"/>
                <a:gd name="connsiteY90" fmla="*/ 4402 h 9738"/>
                <a:gd name="connsiteX91" fmla="*/ 8626 w 9689"/>
                <a:gd name="connsiteY91" fmla="*/ 4201 h 9738"/>
                <a:gd name="connsiteX92" fmla="*/ 8733 w 9689"/>
                <a:gd name="connsiteY92" fmla="*/ 4001 h 9738"/>
                <a:gd name="connsiteX93" fmla="*/ 8838 w 9689"/>
                <a:gd name="connsiteY93" fmla="*/ 3800 h 9738"/>
                <a:gd name="connsiteX94" fmla="*/ 8938 w 9689"/>
                <a:gd name="connsiteY94" fmla="*/ 3594 h 9738"/>
                <a:gd name="connsiteX95" fmla="*/ 9026 w 9689"/>
                <a:gd name="connsiteY95" fmla="*/ 3389 h 9738"/>
                <a:gd name="connsiteX96" fmla="*/ 9118 w 9689"/>
                <a:gd name="connsiteY96" fmla="*/ 3178 h 9738"/>
                <a:gd name="connsiteX97" fmla="*/ 9199 w 9689"/>
                <a:gd name="connsiteY97" fmla="*/ 2965 h 9738"/>
                <a:gd name="connsiteX98" fmla="*/ 9280 w 9689"/>
                <a:gd name="connsiteY98" fmla="*/ 2755 h 9738"/>
                <a:gd name="connsiteX99" fmla="*/ 9352 w 9689"/>
                <a:gd name="connsiteY99" fmla="*/ 2537 h 9738"/>
                <a:gd name="connsiteX100" fmla="*/ 9420 w 9689"/>
                <a:gd name="connsiteY100" fmla="*/ 2317 h 9738"/>
                <a:gd name="connsiteX101" fmla="*/ 9483 w 9689"/>
                <a:gd name="connsiteY101" fmla="*/ 2096 h 9738"/>
                <a:gd name="connsiteX102" fmla="*/ 9545 w 9689"/>
                <a:gd name="connsiteY102" fmla="*/ 1876 h 9738"/>
                <a:gd name="connsiteX103" fmla="*/ 9597 w 9689"/>
                <a:gd name="connsiteY103" fmla="*/ 1653 h 9738"/>
                <a:gd name="connsiteX104" fmla="*/ 9646 w 9689"/>
                <a:gd name="connsiteY104" fmla="*/ 1427 h 9738"/>
                <a:gd name="connsiteX105" fmla="*/ 9689 w 9689"/>
                <a:gd name="connsiteY105" fmla="*/ 1196 h 9738"/>
                <a:gd name="connsiteX106" fmla="*/ 6287 w 9689"/>
                <a:gd name="connsiteY106" fmla="*/ 1835 h 9738"/>
                <a:gd name="connsiteX107" fmla="*/ 3447 w 9689"/>
                <a:gd name="connsiteY107" fmla="*/ 0 h 9738"/>
                <a:gd name="connsiteX0" fmla="*/ 3342 w 9784"/>
                <a:gd name="connsiteY0" fmla="*/ 0 h 10219"/>
                <a:gd name="connsiteX1" fmla="*/ 3342 w 9784"/>
                <a:gd name="connsiteY1" fmla="*/ 0 h 10219"/>
                <a:gd name="connsiteX2" fmla="*/ 3329 w 9784"/>
                <a:gd name="connsiteY2" fmla="*/ 100 h 10219"/>
                <a:gd name="connsiteX3" fmla="*/ 3309 w 9784"/>
                <a:gd name="connsiteY3" fmla="*/ 201 h 10219"/>
                <a:gd name="connsiteX4" fmla="*/ 3289 w 9784"/>
                <a:gd name="connsiteY4" fmla="*/ 301 h 10219"/>
                <a:gd name="connsiteX5" fmla="*/ 3266 w 9784"/>
                <a:gd name="connsiteY5" fmla="*/ 395 h 10219"/>
                <a:gd name="connsiteX6" fmla="*/ 3238 w 9784"/>
                <a:gd name="connsiteY6" fmla="*/ 494 h 10219"/>
                <a:gd name="connsiteX7" fmla="*/ 3211 w 9784"/>
                <a:gd name="connsiteY7" fmla="*/ 589 h 10219"/>
                <a:gd name="connsiteX8" fmla="*/ 3185 w 9784"/>
                <a:gd name="connsiteY8" fmla="*/ 685 h 10219"/>
                <a:gd name="connsiteX9" fmla="*/ 3155 w 9784"/>
                <a:gd name="connsiteY9" fmla="*/ 780 h 10219"/>
                <a:gd name="connsiteX10" fmla="*/ 3120 w 9784"/>
                <a:gd name="connsiteY10" fmla="*/ 874 h 10219"/>
                <a:gd name="connsiteX11" fmla="*/ 3083 w 9784"/>
                <a:gd name="connsiteY11" fmla="*/ 965 h 10219"/>
                <a:gd name="connsiteX12" fmla="*/ 3049 w 9784"/>
                <a:gd name="connsiteY12" fmla="*/ 1059 h 10219"/>
                <a:gd name="connsiteX13" fmla="*/ 3007 w 9784"/>
                <a:gd name="connsiteY13" fmla="*/ 1151 h 10219"/>
                <a:gd name="connsiteX14" fmla="*/ 2963 w 9784"/>
                <a:gd name="connsiteY14" fmla="*/ 1238 h 10219"/>
                <a:gd name="connsiteX15" fmla="*/ 2920 w 9784"/>
                <a:gd name="connsiteY15" fmla="*/ 1325 h 10219"/>
                <a:gd name="connsiteX16" fmla="*/ 2875 w 9784"/>
                <a:gd name="connsiteY16" fmla="*/ 1412 h 10219"/>
                <a:gd name="connsiteX17" fmla="*/ 2824 w 9784"/>
                <a:gd name="connsiteY17" fmla="*/ 1502 h 10219"/>
                <a:gd name="connsiteX18" fmla="*/ 2779 w 9784"/>
                <a:gd name="connsiteY18" fmla="*/ 1587 h 10219"/>
                <a:gd name="connsiteX19" fmla="*/ 2727 w 9784"/>
                <a:gd name="connsiteY19" fmla="*/ 1672 h 10219"/>
                <a:gd name="connsiteX20" fmla="*/ 2673 w 9784"/>
                <a:gd name="connsiteY20" fmla="*/ 1749 h 10219"/>
                <a:gd name="connsiteX21" fmla="*/ 2614 w 9784"/>
                <a:gd name="connsiteY21" fmla="*/ 1831 h 10219"/>
                <a:gd name="connsiteX22" fmla="*/ 2562 w 9784"/>
                <a:gd name="connsiteY22" fmla="*/ 1911 h 10219"/>
                <a:gd name="connsiteX23" fmla="*/ 2502 w 9784"/>
                <a:gd name="connsiteY23" fmla="*/ 1995 h 10219"/>
                <a:gd name="connsiteX24" fmla="*/ 2441 w 9784"/>
                <a:gd name="connsiteY24" fmla="*/ 2068 h 10219"/>
                <a:gd name="connsiteX25" fmla="*/ 2376 w 9784"/>
                <a:gd name="connsiteY25" fmla="*/ 2142 h 10219"/>
                <a:gd name="connsiteX26" fmla="*/ 2311 w 9784"/>
                <a:gd name="connsiteY26" fmla="*/ 2220 h 10219"/>
                <a:gd name="connsiteX27" fmla="*/ 2246 w 9784"/>
                <a:gd name="connsiteY27" fmla="*/ 2292 h 10219"/>
                <a:gd name="connsiteX28" fmla="*/ 2176 w 9784"/>
                <a:gd name="connsiteY28" fmla="*/ 2364 h 10219"/>
                <a:gd name="connsiteX29" fmla="*/ 2108 w 9784"/>
                <a:gd name="connsiteY29" fmla="*/ 2438 h 10219"/>
                <a:gd name="connsiteX30" fmla="*/ 2040 w 9784"/>
                <a:gd name="connsiteY30" fmla="*/ 2506 h 10219"/>
                <a:gd name="connsiteX31" fmla="*/ 1964 w 9784"/>
                <a:gd name="connsiteY31" fmla="*/ 2574 h 10219"/>
                <a:gd name="connsiteX32" fmla="*/ 1892 w 9784"/>
                <a:gd name="connsiteY32" fmla="*/ 2639 h 10219"/>
                <a:gd name="connsiteX33" fmla="*/ 1815 w 9784"/>
                <a:gd name="connsiteY33" fmla="*/ 2704 h 10219"/>
                <a:gd name="connsiteX34" fmla="*/ 1742 w 9784"/>
                <a:gd name="connsiteY34" fmla="*/ 2766 h 10219"/>
                <a:gd name="connsiteX35" fmla="*/ 1657 w 9784"/>
                <a:gd name="connsiteY35" fmla="*/ 2831 h 10219"/>
                <a:gd name="connsiteX36" fmla="*/ 1581 w 9784"/>
                <a:gd name="connsiteY36" fmla="*/ 2887 h 10219"/>
                <a:gd name="connsiteX37" fmla="*/ 1499 w 9784"/>
                <a:gd name="connsiteY37" fmla="*/ 2947 h 10219"/>
                <a:gd name="connsiteX38" fmla="*/ 1416 w 9784"/>
                <a:gd name="connsiteY38" fmla="*/ 3003 h 10219"/>
                <a:gd name="connsiteX39" fmla="*/ 1331 w 9784"/>
                <a:gd name="connsiteY39" fmla="*/ 3057 h 10219"/>
                <a:gd name="connsiteX40" fmla="*/ 1245 w 9784"/>
                <a:gd name="connsiteY40" fmla="*/ 3112 h 10219"/>
                <a:gd name="connsiteX41" fmla="*/ 1162 w 9784"/>
                <a:gd name="connsiteY41" fmla="*/ 3164 h 10219"/>
                <a:gd name="connsiteX42" fmla="*/ 1072 w 9784"/>
                <a:gd name="connsiteY42" fmla="*/ 3211 h 10219"/>
                <a:gd name="connsiteX43" fmla="*/ 982 w 9784"/>
                <a:gd name="connsiteY43" fmla="*/ 3258 h 10219"/>
                <a:gd name="connsiteX44" fmla="*/ 1148 w 9784"/>
                <a:gd name="connsiteY44" fmla="*/ 6608 h 10219"/>
                <a:gd name="connsiteX45" fmla="*/ 38 w 9784"/>
                <a:gd name="connsiteY45" fmla="*/ 9978 h 10219"/>
                <a:gd name="connsiteX46" fmla="*/ 290 w 9784"/>
                <a:gd name="connsiteY46" fmla="*/ 9945 h 10219"/>
                <a:gd name="connsiteX47" fmla="*/ 537 w 9784"/>
                <a:gd name="connsiteY47" fmla="*/ 9912 h 10219"/>
                <a:gd name="connsiteX48" fmla="*/ 787 w 9784"/>
                <a:gd name="connsiteY48" fmla="*/ 9871 h 10219"/>
                <a:gd name="connsiteX49" fmla="*/ 1028 w 9784"/>
                <a:gd name="connsiteY49" fmla="*/ 9824 h 10219"/>
                <a:gd name="connsiteX50" fmla="*/ 1280 w 9784"/>
                <a:gd name="connsiteY50" fmla="*/ 9777 h 10219"/>
                <a:gd name="connsiteX51" fmla="*/ 1514 w 9784"/>
                <a:gd name="connsiteY51" fmla="*/ 9719 h 10219"/>
                <a:gd name="connsiteX52" fmla="*/ 1754 w 9784"/>
                <a:gd name="connsiteY52" fmla="*/ 9662 h 10219"/>
                <a:gd name="connsiteX53" fmla="*/ 1992 w 9784"/>
                <a:gd name="connsiteY53" fmla="*/ 9598 h 10219"/>
                <a:gd name="connsiteX54" fmla="*/ 2227 w 9784"/>
                <a:gd name="connsiteY54" fmla="*/ 9528 h 10219"/>
                <a:gd name="connsiteX55" fmla="*/ 2455 w 9784"/>
                <a:gd name="connsiteY55" fmla="*/ 9451 h 10219"/>
                <a:gd name="connsiteX56" fmla="*/ 2685 w 9784"/>
                <a:gd name="connsiteY56" fmla="*/ 9375 h 10219"/>
                <a:gd name="connsiteX57" fmla="*/ 2916 w 9784"/>
                <a:gd name="connsiteY57" fmla="*/ 9288 h 10219"/>
                <a:gd name="connsiteX58" fmla="*/ 3145 w 9784"/>
                <a:gd name="connsiteY58" fmla="*/ 9203 h 10219"/>
                <a:gd name="connsiteX59" fmla="*/ 3364 w 9784"/>
                <a:gd name="connsiteY59" fmla="*/ 9106 h 10219"/>
                <a:gd name="connsiteX60" fmla="*/ 3583 w 9784"/>
                <a:gd name="connsiteY60" fmla="*/ 9009 h 10219"/>
                <a:gd name="connsiteX61" fmla="*/ 3805 w 9784"/>
                <a:gd name="connsiteY61" fmla="*/ 8905 h 10219"/>
                <a:gd name="connsiteX62" fmla="*/ 4018 w 9784"/>
                <a:gd name="connsiteY62" fmla="*/ 8800 h 10219"/>
                <a:gd name="connsiteX63" fmla="*/ 4230 w 9784"/>
                <a:gd name="connsiteY63" fmla="*/ 8692 h 10219"/>
                <a:gd name="connsiteX64" fmla="*/ 4443 w 9784"/>
                <a:gd name="connsiteY64" fmla="*/ 8575 h 10219"/>
                <a:gd name="connsiteX65" fmla="*/ 4649 w 9784"/>
                <a:gd name="connsiteY65" fmla="*/ 8458 h 10219"/>
                <a:gd name="connsiteX66" fmla="*/ 4853 w 9784"/>
                <a:gd name="connsiteY66" fmla="*/ 8333 h 10219"/>
                <a:gd name="connsiteX67" fmla="*/ 5055 w 9784"/>
                <a:gd name="connsiteY67" fmla="*/ 8207 h 10219"/>
                <a:gd name="connsiteX68" fmla="*/ 5247 w 9784"/>
                <a:gd name="connsiteY68" fmla="*/ 8078 h 10219"/>
                <a:gd name="connsiteX69" fmla="*/ 5441 w 9784"/>
                <a:gd name="connsiteY69" fmla="*/ 7941 h 10219"/>
                <a:gd name="connsiteX70" fmla="*/ 5634 w 9784"/>
                <a:gd name="connsiteY70" fmla="*/ 7804 h 10219"/>
                <a:gd name="connsiteX71" fmla="*/ 5820 w 9784"/>
                <a:gd name="connsiteY71" fmla="*/ 7661 h 10219"/>
                <a:gd name="connsiteX72" fmla="*/ 6007 w 9784"/>
                <a:gd name="connsiteY72" fmla="*/ 7515 h 10219"/>
                <a:gd name="connsiteX73" fmla="*/ 6186 w 9784"/>
                <a:gd name="connsiteY73" fmla="*/ 7363 h 10219"/>
                <a:gd name="connsiteX74" fmla="*/ 6365 w 9784"/>
                <a:gd name="connsiteY74" fmla="*/ 7212 h 10219"/>
                <a:gd name="connsiteX75" fmla="*/ 6537 w 9784"/>
                <a:gd name="connsiteY75" fmla="*/ 7058 h 10219"/>
                <a:gd name="connsiteX76" fmla="*/ 6711 w 9784"/>
                <a:gd name="connsiteY76" fmla="*/ 6894 h 10219"/>
                <a:gd name="connsiteX77" fmla="*/ 6878 w 9784"/>
                <a:gd name="connsiteY77" fmla="*/ 6727 h 10219"/>
                <a:gd name="connsiteX78" fmla="*/ 7040 w 9784"/>
                <a:gd name="connsiteY78" fmla="*/ 6565 h 10219"/>
                <a:gd name="connsiteX79" fmla="*/ 7200 w 9784"/>
                <a:gd name="connsiteY79" fmla="*/ 6394 h 10219"/>
                <a:gd name="connsiteX80" fmla="*/ 7355 w 9784"/>
                <a:gd name="connsiteY80" fmla="*/ 6218 h 10219"/>
                <a:gd name="connsiteX81" fmla="*/ 7508 w 9784"/>
                <a:gd name="connsiteY81" fmla="*/ 6044 h 10219"/>
                <a:gd name="connsiteX82" fmla="*/ 7656 w 9784"/>
                <a:gd name="connsiteY82" fmla="*/ 5864 h 10219"/>
                <a:gd name="connsiteX83" fmla="*/ 7804 w 9784"/>
                <a:gd name="connsiteY83" fmla="*/ 5679 h 10219"/>
                <a:gd name="connsiteX84" fmla="*/ 7940 w 9784"/>
                <a:gd name="connsiteY84" fmla="*/ 5493 h 10219"/>
                <a:gd name="connsiteX85" fmla="*/ 8074 w 9784"/>
                <a:gd name="connsiteY85" fmla="*/ 5303 h 10219"/>
                <a:gd name="connsiteX86" fmla="*/ 8209 w 9784"/>
                <a:gd name="connsiteY86" fmla="*/ 5114 h 10219"/>
                <a:gd name="connsiteX87" fmla="*/ 8335 w 9784"/>
                <a:gd name="connsiteY87" fmla="*/ 4915 h 10219"/>
                <a:gd name="connsiteX88" fmla="*/ 8457 w 9784"/>
                <a:gd name="connsiteY88" fmla="*/ 4722 h 10219"/>
                <a:gd name="connsiteX89" fmla="*/ 8577 w 9784"/>
                <a:gd name="connsiteY89" fmla="*/ 4520 h 10219"/>
                <a:gd name="connsiteX90" fmla="*/ 8687 w 9784"/>
                <a:gd name="connsiteY90" fmla="*/ 4314 h 10219"/>
                <a:gd name="connsiteX91" fmla="*/ 8797 w 9784"/>
                <a:gd name="connsiteY91" fmla="*/ 4109 h 10219"/>
                <a:gd name="connsiteX92" fmla="*/ 8906 w 9784"/>
                <a:gd name="connsiteY92" fmla="*/ 3902 h 10219"/>
                <a:gd name="connsiteX93" fmla="*/ 9009 w 9784"/>
                <a:gd name="connsiteY93" fmla="*/ 3691 h 10219"/>
                <a:gd name="connsiteX94" fmla="*/ 9100 w 9784"/>
                <a:gd name="connsiteY94" fmla="*/ 3480 h 10219"/>
                <a:gd name="connsiteX95" fmla="*/ 9195 w 9784"/>
                <a:gd name="connsiteY95" fmla="*/ 3264 h 10219"/>
                <a:gd name="connsiteX96" fmla="*/ 9278 w 9784"/>
                <a:gd name="connsiteY96" fmla="*/ 3045 h 10219"/>
                <a:gd name="connsiteX97" fmla="*/ 9362 w 9784"/>
                <a:gd name="connsiteY97" fmla="*/ 2829 h 10219"/>
                <a:gd name="connsiteX98" fmla="*/ 9436 w 9784"/>
                <a:gd name="connsiteY98" fmla="*/ 2605 h 10219"/>
                <a:gd name="connsiteX99" fmla="*/ 9506 w 9784"/>
                <a:gd name="connsiteY99" fmla="*/ 2379 h 10219"/>
                <a:gd name="connsiteX100" fmla="*/ 9571 w 9784"/>
                <a:gd name="connsiteY100" fmla="*/ 2152 h 10219"/>
                <a:gd name="connsiteX101" fmla="*/ 9635 w 9784"/>
                <a:gd name="connsiteY101" fmla="*/ 1926 h 10219"/>
                <a:gd name="connsiteX102" fmla="*/ 9689 w 9784"/>
                <a:gd name="connsiteY102" fmla="*/ 1697 h 10219"/>
                <a:gd name="connsiteX103" fmla="*/ 9740 w 9784"/>
                <a:gd name="connsiteY103" fmla="*/ 1465 h 10219"/>
                <a:gd name="connsiteX104" fmla="*/ 9784 w 9784"/>
                <a:gd name="connsiteY104" fmla="*/ 1228 h 10219"/>
                <a:gd name="connsiteX105" fmla="*/ 6273 w 9784"/>
                <a:gd name="connsiteY105" fmla="*/ 1884 h 10219"/>
                <a:gd name="connsiteX106" fmla="*/ 3342 w 9784"/>
                <a:gd name="connsiteY106" fmla="*/ 0 h 10219"/>
                <a:gd name="connsiteX0" fmla="*/ 3120 w 9704"/>
                <a:gd name="connsiteY0" fmla="*/ 0 h 9732"/>
                <a:gd name="connsiteX1" fmla="*/ 3120 w 9704"/>
                <a:gd name="connsiteY1" fmla="*/ 0 h 9732"/>
                <a:gd name="connsiteX2" fmla="*/ 3106 w 9704"/>
                <a:gd name="connsiteY2" fmla="*/ 98 h 9732"/>
                <a:gd name="connsiteX3" fmla="*/ 3086 w 9704"/>
                <a:gd name="connsiteY3" fmla="*/ 197 h 9732"/>
                <a:gd name="connsiteX4" fmla="*/ 3066 w 9704"/>
                <a:gd name="connsiteY4" fmla="*/ 295 h 9732"/>
                <a:gd name="connsiteX5" fmla="*/ 3042 w 9704"/>
                <a:gd name="connsiteY5" fmla="*/ 387 h 9732"/>
                <a:gd name="connsiteX6" fmla="*/ 3013 w 9704"/>
                <a:gd name="connsiteY6" fmla="*/ 483 h 9732"/>
                <a:gd name="connsiteX7" fmla="*/ 2986 w 9704"/>
                <a:gd name="connsiteY7" fmla="*/ 576 h 9732"/>
                <a:gd name="connsiteX8" fmla="*/ 2959 w 9704"/>
                <a:gd name="connsiteY8" fmla="*/ 670 h 9732"/>
                <a:gd name="connsiteX9" fmla="*/ 2929 w 9704"/>
                <a:gd name="connsiteY9" fmla="*/ 763 h 9732"/>
                <a:gd name="connsiteX10" fmla="*/ 2893 w 9704"/>
                <a:gd name="connsiteY10" fmla="*/ 855 h 9732"/>
                <a:gd name="connsiteX11" fmla="*/ 2855 w 9704"/>
                <a:gd name="connsiteY11" fmla="*/ 944 h 9732"/>
                <a:gd name="connsiteX12" fmla="*/ 2820 w 9704"/>
                <a:gd name="connsiteY12" fmla="*/ 1036 h 9732"/>
                <a:gd name="connsiteX13" fmla="*/ 2777 w 9704"/>
                <a:gd name="connsiteY13" fmla="*/ 1126 h 9732"/>
                <a:gd name="connsiteX14" fmla="*/ 2732 w 9704"/>
                <a:gd name="connsiteY14" fmla="*/ 1211 h 9732"/>
                <a:gd name="connsiteX15" fmla="*/ 2688 w 9704"/>
                <a:gd name="connsiteY15" fmla="*/ 1297 h 9732"/>
                <a:gd name="connsiteX16" fmla="*/ 2642 w 9704"/>
                <a:gd name="connsiteY16" fmla="*/ 1382 h 9732"/>
                <a:gd name="connsiteX17" fmla="*/ 2590 w 9704"/>
                <a:gd name="connsiteY17" fmla="*/ 1470 h 9732"/>
                <a:gd name="connsiteX18" fmla="*/ 2544 w 9704"/>
                <a:gd name="connsiteY18" fmla="*/ 1553 h 9732"/>
                <a:gd name="connsiteX19" fmla="*/ 2491 w 9704"/>
                <a:gd name="connsiteY19" fmla="*/ 1636 h 9732"/>
                <a:gd name="connsiteX20" fmla="*/ 2436 w 9704"/>
                <a:gd name="connsiteY20" fmla="*/ 1712 h 9732"/>
                <a:gd name="connsiteX21" fmla="*/ 2376 w 9704"/>
                <a:gd name="connsiteY21" fmla="*/ 1792 h 9732"/>
                <a:gd name="connsiteX22" fmla="*/ 2323 w 9704"/>
                <a:gd name="connsiteY22" fmla="*/ 1870 h 9732"/>
                <a:gd name="connsiteX23" fmla="*/ 2261 w 9704"/>
                <a:gd name="connsiteY23" fmla="*/ 1952 h 9732"/>
                <a:gd name="connsiteX24" fmla="*/ 2199 w 9704"/>
                <a:gd name="connsiteY24" fmla="*/ 2024 h 9732"/>
                <a:gd name="connsiteX25" fmla="*/ 2132 w 9704"/>
                <a:gd name="connsiteY25" fmla="*/ 2096 h 9732"/>
                <a:gd name="connsiteX26" fmla="*/ 2066 w 9704"/>
                <a:gd name="connsiteY26" fmla="*/ 2172 h 9732"/>
                <a:gd name="connsiteX27" fmla="*/ 2000 w 9704"/>
                <a:gd name="connsiteY27" fmla="*/ 2243 h 9732"/>
                <a:gd name="connsiteX28" fmla="*/ 1928 w 9704"/>
                <a:gd name="connsiteY28" fmla="*/ 2313 h 9732"/>
                <a:gd name="connsiteX29" fmla="*/ 1859 w 9704"/>
                <a:gd name="connsiteY29" fmla="*/ 2386 h 9732"/>
                <a:gd name="connsiteX30" fmla="*/ 1789 w 9704"/>
                <a:gd name="connsiteY30" fmla="*/ 2452 h 9732"/>
                <a:gd name="connsiteX31" fmla="*/ 1711 w 9704"/>
                <a:gd name="connsiteY31" fmla="*/ 2519 h 9732"/>
                <a:gd name="connsiteX32" fmla="*/ 1638 w 9704"/>
                <a:gd name="connsiteY32" fmla="*/ 2582 h 9732"/>
                <a:gd name="connsiteX33" fmla="*/ 1559 w 9704"/>
                <a:gd name="connsiteY33" fmla="*/ 2646 h 9732"/>
                <a:gd name="connsiteX34" fmla="*/ 1484 w 9704"/>
                <a:gd name="connsiteY34" fmla="*/ 2707 h 9732"/>
                <a:gd name="connsiteX35" fmla="*/ 1398 w 9704"/>
                <a:gd name="connsiteY35" fmla="*/ 2770 h 9732"/>
                <a:gd name="connsiteX36" fmla="*/ 1320 w 9704"/>
                <a:gd name="connsiteY36" fmla="*/ 2825 h 9732"/>
                <a:gd name="connsiteX37" fmla="*/ 1236 w 9704"/>
                <a:gd name="connsiteY37" fmla="*/ 2884 h 9732"/>
                <a:gd name="connsiteX38" fmla="*/ 1151 w 9704"/>
                <a:gd name="connsiteY38" fmla="*/ 2939 h 9732"/>
                <a:gd name="connsiteX39" fmla="*/ 1064 w 9704"/>
                <a:gd name="connsiteY39" fmla="*/ 2991 h 9732"/>
                <a:gd name="connsiteX40" fmla="*/ 976 w 9704"/>
                <a:gd name="connsiteY40" fmla="*/ 3045 h 9732"/>
                <a:gd name="connsiteX41" fmla="*/ 892 w 9704"/>
                <a:gd name="connsiteY41" fmla="*/ 3096 h 9732"/>
                <a:gd name="connsiteX42" fmla="*/ 800 w 9704"/>
                <a:gd name="connsiteY42" fmla="*/ 3142 h 9732"/>
                <a:gd name="connsiteX43" fmla="*/ 708 w 9704"/>
                <a:gd name="connsiteY43" fmla="*/ 3188 h 9732"/>
                <a:gd name="connsiteX44" fmla="*/ 877 w 9704"/>
                <a:gd name="connsiteY44" fmla="*/ 6466 h 9732"/>
                <a:gd name="connsiteX45" fmla="*/ 0 w 9704"/>
                <a:gd name="connsiteY45" fmla="*/ 9732 h 9732"/>
                <a:gd name="connsiteX46" fmla="*/ 253 w 9704"/>
                <a:gd name="connsiteY46" fmla="*/ 9700 h 9732"/>
                <a:gd name="connsiteX47" fmla="*/ 508 w 9704"/>
                <a:gd name="connsiteY47" fmla="*/ 9659 h 9732"/>
                <a:gd name="connsiteX48" fmla="*/ 755 w 9704"/>
                <a:gd name="connsiteY48" fmla="*/ 9613 h 9732"/>
                <a:gd name="connsiteX49" fmla="*/ 1012 w 9704"/>
                <a:gd name="connsiteY49" fmla="*/ 9567 h 9732"/>
                <a:gd name="connsiteX50" fmla="*/ 1251 w 9704"/>
                <a:gd name="connsiteY50" fmla="*/ 9511 h 9732"/>
                <a:gd name="connsiteX51" fmla="*/ 1497 w 9704"/>
                <a:gd name="connsiteY51" fmla="*/ 9455 h 9732"/>
                <a:gd name="connsiteX52" fmla="*/ 1740 w 9704"/>
                <a:gd name="connsiteY52" fmla="*/ 9392 h 9732"/>
                <a:gd name="connsiteX53" fmla="*/ 1980 w 9704"/>
                <a:gd name="connsiteY53" fmla="*/ 9324 h 9732"/>
                <a:gd name="connsiteX54" fmla="*/ 2213 w 9704"/>
                <a:gd name="connsiteY54" fmla="*/ 9248 h 9732"/>
                <a:gd name="connsiteX55" fmla="*/ 2448 w 9704"/>
                <a:gd name="connsiteY55" fmla="*/ 9174 h 9732"/>
                <a:gd name="connsiteX56" fmla="*/ 2684 w 9704"/>
                <a:gd name="connsiteY56" fmla="*/ 9089 h 9732"/>
                <a:gd name="connsiteX57" fmla="*/ 2918 w 9704"/>
                <a:gd name="connsiteY57" fmla="*/ 9006 h 9732"/>
                <a:gd name="connsiteX58" fmla="*/ 3142 w 9704"/>
                <a:gd name="connsiteY58" fmla="*/ 8911 h 9732"/>
                <a:gd name="connsiteX59" fmla="*/ 3366 w 9704"/>
                <a:gd name="connsiteY59" fmla="*/ 8816 h 9732"/>
                <a:gd name="connsiteX60" fmla="*/ 3593 w 9704"/>
                <a:gd name="connsiteY60" fmla="*/ 8714 h 9732"/>
                <a:gd name="connsiteX61" fmla="*/ 3811 w 9704"/>
                <a:gd name="connsiteY61" fmla="*/ 8611 h 9732"/>
                <a:gd name="connsiteX62" fmla="*/ 4027 w 9704"/>
                <a:gd name="connsiteY62" fmla="*/ 8506 h 9732"/>
                <a:gd name="connsiteX63" fmla="*/ 4245 w 9704"/>
                <a:gd name="connsiteY63" fmla="*/ 8391 h 9732"/>
                <a:gd name="connsiteX64" fmla="*/ 4456 w 9704"/>
                <a:gd name="connsiteY64" fmla="*/ 8277 h 9732"/>
                <a:gd name="connsiteX65" fmla="*/ 4664 w 9704"/>
                <a:gd name="connsiteY65" fmla="*/ 8154 h 9732"/>
                <a:gd name="connsiteX66" fmla="*/ 4871 w 9704"/>
                <a:gd name="connsiteY66" fmla="*/ 8031 h 9732"/>
                <a:gd name="connsiteX67" fmla="*/ 5067 w 9704"/>
                <a:gd name="connsiteY67" fmla="*/ 7905 h 9732"/>
                <a:gd name="connsiteX68" fmla="*/ 5265 w 9704"/>
                <a:gd name="connsiteY68" fmla="*/ 7771 h 9732"/>
                <a:gd name="connsiteX69" fmla="*/ 5462 w 9704"/>
                <a:gd name="connsiteY69" fmla="*/ 7637 h 9732"/>
                <a:gd name="connsiteX70" fmla="*/ 5652 w 9704"/>
                <a:gd name="connsiteY70" fmla="*/ 7497 h 9732"/>
                <a:gd name="connsiteX71" fmla="*/ 5844 w 9704"/>
                <a:gd name="connsiteY71" fmla="*/ 7354 h 9732"/>
                <a:gd name="connsiteX72" fmla="*/ 6027 w 9704"/>
                <a:gd name="connsiteY72" fmla="*/ 7205 h 9732"/>
                <a:gd name="connsiteX73" fmla="*/ 6210 w 9704"/>
                <a:gd name="connsiteY73" fmla="*/ 7057 h 9732"/>
                <a:gd name="connsiteX74" fmla="*/ 6385 w 9704"/>
                <a:gd name="connsiteY74" fmla="*/ 6907 h 9732"/>
                <a:gd name="connsiteX75" fmla="*/ 6563 w 9704"/>
                <a:gd name="connsiteY75" fmla="*/ 6746 h 9732"/>
                <a:gd name="connsiteX76" fmla="*/ 6734 w 9704"/>
                <a:gd name="connsiteY76" fmla="*/ 6583 h 9732"/>
                <a:gd name="connsiteX77" fmla="*/ 6899 w 9704"/>
                <a:gd name="connsiteY77" fmla="*/ 6424 h 9732"/>
                <a:gd name="connsiteX78" fmla="*/ 7063 w 9704"/>
                <a:gd name="connsiteY78" fmla="*/ 6257 h 9732"/>
                <a:gd name="connsiteX79" fmla="*/ 7221 w 9704"/>
                <a:gd name="connsiteY79" fmla="*/ 6085 h 9732"/>
                <a:gd name="connsiteX80" fmla="*/ 7378 w 9704"/>
                <a:gd name="connsiteY80" fmla="*/ 5914 h 9732"/>
                <a:gd name="connsiteX81" fmla="*/ 7529 w 9704"/>
                <a:gd name="connsiteY81" fmla="*/ 5738 h 9732"/>
                <a:gd name="connsiteX82" fmla="*/ 7680 w 9704"/>
                <a:gd name="connsiteY82" fmla="*/ 5557 h 9732"/>
                <a:gd name="connsiteX83" fmla="*/ 7819 w 9704"/>
                <a:gd name="connsiteY83" fmla="*/ 5375 h 9732"/>
                <a:gd name="connsiteX84" fmla="*/ 7956 w 9704"/>
                <a:gd name="connsiteY84" fmla="*/ 5189 h 9732"/>
                <a:gd name="connsiteX85" fmla="*/ 8094 w 9704"/>
                <a:gd name="connsiteY85" fmla="*/ 5004 h 9732"/>
                <a:gd name="connsiteX86" fmla="*/ 8223 w 9704"/>
                <a:gd name="connsiteY86" fmla="*/ 4810 h 9732"/>
                <a:gd name="connsiteX87" fmla="*/ 8348 w 9704"/>
                <a:gd name="connsiteY87" fmla="*/ 4621 h 9732"/>
                <a:gd name="connsiteX88" fmla="*/ 8470 w 9704"/>
                <a:gd name="connsiteY88" fmla="*/ 4423 h 9732"/>
                <a:gd name="connsiteX89" fmla="*/ 8583 w 9704"/>
                <a:gd name="connsiteY89" fmla="*/ 4222 h 9732"/>
                <a:gd name="connsiteX90" fmla="*/ 8695 w 9704"/>
                <a:gd name="connsiteY90" fmla="*/ 4021 h 9732"/>
                <a:gd name="connsiteX91" fmla="*/ 8807 w 9704"/>
                <a:gd name="connsiteY91" fmla="*/ 3818 h 9732"/>
                <a:gd name="connsiteX92" fmla="*/ 8912 w 9704"/>
                <a:gd name="connsiteY92" fmla="*/ 3612 h 9732"/>
                <a:gd name="connsiteX93" fmla="*/ 9005 w 9704"/>
                <a:gd name="connsiteY93" fmla="*/ 3405 h 9732"/>
                <a:gd name="connsiteX94" fmla="*/ 9102 w 9704"/>
                <a:gd name="connsiteY94" fmla="*/ 3194 h 9732"/>
                <a:gd name="connsiteX95" fmla="*/ 9187 w 9704"/>
                <a:gd name="connsiteY95" fmla="*/ 2980 h 9732"/>
                <a:gd name="connsiteX96" fmla="*/ 9273 w 9704"/>
                <a:gd name="connsiteY96" fmla="*/ 2768 h 9732"/>
                <a:gd name="connsiteX97" fmla="*/ 9348 w 9704"/>
                <a:gd name="connsiteY97" fmla="*/ 2549 h 9732"/>
                <a:gd name="connsiteX98" fmla="*/ 9420 w 9704"/>
                <a:gd name="connsiteY98" fmla="*/ 2328 h 9732"/>
                <a:gd name="connsiteX99" fmla="*/ 9486 w 9704"/>
                <a:gd name="connsiteY99" fmla="*/ 2106 h 9732"/>
                <a:gd name="connsiteX100" fmla="*/ 9552 w 9704"/>
                <a:gd name="connsiteY100" fmla="*/ 1885 h 9732"/>
                <a:gd name="connsiteX101" fmla="*/ 9607 w 9704"/>
                <a:gd name="connsiteY101" fmla="*/ 1661 h 9732"/>
                <a:gd name="connsiteX102" fmla="*/ 9659 w 9704"/>
                <a:gd name="connsiteY102" fmla="*/ 1434 h 9732"/>
                <a:gd name="connsiteX103" fmla="*/ 9704 w 9704"/>
                <a:gd name="connsiteY103" fmla="*/ 1202 h 9732"/>
                <a:gd name="connsiteX104" fmla="*/ 6115 w 9704"/>
                <a:gd name="connsiteY104" fmla="*/ 1844 h 9732"/>
                <a:gd name="connsiteX105" fmla="*/ 3120 w 9704"/>
                <a:gd name="connsiteY105" fmla="*/ 0 h 9732"/>
                <a:gd name="connsiteX0" fmla="*/ 2954 w 9739"/>
                <a:gd name="connsiteY0" fmla="*/ 0 h 9967"/>
                <a:gd name="connsiteX1" fmla="*/ 2954 w 9739"/>
                <a:gd name="connsiteY1" fmla="*/ 0 h 9967"/>
                <a:gd name="connsiteX2" fmla="*/ 2940 w 9739"/>
                <a:gd name="connsiteY2" fmla="*/ 101 h 9967"/>
                <a:gd name="connsiteX3" fmla="*/ 2919 w 9739"/>
                <a:gd name="connsiteY3" fmla="*/ 202 h 9967"/>
                <a:gd name="connsiteX4" fmla="*/ 2899 w 9739"/>
                <a:gd name="connsiteY4" fmla="*/ 303 h 9967"/>
                <a:gd name="connsiteX5" fmla="*/ 2874 w 9739"/>
                <a:gd name="connsiteY5" fmla="*/ 398 h 9967"/>
                <a:gd name="connsiteX6" fmla="*/ 2844 w 9739"/>
                <a:gd name="connsiteY6" fmla="*/ 496 h 9967"/>
                <a:gd name="connsiteX7" fmla="*/ 2816 w 9739"/>
                <a:gd name="connsiteY7" fmla="*/ 592 h 9967"/>
                <a:gd name="connsiteX8" fmla="*/ 2788 w 9739"/>
                <a:gd name="connsiteY8" fmla="*/ 688 h 9967"/>
                <a:gd name="connsiteX9" fmla="*/ 2757 w 9739"/>
                <a:gd name="connsiteY9" fmla="*/ 784 h 9967"/>
                <a:gd name="connsiteX10" fmla="*/ 2720 w 9739"/>
                <a:gd name="connsiteY10" fmla="*/ 879 h 9967"/>
                <a:gd name="connsiteX11" fmla="*/ 2681 w 9739"/>
                <a:gd name="connsiteY11" fmla="*/ 970 h 9967"/>
                <a:gd name="connsiteX12" fmla="*/ 2645 w 9739"/>
                <a:gd name="connsiteY12" fmla="*/ 1065 h 9967"/>
                <a:gd name="connsiteX13" fmla="*/ 2601 w 9739"/>
                <a:gd name="connsiteY13" fmla="*/ 1157 h 9967"/>
                <a:gd name="connsiteX14" fmla="*/ 2554 w 9739"/>
                <a:gd name="connsiteY14" fmla="*/ 1244 h 9967"/>
                <a:gd name="connsiteX15" fmla="*/ 2509 w 9739"/>
                <a:gd name="connsiteY15" fmla="*/ 1333 h 9967"/>
                <a:gd name="connsiteX16" fmla="*/ 2462 w 9739"/>
                <a:gd name="connsiteY16" fmla="*/ 1420 h 9967"/>
                <a:gd name="connsiteX17" fmla="*/ 2408 w 9739"/>
                <a:gd name="connsiteY17" fmla="*/ 1510 h 9967"/>
                <a:gd name="connsiteX18" fmla="*/ 2361 w 9739"/>
                <a:gd name="connsiteY18" fmla="*/ 1596 h 9967"/>
                <a:gd name="connsiteX19" fmla="*/ 2306 w 9739"/>
                <a:gd name="connsiteY19" fmla="*/ 1681 h 9967"/>
                <a:gd name="connsiteX20" fmla="*/ 2249 w 9739"/>
                <a:gd name="connsiteY20" fmla="*/ 1759 h 9967"/>
                <a:gd name="connsiteX21" fmla="*/ 2187 w 9739"/>
                <a:gd name="connsiteY21" fmla="*/ 1841 h 9967"/>
                <a:gd name="connsiteX22" fmla="*/ 2133 w 9739"/>
                <a:gd name="connsiteY22" fmla="*/ 1921 h 9967"/>
                <a:gd name="connsiteX23" fmla="*/ 2069 w 9739"/>
                <a:gd name="connsiteY23" fmla="*/ 2006 h 9967"/>
                <a:gd name="connsiteX24" fmla="*/ 2005 w 9739"/>
                <a:gd name="connsiteY24" fmla="*/ 2080 h 9967"/>
                <a:gd name="connsiteX25" fmla="*/ 1936 w 9739"/>
                <a:gd name="connsiteY25" fmla="*/ 2154 h 9967"/>
                <a:gd name="connsiteX26" fmla="*/ 1868 w 9739"/>
                <a:gd name="connsiteY26" fmla="*/ 2232 h 9967"/>
                <a:gd name="connsiteX27" fmla="*/ 1800 w 9739"/>
                <a:gd name="connsiteY27" fmla="*/ 2305 h 9967"/>
                <a:gd name="connsiteX28" fmla="*/ 1726 w 9739"/>
                <a:gd name="connsiteY28" fmla="*/ 2377 h 9967"/>
                <a:gd name="connsiteX29" fmla="*/ 1655 w 9739"/>
                <a:gd name="connsiteY29" fmla="*/ 2452 h 9967"/>
                <a:gd name="connsiteX30" fmla="*/ 1583 w 9739"/>
                <a:gd name="connsiteY30" fmla="*/ 2520 h 9967"/>
                <a:gd name="connsiteX31" fmla="*/ 1502 w 9739"/>
                <a:gd name="connsiteY31" fmla="*/ 2588 h 9967"/>
                <a:gd name="connsiteX32" fmla="*/ 1427 w 9739"/>
                <a:gd name="connsiteY32" fmla="*/ 2653 h 9967"/>
                <a:gd name="connsiteX33" fmla="*/ 1346 w 9739"/>
                <a:gd name="connsiteY33" fmla="*/ 2719 h 9967"/>
                <a:gd name="connsiteX34" fmla="*/ 1268 w 9739"/>
                <a:gd name="connsiteY34" fmla="*/ 2782 h 9967"/>
                <a:gd name="connsiteX35" fmla="*/ 1180 w 9739"/>
                <a:gd name="connsiteY35" fmla="*/ 2846 h 9967"/>
                <a:gd name="connsiteX36" fmla="*/ 1099 w 9739"/>
                <a:gd name="connsiteY36" fmla="*/ 2903 h 9967"/>
                <a:gd name="connsiteX37" fmla="*/ 1013 w 9739"/>
                <a:gd name="connsiteY37" fmla="*/ 2963 h 9967"/>
                <a:gd name="connsiteX38" fmla="*/ 925 w 9739"/>
                <a:gd name="connsiteY38" fmla="*/ 3020 h 9967"/>
                <a:gd name="connsiteX39" fmla="*/ 835 w 9739"/>
                <a:gd name="connsiteY39" fmla="*/ 3073 h 9967"/>
                <a:gd name="connsiteX40" fmla="*/ 745 w 9739"/>
                <a:gd name="connsiteY40" fmla="*/ 3129 h 9967"/>
                <a:gd name="connsiteX41" fmla="*/ 658 w 9739"/>
                <a:gd name="connsiteY41" fmla="*/ 3181 h 9967"/>
                <a:gd name="connsiteX42" fmla="*/ 563 w 9739"/>
                <a:gd name="connsiteY42" fmla="*/ 3229 h 9967"/>
                <a:gd name="connsiteX43" fmla="*/ 469 w 9739"/>
                <a:gd name="connsiteY43" fmla="*/ 3276 h 9967"/>
                <a:gd name="connsiteX44" fmla="*/ 643 w 9739"/>
                <a:gd name="connsiteY44" fmla="*/ 6644 h 9967"/>
                <a:gd name="connsiteX45" fmla="*/ 0 w 9739"/>
                <a:gd name="connsiteY45" fmla="*/ 9967 h 9967"/>
                <a:gd name="connsiteX46" fmla="*/ 262 w 9739"/>
                <a:gd name="connsiteY46" fmla="*/ 9925 h 9967"/>
                <a:gd name="connsiteX47" fmla="*/ 517 w 9739"/>
                <a:gd name="connsiteY47" fmla="*/ 9878 h 9967"/>
                <a:gd name="connsiteX48" fmla="*/ 782 w 9739"/>
                <a:gd name="connsiteY48" fmla="*/ 9830 h 9967"/>
                <a:gd name="connsiteX49" fmla="*/ 1028 w 9739"/>
                <a:gd name="connsiteY49" fmla="*/ 9773 h 9967"/>
                <a:gd name="connsiteX50" fmla="*/ 1282 w 9739"/>
                <a:gd name="connsiteY50" fmla="*/ 9715 h 9967"/>
                <a:gd name="connsiteX51" fmla="*/ 1532 w 9739"/>
                <a:gd name="connsiteY51" fmla="*/ 9651 h 9967"/>
                <a:gd name="connsiteX52" fmla="*/ 1779 w 9739"/>
                <a:gd name="connsiteY52" fmla="*/ 9581 h 9967"/>
                <a:gd name="connsiteX53" fmla="*/ 2020 w 9739"/>
                <a:gd name="connsiteY53" fmla="*/ 9503 h 9967"/>
                <a:gd name="connsiteX54" fmla="*/ 2262 w 9739"/>
                <a:gd name="connsiteY54" fmla="*/ 9427 h 9967"/>
                <a:gd name="connsiteX55" fmla="*/ 2505 w 9739"/>
                <a:gd name="connsiteY55" fmla="*/ 9339 h 9967"/>
                <a:gd name="connsiteX56" fmla="*/ 2746 w 9739"/>
                <a:gd name="connsiteY56" fmla="*/ 9254 h 9967"/>
                <a:gd name="connsiteX57" fmla="*/ 2977 w 9739"/>
                <a:gd name="connsiteY57" fmla="*/ 9156 h 9967"/>
                <a:gd name="connsiteX58" fmla="*/ 3208 w 9739"/>
                <a:gd name="connsiteY58" fmla="*/ 9059 h 9967"/>
                <a:gd name="connsiteX59" fmla="*/ 3442 w 9739"/>
                <a:gd name="connsiteY59" fmla="*/ 8954 h 9967"/>
                <a:gd name="connsiteX60" fmla="*/ 3666 w 9739"/>
                <a:gd name="connsiteY60" fmla="*/ 8848 h 9967"/>
                <a:gd name="connsiteX61" fmla="*/ 3889 w 9739"/>
                <a:gd name="connsiteY61" fmla="*/ 8740 h 9967"/>
                <a:gd name="connsiteX62" fmla="*/ 4113 w 9739"/>
                <a:gd name="connsiteY62" fmla="*/ 8622 h 9967"/>
                <a:gd name="connsiteX63" fmla="*/ 4331 w 9739"/>
                <a:gd name="connsiteY63" fmla="*/ 8505 h 9967"/>
                <a:gd name="connsiteX64" fmla="*/ 4545 w 9739"/>
                <a:gd name="connsiteY64" fmla="*/ 8379 h 9967"/>
                <a:gd name="connsiteX65" fmla="*/ 4759 w 9739"/>
                <a:gd name="connsiteY65" fmla="*/ 8252 h 9967"/>
                <a:gd name="connsiteX66" fmla="*/ 4961 w 9739"/>
                <a:gd name="connsiteY66" fmla="*/ 8123 h 9967"/>
                <a:gd name="connsiteX67" fmla="*/ 5165 w 9739"/>
                <a:gd name="connsiteY67" fmla="*/ 7985 h 9967"/>
                <a:gd name="connsiteX68" fmla="*/ 5368 w 9739"/>
                <a:gd name="connsiteY68" fmla="*/ 7847 h 9967"/>
                <a:gd name="connsiteX69" fmla="*/ 5563 w 9739"/>
                <a:gd name="connsiteY69" fmla="*/ 7703 h 9967"/>
                <a:gd name="connsiteX70" fmla="*/ 5761 w 9739"/>
                <a:gd name="connsiteY70" fmla="*/ 7557 h 9967"/>
                <a:gd name="connsiteX71" fmla="*/ 5950 w 9739"/>
                <a:gd name="connsiteY71" fmla="*/ 7403 h 9967"/>
                <a:gd name="connsiteX72" fmla="*/ 6138 w 9739"/>
                <a:gd name="connsiteY72" fmla="*/ 7251 h 9967"/>
                <a:gd name="connsiteX73" fmla="*/ 6319 w 9739"/>
                <a:gd name="connsiteY73" fmla="*/ 7097 h 9967"/>
                <a:gd name="connsiteX74" fmla="*/ 6502 w 9739"/>
                <a:gd name="connsiteY74" fmla="*/ 6932 h 9967"/>
                <a:gd name="connsiteX75" fmla="*/ 6678 w 9739"/>
                <a:gd name="connsiteY75" fmla="*/ 6764 h 9967"/>
                <a:gd name="connsiteX76" fmla="*/ 6848 w 9739"/>
                <a:gd name="connsiteY76" fmla="*/ 6601 h 9967"/>
                <a:gd name="connsiteX77" fmla="*/ 7017 w 9739"/>
                <a:gd name="connsiteY77" fmla="*/ 6429 h 9967"/>
                <a:gd name="connsiteX78" fmla="*/ 7180 w 9739"/>
                <a:gd name="connsiteY78" fmla="*/ 6253 h 9967"/>
                <a:gd name="connsiteX79" fmla="*/ 7342 w 9739"/>
                <a:gd name="connsiteY79" fmla="*/ 6077 h 9967"/>
                <a:gd name="connsiteX80" fmla="*/ 7498 w 9739"/>
                <a:gd name="connsiteY80" fmla="*/ 5896 h 9967"/>
                <a:gd name="connsiteX81" fmla="*/ 7653 w 9739"/>
                <a:gd name="connsiteY81" fmla="*/ 5710 h 9967"/>
                <a:gd name="connsiteX82" fmla="*/ 7797 w 9739"/>
                <a:gd name="connsiteY82" fmla="*/ 5523 h 9967"/>
                <a:gd name="connsiteX83" fmla="*/ 7938 w 9739"/>
                <a:gd name="connsiteY83" fmla="*/ 5332 h 9967"/>
                <a:gd name="connsiteX84" fmla="*/ 8080 w 9739"/>
                <a:gd name="connsiteY84" fmla="*/ 5142 h 9967"/>
                <a:gd name="connsiteX85" fmla="*/ 8213 w 9739"/>
                <a:gd name="connsiteY85" fmla="*/ 4942 h 9967"/>
                <a:gd name="connsiteX86" fmla="*/ 8342 w 9739"/>
                <a:gd name="connsiteY86" fmla="*/ 4748 h 9967"/>
                <a:gd name="connsiteX87" fmla="*/ 8467 w 9739"/>
                <a:gd name="connsiteY87" fmla="*/ 4545 h 9967"/>
                <a:gd name="connsiteX88" fmla="*/ 8584 w 9739"/>
                <a:gd name="connsiteY88" fmla="*/ 4338 h 9967"/>
                <a:gd name="connsiteX89" fmla="*/ 8699 w 9739"/>
                <a:gd name="connsiteY89" fmla="*/ 4132 h 9967"/>
                <a:gd name="connsiteX90" fmla="*/ 8815 w 9739"/>
                <a:gd name="connsiteY90" fmla="*/ 3923 h 9967"/>
                <a:gd name="connsiteX91" fmla="*/ 8923 w 9739"/>
                <a:gd name="connsiteY91" fmla="*/ 3711 h 9967"/>
                <a:gd name="connsiteX92" fmla="*/ 9019 w 9739"/>
                <a:gd name="connsiteY92" fmla="*/ 3499 h 9967"/>
                <a:gd name="connsiteX93" fmla="*/ 9119 w 9739"/>
                <a:gd name="connsiteY93" fmla="*/ 3282 h 9967"/>
                <a:gd name="connsiteX94" fmla="*/ 9206 w 9739"/>
                <a:gd name="connsiteY94" fmla="*/ 3062 h 9967"/>
                <a:gd name="connsiteX95" fmla="*/ 9295 w 9739"/>
                <a:gd name="connsiteY95" fmla="*/ 2844 h 9967"/>
                <a:gd name="connsiteX96" fmla="*/ 9372 w 9739"/>
                <a:gd name="connsiteY96" fmla="*/ 2619 h 9967"/>
                <a:gd name="connsiteX97" fmla="*/ 9446 w 9739"/>
                <a:gd name="connsiteY97" fmla="*/ 2392 h 9967"/>
                <a:gd name="connsiteX98" fmla="*/ 9514 w 9739"/>
                <a:gd name="connsiteY98" fmla="*/ 2164 h 9967"/>
                <a:gd name="connsiteX99" fmla="*/ 9582 w 9739"/>
                <a:gd name="connsiteY99" fmla="*/ 1937 h 9967"/>
                <a:gd name="connsiteX100" fmla="*/ 9639 w 9739"/>
                <a:gd name="connsiteY100" fmla="*/ 1707 h 9967"/>
                <a:gd name="connsiteX101" fmla="*/ 9693 w 9739"/>
                <a:gd name="connsiteY101" fmla="*/ 1473 h 9967"/>
                <a:gd name="connsiteX102" fmla="*/ 9739 w 9739"/>
                <a:gd name="connsiteY102" fmla="*/ 1235 h 9967"/>
                <a:gd name="connsiteX103" fmla="*/ 6041 w 9739"/>
                <a:gd name="connsiteY103" fmla="*/ 1895 h 9967"/>
                <a:gd name="connsiteX104" fmla="*/ 2954 w 9739"/>
                <a:gd name="connsiteY104" fmla="*/ 0 h 9967"/>
                <a:gd name="connsiteX0" fmla="*/ 2764 w 9731"/>
                <a:gd name="connsiteY0" fmla="*/ 0 h 9958"/>
                <a:gd name="connsiteX1" fmla="*/ 2764 w 9731"/>
                <a:gd name="connsiteY1" fmla="*/ 0 h 9958"/>
                <a:gd name="connsiteX2" fmla="*/ 2750 w 9731"/>
                <a:gd name="connsiteY2" fmla="*/ 101 h 9958"/>
                <a:gd name="connsiteX3" fmla="*/ 2728 w 9731"/>
                <a:gd name="connsiteY3" fmla="*/ 203 h 9958"/>
                <a:gd name="connsiteX4" fmla="*/ 2708 w 9731"/>
                <a:gd name="connsiteY4" fmla="*/ 304 h 9958"/>
                <a:gd name="connsiteX5" fmla="*/ 2682 w 9731"/>
                <a:gd name="connsiteY5" fmla="*/ 399 h 9958"/>
                <a:gd name="connsiteX6" fmla="*/ 2651 w 9731"/>
                <a:gd name="connsiteY6" fmla="*/ 498 h 9958"/>
                <a:gd name="connsiteX7" fmla="*/ 2622 w 9731"/>
                <a:gd name="connsiteY7" fmla="*/ 594 h 9958"/>
                <a:gd name="connsiteX8" fmla="*/ 2594 w 9731"/>
                <a:gd name="connsiteY8" fmla="*/ 690 h 9958"/>
                <a:gd name="connsiteX9" fmla="*/ 2562 w 9731"/>
                <a:gd name="connsiteY9" fmla="*/ 787 h 9958"/>
                <a:gd name="connsiteX10" fmla="*/ 2524 w 9731"/>
                <a:gd name="connsiteY10" fmla="*/ 882 h 9958"/>
                <a:gd name="connsiteX11" fmla="*/ 2484 w 9731"/>
                <a:gd name="connsiteY11" fmla="*/ 973 h 9958"/>
                <a:gd name="connsiteX12" fmla="*/ 2447 w 9731"/>
                <a:gd name="connsiteY12" fmla="*/ 1069 h 9958"/>
                <a:gd name="connsiteX13" fmla="*/ 2402 w 9731"/>
                <a:gd name="connsiteY13" fmla="*/ 1161 h 9958"/>
                <a:gd name="connsiteX14" fmla="*/ 2353 w 9731"/>
                <a:gd name="connsiteY14" fmla="*/ 1248 h 9958"/>
                <a:gd name="connsiteX15" fmla="*/ 2307 w 9731"/>
                <a:gd name="connsiteY15" fmla="*/ 1337 h 9958"/>
                <a:gd name="connsiteX16" fmla="*/ 2259 w 9731"/>
                <a:gd name="connsiteY16" fmla="*/ 1425 h 9958"/>
                <a:gd name="connsiteX17" fmla="*/ 2204 w 9731"/>
                <a:gd name="connsiteY17" fmla="*/ 1515 h 9958"/>
                <a:gd name="connsiteX18" fmla="*/ 2155 w 9731"/>
                <a:gd name="connsiteY18" fmla="*/ 1601 h 9958"/>
                <a:gd name="connsiteX19" fmla="*/ 2099 w 9731"/>
                <a:gd name="connsiteY19" fmla="*/ 1687 h 9958"/>
                <a:gd name="connsiteX20" fmla="*/ 2040 w 9731"/>
                <a:gd name="connsiteY20" fmla="*/ 1765 h 9958"/>
                <a:gd name="connsiteX21" fmla="*/ 1977 w 9731"/>
                <a:gd name="connsiteY21" fmla="*/ 1847 h 9958"/>
                <a:gd name="connsiteX22" fmla="*/ 1921 w 9731"/>
                <a:gd name="connsiteY22" fmla="*/ 1927 h 9958"/>
                <a:gd name="connsiteX23" fmla="*/ 1855 w 9731"/>
                <a:gd name="connsiteY23" fmla="*/ 2013 h 9958"/>
                <a:gd name="connsiteX24" fmla="*/ 1790 w 9731"/>
                <a:gd name="connsiteY24" fmla="*/ 2087 h 9958"/>
                <a:gd name="connsiteX25" fmla="*/ 1719 w 9731"/>
                <a:gd name="connsiteY25" fmla="*/ 2161 h 9958"/>
                <a:gd name="connsiteX26" fmla="*/ 1649 w 9731"/>
                <a:gd name="connsiteY26" fmla="*/ 2239 h 9958"/>
                <a:gd name="connsiteX27" fmla="*/ 1579 w 9731"/>
                <a:gd name="connsiteY27" fmla="*/ 2313 h 9958"/>
                <a:gd name="connsiteX28" fmla="*/ 1503 w 9731"/>
                <a:gd name="connsiteY28" fmla="*/ 2385 h 9958"/>
                <a:gd name="connsiteX29" fmla="*/ 1430 w 9731"/>
                <a:gd name="connsiteY29" fmla="*/ 2460 h 9958"/>
                <a:gd name="connsiteX30" fmla="*/ 1356 w 9731"/>
                <a:gd name="connsiteY30" fmla="*/ 2528 h 9958"/>
                <a:gd name="connsiteX31" fmla="*/ 1273 w 9731"/>
                <a:gd name="connsiteY31" fmla="*/ 2597 h 9958"/>
                <a:gd name="connsiteX32" fmla="*/ 1196 w 9731"/>
                <a:gd name="connsiteY32" fmla="*/ 2662 h 9958"/>
                <a:gd name="connsiteX33" fmla="*/ 1113 w 9731"/>
                <a:gd name="connsiteY33" fmla="*/ 2728 h 9958"/>
                <a:gd name="connsiteX34" fmla="*/ 1033 w 9731"/>
                <a:gd name="connsiteY34" fmla="*/ 2791 h 9958"/>
                <a:gd name="connsiteX35" fmla="*/ 943 w 9731"/>
                <a:gd name="connsiteY35" fmla="*/ 2855 h 9958"/>
                <a:gd name="connsiteX36" fmla="*/ 859 w 9731"/>
                <a:gd name="connsiteY36" fmla="*/ 2913 h 9958"/>
                <a:gd name="connsiteX37" fmla="*/ 771 w 9731"/>
                <a:gd name="connsiteY37" fmla="*/ 2973 h 9958"/>
                <a:gd name="connsiteX38" fmla="*/ 681 w 9731"/>
                <a:gd name="connsiteY38" fmla="*/ 3030 h 9958"/>
                <a:gd name="connsiteX39" fmla="*/ 588 w 9731"/>
                <a:gd name="connsiteY39" fmla="*/ 3083 h 9958"/>
                <a:gd name="connsiteX40" fmla="*/ 496 w 9731"/>
                <a:gd name="connsiteY40" fmla="*/ 3139 h 9958"/>
                <a:gd name="connsiteX41" fmla="*/ 407 w 9731"/>
                <a:gd name="connsiteY41" fmla="*/ 3192 h 9958"/>
                <a:gd name="connsiteX42" fmla="*/ 309 w 9731"/>
                <a:gd name="connsiteY42" fmla="*/ 3240 h 9958"/>
                <a:gd name="connsiteX43" fmla="*/ 213 w 9731"/>
                <a:gd name="connsiteY43" fmla="*/ 3287 h 9958"/>
                <a:gd name="connsiteX44" fmla="*/ 391 w 9731"/>
                <a:gd name="connsiteY44" fmla="*/ 6666 h 9958"/>
                <a:gd name="connsiteX45" fmla="*/ 0 w 9731"/>
                <a:gd name="connsiteY45" fmla="*/ 9958 h 9958"/>
                <a:gd name="connsiteX46" fmla="*/ 262 w 9731"/>
                <a:gd name="connsiteY46" fmla="*/ 9911 h 9958"/>
                <a:gd name="connsiteX47" fmla="*/ 534 w 9731"/>
                <a:gd name="connsiteY47" fmla="*/ 9863 h 9958"/>
                <a:gd name="connsiteX48" fmla="*/ 787 w 9731"/>
                <a:gd name="connsiteY48" fmla="*/ 9805 h 9958"/>
                <a:gd name="connsiteX49" fmla="*/ 1047 w 9731"/>
                <a:gd name="connsiteY49" fmla="*/ 9747 h 9958"/>
                <a:gd name="connsiteX50" fmla="*/ 1304 w 9731"/>
                <a:gd name="connsiteY50" fmla="*/ 9683 h 9958"/>
                <a:gd name="connsiteX51" fmla="*/ 1558 w 9731"/>
                <a:gd name="connsiteY51" fmla="*/ 9613 h 9958"/>
                <a:gd name="connsiteX52" fmla="*/ 1805 w 9731"/>
                <a:gd name="connsiteY52" fmla="*/ 9534 h 9958"/>
                <a:gd name="connsiteX53" fmla="*/ 2054 w 9731"/>
                <a:gd name="connsiteY53" fmla="*/ 9458 h 9958"/>
                <a:gd name="connsiteX54" fmla="*/ 2303 w 9731"/>
                <a:gd name="connsiteY54" fmla="*/ 9370 h 9958"/>
                <a:gd name="connsiteX55" fmla="*/ 2551 w 9731"/>
                <a:gd name="connsiteY55" fmla="*/ 9285 h 9958"/>
                <a:gd name="connsiteX56" fmla="*/ 2788 w 9731"/>
                <a:gd name="connsiteY56" fmla="*/ 9186 h 9958"/>
                <a:gd name="connsiteX57" fmla="*/ 3025 w 9731"/>
                <a:gd name="connsiteY57" fmla="*/ 9089 h 9958"/>
                <a:gd name="connsiteX58" fmla="*/ 3265 w 9731"/>
                <a:gd name="connsiteY58" fmla="*/ 8984 h 9958"/>
                <a:gd name="connsiteX59" fmla="*/ 3495 w 9731"/>
                <a:gd name="connsiteY59" fmla="*/ 8877 h 9958"/>
                <a:gd name="connsiteX60" fmla="*/ 3724 w 9731"/>
                <a:gd name="connsiteY60" fmla="*/ 8769 h 9958"/>
                <a:gd name="connsiteX61" fmla="*/ 3954 w 9731"/>
                <a:gd name="connsiteY61" fmla="*/ 8651 h 9958"/>
                <a:gd name="connsiteX62" fmla="*/ 4178 w 9731"/>
                <a:gd name="connsiteY62" fmla="*/ 8533 h 9958"/>
                <a:gd name="connsiteX63" fmla="*/ 4398 w 9731"/>
                <a:gd name="connsiteY63" fmla="*/ 8407 h 9958"/>
                <a:gd name="connsiteX64" fmla="*/ 4618 w 9731"/>
                <a:gd name="connsiteY64" fmla="*/ 8279 h 9958"/>
                <a:gd name="connsiteX65" fmla="*/ 4825 w 9731"/>
                <a:gd name="connsiteY65" fmla="*/ 8150 h 9958"/>
                <a:gd name="connsiteX66" fmla="*/ 5034 w 9731"/>
                <a:gd name="connsiteY66" fmla="*/ 8011 h 9958"/>
                <a:gd name="connsiteX67" fmla="*/ 5243 w 9731"/>
                <a:gd name="connsiteY67" fmla="*/ 7873 h 9958"/>
                <a:gd name="connsiteX68" fmla="*/ 5443 w 9731"/>
                <a:gd name="connsiteY68" fmla="*/ 7729 h 9958"/>
                <a:gd name="connsiteX69" fmla="*/ 5646 w 9731"/>
                <a:gd name="connsiteY69" fmla="*/ 7582 h 9958"/>
                <a:gd name="connsiteX70" fmla="*/ 5840 w 9731"/>
                <a:gd name="connsiteY70" fmla="*/ 7428 h 9958"/>
                <a:gd name="connsiteX71" fmla="*/ 6033 w 9731"/>
                <a:gd name="connsiteY71" fmla="*/ 7275 h 9958"/>
                <a:gd name="connsiteX72" fmla="*/ 6219 w 9731"/>
                <a:gd name="connsiteY72" fmla="*/ 7120 h 9958"/>
                <a:gd name="connsiteX73" fmla="*/ 6407 w 9731"/>
                <a:gd name="connsiteY73" fmla="*/ 6955 h 9958"/>
                <a:gd name="connsiteX74" fmla="*/ 6588 w 9731"/>
                <a:gd name="connsiteY74" fmla="*/ 6786 h 9958"/>
                <a:gd name="connsiteX75" fmla="*/ 6763 w 9731"/>
                <a:gd name="connsiteY75" fmla="*/ 6623 h 9958"/>
                <a:gd name="connsiteX76" fmla="*/ 6936 w 9731"/>
                <a:gd name="connsiteY76" fmla="*/ 6450 h 9958"/>
                <a:gd name="connsiteX77" fmla="*/ 7103 w 9731"/>
                <a:gd name="connsiteY77" fmla="*/ 6274 h 9958"/>
                <a:gd name="connsiteX78" fmla="*/ 7270 w 9731"/>
                <a:gd name="connsiteY78" fmla="*/ 6097 h 9958"/>
                <a:gd name="connsiteX79" fmla="*/ 7430 w 9731"/>
                <a:gd name="connsiteY79" fmla="*/ 5916 h 9958"/>
                <a:gd name="connsiteX80" fmla="*/ 7589 w 9731"/>
                <a:gd name="connsiteY80" fmla="*/ 5729 h 9958"/>
                <a:gd name="connsiteX81" fmla="*/ 7737 w 9731"/>
                <a:gd name="connsiteY81" fmla="*/ 5541 h 9958"/>
                <a:gd name="connsiteX82" fmla="*/ 7882 w 9731"/>
                <a:gd name="connsiteY82" fmla="*/ 5350 h 9958"/>
                <a:gd name="connsiteX83" fmla="*/ 8028 w 9731"/>
                <a:gd name="connsiteY83" fmla="*/ 5159 h 9958"/>
                <a:gd name="connsiteX84" fmla="*/ 8164 w 9731"/>
                <a:gd name="connsiteY84" fmla="*/ 4958 h 9958"/>
                <a:gd name="connsiteX85" fmla="*/ 8297 w 9731"/>
                <a:gd name="connsiteY85" fmla="*/ 4764 h 9958"/>
                <a:gd name="connsiteX86" fmla="*/ 8425 w 9731"/>
                <a:gd name="connsiteY86" fmla="*/ 4560 h 9958"/>
                <a:gd name="connsiteX87" fmla="*/ 8545 w 9731"/>
                <a:gd name="connsiteY87" fmla="*/ 4352 h 9958"/>
                <a:gd name="connsiteX88" fmla="*/ 8663 w 9731"/>
                <a:gd name="connsiteY88" fmla="*/ 4146 h 9958"/>
                <a:gd name="connsiteX89" fmla="*/ 8782 w 9731"/>
                <a:gd name="connsiteY89" fmla="*/ 3936 h 9958"/>
                <a:gd name="connsiteX90" fmla="*/ 8893 w 9731"/>
                <a:gd name="connsiteY90" fmla="*/ 3723 h 9958"/>
                <a:gd name="connsiteX91" fmla="*/ 8992 w 9731"/>
                <a:gd name="connsiteY91" fmla="*/ 3511 h 9958"/>
                <a:gd name="connsiteX92" fmla="*/ 9094 w 9731"/>
                <a:gd name="connsiteY92" fmla="*/ 3293 h 9958"/>
                <a:gd name="connsiteX93" fmla="*/ 9184 w 9731"/>
                <a:gd name="connsiteY93" fmla="*/ 3072 h 9958"/>
                <a:gd name="connsiteX94" fmla="*/ 9275 w 9731"/>
                <a:gd name="connsiteY94" fmla="*/ 2853 h 9958"/>
                <a:gd name="connsiteX95" fmla="*/ 9354 w 9731"/>
                <a:gd name="connsiteY95" fmla="*/ 2628 h 9958"/>
                <a:gd name="connsiteX96" fmla="*/ 9430 w 9731"/>
                <a:gd name="connsiteY96" fmla="*/ 2400 h 9958"/>
                <a:gd name="connsiteX97" fmla="*/ 9500 w 9731"/>
                <a:gd name="connsiteY97" fmla="*/ 2171 h 9958"/>
                <a:gd name="connsiteX98" fmla="*/ 9570 w 9731"/>
                <a:gd name="connsiteY98" fmla="*/ 1943 h 9958"/>
                <a:gd name="connsiteX99" fmla="*/ 9628 w 9731"/>
                <a:gd name="connsiteY99" fmla="*/ 1713 h 9958"/>
                <a:gd name="connsiteX100" fmla="*/ 9684 w 9731"/>
                <a:gd name="connsiteY100" fmla="*/ 1478 h 9958"/>
                <a:gd name="connsiteX101" fmla="*/ 9731 w 9731"/>
                <a:gd name="connsiteY101" fmla="*/ 1239 h 9958"/>
                <a:gd name="connsiteX102" fmla="*/ 5934 w 9731"/>
                <a:gd name="connsiteY102" fmla="*/ 1901 h 9958"/>
                <a:gd name="connsiteX103" fmla="*/ 2764 w 9731"/>
                <a:gd name="connsiteY103" fmla="*/ 0 h 9958"/>
                <a:gd name="connsiteX0" fmla="*/ 2621 w 9781"/>
                <a:gd name="connsiteY0" fmla="*/ 0 h 9953"/>
                <a:gd name="connsiteX1" fmla="*/ 2621 w 9781"/>
                <a:gd name="connsiteY1" fmla="*/ 0 h 9953"/>
                <a:gd name="connsiteX2" fmla="*/ 2607 w 9781"/>
                <a:gd name="connsiteY2" fmla="*/ 101 h 9953"/>
                <a:gd name="connsiteX3" fmla="*/ 2584 w 9781"/>
                <a:gd name="connsiteY3" fmla="*/ 204 h 9953"/>
                <a:gd name="connsiteX4" fmla="*/ 2564 w 9781"/>
                <a:gd name="connsiteY4" fmla="*/ 305 h 9953"/>
                <a:gd name="connsiteX5" fmla="*/ 2537 w 9781"/>
                <a:gd name="connsiteY5" fmla="*/ 401 h 9953"/>
                <a:gd name="connsiteX6" fmla="*/ 2505 w 9781"/>
                <a:gd name="connsiteY6" fmla="*/ 500 h 9953"/>
                <a:gd name="connsiteX7" fmla="*/ 2475 w 9781"/>
                <a:gd name="connsiteY7" fmla="*/ 597 h 9953"/>
                <a:gd name="connsiteX8" fmla="*/ 2447 w 9781"/>
                <a:gd name="connsiteY8" fmla="*/ 693 h 9953"/>
                <a:gd name="connsiteX9" fmla="*/ 2414 w 9781"/>
                <a:gd name="connsiteY9" fmla="*/ 790 h 9953"/>
                <a:gd name="connsiteX10" fmla="*/ 2375 w 9781"/>
                <a:gd name="connsiteY10" fmla="*/ 886 h 9953"/>
                <a:gd name="connsiteX11" fmla="*/ 2334 w 9781"/>
                <a:gd name="connsiteY11" fmla="*/ 977 h 9953"/>
                <a:gd name="connsiteX12" fmla="*/ 2296 w 9781"/>
                <a:gd name="connsiteY12" fmla="*/ 1074 h 9953"/>
                <a:gd name="connsiteX13" fmla="*/ 2249 w 9781"/>
                <a:gd name="connsiteY13" fmla="*/ 1166 h 9953"/>
                <a:gd name="connsiteX14" fmla="*/ 2199 w 9781"/>
                <a:gd name="connsiteY14" fmla="*/ 1253 h 9953"/>
                <a:gd name="connsiteX15" fmla="*/ 2152 w 9781"/>
                <a:gd name="connsiteY15" fmla="*/ 1343 h 9953"/>
                <a:gd name="connsiteX16" fmla="*/ 2102 w 9781"/>
                <a:gd name="connsiteY16" fmla="*/ 1431 h 9953"/>
                <a:gd name="connsiteX17" fmla="*/ 2046 w 9781"/>
                <a:gd name="connsiteY17" fmla="*/ 1521 h 9953"/>
                <a:gd name="connsiteX18" fmla="*/ 1996 w 9781"/>
                <a:gd name="connsiteY18" fmla="*/ 1608 h 9953"/>
                <a:gd name="connsiteX19" fmla="*/ 1938 w 9781"/>
                <a:gd name="connsiteY19" fmla="*/ 1694 h 9953"/>
                <a:gd name="connsiteX20" fmla="*/ 1877 w 9781"/>
                <a:gd name="connsiteY20" fmla="*/ 1772 h 9953"/>
                <a:gd name="connsiteX21" fmla="*/ 1813 w 9781"/>
                <a:gd name="connsiteY21" fmla="*/ 1855 h 9953"/>
                <a:gd name="connsiteX22" fmla="*/ 1755 w 9781"/>
                <a:gd name="connsiteY22" fmla="*/ 1935 h 9953"/>
                <a:gd name="connsiteX23" fmla="*/ 1687 w 9781"/>
                <a:gd name="connsiteY23" fmla="*/ 2021 h 9953"/>
                <a:gd name="connsiteX24" fmla="*/ 1620 w 9781"/>
                <a:gd name="connsiteY24" fmla="*/ 2096 h 9953"/>
                <a:gd name="connsiteX25" fmla="*/ 1548 w 9781"/>
                <a:gd name="connsiteY25" fmla="*/ 2170 h 9953"/>
                <a:gd name="connsiteX26" fmla="*/ 1476 w 9781"/>
                <a:gd name="connsiteY26" fmla="*/ 2248 h 9953"/>
                <a:gd name="connsiteX27" fmla="*/ 1404 w 9781"/>
                <a:gd name="connsiteY27" fmla="*/ 2323 h 9953"/>
                <a:gd name="connsiteX28" fmla="*/ 1326 w 9781"/>
                <a:gd name="connsiteY28" fmla="*/ 2395 h 9953"/>
                <a:gd name="connsiteX29" fmla="*/ 1251 w 9781"/>
                <a:gd name="connsiteY29" fmla="*/ 2470 h 9953"/>
                <a:gd name="connsiteX30" fmla="*/ 1174 w 9781"/>
                <a:gd name="connsiteY30" fmla="*/ 2539 h 9953"/>
                <a:gd name="connsiteX31" fmla="*/ 1089 w 9781"/>
                <a:gd name="connsiteY31" fmla="*/ 2608 h 9953"/>
                <a:gd name="connsiteX32" fmla="*/ 1010 w 9781"/>
                <a:gd name="connsiteY32" fmla="*/ 2673 h 9953"/>
                <a:gd name="connsiteX33" fmla="*/ 925 w 9781"/>
                <a:gd name="connsiteY33" fmla="*/ 2740 h 9953"/>
                <a:gd name="connsiteX34" fmla="*/ 843 w 9781"/>
                <a:gd name="connsiteY34" fmla="*/ 2803 h 9953"/>
                <a:gd name="connsiteX35" fmla="*/ 750 w 9781"/>
                <a:gd name="connsiteY35" fmla="*/ 2867 h 9953"/>
                <a:gd name="connsiteX36" fmla="*/ 664 w 9781"/>
                <a:gd name="connsiteY36" fmla="*/ 2925 h 9953"/>
                <a:gd name="connsiteX37" fmla="*/ 573 w 9781"/>
                <a:gd name="connsiteY37" fmla="*/ 2986 h 9953"/>
                <a:gd name="connsiteX38" fmla="*/ 481 w 9781"/>
                <a:gd name="connsiteY38" fmla="*/ 3043 h 9953"/>
                <a:gd name="connsiteX39" fmla="*/ 385 w 9781"/>
                <a:gd name="connsiteY39" fmla="*/ 3096 h 9953"/>
                <a:gd name="connsiteX40" fmla="*/ 291 w 9781"/>
                <a:gd name="connsiteY40" fmla="*/ 3152 h 9953"/>
                <a:gd name="connsiteX41" fmla="*/ 199 w 9781"/>
                <a:gd name="connsiteY41" fmla="*/ 3205 h 9953"/>
                <a:gd name="connsiteX42" fmla="*/ 99 w 9781"/>
                <a:gd name="connsiteY42" fmla="*/ 3254 h 9953"/>
                <a:gd name="connsiteX43" fmla="*/ 0 w 9781"/>
                <a:gd name="connsiteY43" fmla="*/ 3301 h 9953"/>
                <a:gd name="connsiteX44" fmla="*/ 183 w 9781"/>
                <a:gd name="connsiteY44" fmla="*/ 6694 h 9953"/>
                <a:gd name="connsiteX45" fmla="*/ 50 w 9781"/>
                <a:gd name="connsiteY45" fmla="*/ 9953 h 9953"/>
                <a:gd name="connsiteX46" fmla="*/ 330 w 9781"/>
                <a:gd name="connsiteY46" fmla="*/ 9905 h 9953"/>
                <a:gd name="connsiteX47" fmla="*/ 590 w 9781"/>
                <a:gd name="connsiteY47" fmla="*/ 9846 h 9953"/>
                <a:gd name="connsiteX48" fmla="*/ 857 w 9781"/>
                <a:gd name="connsiteY48" fmla="*/ 9788 h 9953"/>
                <a:gd name="connsiteX49" fmla="*/ 1121 w 9781"/>
                <a:gd name="connsiteY49" fmla="*/ 9724 h 9953"/>
                <a:gd name="connsiteX50" fmla="*/ 1382 w 9781"/>
                <a:gd name="connsiteY50" fmla="*/ 9654 h 9953"/>
                <a:gd name="connsiteX51" fmla="*/ 1636 w 9781"/>
                <a:gd name="connsiteY51" fmla="*/ 9574 h 9953"/>
                <a:gd name="connsiteX52" fmla="*/ 1892 w 9781"/>
                <a:gd name="connsiteY52" fmla="*/ 9498 h 9953"/>
                <a:gd name="connsiteX53" fmla="*/ 2148 w 9781"/>
                <a:gd name="connsiteY53" fmla="*/ 9410 h 9953"/>
                <a:gd name="connsiteX54" fmla="*/ 2403 w 9781"/>
                <a:gd name="connsiteY54" fmla="*/ 9324 h 9953"/>
                <a:gd name="connsiteX55" fmla="*/ 2646 w 9781"/>
                <a:gd name="connsiteY55" fmla="*/ 9225 h 9953"/>
                <a:gd name="connsiteX56" fmla="*/ 2890 w 9781"/>
                <a:gd name="connsiteY56" fmla="*/ 9127 h 9953"/>
                <a:gd name="connsiteX57" fmla="*/ 3136 w 9781"/>
                <a:gd name="connsiteY57" fmla="*/ 9022 h 9953"/>
                <a:gd name="connsiteX58" fmla="*/ 3373 w 9781"/>
                <a:gd name="connsiteY58" fmla="*/ 8914 h 9953"/>
                <a:gd name="connsiteX59" fmla="*/ 3608 w 9781"/>
                <a:gd name="connsiteY59" fmla="*/ 8806 h 9953"/>
                <a:gd name="connsiteX60" fmla="*/ 3844 w 9781"/>
                <a:gd name="connsiteY60" fmla="*/ 8687 h 9953"/>
                <a:gd name="connsiteX61" fmla="*/ 4074 w 9781"/>
                <a:gd name="connsiteY61" fmla="*/ 8569 h 9953"/>
                <a:gd name="connsiteX62" fmla="*/ 4301 w 9781"/>
                <a:gd name="connsiteY62" fmla="*/ 8442 h 9953"/>
                <a:gd name="connsiteX63" fmla="*/ 4527 w 9781"/>
                <a:gd name="connsiteY63" fmla="*/ 8314 h 9953"/>
                <a:gd name="connsiteX64" fmla="*/ 4739 w 9781"/>
                <a:gd name="connsiteY64" fmla="*/ 8184 h 9953"/>
                <a:gd name="connsiteX65" fmla="*/ 4954 w 9781"/>
                <a:gd name="connsiteY65" fmla="*/ 8045 h 9953"/>
                <a:gd name="connsiteX66" fmla="*/ 5169 w 9781"/>
                <a:gd name="connsiteY66" fmla="*/ 7906 h 9953"/>
                <a:gd name="connsiteX67" fmla="*/ 5374 w 9781"/>
                <a:gd name="connsiteY67" fmla="*/ 7762 h 9953"/>
                <a:gd name="connsiteX68" fmla="*/ 5583 w 9781"/>
                <a:gd name="connsiteY68" fmla="*/ 7614 h 9953"/>
                <a:gd name="connsiteX69" fmla="*/ 5782 w 9781"/>
                <a:gd name="connsiteY69" fmla="*/ 7459 h 9953"/>
                <a:gd name="connsiteX70" fmla="*/ 5981 w 9781"/>
                <a:gd name="connsiteY70" fmla="*/ 7306 h 9953"/>
                <a:gd name="connsiteX71" fmla="*/ 6172 w 9781"/>
                <a:gd name="connsiteY71" fmla="*/ 7150 h 9953"/>
                <a:gd name="connsiteX72" fmla="*/ 6365 w 9781"/>
                <a:gd name="connsiteY72" fmla="*/ 6984 h 9953"/>
                <a:gd name="connsiteX73" fmla="*/ 6551 w 9781"/>
                <a:gd name="connsiteY73" fmla="*/ 6815 h 9953"/>
                <a:gd name="connsiteX74" fmla="*/ 6731 w 9781"/>
                <a:gd name="connsiteY74" fmla="*/ 6651 h 9953"/>
                <a:gd name="connsiteX75" fmla="*/ 6909 w 9781"/>
                <a:gd name="connsiteY75" fmla="*/ 6477 h 9953"/>
                <a:gd name="connsiteX76" fmla="*/ 7080 w 9781"/>
                <a:gd name="connsiteY76" fmla="*/ 6300 h 9953"/>
                <a:gd name="connsiteX77" fmla="*/ 7252 w 9781"/>
                <a:gd name="connsiteY77" fmla="*/ 6123 h 9953"/>
                <a:gd name="connsiteX78" fmla="*/ 7416 w 9781"/>
                <a:gd name="connsiteY78" fmla="*/ 5941 h 9953"/>
                <a:gd name="connsiteX79" fmla="*/ 7580 w 9781"/>
                <a:gd name="connsiteY79" fmla="*/ 5753 h 9953"/>
                <a:gd name="connsiteX80" fmla="*/ 7732 w 9781"/>
                <a:gd name="connsiteY80" fmla="*/ 5564 h 9953"/>
                <a:gd name="connsiteX81" fmla="*/ 7881 w 9781"/>
                <a:gd name="connsiteY81" fmla="*/ 5373 h 9953"/>
                <a:gd name="connsiteX82" fmla="*/ 8031 w 9781"/>
                <a:gd name="connsiteY82" fmla="*/ 5181 h 9953"/>
                <a:gd name="connsiteX83" fmla="*/ 8171 w 9781"/>
                <a:gd name="connsiteY83" fmla="*/ 4979 h 9953"/>
                <a:gd name="connsiteX84" fmla="*/ 8307 w 9781"/>
                <a:gd name="connsiteY84" fmla="*/ 4784 h 9953"/>
                <a:gd name="connsiteX85" fmla="*/ 8439 w 9781"/>
                <a:gd name="connsiteY85" fmla="*/ 4579 h 9953"/>
                <a:gd name="connsiteX86" fmla="*/ 8562 w 9781"/>
                <a:gd name="connsiteY86" fmla="*/ 4370 h 9953"/>
                <a:gd name="connsiteX87" fmla="*/ 8683 w 9781"/>
                <a:gd name="connsiteY87" fmla="*/ 4163 h 9953"/>
                <a:gd name="connsiteX88" fmla="*/ 8806 w 9781"/>
                <a:gd name="connsiteY88" fmla="*/ 3953 h 9953"/>
                <a:gd name="connsiteX89" fmla="*/ 8920 w 9781"/>
                <a:gd name="connsiteY89" fmla="*/ 3739 h 9953"/>
                <a:gd name="connsiteX90" fmla="*/ 9022 w 9781"/>
                <a:gd name="connsiteY90" fmla="*/ 3526 h 9953"/>
                <a:gd name="connsiteX91" fmla="*/ 9126 w 9781"/>
                <a:gd name="connsiteY91" fmla="*/ 3307 h 9953"/>
                <a:gd name="connsiteX92" fmla="*/ 9219 w 9781"/>
                <a:gd name="connsiteY92" fmla="*/ 3085 h 9953"/>
                <a:gd name="connsiteX93" fmla="*/ 9312 w 9781"/>
                <a:gd name="connsiteY93" fmla="*/ 2865 h 9953"/>
                <a:gd name="connsiteX94" fmla="*/ 9394 w 9781"/>
                <a:gd name="connsiteY94" fmla="*/ 2639 h 9953"/>
                <a:gd name="connsiteX95" fmla="*/ 9472 w 9781"/>
                <a:gd name="connsiteY95" fmla="*/ 2410 h 9953"/>
                <a:gd name="connsiteX96" fmla="*/ 9544 w 9781"/>
                <a:gd name="connsiteY96" fmla="*/ 2180 h 9953"/>
                <a:gd name="connsiteX97" fmla="*/ 9616 w 9781"/>
                <a:gd name="connsiteY97" fmla="*/ 1951 h 9953"/>
                <a:gd name="connsiteX98" fmla="*/ 9675 w 9781"/>
                <a:gd name="connsiteY98" fmla="*/ 1720 h 9953"/>
                <a:gd name="connsiteX99" fmla="*/ 9733 w 9781"/>
                <a:gd name="connsiteY99" fmla="*/ 1484 h 9953"/>
                <a:gd name="connsiteX100" fmla="*/ 9781 w 9781"/>
                <a:gd name="connsiteY100" fmla="*/ 1244 h 9953"/>
                <a:gd name="connsiteX101" fmla="*/ 5879 w 9781"/>
                <a:gd name="connsiteY101" fmla="*/ 1909 h 9953"/>
                <a:gd name="connsiteX102" fmla="*/ 2621 w 9781"/>
                <a:gd name="connsiteY102" fmla="*/ 0 h 9953"/>
                <a:gd name="connsiteX0" fmla="*/ 2680 w 10000"/>
                <a:gd name="connsiteY0" fmla="*/ 0 h 10176"/>
                <a:gd name="connsiteX1" fmla="*/ 2680 w 10000"/>
                <a:gd name="connsiteY1" fmla="*/ 0 h 10176"/>
                <a:gd name="connsiteX2" fmla="*/ 2665 w 10000"/>
                <a:gd name="connsiteY2" fmla="*/ 101 h 10176"/>
                <a:gd name="connsiteX3" fmla="*/ 2642 w 10000"/>
                <a:gd name="connsiteY3" fmla="*/ 205 h 10176"/>
                <a:gd name="connsiteX4" fmla="*/ 2621 w 10000"/>
                <a:gd name="connsiteY4" fmla="*/ 306 h 10176"/>
                <a:gd name="connsiteX5" fmla="*/ 2594 w 10000"/>
                <a:gd name="connsiteY5" fmla="*/ 403 h 10176"/>
                <a:gd name="connsiteX6" fmla="*/ 2561 w 10000"/>
                <a:gd name="connsiteY6" fmla="*/ 502 h 10176"/>
                <a:gd name="connsiteX7" fmla="*/ 2530 w 10000"/>
                <a:gd name="connsiteY7" fmla="*/ 600 h 10176"/>
                <a:gd name="connsiteX8" fmla="*/ 2502 w 10000"/>
                <a:gd name="connsiteY8" fmla="*/ 696 h 10176"/>
                <a:gd name="connsiteX9" fmla="*/ 2468 w 10000"/>
                <a:gd name="connsiteY9" fmla="*/ 794 h 10176"/>
                <a:gd name="connsiteX10" fmla="*/ 2428 w 10000"/>
                <a:gd name="connsiteY10" fmla="*/ 890 h 10176"/>
                <a:gd name="connsiteX11" fmla="*/ 2386 w 10000"/>
                <a:gd name="connsiteY11" fmla="*/ 982 h 10176"/>
                <a:gd name="connsiteX12" fmla="*/ 2347 w 10000"/>
                <a:gd name="connsiteY12" fmla="*/ 1079 h 10176"/>
                <a:gd name="connsiteX13" fmla="*/ 2299 w 10000"/>
                <a:gd name="connsiteY13" fmla="*/ 1172 h 10176"/>
                <a:gd name="connsiteX14" fmla="*/ 2248 w 10000"/>
                <a:gd name="connsiteY14" fmla="*/ 1259 h 10176"/>
                <a:gd name="connsiteX15" fmla="*/ 2200 w 10000"/>
                <a:gd name="connsiteY15" fmla="*/ 1349 h 10176"/>
                <a:gd name="connsiteX16" fmla="*/ 2149 w 10000"/>
                <a:gd name="connsiteY16" fmla="*/ 1438 h 10176"/>
                <a:gd name="connsiteX17" fmla="*/ 2092 w 10000"/>
                <a:gd name="connsiteY17" fmla="*/ 1528 h 10176"/>
                <a:gd name="connsiteX18" fmla="*/ 2041 w 10000"/>
                <a:gd name="connsiteY18" fmla="*/ 1616 h 10176"/>
                <a:gd name="connsiteX19" fmla="*/ 1981 w 10000"/>
                <a:gd name="connsiteY19" fmla="*/ 1702 h 10176"/>
                <a:gd name="connsiteX20" fmla="*/ 1919 w 10000"/>
                <a:gd name="connsiteY20" fmla="*/ 1780 h 10176"/>
                <a:gd name="connsiteX21" fmla="*/ 1854 w 10000"/>
                <a:gd name="connsiteY21" fmla="*/ 1864 h 10176"/>
                <a:gd name="connsiteX22" fmla="*/ 1794 w 10000"/>
                <a:gd name="connsiteY22" fmla="*/ 1944 h 10176"/>
                <a:gd name="connsiteX23" fmla="*/ 1725 w 10000"/>
                <a:gd name="connsiteY23" fmla="*/ 2031 h 10176"/>
                <a:gd name="connsiteX24" fmla="*/ 1656 w 10000"/>
                <a:gd name="connsiteY24" fmla="*/ 2106 h 10176"/>
                <a:gd name="connsiteX25" fmla="*/ 1583 w 10000"/>
                <a:gd name="connsiteY25" fmla="*/ 2180 h 10176"/>
                <a:gd name="connsiteX26" fmla="*/ 1509 w 10000"/>
                <a:gd name="connsiteY26" fmla="*/ 2259 h 10176"/>
                <a:gd name="connsiteX27" fmla="*/ 1435 w 10000"/>
                <a:gd name="connsiteY27" fmla="*/ 2334 h 10176"/>
                <a:gd name="connsiteX28" fmla="*/ 1356 w 10000"/>
                <a:gd name="connsiteY28" fmla="*/ 2406 h 10176"/>
                <a:gd name="connsiteX29" fmla="*/ 1279 w 10000"/>
                <a:gd name="connsiteY29" fmla="*/ 2482 h 10176"/>
                <a:gd name="connsiteX30" fmla="*/ 1200 w 10000"/>
                <a:gd name="connsiteY30" fmla="*/ 2551 h 10176"/>
                <a:gd name="connsiteX31" fmla="*/ 1113 w 10000"/>
                <a:gd name="connsiteY31" fmla="*/ 2620 h 10176"/>
                <a:gd name="connsiteX32" fmla="*/ 1033 w 10000"/>
                <a:gd name="connsiteY32" fmla="*/ 2686 h 10176"/>
                <a:gd name="connsiteX33" fmla="*/ 946 w 10000"/>
                <a:gd name="connsiteY33" fmla="*/ 2753 h 10176"/>
                <a:gd name="connsiteX34" fmla="*/ 862 w 10000"/>
                <a:gd name="connsiteY34" fmla="*/ 2816 h 10176"/>
                <a:gd name="connsiteX35" fmla="*/ 767 w 10000"/>
                <a:gd name="connsiteY35" fmla="*/ 2881 h 10176"/>
                <a:gd name="connsiteX36" fmla="*/ 679 w 10000"/>
                <a:gd name="connsiteY36" fmla="*/ 2939 h 10176"/>
                <a:gd name="connsiteX37" fmla="*/ 586 w 10000"/>
                <a:gd name="connsiteY37" fmla="*/ 3000 h 10176"/>
                <a:gd name="connsiteX38" fmla="*/ 492 w 10000"/>
                <a:gd name="connsiteY38" fmla="*/ 3057 h 10176"/>
                <a:gd name="connsiteX39" fmla="*/ 394 w 10000"/>
                <a:gd name="connsiteY39" fmla="*/ 3111 h 10176"/>
                <a:gd name="connsiteX40" fmla="*/ 298 w 10000"/>
                <a:gd name="connsiteY40" fmla="*/ 3167 h 10176"/>
                <a:gd name="connsiteX41" fmla="*/ 203 w 10000"/>
                <a:gd name="connsiteY41" fmla="*/ 3220 h 10176"/>
                <a:gd name="connsiteX42" fmla="*/ 101 w 10000"/>
                <a:gd name="connsiteY42" fmla="*/ 3269 h 10176"/>
                <a:gd name="connsiteX43" fmla="*/ 0 w 10000"/>
                <a:gd name="connsiteY43" fmla="*/ 3317 h 10176"/>
                <a:gd name="connsiteX44" fmla="*/ 187 w 10000"/>
                <a:gd name="connsiteY44" fmla="*/ 6726 h 10176"/>
                <a:gd name="connsiteX45" fmla="*/ 337 w 10000"/>
                <a:gd name="connsiteY45" fmla="*/ 9952 h 10176"/>
                <a:gd name="connsiteX46" fmla="*/ 603 w 10000"/>
                <a:gd name="connsiteY46" fmla="*/ 9892 h 10176"/>
                <a:gd name="connsiteX47" fmla="*/ 876 w 10000"/>
                <a:gd name="connsiteY47" fmla="*/ 9834 h 10176"/>
                <a:gd name="connsiteX48" fmla="*/ 1146 w 10000"/>
                <a:gd name="connsiteY48" fmla="*/ 9770 h 10176"/>
                <a:gd name="connsiteX49" fmla="*/ 1413 w 10000"/>
                <a:gd name="connsiteY49" fmla="*/ 9700 h 10176"/>
                <a:gd name="connsiteX50" fmla="*/ 1673 w 10000"/>
                <a:gd name="connsiteY50" fmla="*/ 9619 h 10176"/>
                <a:gd name="connsiteX51" fmla="*/ 1934 w 10000"/>
                <a:gd name="connsiteY51" fmla="*/ 9543 h 10176"/>
                <a:gd name="connsiteX52" fmla="*/ 2196 w 10000"/>
                <a:gd name="connsiteY52" fmla="*/ 9454 h 10176"/>
                <a:gd name="connsiteX53" fmla="*/ 2457 w 10000"/>
                <a:gd name="connsiteY53" fmla="*/ 9368 h 10176"/>
                <a:gd name="connsiteX54" fmla="*/ 2705 w 10000"/>
                <a:gd name="connsiteY54" fmla="*/ 9269 h 10176"/>
                <a:gd name="connsiteX55" fmla="*/ 2955 w 10000"/>
                <a:gd name="connsiteY55" fmla="*/ 9170 h 10176"/>
                <a:gd name="connsiteX56" fmla="*/ 3206 w 10000"/>
                <a:gd name="connsiteY56" fmla="*/ 9065 h 10176"/>
                <a:gd name="connsiteX57" fmla="*/ 3449 w 10000"/>
                <a:gd name="connsiteY57" fmla="*/ 8956 h 10176"/>
                <a:gd name="connsiteX58" fmla="*/ 3689 w 10000"/>
                <a:gd name="connsiteY58" fmla="*/ 8848 h 10176"/>
                <a:gd name="connsiteX59" fmla="*/ 3930 w 10000"/>
                <a:gd name="connsiteY59" fmla="*/ 8728 h 10176"/>
                <a:gd name="connsiteX60" fmla="*/ 4165 w 10000"/>
                <a:gd name="connsiteY60" fmla="*/ 8609 h 10176"/>
                <a:gd name="connsiteX61" fmla="*/ 4397 w 10000"/>
                <a:gd name="connsiteY61" fmla="*/ 8482 h 10176"/>
                <a:gd name="connsiteX62" fmla="*/ 4628 w 10000"/>
                <a:gd name="connsiteY62" fmla="*/ 8353 h 10176"/>
                <a:gd name="connsiteX63" fmla="*/ 4845 w 10000"/>
                <a:gd name="connsiteY63" fmla="*/ 8223 h 10176"/>
                <a:gd name="connsiteX64" fmla="*/ 5065 w 10000"/>
                <a:gd name="connsiteY64" fmla="*/ 8083 h 10176"/>
                <a:gd name="connsiteX65" fmla="*/ 5285 w 10000"/>
                <a:gd name="connsiteY65" fmla="*/ 7943 h 10176"/>
                <a:gd name="connsiteX66" fmla="*/ 5494 w 10000"/>
                <a:gd name="connsiteY66" fmla="*/ 7799 h 10176"/>
                <a:gd name="connsiteX67" fmla="*/ 5708 w 10000"/>
                <a:gd name="connsiteY67" fmla="*/ 7650 h 10176"/>
                <a:gd name="connsiteX68" fmla="*/ 5911 w 10000"/>
                <a:gd name="connsiteY68" fmla="*/ 7494 h 10176"/>
                <a:gd name="connsiteX69" fmla="*/ 6115 w 10000"/>
                <a:gd name="connsiteY69" fmla="*/ 7341 h 10176"/>
                <a:gd name="connsiteX70" fmla="*/ 6310 w 10000"/>
                <a:gd name="connsiteY70" fmla="*/ 7184 h 10176"/>
                <a:gd name="connsiteX71" fmla="*/ 6508 w 10000"/>
                <a:gd name="connsiteY71" fmla="*/ 7017 h 10176"/>
                <a:gd name="connsiteX72" fmla="*/ 6698 w 10000"/>
                <a:gd name="connsiteY72" fmla="*/ 6847 h 10176"/>
                <a:gd name="connsiteX73" fmla="*/ 6882 w 10000"/>
                <a:gd name="connsiteY73" fmla="*/ 6682 h 10176"/>
                <a:gd name="connsiteX74" fmla="*/ 7064 w 10000"/>
                <a:gd name="connsiteY74" fmla="*/ 6508 h 10176"/>
                <a:gd name="connsiteX75" fmla="*/ 7239 w 10000"/>
                <a:gd name="connsiteY75" fmla="*/ 6330 h 10176"/>
                <a:gd name="connsiteX76" fmla="*/ 7414 w 10000"/>
                <a:gd name="connsiteY76" fmla="*/ 6152 h 10176"/>
                <a:gd name="connsiteX77" fmla="*/ 7582 w 10000"/>
                <a:gd name="connsiteY77" fmla="*/ 5969 h 10176"/>
                <a:gd name="connsiteX78" fmla="*/ 7750 w 10000"/>
                <a:gd name="connsiteY78" fmla="*/ 5780 h 10176"/>
                <a:gd name="connsiteX79" fmla="*/ 7905 w 10000"/>
                <a:gd name="connsiteY79" fmla="*/ 5590 h 10176"/>
                <a:gd name="connsiteX80" fmla="*/ 8057 w 10000"/>
                <a:gd name="connsiteY80" fmla="*/ 5398 h 10176"/>
                <a:gd name="connsiteX81" fmla="*/ 8211 w 10000"/>
                <a:gd name="connsiteY81" fmla="*/ 5205 h 10176"/>
                <a:gd name="connsiteX82" fmla="*/ 8354 w 10000"/>
                <a:gd name="connsiteY82" fmla="*/ 5003 h 10176"/>
                <a:gd name="connsiteX83" fmla="*/ 8493 w 10000"/>
                <a:gd name="connsiteY83" fmla="*/ 4807 h 10176"/>
                <a:gd name="connsiteX84" fmla="*/ 8628 w 10000"/>
                <a:gd name="connsiteY84" fmla="*/ 4601 h 10176"/>
                <a:gd name="connsiteX85" fmla="*/ 8754 w 10000"/>
                <a:gd name="connsiteY85" fmla="*/ 4391 h 10176"/>
                <a:gd name="connsiteX86" fmla="*/ 8877 w 10000"/>
                <a:gd name="connsiteY86" fmla="*/ 4183 h 10176"/>
                <a:gd name="connsiteX87" fmla="*/ 9003 w 10000"/>
                <a:gd name="connsiteY87" fmla="*/ 3972 h 10176"/>
                <a:gd name="connsiteX88" fmla="*/ 9120 w 10000"/>
                <a:gd name="connsiteY88" fmla="*/ 3757 h 10176"/>
                <a:gd name="connsiteX89" fmla="*/ 9224 w 10000"/>
                <a:gd name="connsiteY89" fmla="*/ 3543 h 10176"/>
                <a:gd name="connsiteX90" fmla="*/ 9330 w 10000"/>
                <a:gd name="connsiteY90" fmla="*/ 3323 h 10176"/>
                <a:gd name="connsiteX91" fmla="*/ 9425 w 10000"/>
                <a:gd name="connsiteY91" fmla="*/ 3100 h 10176"/>
                <a:gd name="connsiteX92" fmla="*/ 9520 w 10000"/>
                <a:gd name="connsiteY92" fmla="*/ 2879 h 10176"/>
                <a:gd name="connsiteX93" fmla="*/ 9604 w 10000"/>
                <a:gd name="connsiteY93" fmla="*/ 2651 h 10176"/>
                <a:gd name="connsiteX94" fmla="*/ 9684 w 10000"/>
                <a:gd name="connsiteY94" fmla="*/ 2421 h 10176"/>
                <a:gd name="connsiteX95" fmla="*/ 9758 w 10000"/>
                <a:gd name="connsiteY95" fmla="*/ 2190 h 10176"/>
                <a:gd name="connsiteX96" fmla="*/ 9831 w 10000"/>
                <a:gd name="connsiteY96" fmla="*/ 1960 h 10176"/>
                <a:gd name="connsiteX97" fmla="*/ 9892 w 10000"/>
                <a:gd name="connsiteY97" fmla="*/ 1728 h 10176"/>
                <a:gd name="connsiteX98" fmla="*/ 9951 w 10000"/>
                <a:gd name="connsiteY98" fmla="*/ 1491 h 10176"/>
                <a:gd name="connsiteX99" fmla="*/ 10000 w 10000"/>
                <a:gd name="connsiteY99" fmla="*/ 1250 h 10176"/>
                <a:gd name="connsiteX100" fmla="*/ 6011 w 10000"/>
                <a:gd name="connsiteY100" fmla="*/ 1918 h 10176"/>
                <a:gd name="connsiteX101" fmla="*/ 2680 w 10000"/>
                <a:gd name="connsiteY101" fmla="*/ 0 h 10176"/>
                <a:gd name="connsiteX0" fmla="*/ 2680 w 10000"/>
                <a:gd name="connsiteY0" fmla="*/ 0 h 9892"/>
                <a:gd name="connsiteX1" fmla="*/ 2680 w 10000"/>
                <a:gd name="connsiteY1" fmla="*/ 0 h 9892"/>
                <a:gd name="connsiteX2" fmla="*/ 2665 w 10000"/>
                <a:gd name="connsiteY2" fmla="*/ 101 h 9892"/>
                <a:gd name="connsiteX3" fmla="*/ 2642 w 10000"/>
                <a:gd name="connsiteY3" fmla="*/ 205 h 9892"/>
                <a:gd name="connsiteX4" fmla="*/ 2621 w 10000"/>
                <a:gd name="connsiteY4" fmla="*/ 306 h 9892"/>
                <a:gd name="connsiteX5" fmla="*/ 2594 w 10000"/>
                <a:gd name="connsiteY5" fmla="*/ 403 h 9892"/>
                <a:gd name="connsiteX6" fmla="*/ 2561 w 10000"/>
                <a:gd name="connsiteY6" fmla="*/ 502 h 9892"/>
                <a:gd name="connsiteX7" fmla="*/ 2530 w 10000"/>
                <a:gd name="connsiteY7" fmla="*/ 600 h 9892"/>
                <a:gd name="connsiteX8" fmla="*/ 2502 w 10000"/>
                <a:gd name="connsiteY8" fmla="*/ 696 h 9892"/>
                <a:gd name="connsiteX9" fmla="*/ 2468 w 10000"/>
                <a:gd name="connsiteY9" fmla="*/ 794 h 9892"/>
                <a:gd name="connsiteX10" fmla="*/ 2428 w 10000"/>
                <a:gd name="connsiteY10" fmla="*/ 890 h 9892"/>
                <a:gd name="connsiteX11" fmla="*/ 2386 w 10000"/>
                <a:gd name="connsiteY11" fmla="*/ 982 h 9892"/>
                <a:gd name="connsiteX12" fmla="*/ 2347 w 10000"/>
                <a:gd name="connsiteY12" fmla="*/ 1079 h 9892"/>
                <a:gd name="connsiteX13" fmla="*/ 2299 w 10000"/>
                <a:gd name="connsiteY13" fmla="*/ 1172 h 9892"/>
                <a:gd name="connsiteX14" fmla="*/ 2248 w 10000"/>
                <a:gd name="connsiteY14" fmla="*/ 1259 h 9892"/>
                <a:gd name="connsiteX15" fmla="*/ 2200 w 10000"/>
                <a:gd name="connsiteY15" fmla="*/ 1349 h 9892"/>
                <a:gd name="connsiteX16" fmla="*/ 2149 w 10000"/>
                <a:gd name="connsiteY16" fmla="*/ 1438 h 9892"/>
                <a:gd name="connsiteX17" fmla="*/ 2092 w 10000"/>
                <a:gd name="connsiteY17" fmla="*/ 1528 h 9892"/>
                <a:gd name="connsiteX18" fmla="*/ 2041 w 10000"/>
                <a:gd name="connsiteY18" fmla="*/ 1616 h 9892"/>
                <a:gd name="connsiteX19" fmla="*/ 1981 w 10000"/>
                <a:gd name="connsiteY19" fmla="*/ 1702 h 9892"/>
                <a:gd name="connsiteX20" fmla="*/ 1919 w 10000"/>
                <a:gd name="connsiteY20" fmla="*/ 1780 h 9892"/>
                <a:gd name="connsiteX21" fmla="*/ 1854 w 10000"/>
                <a:gd name="connsiteY21" fmla="*/ 1864 h 9892"/>
                <a:gd name="connsiteX22" fmla="*/ 1794 w 10000"/>
                <a:gd name="connsiteY22" fmla="*/ 1944 h 9892"/>
                <a:gd name="connsiteX23" fmla="*/ 1725 w 10000"/>
                <a:gd name="connsiteY23" fmla="*/ 2031 h 9892"/>
                <a:gd name="connsiteX24" fmla="*/ 1656 w 10000"/>
                <a:gd name="connsiteY24" fmla="*/ 2106 h 9892"/>
                <a:gd name="connsiteX25" fmla="*/ 1583 w 10000"/>
                <a:gd name="connsiteY25" fmla="*/ 2180 h 9892"/>
                <a:gd name="connsiteX26" fmla="*/ 1509 w 10000"/>
                <a:gd name="connsiteY26" fmla="*/ 2259 h 9892"/>
                <a:gd name="connsiteX27" fmla="*/ 1435 w 10000"/>
                <a:gd name="connsiteY27" fmla="*/ 2334 h 9892"/>
                <a:gd name="connsiteX28" fmla="*/ 1356 w 10000"/>
                <a:gd name="connsiteY28" fmla="*/ 2406 h 9892"/>
                <a:gd name="connsiteX29" fmla="*/ 1279 w 10000"/>
                <a:gd name="connsiteY29" fmla="*/ 2482 h 9892"/>
                <a:gd name="connsiteX30" fmla="*/ 1200 w 10000"/>
                <a:gd name="connsiteY30" fmla="*/ 2551 h 9892"/>
                <a:gd name="connsiteX31" fmla="*/ 1113 w 10000"/>
                <a:gd name="connsiteY31" fmla="*/ 2620 h 9892"/>
                <a:gd name="connsiteX32" fmla="*/ 1033 w 10000"/>
                <a:gd name="connsiteY32" fmla="*/ 2686 h 9892"/>
                <a:gd name="connsiteX33" fmla="*/ 946 w 10000"/>
                <a:gd name="connsiteY33" fmla="*/ 2753 h 9892"/>
                <a:gd name="connsiteX34" fmla="*/ 862 w 10000"/>
                <a:gd name="connsiteY34" fmla="*/ 2816 h 9892"/>
                <a:gd name="connsiteX35" fmla="*/ 767 w 10000"/>
                <a:gd name="connsiteY35" fmla="*/ 2881 h 9892"/>
                <a:gd name="connsiteX36" fmla="*/ 679 w 10000"/>
                <a:gd name="connsiteY36" fmla="*/ 2939 h 9892"/>
                <a:gd name="connsiteX37" fmla="*/ 586 w 10000"/>
                <a:gd name="connsiteY37" fmla="*/ 3000 h 9892"/>
                <a:gd name="connsiteX38" fmla="*/ 492 w 10000"/>
                <a:gd name="connsiteY38" fmla="*/ 3057 h 9892"/>
                <a:gd name="connsiteX39" fmla="*/ 394 w 10000"/>
                <a:gd name="connsiteY39" fmla="*/ 3111 h 9892"/>
                <a:gd name="connsiteX40" fmla="*/ 298 w 10000"/>
                <a:gd name="connsiteY40" fmla="*/ 3167 h 9892"/>
                <a:gd name="connsiteX41" fmla="*/ 203 w 10000"/>
                <a:gd name="connsiteY41" fmla="*/ 3220 h 9892"/>
                <a:gd name="connsiteX42" fmla="*/ 101 w 10000"/>
                <a:gd name="connsiteY42" fmla="*/ 3269 h 9892"/>
                <a:gd name="connsiteX43" fmla="*/ 0 w 10000"/>
                <a:gd name="connsiteY43" fmla="*/ 3317 h 9892"/>
                <a:gd name="connsiteX44" fmla="*/ 187 w 10000"/>
                <a:gd name="connsiteY44" fmla="*/ 6726 h 9892"/>
                <a:gd name="connsiteX45" fmla="*/ 603 w 10000"/>
                <a:gd name="connsiteY45" fmla="*/ 9892 h 9892"/>
                <a:gd name="connsiteX46" fmla="*/ 876 w 10000"/>
                <a:gd name="connsiteY46" fmla="*/ 9834 h 9892"/>
                <a:gd name="connsiteX47" fmla="*/ 1146 w 10000"/>
                <a:gd name="connsiteY47" fmla="*/ 9770 h 9892"/>
                <a:gd name="connsiteX48" fmla="*/ 1413 w 10000"/>
                <a:gd name="connsiteY48" fmla="*/ 9700 h 9892"/>
                <a:gd name="connsiteX49" fmla="*/ 1673 w 10000"/>
                <a:gd name="connsiteY49" fmla="*/ 9619 h 9892"/>
                <a:gd name="connsiteX50" fmla="*/ 1934 w 10000"/>
                <a:gd name="connsiteY50" fmla="*/ 9543 h 9892"/>
                <a:gd name="connsiteX51" fmla="*/ 2196 w 10000"/>
                <a:gd name="connsiteY51" fmla="*/ 9454 h 9892"/>
                <a:gd name="connsiteX52" fmla="*/ 2457 w 10000"/>
                <a:gd name="connsiteY52" fmla="*/ 9368 h 9892"/>
                <a:gd name="connsiteX53" fmla="*/ 2705 w 10000"/>
                <a:gd name="connsiteY53" fmla="*/ 9269 h 9892"/>
                <a:gd name="connsiteX54" fmla="*/ 2955 w 10000"/>
                <a:gd name="connsiteY54" fmla="*/ 9170 h 9892"/>
                <a:gd name="connsiteX55" fmla="*/ 3206 w 10000"/>
                <a:gd name="connsiteY55" fmla="*/ 9065 h 9892"/>
                <a:gd name="connsiteX56" fmla="*/ 3449 w 10000"/>
                <a:gd name="connsiteY56" fmla="*/ 8956 h 9892"/>
                <a:gd name="connsiteX57" fmla="*/ 3689 w 10000"/>
                <a:gd name="connsiteY57" fmla="*/ 8848 h 9892"/>
                <a:gd name="connsiteX58" fmla="*/ 3930 w 10000"/>
                <a:gd name="connsiteY58" fmla="*/ 8728 h 9892"/>
                <a:gd name="connsiteX59" fmla="*/ 4165 w 10000"/>
                <a:gd name="connsiteY59" fmla="*/ 8609 h 9892"/>
                <a:gd name="connsiteX60" fmla="*/ 4397 w 10000"/>
                <a:gd name="connsiteY60" fmla="*/ 8482 h 9892"/>
                <a:gd name="connsiteX61" fmla="*/ 4628 w 10000"/>
                <a:gd name="connsiteY61" fmla="*/ 8353 h 9892"/>
                <a:gd name="connsiteX62" fmla="*/ 4845 w 10000"/>
                <a:gd name="connsiteY62" fmla="*/ 8223 h 9892"/>
                <a:gd name="connsiteX63" fmla="*/ 5065 w 10000"/>
                <a:gd name="connsiteY63" fmla="*/ 8083 h 9892"/>
                <a:gd name="connsiteX64" fmla="*/ 5285 w 10000"/>
                <a:gd name="connsiteY64" fmla="*/ 7943 h 9892"/>
                <a:gd name="connsiteX65" fmla="*/ 5494 w 10000"/>
                <a:gd name="connsiteY65" fmla="*/ 7799 h 9892"/>
                <a:gd name="connsiteX66" fmla="*/ 5708 w 10000"/>
                <a:gd name="connsiteY66" fmla="*/ 7650 h 9892"/>
                <a:gd name="connsiteX67" fmla="*/ 5911 w 10000"/>
                <a:gd name="connsiteY67" fmla="*/ 7494 h 9892"/>
                <a:gd name="connsiteX68" fmla="*/ 6115 w 10000"/>
                <a:gd name="connsiteY68" fmla="*/ 7341 h 9892"/>
                <a:gd name="connsiteX69" fmla="*/ 6310 w 10000"/>
                <a:gd name="connsiteY69" fmla="*/ 7184 h 9892"/>
                <a:gd name="connsiteX70" fmla="*/ 6508 w 10000"/>
                <a:gd name="connsiteY70" fmla="*/ 7017 h 9892"/>
                <a:gd name="connsiteX71" fmla="*/ 6698 w 10000"/>
                <a:gd name="connsiteY71" fmla="*/ 6847 h 9892"/>
                <a:gd name="connsiteX72" fmla="*/ 6882 w 10000"/>
                <a:gd name="connsiteY72" fmla="*/ 6682 h 9892"/>
                <a:gd name="connsiteX73" fmla="*/ 7064 w 10000"/>
                <a:gd name="connsiteY73" fmla="*/ 6508 h 9892"/>
                <a:gd name="connsiteX74" fmla="*/ 7239 w 10000"/>
                <a:gd name="connsiteY74" fmla="*/ 6330 h 9892"/>
                <a:gd name="connsiteX75" fmla="*/ 7414 w 10000"/>
                <a:gd name="connsiteY75" fmla="*/ 6152 h 9892"/>
                <a:gd name="connsiteX76" fmla="*/ 7582 w 10000"/>
                <a:gd name="connsiteY76" fmla="*/ 5969 h 9892"/>
                <a:gd name="connsiteX77" fmla="*/ 7750 w 10000"/>
                <a:gd name="connsiteY77" fmla="*/ 5780 h 9892"/>
                <a:gd name="connsiteX78" fmla="*/ 7905 w 10000"/>
                <a:gd name="connsiteY78" fmla="*/ 5590 h 9892"/>
                <a:gd name="connsiteX79" fmla="*/ 8057 w 10000"/>
                <a:gd name="connsiteY79" fmla="*/ 5398 h 9892"/>
                <a:gd name="connsiteX80" fmla="*/ 8211 w 10000"/>
                <a:gd name="connsiteY80" fmla="*/ 5205 h 9892"/>
                <a:gd name="connsiteX81" fmla="*/ 8354 w 10000"/>
                <a:gd name="connsiteY81" fmla="*/ 5003 h 9892"/>
                <a:gd name="connsiteX82" fmla="*/ 8493 w 10000"/>
                <a:gd name="connsiteY82" fmla="*/ 4807 h 9892"/>
                <a:gd name="connsiteX83" fmla="*/ 8628 w 10000"/>
                <a:gd name="connsiteY83" fmla="*/ 4601 h 9892"/>
                <a:gd name="connsiteX84" fmla="*/ 8754 w 10000"/>
                <a:gd name="connsiteY84" fmla="*/ 4391 h 9892"/>
                <a:gd name="connsiteX85" fmla="*/ 8877 w 10000"/>
                <a:gd name="connsiteY85" fmla="*/ 4183 h 9892"/>
                <a:gd name="connsiteX86" fmla="*/ 9003 w 10000"/>
                <a:gd name="connsiteY86" fmla="*/ 3972 h 9892"/>
                <a:gd name="connsiteX87" fmla="*/ 9120 w 10000"/>
                <a:gd name="connsiteY87" fmla="*/ 3757 h 9892"/>
                <a:gd name="connsiteX88" fmla="*/ 9224 w 10000"/>
                <a:gd name="connsiteY88" fmla="*/ 3543 h 9892"/>
                <a:gd name="connsiteX89" fmla="*/ 9330 w 10000"/>
                <a:gd name="connsiteY89" fmla="*/ 3323 h 9892"/>
                <a:gd name="connsiteX90" fmla="*/ 9425 w 10000"/>
                <a:gd name="connsiteY90" fmla="*/ 3100 h 9892"/>
                <a:gd name="connsiteX91" fmla="*/ 9520 w 10000"/>
                <a:gd name="connsiteY91" fmla="*/ 2879 h 9892"/>
                <a:gd name="connsiteX92" fmla="*/ 9604 w 10000"/>
                <a:gd name="connsiteY92" fmla="*/ 2651 h 9892"/>
                <a:gd name="connsiteX93" fmla="*/ 9684 w 10000"/>
                <a:gd name="connsiteY93" fmla="*/ 2421 h 9892"/>
                <a:gd name="connsiteX94" fmla="*/ 9758 w 10000"/>
                <a:gd name="connsiteY94" fmla="*/ 2190 h 9892"/>
                <a:gd name="connsiteX95" fmla="*/ 9831 w 10000"/>
                <a:gd name="connsiteY95" fmla="*/ 1960 h 9892"/>
                <a:gd name="connsiteX96" fmla="*/ 9892 w 10000"/>
                <a:gd name="connsiteY96" fmla="*/ 1728 h 9892"/>
                <a:gd name="connsiteX97" fmla="*/ 9951 w 10000"/>
                <a:gd name="connsiteY97" fmla="*/ 1491 h 9892"/>
                <a:gd name="connsiteX98" fmla="*/ 10000 w 10000"/>
                <a:gd name="connsiteY98" fmla="*/ 1250 h 9892"/>
                <a:gd name="connsiteX99" fmla="*/ 6011 w 10000"/>
                <a:gd name="connsiteY99" fmla="*/ 1918 h 9892"/>
                <a:gd name="connsiteX100" fmla="*/ 2680 w 10000"/>
                <a:gd name="connsiteY100" fmla="*/ 0 h 9892"/>
                <a:gd name="connsiteX0" fmla="*/ 2680 w 10000"/>
                <a:gd name="connsiteY0" fmla="*/ 0 h 9941"/>
                <a:gd name="connsiteX1" fmla="*/ 2680 w 10000"/>
                <a:gd name="connsiteY1" fmla="*/ 0 h 9941"/>
                <a:gd name="connsiteX2" fmla="*/ 2665 w 10000"/>
                <a:gd name="connsiteY2" fmla="*/ 102 h 9941"/>
                <a:gd name="connsiteX3" fmla="*/ 2642 w 10000"/>
                <a:gd name="connsiteY3" fmla="*/ 207 h 9941"/>
                <a:gd name="connsiteX4" fmla="*/ 2621 w 10000"/>
                <a:gd name="connsiteY4" fmla="*/ 309 h 9941"/>
                <a:gd name="connsiteX5" fmla="*/ 2594 w 10000"/>
                <a:gd name="connsiteY5" fmla="*/ 407 h 9941"/>
                <a:gd name="connsiteX6" fmla="*/ 2561 w 10000"/>
                <a:gd name="connsiteY6" fmla="*/ 507 h 9941"/>
                <a:gd name="connsiteX7" fmla="*/ 2530 w 10000"/>
                <a:gd name="connsiteY7" fmla="*/ 607 h 9941"/>
                <a:gd name="connsiteX8" fmla="*/ 2502 w 10000"/>
                <a:gd name="connsiteY8" fmla="*/ 704 h 9941"/>
                <a:gd name="connsiteX9" fmla="*/ 2468 w 10000"/>
                <a:gd name="connsiteY9" fmla="*/ 803 h 9941"/>
                <a:gd name="connsiteX10" fmla="*/ 2428 w 10000"/>
                <a:gd name="connsiteY10" fmla="*/ 900 h 9941"/>
                <a:gd name="connsiteX11" fmla="*/ 2386 w 10000"/>
                <a:gd name="connsiteY11" fmla="*/ 993 h 9941"/>
                <a:gd name="connsiteX12" fmla="*/ 2347 w 10000"/>
                <a:gd name="connsiteY12" fmla="*/ 1091 h 9941"/>
                <a:gd name="connsiteX13" fmla="*/ 2299 w 10000"/>
                <a:gd name="connsiteY13" fmla="*/ 1185 h 9941"/>
                <a:gd name="connsiteX14" fmla="*/ 2248 w 10000"/>
                <a:gd name="connsiteY14" fmla="*/ 1273 h 9941"/>
                <a:gd name="connsiteX15" fmla="*/ 2200 w 10000"/>
                <a:gd name="connsiteY15" fmla="*/ 1364 h 9941"/>
                <a:gd name="connsiteX16" fmla="*/ 2149 w 10000"/>
                <a:gd name="connsiteY16" fmla="*/ 1454 h 9941"/>
                <a:gd name="connsiteX17" fmla="*/ 2092 w 10000"/>
                <a:gd name="connsiteY17" fmla="*/ 1545 h 9941"/>
                <a:gd name="connsiteX18" fmla="*/ 2041 w 10000"/>
                <a:gd name="connsiteY18" fmla="*/ 1634 h 9941"/>
                <a:gd name="connsiteX19" fmla="*/ 1981 w 10000"/>
                <a:gd name="connsiteY19" fmla="*/ 1721 h 9941"/>
                <a:gd name="connsiteX20" fmla="*/ 1919 w 10000"/>
                <a:gd name="connsiteY20" fmla="*/ 1799 h 9941"/>
                <a:gd name="connsiteX21" fmla="*/ 1854 w 10000"/>
                <a:gd name="connsiteY21" fmla="*/ 1884 h 9941"/>
                <a:gd name="connsiteX22" fmla="*/ 1794 w 10000"/>
                <a:gd name="connsiteY22" fmla="*/ 1965 h 9941"/>
                <a:gd name="connsiteX23" fmla="*/ 1725 w 10000"/>
                <a:gd name="connsiteY23" fmla="*/ 2053 h 9941"/>
                <a:gd name="connsiteX24" fmla="*/ 1656 w 10000"/>
                <a:gd name="connsiteY24" fmla="*/ 2129 h 9941"/>
                <a:gd name="connsiteX25" fmla="*/ 1583 w 10000"/>
                <a:gd name="connsiteY25" fmla="*/ 2204 h 9941"/>
                <a:gd name="connsiteX26" fmla="*/ 1509 w 10000"/>
                <a:gd name="connsiteY26" fmla="*/ 2284 h 9941"/>
                <a:gd name="connsiteX27" fmla="*/ 1435 w 10000"/>
                <a:gd name="connsiteY27" fmla="*/ 2359 h 9941"/>
                <a:gd name="connsiteX28" fmla="*/ 1356 w 10000"/>
                <a:gd name="connsiteY28" fmla="*/ 2432 h 9941"/>
                <a:gd name="connsiteX29" fmla="*/ 1279 w 10000"/>
                <a:gd name="connsiteY29" fmla="*/ 2509 h 9941"/>
                <a:gd name="connsiteX30" fmla="*/ 1200 w 10000"/>
                <a:gd name="connsiteY30" fmla="*/ 2579 h 9941"/>
                <a:gd name="connsiteX31" fmla="*/ 1113 w 10000"/>
                <a:gd name="connsiteY31" fmla="*/ 2649 h 9941"/>
                <a:gd name="connsiteX32" fmla="*/ 1033 w 10000"/>
                <a:gd name="connsiteY32" fmla="*/ 2715 h 9941"/>
                <a:gd name="connsiteX33" fmla="*/ 946 w 10000"/>
                <a:gd name="connsiteY33" fmla="*/ 2783 h 9941"/>
                <a:gd name="connsiteX34" fmla="*/ 862 w 10000"/>
                <a:gd name="connsiteY34" fmla="*/ 2847 h 9941"/>
                <a:gd name="connsiteX35" fmla="*/ 767 w 10000"/>
                <a:gd name="connsiteY35" fmla="*/ 2912 h 9941"/>
                <a:gd name="connsiteX36" fmla="*/ 679 w 10000"/>
                <a:gd name="connsiteY36" fmla="*/ 2971 h 9941"/>
                <a:gd name="connsiteX37" fmla="*/ 586 w 10000"/>
                <a:gd name="connsiteY37" fmla="*/ 3033 h 9941"/>
                <a:gd name="connsiteX38" fmla="*/ 492 w 10000"/>
                <a:gd name="connsiteY38" fmla="*/ 3090 h 9941"/>
                <a:gd name="connsiteX39" fmla="*/ 394 w 10000"/>
                <a:gd name="connsiteY39" fmla="*/ 3145 h 9941"/>
                <a:gd name="connsiteX40" fmla="*/ 298 w 10000"/>
                <a:gd name="connsiteY40" fmla="*/ 3202 h 9941"/>
                <a:gd name="connsiteX41" fmla="*/ 203 w 10000"/>
                <a:gd name="connsiteY41" fmla="*/ 3255 h 9941"/>
                <a:gd name="connsiteX42" fmla="*/ 101 w 10000"/>
                <a:gd name="connsiteY42" fmla="*/ 3305 h 9941"/>
                <a:gd name="connsiteX43" fmla="*/ 0 w 10000"/>
                <a:gd name="connsiteY43" fmla="*/ 3353 h 9941"/>
                <a:gd name="connsiteX44" fmla="*/ 187 w 10000"/>
                <a:gd name="connsiteY44" fmla="*/ 6799 h 9941"/>
                <a:gd name="connsiteX45" fmla="*/ 876 w 10000"/>
                <a:gd name="connsiteY45" fmla="*/ 9941 h 9941"/>
                <a:gd name="connsiteX46" fmla="*/ 1146 w 10000"/>
                <a:gd name="connsiteY46" fmla="*/ 9877 h 9941"/>
                <a:gd name="connsiteX47" fmla="*/ 1413 w 10000"/>
                <a:gd name="connsiteY47" fmla="*/ 9806 h 9941"/>
                <a:gd name="connsiteX48" fmla="*/ 1673 w 10000"/>
                <a:gd name="connsiteY48" fmla="*/ 9724 h 9941"/>
                <a:gd name="connsiteX49" fmla="*/ 1934 w 10000"/>
                <a:gd name="connsiteY49" fmla="*/ 9647 h 9941"/>
                <a:gd name="connsiteX50" fmla="*/ 2196 w 10000"/>
                <a:gd name="connsiteY50" fmla="*/ 9557 h 9941"/>
                <a:gd name="connsiteX51" fmla="*/ 2457 w 10000"/>
                <a:gd name="connsiteY51" fmla="*/ 9470 h 9941"/>
                <a:gd name="connsiteX52" fmla="*/ 2705 w 10000"/>
                <a:gd name="connsiteY52" fmla="*/ 9370 h 9941"/>
                <a:gd name="connsiteX53" fmla="*/ 2955 w 10000"/>
                <a:gd name="connsiteY53" fmla="*/ 9270 h 9941"/>
                <a:gd name="connsiteX54" fmla="*/ 3206 w 10000"/>
                <a:gd name="connsiteY54" fmla="*/ 9164 h 9941"/>
                <a:gd name="connsiteX55" fmla="*/ 3449 w 10000"/>
                <a:gd name="connsiteY55" fmla="*/ 9054 h 9941"/>
                <a:gd name="connsiteX56" fmla="*/ 3689 w 10000"/>
                <a:gd name="connsiteY56" fmla="*/ 8945 h 9941"/>
                <a:gd name="connsiteX57" fmla="*/ 3930 w 10000"/>
                <a:gd name="connsiteY57" fmla="*/ 8823 h 9941"/>
                <a:gd name="connsiteX58" fmla="*/ 4165 w 10000"/>
                <a:gd name="connsiteY58" fmla="*/ 8703 h 9941"/>
                <a:gd name="connsiteX59" fmla="*/ 4397 w 10000"/>
                <a:gd name="connsiteY59" fmla="*/ 8575 h 9941"/>
                <a:gd name="connsiteX60" fmla="*/ 4628 w 10000"/>
                <a:gd name="connsiteY60" fmla="*/ 8444 h 9941"/>
                <a:gd name="connsiteX61" fmla="*/ 4845 w 10000"/>
                <a:gd name="connsiteY61" fmla="*/ 8313 h 9941"/>
                <a:gd name="connsiteX62" fmla="*/ 5065 w 10000"/>
                <a:gd name="connsiteY62" fmla="*/ 8171 h 9941"/>
                <a:gd name="connsiteX63" fmla="*/ 5285 w 10000"/>
                <a:gd name="connsiteY63" fmla="*/ 8030 h 9941"/>
                <a:gd name="connsiteX64" fmla="*/ 5494 w 10000"/>
                <a:gd name="connsiteY64" fmla="*/ 7884 h 9941"/>
                <a:gd name="connsiteX65" fmla="*/ 5708 w 10000"/>
                <a:gd name="connsiteY65" fmla="*/ 7734 h 9941"/>
                <a:gd name="connsiteX66" fmla="*/ 5911 w 10000"/>
                <a:gd name="connsiteY66" fmla="*/ 7576 h 9941"/>
                <a:gd name="connsiteX67" fmla="*/ 6115 w 10000"/>
                <a:gd name="connsiteY67" fmla="*/ 7421 h 9941"/>
                <a:gd name="connsiteX68" fmla="*/ 6310 w 10000"/>
                <a:gd name="connsiteY68" fmla="*/ 7262 h 9941"/>
                <a:gd name="connsiteX69" fmla="*/ 6508 w 10000"/>
                <a:gd name="connsiteY69" fmla="*/ 7094 h 9941"/>
                <a:gd name="connsiteX70" fmla="*/ 6698 w 10000"/>
                <a:gd name="connsiteY70" fmla="*/ 6922 h 9941"/>
                <a:gd name="connsiteX71" fmla="*/ 6882 w 10000"/>
                <a:gd name="connsiteY71" fmla="*/ 6755 h 9941"/>
                <a:gd name="connsiteX72" fmla="*/ 7064 w 10000"/>
                <a:gd name="connsiteY72" fmla="*/ 6579 h 9941"/>
                <a:gd name="connsiteX73" fmla="*/ 7239 w 10000"/>
                <a:gd name="connsiteY73" fmla="*/ 6399 h 9941"/>
                <a:gd name="connsiteX74" fmla="*/ 7414 w 10000"/>
                <a:gd name="connsiteY74" fmla="*/ 6219 h 9941"/>
                <a:gd name="connsiteX75" fmla="*/ 7582 w 10000"/>
                <a:gd name="connsiteY75" fmla="*/ 6034 h 9941"/>
                <a:gd name="connsiteX76" fmla="*/ 7750 w 10000"/>
                <a:gd name="connsiteY76" fmla="*/ 5843 h 9941"/>
                <a:gd name="connsiteX77" fmla="*/ 7905 w 10000"/>
                <a:gd name="connsiteY77" fmla="*/ 5651 h 9941"/>
                <a:gd name="connsiteX78" fmla="*/ 8057 w 10000"/>
                <a:gd name="connsiteY78" fmla="*/ 5457 h 9941"/>
                <a:gd name="connsiteX79" fmla="*/ 8211 w 10000"/>
                <a:gd name="connsiteY79" fmla="*/ 5262 h 9941"/>
                <a:gd name="connsiteX80" fmla="*/ 8354 w 10000"/>
                <a:gd name="connsiteY80" fmla="*/ 5058 h 9941"/>
                <a:gd name="connsiteX81" fmla="*/ 8493 w 10000"/>
                <a:gd name="connsiteY81" fmla="*/ 4859 h 9941"/>
                <a:gd name="connsiteX82" fmla="*/ 8628 w 10000"/>
                <a:gd name="connsiteY82" fmla="*/ 4651 h 9941"/>
                <a:gd name="connsiteX83" fmla="*/ 8754 w 10000"/>
                <a:gd name="connsiteY83" fmla="*/ 4439 h 9941"/>
                <a:gd name="connsiteX84" fmla="*/ 8877 w 10000"/>
                <a:gd name="connsiteY84" fmla="*/ 4229 h 9941"/>
                <a:gd name="connsiteX85" fmla="*/ 9003 w 10000"/>
                <a:gd name="connsiteY85" fmla="*/ 4015 h 9941"/>
                <a:gd name="connsiteX86" fmla="*/ 9120 w 10000"/>
                <a:gd name="connsiteY86" fmla="*/ 3798 h 9941"/>
                <a:gd name="connsiteX87" fmla="*/ 9224 w 10000"/>
                <a:gd name="connsiteY87" fmla="*/ 3582 h 9941"/>
                <a:gd name="connsiteX88" fmla="*/ 9330 w 10000"/>
                <a:gd name="connsiteY88" fmla="*/ 3359 h 9941"/>
                <a:gd name="connsiteX89" fmla="*/ 9425 w 10000"/>
                <a:gd name="connsiteY89" fmla="*/ 3134 h 9941"/>
                <a:gd name="connsiteX90" fmla="*/ 9520 w 10000"/>
                <a:gd name="connsiteY90" fmla="*/ 2910 h 9941"/>
                <a:gd name="connsiteX91" fmla="*/ 9604 w 10000"/>
                <a:gd name="connsiteY91" fmla="*/ 2680 h 9941"/>
                <a:gd name="connsiteX92" fmla="*/ 9684 w 10000"/>
                <a:gd name="connsiteY92" fmla="*/ 2447 h 9941"/>
                <a:gd name="connsiteX93" fmla="*/ 9758 w 10000"/>
                <a:gd name="connsiteY93" fmla="*/ 2214 h 9941"/>
                <a:gd name="connsiteX94" fmla="*/ 9831 w 10000"/>
                <a:gd name="connsiteY94" fmla="*/ 1981 h 9941"/>
                <a:gd name="connsiteX95" fmla="*/ 9892 w 10000"/>
                <a:gd name="connsiteY95" fmla="*/ 1747 h 9941"/>
                <a:gd name="connsiteX96" fmla="*/ 9951 w 10000"/>
                <a:gd name="connsiteY96" fmla="*/ 1507 h 9941"/>
                <a:gd name="connsiteX97" fmla="*/ 10000 w 10000"/>
                <a:gd name="connsiteY97" fmla="*/ 1264 h 9941"/>
                <a:gd name="connsiteX98" fmla="*/ 6011 w 10000"/>
                <a:gd name="connsiteY98" fmla="*/ 1939 h 9941"/>
                <a:gd name="connsiteX99" fmla="*/ 2680 w 10000"/>
                <a:gd name="connsiteY99" fmla="*/ 0 h 9941"/>
                <a:gd name="connsiteX0" fmla="*/ 2680 w 10000"/>
                <a:gd name="connsiteY0" fmla="*/ 0 h 9936"/>
                <a:gd name="connsiteX1" fmla="*/ 2680 w 10000"/>
                <a:gd name="connsiteY1" fmla="*/ 0 h 9936"/>
                <a:gd name="connsiteX2" fmla="*/ 2665 w 10000"/>
                <a:gd name="connsiteY2" fmla="*/ 103 h 9936"/>
                <a:gd name="connsiteX3" fmla="*/ 2642 w 10000"/>
                <a:gd name="connsiteY3" fmla="*/ 208 h 9936"/>
                <a:gd name="connsiteX4" fmla="*/ 2621 w 10000"/>
                <a:gd name="connsiteY4" fmla="*/ 311 h 9936"/>
                <a:gd name="connsiteX5" fmla="*/ 2594 w 10000"/>
                <a:gd name="connsiteY5" fmla="*/ 409 h 9936"/>
                <a:gd name="connsiteX6" fmla="*/ 2561 w 10000"/>
                <a:gd name="connsiteY6" fmla="*/ 510 h 9936"/>
                <a:gd name="connsiteX7" fmla="*/ 2530 w 10000"/>
                <a:gd name="connsiteY7" fmla="*/ 611 h 9936"/>
                <a:gd name="connsiteX8" fmla="*/ 2502 w 10000"/>
                <a:gd name="connsiteY8" fmla="*/ 708 h 9936"/>
                <a:gd name="connsiteX9" fmla="*/ 2468 w 10000"/>
                <a:gd name="connsiteY9" fmla="*/ 808 h 9936"/>
                <a:gd name="connsiteX10" fmla="*/ 2428 w 10000"/>
                <a:gd name="connsiteY10" fmla="*/ 905 h 9936"/>
                <a:gd name="connsiteX11" fmla="*/ 2386 w 10000"/>
                <a:gd name="connsiteY11" fmla="*/ 999 h 9936"/>
                <a:gd name="connsiteX12" fmla="*/ 2347 w 10000"/>
                <a:gd name="connsiteY12" fmla="*/ 1097 h 9936"/>
                <a:gd name="connsiteX13" fmla="*/ 2299 w 10000"/>
                <a:gd name="connsiteY13" fmla="*/ 1192 h 9936"/>
                <a:gd name="connsiteX14" fmla="*/ 2248 w 10000"/>
                <a:gd name="connsiteY14" fmla="*/ 1281 h 9936"/>
                <a:gd name="connsiteX15" fmla="*/ 2200 w 10000"/>
                <a:gd name="connsiteY15" fmla="*/ 1372 h 9936"/>
                <a:gd name="connsiteX16" fmla="*/ 2149 w 10000"/>
                <a:gd name="connsiteY16" fmla="*/ 1463 h 9936"/>
                <a:gd name="connsiteX17" fmla="*/ 2092 w 10000"/>
                <a:gd name="connsiteY17" fmla="*/ 1554 h 9936"/>
                <a:gd name="connsiteX18" fmla="*/ 2041 w 10000"/>
                <a:gd name="connsiteY18" fmla="*/ 1644 h 9936"/>
                <a:gd name="connsiteX19" fmla="*/ 1981 w 10000"/>
                <a:gd name="connsiteY19" fmla="*/ 1731 h 9936"/>
                <a:gd name="connsiteX20" fmla="*/ 1919 w 10000"/>
                <a:gd name="connsiteY20" fmla="*/ 1810 h 9936"/>
                <a:gd name="connsiteX21" fmla="*/ 1854 w 10000"/>
                <a:gd name="connsiteY21" fmla="*/ 1895 h 9936"/>
                <a:gd name="connsiteX22" fmla="*/ 1794 w 10000"/>
                <a:gd name="connsiteY22" fmla="*/ 1977 h 9936"/>
                <a:gd name="connsiteX23" fmla="*/ 1725 w 10000"/>
                <a:gd name="connsiteY23" fmla="*/ 2065 h 9936"/>
                <a:gd name="connsiteX24" fmla="*/ 1656 w 10000"/>
                <a:gd name="connsiteY24" fmla="*/ 2142 h 9936"/>
                <a:gd name="connsiteX25" fmla="*/ 1583 w 10000"/>
                <a:gd name="connsiteY25" fmla="*/ 2217 h 9936"/>
                <a:gd name="connsiteX26" fmla="*/ 1509 w 10000"/>
                <a:gd name="connsiteY26" fmla="*/ 2298 h 9936"/>
                <a:gd name="connsiteX27" fmla="*/ 1435 w 10000"/>
                <a:gd name="connsiteY27" fmla="*/ 2373 h 9936"/>
                <a:gd name="connsiteX28" fmla="*/ 1356 w 10000"/>
                <a:gd name="connsiteY28" fmla="*/ 2446 h 9936"/>
                <a:gd name="connsiteX29" fmla="*/ 1279 w 10000"/>
                <a:gd name="connsiteY29" fmla="*/ 2524 h 9936"/>
                <a:gd name="connsiteX30" fmla="*/ 1200 w 10000"/>
                <a:gd name="connsiteY30" fmla="*/ 2594 h 9936"/>
                <a:gd name="connsiteX31" fmla="*/ 1113 w 10000"/>
                <a:gd name="connsiteY31" fmla="*/ 2665 h 9936"/>
                <a:gd name="connsiteX32" fmla="*/ 1033 w 10000"/>
                <a:gd name="connsiteY32" fmla="*/ 2731 h 9936"/>
                <a:gd name="connsiteX33" fmla="*/ 946 w 10000"/>
                <a:gd name="connsiteY33" fmla="*/ 2800 h 9936"/>
                <a:gd name="connsiteX34" fmla="*/ 862 w 10000"/>
                <a:gd name="connsiteY34" fmla="*/ 2864 h 9936"/>
                <a:gd name="connsiteX35" fmla="*/ 767 w 10000"/>
                <a:gd name="connsiteY35" fmla="*/ 2929 h 9936"/>
                <a:gd name="connsiteX36" fmla="*/ 679 w 10000"/>
                <a:gd name="connsiteY36" fmla="*/ 2989 h 9936"/>
                <a:gd name="connsiteX37" fmla="*/ 586 w 10000"/>
                <a:gd name="connsiteY37" fmla="*/ 3051 h 9936"/>
                <a:gd name="connsiteX38" fmla="*/ 492 w 10000"/>
                <a:gd name="connsiteY38" fmla="*/ 3108 h 9936"/>
                <a:gd name="connsiteX39" fmla="*/ 394 w 10000"/>
                <a:gd name="connsiteY39" fmla="*/ 3164 h 9936"/>
                <a:gd name="connsiteX40" fmla="*/ 298 w 10000"/>
                <a:gd name="connsiteY40" fmla="*/ 3221 h 9936"/>
                <a:gd name="connsiteX41" fmla="*/ 203 w 10000"/>
                <a:gd name="connsiteY41" fmla="*/ 3274 h 9936"/>
                <a:gd name="connsiteX42" fmla="*/ 101 w 10000"/>
                <a:gd name="connsiteY42" fmla="*/ 3325 h 9936"/>
                <a:gd name="connsiteX43" fmla="*/ 0 w 10000"/>
                <a:gd name="connsiteY43" fmla="*/ 3373 h 9936"/>
                <a:gd name="connsiteX44" fmla="*/ 187 w 10000"/>
                <a:gd name="connsiteY44" fmla="*/ 6839 h 9936"/>
                <a:gd name="connsiteX45" fmla="*/ 1146 w 10000"/>
                <a:gd name="connsiteY45" fmla="*/ 9936 h 9936"/>
                <a:gd name="connsiteX46" fmla="*/ 1413 w 10000"/>
                <a:gd name="connsiteY46" fmla="*/ 9864 h 9936"/>
                <a:gd name="connsiteX47" fmla="*/ 1673 w 10000"/>
                <a:gd name="connsiteY47" fmla="*/ 9782 h 9936"/>
                <a:gd name="connsiteX48" fmla="*/ 1934 w 10000"/>
                <a:gd name="connsiteY48" fmla="*/ 9704 h 9936"/>
                <a:gd name="connsiteX49" fmla="*/ 2196 w 10000"/>
                <a:gd name="connsiteY49" fmla="*/ 9614 h 9936"/>
                <a:gd name="connsiteX50" fmla="*/ 2457 w 10000"/>
                <a:gd name="connsiteY50" fmla="*/ 9526 h 9936"/>
                <a:gd name="connsiteX51" fmla="*/ 2705 w 10000"/>
                <a:gd name="connsiteY51" fmla="*/ 9426 h 9936"/>
                <a:gd name="connsiteX52" fmla="*/ 2955 w 10000"/>
                <a:gd name="connsiteY52" fmla="*/ 9325 h 9936"/>
                <a:gd name="connsiteX53" fmla="*/ 3206 w 10000"/>
                <a:gd name="connsiteY53" fmla="*/ 9218 h 9936"/>
                <a:gd name="connsiteX54" fmla="*/ 3449 w 10000"/>
                <a:gd name="connsiteY54" fmla="*/ 9108 h 9936"/>
                <a:gd name="connsiteX55" fmla="*/ 3689 w 10000"/>
                <a:gd name="connsiteY55" fmla="*/ 8998 h 9936"/>
                <a:gd name="connsiteX56" fmla="*/ 3930 w 10000"/>
                <a:gd name="connsiteY56" fmla="*/ 8875 h 9936"/>
                <a:gd name="connsiteX57" fmla="*/ 4165 w 10000"/>
                <a:gd name="connsiteY57" fmla="*/ 8755 h 9936"/>
                <a:gd name="connsiteX58" fmla="*/ 4397 w 10000"/>
                <a:gd name="connsiteY58" fmla="*/ 8626 h 9936"/>
                <a:gd name="connsiteX59" fmla="*/ 4628 w 10000"/>
                <a:gd name="connsiteY59" fmla="*/ 8494 h 9936"/>
                <a:gd name="connsiteX60" fmla="*/ 4845 w 10000"/>
                <a:gd name="connsiteY60" fmla="*/ 8362 h 9936"/>
                <a:gd name="connsiteX61" fmla="*/ 5065 w 10000"/>
                <a:gd name="connsiteY61" fmla="*/ 8219 h 9936"/>
                <a:gd name="connsiteX62" fmla="*/ 5285 w 10000"/>
                <a:gd name="connsiteY62" fmla="*/ 8078 h 9936"/>
                <a:gd name="connsiteX63" fmla="*/ 5494 w 10000"/>
                <a:gd name="connsiteY63" fmla="*/ 7931 h 9936"/>
                <a:gd name="connsiteX64" fmla="*/ 5708 w 10000"/>
                <a:gd name="connsiteY64" fmla="*/ 7780 h 9936"/>
                <a:gd name="connsiteX65" fmla="*/ 5911 w 10000"/>
                <a:gd name="connsiteY65" fmla="*/ 7621 h 9936"/>
                <a:gd name="connsiteX66" fmla="*/ 6115 w 10000"/>
                <a:gd name="connsiteY66" fmla="*/ 7465 h 9936"/>
                <a:gd name="connsiteX67" fmla="*/ 6310 w 10000"/>
                <a:gd name="connsiteY67" fmla="*/ 7305 h 9936"/>
                <a:gd name="connsiteX68" fmla="*/ 6508 w 10000"/>
                <a:gd name="connsiteY68" fmla="*/ 7136 h 9936"/>
                <a:gd name="connsiteX69" fmla="*/ 6698 w 10000"/>
                <a:gd name="connsiteY69" fmla="*/ 6963 h 9936"/>
                <a:gd name="connsiteX70" fmla="*/ 6882 w 10000"/>
                <a:gd name="connsiteY70" fmla="*/ 6795 h 9936"/>
                <a:gd name="connsiteX71" fmla="*/ 7064 w 10000"/>
                <a:gd name="connsiteY71" fmla="*/ 6618 h 9936"/>
                <a:gd name="connsiteX72" fmla="*/ 7239 w 10000"/>
                <a:gd name="connsiteY72" fmla="*/ 6437 h 9936"/>
                <a:gd name="connsiteX73" fmla="*/ 7414 w 10000"/>
                <a:gd name="connsiteY73" fmla="*/ 6256 h 9936"/>
                <a:gd name="connsiteX74" fmla="*/ 7582 w 10000"/>
                <a:gd name="connsiteY74" fmla="*/ 6070 h 9936"/>
                <a:gd name="connsiteX75" fmla="*/ 7750 w 10000"/>
                <a:gd name="connsiteY75" fmla="*/ 5878 h 9936"/>
                <a:gd name="connsiteX76" fmla="*/ 7905 w 10000"/>
                <a:gd name="connsiteY76" fmla="*/ 5685 h 9936"/>
                <a:gd name="connsiteX77" fmla="*/ 8057 w 10000"/>
                <a:gd name="connsiteY77" fmla="*/ 5489 h 9936"/>
                <a:gd name="connsiteX78" fmla="*/ 8211 w 10000"/>
                <a:gd name="connsiteY78" fmla="*/ 5293 h 9936"/>
                <a:gd name="connsiteX79" fmla="*/ 8354 w 10000"/>
                <a:gd name="connsiteY79" fmla="*/ 5088 h 9936"/>
                <a:gd name="connsiteX80" fmla="*/ 8493 w 10000"/>
                <a:gd name="connsiteY80" fmla="*/ 4888 h 9936"/>
                <a:gd name="connsiteX81" fmla="*/ 8628 w 10000"/>
                <a:gd name="connsiteY81" fmla="*/ 4679 h 9936"/>
                <a:gd name="connsiteX82" fmla="*/ 8754 w 10000"/>
                <a:gd name="connsiteY82" fmla="*/ 4465 h 9936"/>
                <a:gd name="connsiteX83" fmla="*/ 8877 w 10000"/>
                <a:gd name="connsiteY83" fmla="*/ 4254 h 9936"/>
                <a:gd name="connsiteX84" fmla="*/ 9003 w 10000"/>
                <a:gd name="connsiteY84" fmla="*/ 4039 h 9936"/>
                <a:gd name="connsiteX85" fmla="*/ 9120 w 10000"/>
                <a:gd name="connsiteY85" fmla="*/ 3821 h 9936"/>
                <a:gd name="connsiteX86" fmla="*/ 9224 w 10000"/>
                <a:gd name="connsiteY86" fmla="*/ 3603 h 9936"/>
                <a:gd name="connsiteX87" fmla="*/ 9330 w 10000"/>
                <a:gd name="connsiteY87" fmla="*/ 3379 h 9936"/>
                <a:gd name="connsiteX88" fmla="*/ 9425 w 10000"/>
                <a:gd name="connsiteY88" fmla="*/ 3153 h 9936"/>
                <a:gd name="connsiteX89" fmla="*/ 9520 w 10000"/>
                <a:gd name="connsiteY89" fmla="*/ 2927 h 9936"/>
                <a:gd name="connsiteX90" fmla="*/ 9604 w 10000"/>
                <a:gd name="connsiteY90" fmla="*/ 2696 h 9936"/>
                <a:gd name="connsiteX91" fmla="*/ 9684 w 10000"/>
                <a:gd name="connsiteY91" fmla="*/ 2462 h 9936"/>
                <a:gd name="connsiteX92" fmla="*/ 9758 w 10000"/>
                <a:gd name="connsiteY92" fmla="*/ 2227 h 9936"/>
                <a:gd name="connsiteX93" fmla="*/ 9831 w 10000"/>
                <a:gd name="connsiteY93" fmla="*/ 1993 h 9936"/>
                <a:gd name="connsiteX94" fmla="*/ 9892 w 10000"/>
                <a:gd name="connsiteY94" fmla="*/ 1757 h 9936"/>
                <a:gd name="connsiteX95" fmla="*/ 9951 w 10000"/>
                <a:gd name="connsiteY95" fmla="*/ 1516 h 9936"/>
                <a:gd name="connsiteX96" fmla="*/ 10000 w 10000"/>
                <a:gd name="connsiteY96" fmla="*/ 1272 h 9936"/>
                <a:gd name="connsiteX97" fmla="*/ 6011 w 10000"/>
                <a:gd name="connsiteY97" fmla="*/ 1951 h 9936"/>
                <a:gd name="connsiteX98" fmla="*/ 2680 w 10000"/>
                <a:gd name="connsiteY98" fmla="*/ 0 h 9936"/>
                <a:gd name="connsiteX0" fmla="*/ 2680 w 10000"/>
                <a:gd name="connsiteY0" fmla="*/ 0 h 10000"/>
                <a:gd name="connsiteX1" fmla="*/ 2680 w 10000"/>
                <a:gd name="connsiteY1" fmla="*/ 0 h 10000"/>
                <a:gd name="connsiteX2" fmla="*/ 2665 w 10000"/>
                <a:gd name="connsiteY2" fmla="*/ 104 h 10000"/>
                <a:gd name="connsiteX3" fmla="*/ 2642 w 10000"/>
                <a:gd name="connsiteY3" fmla="*/ 209 h 10000"/>
                <a:gd name="connsiteX4" fmla="*/ 2621 w 10000"/>
                <a:gd name="connsiteY4" fmla="*/ 313 h 10000"/>
                <a:gd name="connsiteX5" fmla="*/ 2594 w 10000"/>
                <a:gd name="connsiteY5" fmla="*/ 412 h 10000"/>
                <a:gd name="connsiteX6" fmla="*/ 2561 w 10000"/>
                <a:gd name="connsiteY6" fmla="*/ 513 h 10000"/>
                <a:gd name="connsiteX7" fmla="*/ 2530 w 10000"/>
                <a:gd name="connsiteY7" fmla="*/ 615 h 10000"/>
                <a:gd name="connsiteX8" fmla="*/ 2502 w 10000"/>
                <a:gd name="connsiteY8" fmla="*/ 713 h 10000"/>
                <a:gd name="connsiteX9" fmla="*/ 2468 w 10000"/>
                <a:gd name="connsiteY9" fmla="*/ 813 h 10000"/>
                <a:gd name="connsiteX10" fmla="*/ 2428 w 10000"/>
                <a:gd name="connsiteY10" fmla="*/ 911 h 10000"/>
                <a:gd name="connsiteX11" fmla="*/ 2386 w 10000"/>
                <a:gd name="connsiteY11" fmla="*/ 1005 h 10000"/>
                <a:gd name="connsiteX12" fmla="*/ 2347 w 10000"/>
                <a:gd name="connsiteY12" fmla="*/ 1104 h 10000"/>
                <a:gd name="connsiteX13" fmla="*/ 2299 w 10000"/>
                <a:gd name="connsiteY13" fmla="*/ 1200 h 10000"/>
                <a:gd name="connsiteX14" fmla="*/ 2248 w 10000"/>
                <a:gd name="connsiteY14" fmla="*/ 1289 h 10000"/>
                <a:gd name="connsiteX15" fmla="*/ 2200 w 10000"/>
                <a:gd name="connsiteY15" fmla="*/ 1381 h 10000"/>
                <a:gd name="connsiteX16" fmla="*/ 2149 w 10000"/>
                <a:gd name="connsiteY16" fmla="*/ 1472 h 10000"/>
                <a:gd name="connsiteX17" fmla="*/ 2092 w 10000"/>
                <a:gd name="connsiteY17" fmla="*/ 1564 h 10000"/>
                <a:gd name="connsiteX18" fmla="*/ 2041 w 10000"/>
                <a:gd name="connsiteY18" fmla="*/ 1655 h 10000"/>
                <a:gd name="connsiteX19" fmla="*/ 1981 w 10000"/>
                <a:gd name="connsiteY19" fmla="*/ 1742 h 10000"/>
                <a:gd name="connsiteX20" fmla="*/ 1919 w 10000"/>
                <a:gd name="connsiteY20" fmla="*/ 1822 h 10000"/>
                <a:gd name="connsiteX21" fmla="*/ 1854 w 10000"/>
                <a:gd name="connsiteY21" fmla="*/ 1907 h 10000"/>
                <a:gd name="connsiteX22" fmla="*/ 1794 w 10000"/>
                <a:gd name="connsiteY22" fmla="*/ 1990 h 10000"/>
                <a:gd name="connsiteX23" fmla="*/ 1725 w 10000"/>
                <a:gd name="connsiteY23" fmla="*/ 2078 h 10000"/>
                <a:gd name="connsiteX24" fmla="*/ 1656 w 10000"/>
                <a:gd name="connsiteY24" fmla="*/ 2156 h 10000"/>
                <a:gd name="connsiteX25" fmla="*/ 1583 w 10000"/>
                <a:gd name="connsiteY25" fmla="*/ 2231 h 10000"/>
                <a:gd name="connsiteX26" fmla="*/ 1509 w 10000"/>
                <a:gd name="connsiteY26" fmla="*/ 2313 h 10000"/>
                <a:gd name="connsiteX27" fmla="*/ 1435 w 10000"/>
                <a:gd name="connsiteY27" fmla="*/ 2388 h 10000"/>
                <a:gd name="connsiteX28" fmla="*/ 1356 w 10000"/>
                <a:gd name="connsiteY28" fmla="*/ 2462 h 10000"/>
                <a:gd name="connsiteX29" fmla="*/ 1279 w 10000"/>
                <a:gd name="connsiteY29" fmla="*/ 2540 h 10000"/>
                <a:gd name="connsiteX30" fmla="*/ 1200 w 10000"/>
                <a:gd name="connsiteY30" fmla="*/ 2611 h 10000"/>
                <a:gd name="connsiteX31" fmla="*/ 1113 w 10000"/>
                <a:gd name="connsiteY31" fmla="*/ 2682 h 10000"/>
                <a:gd name="connsiteX32" fmla="*/ 1033 w 10000"/>
                <a:gd name="connsiteY32" fmla="*/ 2749 h 10000"/>
                <a:gd name="connsiteX33" fmla="*/ 946 w 10000"/>
                <a:gd name="connsiteY33" fmla="*/ 2818 h 10000"/>
                <a:gd name="connsiteX34" fmla="*/ 862 w 10000"/>
                <a:gd name="connsiteY34" fmla="*/ 2882 h 10000"/>
                <a:gd name="connsiteX35" fmla="*/ 767 w 10000"/>
                <a:gd name="connsiteY35" fmla="*/ 2948 h 10000"/>
                <a:gd name="connsiteX36" fmla="*/ 679 w 10000"/>
                <a:gd name="connsiteY36" fmla="*/ 3008 h 10000"/>
                <a:gd name="connsiteX37" fmla="*/ 586 w 10000"/>
                <a:gd name="connsiteY37" fmla="*/ 3071 h 10000"/>
                <a:gd name="connsiteX38" fmla="*/ 492 w 10000"/>
                <a:gd name="connsiteY38" fmla="*/ 3128 h 10000"/>
                <a:gd name="connsiteX39" fmla="*/ 394 w 10000"/>
                <a:gd name="connsiteY39" fmla="*/ 3184 h 10000"/>
                <a:gd name="connsiteX40" fmla="*/ 298 w 10000"/>
                <a:gd name="connsiteY40" fmla="*/ 3242 h 10000"/>
                <a:gd name="connsiteX41" fmla="*/ 203 w 10000"/>
                <a:gd name="connsiteY41" fmla="*/ 3295 h 10000"/>
                <a:gd name="connsiteX42" fmla="*/ 101 w 10000"/>
                <a:gd name="connsiteY42" fmla="*/ 3346 h 10000"/>
                <a:gd name="connsiteX43" fmla="*/ 0 w 10000"/>
                <a:gd name="connsiteY43" fmla="*/ 3395 h 10000"/>
                <a:gd name="connsiteX44" fmla="*/ 187 w 10000"/>
                <a:gd name="connsiteY44" fmla="*/ 6883 h 10000"/>
                <a:gd name="connsiteX45" fmla="*/ 1146 w 10000"/>
                <a:gd name="connsiteY45" fmla="*/ 10000 h 10000"/>
                <a:gd name="connsiteX46" fmla="*/ 1673 w 10000"/>
                <a:gd name="connsiteY46" fmla="*/ 9845 h 10000"/>
                <a:gd name="connsiteX47" fmla="*/ 1934 w 10000"/>
                <a:gd name="connsiteY47" fmla="*/ 9767 h 10000"/>
                <a:gd name="connsiteX48" fmla="*/ 2196 w 10000"/>
                <a:gd name="connsiteY48" fmla="*/ 9676 h 10000"/>
                <a:gd name="connsiteX49" fmla="*/ 2457 w 10000"/>
                <a:gd name="connsiteY49" fmla="*/ 9587 h 10000"/>
                <a:gd name="connsiteX50" fmla="*/ 2705 w 10000"/>
                <a:gd name="connsiteY50" fmla="*/ 9487 h 10000"/>
                <a:gd name="connsiteX51" fmla="*/ 2955 w 10000"/>
                <a:gd name="connsiteY51" fmla="*/ 9385 h 10000"/>
                <a:gd name="connsiteX52" fmla="*/ 3206 w 10000"/>
                <a:gd name="connsiteY52" fmla="*/ 9277 h 10000"/>
                <a:gd name="connsiteX53" fmla="*/ 3449 w 10000"/>
                <a:gd name="connsiteY53" fmla="*/ 9167 h 10000"/>
                <a:gd name="connsiteX54" fmla="*/ 3689 w 10000"/>
                <a:gd name="connsiteY54" fmla="*/ 9056 h 10000"/>
                <a:gd name="connsiteX55" fmla="*/ 3930 w 10000"/>
                <a:gd name="connsiteY55" fmla="*/ 8932 h 10000"/>
                <a:gd name="connsiteX56" fmla="*/ 4165 w 10000"/>
                <a:gd name="connsiteY56" fmla="*/ 8811 h 10000"/>
                <a:gd name="connsiteX57" fmla="*/ 4397 w 10000"/>
                <a:gd name="connsiteY57" fmla="*/ 8682 h 10000"/>
                <a:gd name="connsiteX58" fmla="*/ 4628 w 10000"/>
                <a:gd name="connsiteY58" fmla="*/ 8549 h 10000"/>
                <a:gd name="connsiteX59" fmla="*/ 4845 w 10000"/>
                <a:gd name="connsiteY59" fmla="*/ 8416 h 10000"/>
                <a:gd name="connsiteX60" fmla="*/ 5065 w 10000"/>
                <a:gd name="connsiteY60" fmla="*/ 8272 h 10000"/>
                <a:gd name="connsiteX61" fmla="*/ 5285 w 10000"/>
                <a:gd name="connsiteY61" fmla="*/ 8130 h 10000"/>
                <a:gd name="connsiteX62" fmla="*/ 5494 w 10000"/>
                <a:gd name="connsiteY62" fmla="*/ 7982 h 10000"/>
                <a:gd name="connsiteX63" fmla="*/ 5708 w 10000"/>
                <a:gd name="connsiteY63" fmla="*/ 7830 h 10000"/>
                <a:gd name="connsiteX64" fmla="*/ 5911 w 10000"/>
                <a:gd name="connsiteY64" fmla="*/ 7670 h 10000"/>
                <a:gd name="connsiteX65" fmla="*/ 6115 w 10000"/>
                <a:gd name="connsiteY65" fmla="*/ 7513 h 10000"/>
                <a:gd name="connsiteX66" fmla="*/ 6310 w 10000"/>
                <a:gd name="connsiteY66" fmla="*/ 7352 h 10000"/>
                <a:gd name="connsiteX67" fmla="*/ 6508 w 10000"/>
                <a:gd name="connsiteY67" fmla="*/ 7182 h 10000"/>
                <a:gd name="connsiteX68" fmla="*/ 6698 w 10000"/>
                <a:gd name="connsiteY68" fmla="*/ 7008 h 10000"/>
                <a:gd name="connsiteX69" fmla="*/ 6882 w 10000"/>
                <a:gd name="connsiteY69" fmla="*/ 6839 h 10000"/>
                <a:gd name="connsiteX70" fmla="*/ 7064 w 10000"/>
                <a:gd name="connsiteY70" fmla="*/ 6661 h 10000"/>
                <a:gd name="connsiteX71" fmla="*/ 7239 w 10000"/>
                <a:gd name="connsiteY71" fmla="*/ 6478 h 10000"/>
                <a:gd name="connsiteX72" fmla="*/ 7414 w 10000"/>
                <a:gd name="connsiteY72" fmla="*/ 6296 h 10000"/>
                <a:gd name="connsiteX73" fmla="*/ 7582 w 10000"/>
                <a:gd name="connsiteY73" fmla="*/ 6109 h 10000"/>
                <a:gd name="connsiteX74" fmla="*/ 7750 w 10000"/>
                <a:gd name="connsiteY74" fmla="*/ 5916 h 10000"/>
                <a:gd name="connsiteX75" fmla="*/ 7905 w 10000"/>
                <a:gd name="connsiteY75" fmla="*/ 5722 h 10000"/>
                <a:gd name="connsiteX76" fmla="*/ 8057 w 10000"/>
                <a:gd name="connsiteY76" fmla="*/ 5524 h 10000"/>
                <a:gd name="connsiteX77" fmla="*/ 8211 w 10000"/>
                <a:gd name="connsiteY77" fmla="*/ 5327 h 10000"/>
                <a:gd name="connsiteX78" fmla="*/ 8354 w 10000"/>
                <a:gd name="connsiteY78" fmla="*/ 5121 h 10000"/>
                <a:gd name="connsiteX79" fmla="*/ 8493 w 10000"/>
                <a:gd name="connsiteY79" fmla="*/ 4919 h 10000"/>
                <a:gd name="connsiteX80" fmla="*/ 8628 w 10000"/>
                <a:gd name="connsiteY80" fmla="*/ 4709 h 10000"/>
                <a:gd name="connsiteX81" fmla="*/ 8754 w 10000"/>
                <a:gd name="connsiteY81" fmla="*/ 4494 h 10000"/>
                <a:gd name="connsiteX82" fmla="*/ 8877 w 10000"/>
                <a:gd name="connsiteY82" fmla="*/ 4281 h 10000"/>
                <a:gd name="connsiteX83" fmla="*/ 9003 w 10000"/>
                <a:gd name="connsiteY83" fmla="*/ 4065 h 10000"/>
                <a:gd name="connsiteX84" fmla="*/ 9120 w 10000"/>
                <a:gd name="connsiteY84" fmla="*/ 3846 h 10000"/>
                <a:gd name="connsiteX85" fmla="*/ 9224 w 10000"/>
                <a:gd name="connsiteY85" fmla="*/ 3626 h 10000"/>
                <a:gd name="connsiteX86" fmla="*/ 9330 w 10000"/>
                <a:gd name="connsiteY86" fmla="*/ 3401 h 10000"/>
                <a:gd name="connsiteX87" fmla="*/ 9425 w 10000"/>
                <a:gd name="connsiteY87" fmla="*/ 3173 h 10000"/>
                <a:gd name="connsiteX88" fmla="*/ 9520 w 10000"/>
                <a:gd name="connsiteY88" fmla="*/ 2946 h 10000"/>
                <a:gd name="connsiteX89" fmla="*/ 9604 w 10000"/>
                <a:gd name="connsiteY89" fmla="*/ 2713 h 10000"/>
                <a:gd name="connsiteX90" fmla="*/ 9684 w 10000"/>
                <a:gd name="connsiteY90" fmla="*/ 2478 h 10000"/>
                <a:gd name="connsiteX91" fmla="*/ 9758 w 10000"/>
                <a:gd name="connsiteY91" fmla="*/ 2241 h 10000"/>
                <a:gd name="connsiteX92" fmla="*/ 9831 w 10000"/>
                <a:gd name="connsiteY92" fmla="*/ 2006 h 10000"/>
                <a:gd name="connsiteX93" fmla="*/ 9892 w 10000"/>
                <a:gd name="connsiteY93" fmla="*/ 1768 h 10000"/>
                <a:gd name="connsiteX94" fmla="*/ 9951 w 10000"/>
                <a:gd name="connsiteY94" fmla="*/ 1526 h 10000"/>
                <a:gd name="connsiteX95" fmla="*/ 10000 w 10000"/>
                <a:gd name="connsiteY95" fmla="*/ 1280 h 10000"/>
                <a:gd name="connsiteX96" fmla="*/ 6011 w 10000"/>
                <a:gd name="connsiteY96" fmla="*/ 1964 h 10000"/>
                <a:gd name="connsiteX97" fmla="*/ 2680 w 10000"/>
                <a:gd name="connsiteY97" fmla="*/ 0 h 10000"/>
                <a:gd name="connsiteX0" fmla="*/ 2680 w 10000"/>
                <a:gd name="connsiteY0" fmla="*/ 0 h 9845"/>
                <a:gd name="connsiteX1" fmla="*/ 2680 w 10000"/>
                <a:gd name="connsiteY1" fmla="*/ 0 h 9845"/>
                <a:gd name="connsiteX2" fmla="*/ 2665 w 10000"/>
                <a:gd name="connsiteY2" fmla="*/ 104 h 9845"/>
                <a:gd name="connsiteX3" fmla="*/ 2642 w 10000"/>
                <a:gd name="connsiteY3" fmla="*/ 209 h 9845"/>
                <a:gd name="connsiteX4" fmla="*/ 2621 w 10000"/>
                <a:gd name="connsiteY4" fmla="*/ 313 h 9845"/>
                <a:gd name="connsiteX5" fmla="*/ 2594 w 10000"/>
                <a:gd name="connsiteY5" fmla="*/ 412 h 9845"/>
                <a:gd name="connsiteX6" fmla="*/ 2561 w 10000"/>
                <a:gd name="connsiteY6" fmla="*/ 513 h 9845"/>
                <a:gd name="connsiteX7" fmla="*/ 2530 w 10000"/>
                <a:gd name="connsiteY7" fmla="*/ 615 h 9845"/>
                <a:gd name="connsiteX8" fmla="*/ 2502 w 10000"/>
                <a:gd name="connsiteY8" fmla="*/ 713 h 9845"/>
                <a:gd name="connsiteX9" fmla="*/ 2468 w 10000"/>
                <a:gd name="connsiteY9" fmla="*/ 813 h 9845"/>
                <a:gd name="connsiteX10" fmla="*/ 2428 w 10000"/>
                <a:gd name="connsiteY10" fmla="*/ 911 h 9845"/>
                <a:gd name="connsiteX11" fmla="*/ 2386 w 10000"/>
                <a:gd name="connsiteY11" fmla="*/ 1005 h 9845"/>
                <a:gd name="connsiteX12" fmla="*/ 2347 w 10000"/>
                <a:gd name="connsiteY12" fmla="*/ 1104 h 9845"/>
                <a:gd name="connsiteX13" fmla="*/ 2299 w 10000"/>
                <a:gd name="connsiteY13" fmla="*/ 1200 h 9845"/>
                <a:gd name="connsiteX14" fmla="*/ 2248 w 10000"/>
                <a:gd name="connsiteY14" fmla="*/ 1289 h 9845"/>
                <a:gd name="connsiteX15" fmla="*/ 2200 w 10000"/>
                <a:gd name="connsiteY15" fmla="*/ 1381 h 9845"/>
                <a:gd name="connsiteX16" fmla="*/ 2149 w 10000"/>
                <a:gd name="connsiteY16" fmla="*/ 1472 h 9845"/>
                <a:gd name="connsiteX17" fmla="*/ 2092 w 10000"/>
                <a:gd name="connsiteY17" fmla="*/ 1564 h 9845"/>
                <a:gd name="connsiteX18" fmla="*/ 2041 w 10000"/>
                <a:gd name="connsiteY18" fmla="*/ 1655 h 9845"/>
                <a:gd name="connsiteX19" fmla="*/ 1981 w 10000"/>
                <a:gd name="connsiteY19" fmla="*/ 1742 h 9845"/>
                <a:gd name="connsiteX20" fmla="*/ 1919 w 10000"/>
                <a:gd name="connsiteY20" fmla="*/ 1822 h 9845"/>
                <a:gd name="connsiteX21" fmla="*/ 1854 w 10000"/>
                <a:gd name="connsiteY21" fmla="*/ 1907 h 9845"/>
                <a:gd name="connsiteX22" fmla="*/ 1794 w 10000"/>
                <a:gd name="connsiteY22" fmla="*/ 1990 h 9845"/>
                <a:gd name="connsiteX23" fmla="*/ 1725 w 10000"/>
                <a:gd name="connsiteY23" fmla="*/ 2078 h 9845"/>
                <a:gd name="connsiteX24" fmla="*/ 1656 w 10000"/>
                <a:gd name="connsiteY24" fmla="*/ 2156 h 9845"/>
                <a:gd name="connsiteX25" fmla="*/ 1583 w 10000"/>
                <a:gd name="connsiteY25" fmla="*/ 2231 h 9845"/>
                <a:gd name="connsiteX26" fmla="*/ 1509 w 10000"/>
                <a:gd name="connsiteY26" fmla="*/ 2313 h 9845"/>
                <a:gd name="connsiteX27" fmla="*/ 1435 w 10000"/>
                <a:gd name="connsiteY27" fmla="*/ 2388 h 9845"/>
                <a:gd name="connsiteX28" fmla="*/ 1356 w 10000"/>
                <a:gd name="connsiteY28" fmla="*/ 2462 h 9845"/>
                <a:gd name="connsiteX29" fmla="*/ 1279 w 10000"/>
                <a:gd name="connsiteY29" fmla="*/ 2540 h 9845"/>
                <a:gd name="connsiteX30" fmla="*/ 1200 w 10000"/>
                <a:gd name="connsiteY30" fmla="*/ 2611 h 9845"/>
                <a:gd name="connsiteX31" fmla="*/ 1113 w 10000"/>
                <a:gd name="connsiteY31" fmla="*/ 2682 h 9845"/>
                <a:gd name="connsiteX32" fmla="*/ 1033 w 10000"/>
                <a:gd name="connsiteY32" fmla="*/ 2749 h 9845"/>
                <a:gd name="connsiteX33" fmla="*/ 946 w 10000"/>
                <a:gd name="connsiteY33" fmla="*/ 2818 h 9845"/>
                <a:gd name="connsiteX34" fmla="*/ 862 w 10000"/>
                <a:gd name="connsiteY34" fmla="*/ 2882 h 9845"/>
                <a:gd name="connsiteX35" fmla="*/ 767 w 10000"/>
                <a:gd name="connsiteY35" fmla="*/ 2948 h 9845"/>
                <a:gd name="connsiteX36" fmla="*/ 679 w 10000"/>
                <a:gd name="connsiteY36" fmla="*/ 3008 h 9845"/>
                <a:gd name="connsiteX37" fmla="*/ 586 w 10000"/>
                <a:gd name="connsiteY37" fmla="*/ 3071 h 9845"/>
                <a:gd name="connsiteX38" fmla="*/ 492 w 10000"/>
                <a:gd name="connsiteY38" fmla="*/ 3128 h 9845"/>
                <a:gd name="connsiteX39" fmla="*/ 394 w 10000"/>
                <a:gd name="connsiteY39" fmla="*/ 3184 h 9845"/>
                <a:gd name="connsiteX40" fmla="*/ 298 w 10000"/>
                <a:gd name="connsiteY40" fmla="*/ 3242 h 9845"/>
                <a:gd name="connsiteX41" fmla="*/ 203 w 10000"/>
                <a:gd name="connsiteY41" fmla="*/ 3295 h 9845"/>
                <a:gd name="connsiteX42" fmla="*/ 101 w 10000"/>
                <a:gd name="connsiteY42" fmla="*/ 3346 h 9845"/>
                <a:gd name="connsiteX43" fmla="*/ 0 w 10000"/>
                <a:gd name="connsiteY43" fmla="*/ 3395 h 9845"/>
                <a:gd name="connsiteX44" fmla="*/ 187 w 10000"/>
                <a:gd name="connsiteY44" fmla="*/ 6883 h 9845"/>
                <a:gd name="connsiteX45" fmla="*/ 1673 w 10000"/>
                <a:gd name="connsiteY45" fmla="*/ 9845 h 9845"/>
                <a:gd name="connsiteX46" fmla="*/ 1934 w 10000"/>
                <a:gd name="connsiteY46" fmla="*/ 9767 h 9845"/>
                <a:gd name="connsiteX47" fmla="*/ 2196 w 10000"/>
                <a:gd name="connsiteY47" fmla="*/ 9676 h 9845"/>
                <a:gd name="connsiteX48" fmla="*/ 2457 w 10000"/>
                <a:gd name="connsiteY48" fmla="*/ 9587 h 9845"/>
                <a:gd name="connsiteX49" fmla="*/ 2705 w 10000"/>
                <a:gd name="connsiteY49" fmla="*/ 9487 h 9845"/>
                <a:gd name="connsiteX50" fmla="*/ 2955 w 10000"/>
                <a:gd name="connsiteY50" fmla="*/ 9385 h 9845"/>
                <a:gd name="connsiteX51" fmla="*/ 3206 w 10000"/>
                <a:gd name="connsiteY51" fmla="*/ 9277 h 9845"/>
                <a:gd name="connsiteX52" fmla="*/ 3449 w 10000"/>
                <a:gd name="connsiteY52" fmla="*/ 9167 h 9845"/>
                <a:gd name="connsiteX53" fmla="*/ 3689 w 10000"/>
                <a:gd name="connsiteY53" fmla="*/ 9056 h 9845"/>
                <a:gd name="connsiteX54" fmla="*/ 3930 w 10000"/>
                <a:gd name="connsiteY54" fmla="*/ 8932 h 9845"/>
                <a:gd name="connsiteX55" fmla="*/ 4165 w 10000"/>
                <a:gd name="connsiteY55" fmla="*/ 8811 h 9845"/>
                <a:gd name="connsiteX56" fmla="*/ 4397 w 10000"/>
                <a:gd name="connsiteY56" fmla="*/ 8682 h 9845"/>
                <a:gd name="connsiteX57" fmla="*/ 4628 w 10000"/>
                <a:gd name="connsiteY57" fmla="*/ 8549 h 9845"/>
                <a:gd name="connsiteX58" fmla="*/ 4845 w 10000"/>
                <a:gd name="connsiteY58" fmla="*/ 8416 h 9845"/>
                <a:gd name="connsiteX59" fmla="*/ 5065 w 10000"/>
                <a:gd name="connsiteY59" fmla="*/ 8272 h 9845"/>
                <a:gd name="connsiteX60" fmla="*/ 5285 w 10000"/>
                <a:gd name="connsiteY60" fmla="*/ 8130 h 9845"/>
                <a:gd name="connsiteX61" fmla="*/ 5494 w 10000"/>
                <a:gd name="connsiteY61" fmla="*/ 7982 h 9845"/>
                <a:gd name="connsiteX62" fmla="*/ 5708 w 10000"/>
                <a:gd name="connsiteY62" fmla="*/ 7830 h 9845"/>
                <a:gd name="connsiteX63" fmla="*/ 5911 w 10000"/>
                <a:gd name="connsiteY63" fmla="*/ 7670 h 9845"/>
                <a:gd name="connsiteX64" fmla="*/ 6115 w 10000"/>
                <a:gd name="connsiteY64" fmla="*/ 7513 h 9845"/>
                <a:gd name="connsiteX65" fmla="*/ 6310 w 10000"/>
                <a:gd name="connsiteY65" fmla="*/ 7352 h 9845"/>
                <a:gd name="connsiteX66" fmla="*/ 6508 w 10000"/>
                <a:gd name="connsiteY66" fmla="*/ 7182 h 9845"/>
                <a:gd name="connsiteX67" fmla="*/ 6698 w 10000"/>
                <a:gd name="connsiteY67" fmla="*/ 7008 h 9845"/>
                <a:gd name="connsiteX68" fmla="*/ 6882 w 10000"/>
                <a:gd name="connsiteY68" fmla="*/ 6839 h 9845"/>
                <a:gd name="connsiteX69" fmla="*/ 7064 w 10000"/>
                <a:gd name="connsiteY69" fmla="*/ 6661 h 9845"/>
                <a:gd name="connsiteX70" fmla="*/ 7239 w 10000"/>
                <a:gd name="connsiteY70" fmla="*/ 6478 h 9845"/>
                <a:gd name="connsiteX71" fmla="*/ 7414 w 10000"/>
                <a:gd name="connsiteY71" fmla="*/ 6296 h 9845"/>
                <a:gd name="connsiteX72" fmla="*/ 7582 w 10000"/>
                <a:gd name="connsiteY72" fmla="*/ 6109 h 9845"/>
                <a:gd name="connsiteX73" fmla="*/ 7750 w 10000"/>
                <a:gd name="connsiteY73" fmla="*/ 5916 h 9845"/>
                <a:gd name="connsiteX74" fmla="*/ 7905 w 10000"/>
                <a:gd name="connsiteY74" fmla="*/ 5722 h 9845"/>
                <a:gd name="connsiteX75" fmla="*/ 8057 w 10000"/>
                <a:gd name="connsiteY75" fmla="*/ 5524 h 9845"/>
                <a:gd name="connsiteX76" fmla="*/ 8211 w 10000"/>
                <a:gd name="connsiteY76" fmla="*/ 5327 h 9845"/>
                <a:gd name="connsiteX77" fmla="*/ 8354 w 10000"/>
                <a:gd name="connsiteY77" fmla="*/ 5121 h 9845"/>
                <a:gd name="connsiteX78" fmla="*/ 8493 w 10000"/>
                <a:gd name="connsiteY78" fmla="*/ 4919 h 9845"/>
                <a:gd name="connsiteX79" fmla="*/ 8628 w 10000"/>
                <a:gd name="connsiteY79" fmla="*/ 4709 h 9845"/>
                <a:gd name="connsiteX80" fmla="*/ 8754 w 10000"/>
                <a:gd name="connsiteY80" fmla="*/ 4494 h 9845"/>
                <a:gd name="connsiteX81" fmla="*/ 8877 w 10000"/>
                <a:gd name="connsiteY81" fmla="*/ 4281 h 9845"/>
                <a:gd name="connsiteX82" fmla="*/ 9003 w 10000"/>
                <a:gd name="connsiteY82" fmla="*/ 4065 h 9845"/>
                <a:gd name="connsiteX83" fmla="*/ 9120 w 10000"/>
                <a:gd name="connsiteY83" fmla="*/ 3846 h 9845"/>
                <a:gd name="connsiteX84" fmla="*/ 9224 w 10000"/>
                <a:gd name="connsiteY84" fmla="*/ 3626 h 9845"/>
                <a:gd name="connsiteX85" fmla="*/ 9330 w 10000"/>
                <a:gd name="connsiteY85" fmla="*/ 3401 h 9845"/>
                <a:gd name="connsiteX86" fmla="*/ 9425 w 10000"/>
                <a:gd name="connsiteY86" fmla="*/ 3173 h 9845"/>
                <a:gd name="connsiteX87" fmla="*/ 9520 w 10000"/>
                <a:gd name="connsiteY87" fmla="*/ 2946 h 9845"/>
                <a:gd name="connsiteX88" fmla="*/ 9604 w 10000"/>
                <a:gd name="connsiteY88" fmla="*/ 2713 h 9845"/>
                <a:gd name="connsiteX89" fmla="*/ 9684 w 10000"/>
                <a:gd name="connsiteY89" fmla="*/ 2478 h 9845"/>
                <a:gd name="connsiteX90" fmla="*/ 9758 w 10000"/>
                <a:gd name="connsiteY90" fmla="*/ 2241 h 9845"/>
                <a:gd name="connsiteX91" fmla="*/ 9831 w 10000"/>
                <a:gd name="connsiteY91" fmla="*/ 2006 h 9845"/>
                <a:gd name="connsiteX92" fmla="*/ 9892 w 10000"/>
                <a:gd name="connsiteY92" fmla="*/ 1768 h 9845"/>
                <a:gd name="connsiteX93" fmla="*/ 9951 w 10000"/>
                <a:gd name="connsiteY93" fmla="*/ 1526 h 9845"/>
                <a:gd name="connsiteX94" fmla="*/ 10000 w 10000"/>
                <a:gd name="connsiteY94" fmla="*/ 1280 h 9845"/>
                <a:gd name="connsiteX95" fmla="*/ 6011 w 10000"/>
                <a:gd name="connsiteY95" fmla="*/ 1964 h 9845"/>
                <a:gd name="connsiteX96" fmla="*/ 2680 w 10000"/>
                <a:gd name="connsiteY96" fmla="*/ 0 h 9845"/>
                <a:gd name="connsiteX0" fmla="*/ 2680 w 10000"/>
                <a:gd name="connsiteY0" fmla="*/ 0 h 10115"/>
                <a:gd name="connsiteX1" fmla="*/ 2680 w 10000"/>
                <a:gd name="connsiteY1" fmla="*/ 0 h 10115"/>
                <a:gd name="connsiteX2" fmla="*/ 2665 w 10000"/>
                <a:gd name="connsiteY2" fmla="*/ 106 h 10115"/>
                <a:gd name="connsiteX3" fmla="*/ 2642 w 10000"/>
                <a:gd name="connsiteY3" fmla="*/ 212 h 10115"/>
                <a:gd name="connsiteX4" fmla="*/ 2621 w 10000"/>
                <a:gd name="connsiteY4" fmla="*/ 318 h 10115"/>
                <a:gd name="connsiteX5" fmla="*/ 2594 w 10000"/>
                <a:gd name="connsiteY5" fmla="*/ 418 h 10115"/>
                <a:gd name="connsiteX6" fmla="*/ 2561 w 10000"/>
                <a:gd name="connsiteY6" fmla="*/ 521 h 10115"/>
                <a:gd name="connsiteX7" fmla="*/ 2530 w 10000"/>
                <a:gd name="connsiteY7" fmla="*/ 625 h 10115"/>
                <a:gd name="connsiteX8" fmla="*/ 2502 w 10000"/>
                <a:gd name="connsiteY8" fmla="*/ 724 h 10115"/>
                <a:gd name="connsiteX9" fmla="*/ 2468 w 10000"/>
                <a:gd name="connsiteY9" fmla="*/ 826 h 10115"/>
                <a:gd name="connsiteX10" fmla="*/ 2428 w 10000"/>
                <a:gd name="connsiteY10" fmla="*/ 925 h 10115"/>
                <a:gd name="connsiteX11" fmla="*/ 2386 w 10000"/>
                <a:gd name="connsiteY11" fmla="*/ 1021 h 10115"/>
                <a:gd name="connsiteX12" fmla="*/ 2347 w 10000"/>
                <a:gd name="connsiteY12" fmla="*/ 1121 h 10115"/>
                <a:gd name="connsiteX13" fmla="*/ 2299 w 10000"/>
                <a:gd name="connsiteY13" fmla="*/ 1219 h 10115"/>
                <a:gd name="connsiteX14" fmla="*/ 2248 w 10000"/>
                <a:gd name="connsiteY14" fmla="*/ 1309 h 10115"/>
                <a:gd name="connsiteX15" fmla="*/ 2200 w 10000"/>
                <a:gd name="connsiteY15" fmla="*/ 1403 h 10115"/>
                <a:gd name="connsiteX16" fmla="*/ 2149 w 10000"/>
                <a:gd name="connsiteY16" fmla="*/ 1495 h 10115"/>
                <a:gd name="connsiteX17" fmla="*/ 2092 w 10000"/>
                <a:gd name="connsiteY17" fmla="*/ 1589 h 10115"/>
                <a:gd name="connsiteX18" fmla="*/ 2041 w 10000"/>
                <a:gd name="connsiteY18" fmla="*/ 1681 h 10115"/>
                <a:gd name="connsiteX19" fmla="*/ 1981 w 10000"/>
                <a:gd name="connsiteY19" fmla="*/ 1769 h 10115"/>
                <a:gd name="connsiteX20" fmla="*/ 1919 w 10000"/>
                <a:gd name="connsiteY20" fmla="*/ 1851 h 10115"/>
                <a:gd name="connsiteX21" fmla="*/ 1854 w 10000"/>
                <a:gd name="connsiteY21" fmla="*/ 1937 h 10115"/>
                <a:gd name="connsiteX22" fmla="*/ 1794 w 10000"/>
                <a:gd name="connsiteY22" fmla="*/ 2021 h 10115"/>
                <a:gd name="connsiteX23" fmla="*/ 1725 w 10000"/>
                <a:gd name="connsiteY23" fmla="*/ 2111 h 10115"/>
                <a:gd name="connsiteX24" fmla="*/ 1656 w 10000"/>
                <a:gd name="connsiteY24" fmla="*/ 2190 h 10115"/>
                <a:gd name="connsiteX25" fmla="*/ 1583 w 10000"/>
                <a:gd name="connsiteY25" fmla="*/ 2266 h 10115"/>
                <a:gd name="connsiteX26" fmla="*/ 1509 w 10000"/>
                <a:gd name="connsiteY26" fmla="*/ 2349 h 10115"/>
                <a:gd name="connsiteX27" fmla="*/ 1435 w 10000"/>
                <a:gd name="connsiteY27" fmla="*/ 2426 h 10115"/>
                <a:gd name="connsiteX28" fmla="*/ 1356 w 10000"/>
                <a:gd name="connsiteY28" fmla="*/ 2501 h 10115"/>
                <a:gd name="connsiteX29" fmla="*/ 1279 w 10000"/>
                <a:gd name="connsiteY29" fmla="*/ 2580 h 10115"/>
                <a:gd name="connsiteX30" fmla="*/ 1200 w 10000"/>
                <a:gd name="connsiteY30" fmla="*/ 2652 h 10115"/>
                <a:gd name="connsiteX31" fmla="*/ 1113 w 10000"/>
                <a:gd name="connsiteY31" fmla="*/ 2724 h 10115"/>
                <a:gd name="connsiteX32" fmla="*/ 1033 w 10000"/>
                <a:gd name="connsiteY32" fmla="*/ 2792 h 10115"/>
                <a:gd name="connsiteX33" fmla="*/ 946 w 10000"/>
                <a:gd name="connsiteY33" fmla="*/ 2862 h 10115"/>
                <a:gd name="connsiteX34" fmla="*/ 862 w 10000"/>
                <a:gd name="connsiteY34" fmla="*/ 2927 h 10115"/>
                <a:gd name="connsiteX35" fmla="*/ 767 w 10000"/>
                <a:gd name="connsiteY35" fmla="*/ 2994 h 10115"/>
                <a:gd name="connsiteX36" fmla="*/ 679 w 10000"/>
                <a:gd name="connsiteY36" fmla="*/ 3055 h 10115"/>
                <a:gd name="connsiteX37" fmla="*/ 586 w 10000"/>
                <a:gd name="connsiteY37" fmla="*/ 3119 h 10115"/>
                <a:gd name="connsiteX38" fmla="*/ 492 w 10000"/>
                <a:gd name="connsiteY38" fmla="*/ 3177 h 10115"/>
                <a:gd name="connsiteX39" fmla="*/ 394 w 10000"/>
                <a:gd name="connsiteY39" fmla="*/ 3234 h 10115"/>
                <a:gd name="connsiteX40" fmla="*/ 298 w 10000"/>
                <a:gd name="connsiteY40" fmla="*/ 3293 h 10115"/>
                <a:gd name="connsiteX41" fmla="*/ 203 w 10000"/>
                <a:gd name="connsiteY41" fmla="*/ 3347 h 10115"/>
                <a:gd name="connsiteX42" fmla="*/ 101 w 10000"/>
                <a:gd name="connsiteY42" fmla="*/ 3399 h 10115"/>
                <a:gd name="connsiteX43" fmla="*/ 0 w 10000"/>
                <a:gd name="connsiteY43" fmla="*/ 3448 h 10115"/>
                <a:gd name="connsiteX44" fmla="*/ 187 w 10000"/>
                <a:gd name="connsiteY44" fmla="*/ 6991 h 10115"/>
                <a:gd name="connsiteX45" fmla="*/ 1934 w 10000"/>
                <a:gd name="connsiteY45" fmla="*/ 9921 h 10115"/>
                <a:gd name="connsiteX46" fmla="*/ 2196 w 10000"/>
                <a:gd name="connsiteY46" fmla="*/ 9828 h 10115"/>
                <a:gd name="connsiteX47" fmla="*/ 2457 w 10000"/>
                <a:gd name="connsiteY47" fmla="*/ 9738 h 10115"/>
                <a:gd name="connsiteX48" fmla="*/ 2705 w 10000"/>
                <a:gd name="connsiteY48" fmla="*/ 9636 h 10115"/>
                <a:gd name="connsiteX49" fmla="*/ 2955 w 10000"/>
                <a:gd name="connsiteY49" fmla="*/ 9533 h 10115"/>
                <a:gd name="connsiteX50" fmla="*/ 3206 w 10000"/>
                <a:gd name="connsiteY50" fmla="*/ 9423 h 10115"/>
                <a:gd name="connsiteX51" fmla="*/ 3449 w 10000"/>
                <a:gd name="connsiteY51" fmla="*/ 9311 h 10115"/>
                <a:gd name="connsiteX52" fmla="*/ 3689 w 10000"/>
                <a:gd name="connsiteY52" fmla="*/ 9199 h 10115"/>
                <a:gd name="connsiteX53" fmla="*/ 3930 w 10000"/>
                <a:gd name="connsiteY53" fmla="*/ 9073 h 10115"/>
                <a:gd name="connsiteX54" fmla="*/ 4165 w 10000"/>
                <a:gd name="connsiteY54" fmla="*/ 8950 h 10115"/>
                <a:gd name="connsiteX55" fmla="*/ 4397 w 10000"/>
                <a:gd name="connsiteY55" fmla="*/ 8819 h 10115"/>
                <a:gd name="connsiteX56" fmla="*/ 4628 w 10000"/>
                <a:gd name="connsiteY56" fmla="*/ 8684 h 10115"/>
                <a:gd name="connsiteX57" fmla="*/ 4845 w 10000"/>
                <a:gd name="connsiteY57" fmla="*/ 8549 h 10115"/>
                <a:gd name="connsiteX58" fmla="*/ 5065 w 10000"/>
                <a:gd name="connsiteY58" fmla="*/ 8402 h 10115"/>
                <a:gd name="connsiteX59" fmla="*/ 5285 w 10000"/>
                <a:gd name="connsiteY59" fmla="*/ 8258 h 10115"/>
                <a:gd name="connsiteX60" fmla="*/ 5494 w 10000"/>
                <a:gd name="connsiteY60" fmla="*/ 8108 h 10115"/>
                <a:gd name="connsiteX61" fmla="*/ 5708 w 10000"/>
                <a:gd name="connsiteY61" fmla="*/ 7953 h 10115"/>
                <a:gd name="connsiteX62" fmla="*/ 5911 w 10000"/>
                <a:gd name="connsiteY62" fmla="*/ 7791 h 10115"/>
                <a:gd name="connsiteX63" fmla="*/ 6115 w 10000"/>
                <a:gd name="connsiteY63" fmla="*/ 7631 h 10115"/>
                <a:gd name="connsiteX64" fmla="*/ 6310 w 10000"/>
                <a:gd name="connsiteY64" fmla="*/ 7468 h 10115"/>
                <a:gd name="connsiteX65" fmla="*/ 6508 w 10000"/>
                <a:gd name="connsiteY65" fmla="*/ 7295 h 10115"/>
                <a:gd name="connsiteX66" fmla="*/ 6698 w 10000"/>
                <a:gd name="connsiteY66" fmla="*/ 7118 h 10115"/>
                <a:gd name="connsiteX67" fmla="*/ 6882 w 10000"/>
                <a:gd name="connsiteY67" fmla="*/ 6947 h 10115"/>
                <a:gd name="connsiteX68" fmla="*/ 7064 w 10000"/>
                <a:gd name="connsiteY68" fmla="*/ 6766 h 10115"/>
                <a:gd name="connsiteX69" fmla="*/ 7239 w 10000"/>
                <a:gd name="connsiteY69" fmla="*/ 6580 h 10115"/>
                <a:gd name="connsiteX70" fmla="*/ 7414 w 10000"/>
                <a:gd name="connsiteY70" fmla="*/ 6395 h 10115"/>
                <a:gd name="connsiteX71" fmla="*/ 7582 w 10000"/>
                <a:gd name="connsiteY71" fmla="*/ 6205 h 10115"/>
                <a:gd name="connsiteX72" fmla="*/ 7750 w 10000"/>
                <a:gd name="connsiteY72" fmla="*/ 6009 h 10115"/>
                <a:gd name="connsiteX73" fmla="*/ 7905 w 10000"/>
                <a:gd name="connsiteY73" fmla="*/ 5812 h 10115"/>
                <a:gd name="connsiteX74" fmla="*/ 8057 w 10000"/>
                <a:gd name="connsiteY74" fmla="*/ 5611 h 10115"/>
                <a:gd name="connsiteX75" fmla="*/ 8211 w 10000"/>
                <a:gd name="connsiteY75" fmla="*/ 5411 h 10115"/>
                <a:gd name="connsiteX76" fmla="*/ 8354 w 10000"/>
                <a:gd name="connsiteY76" fmla="*/ 5202 h 10115"/>
                <a:gd name="connsiteX77" fmla="*/ 8493 w 10000"/>
                <a:gd name="connsiteY77" fmla="*/ 4996 h 10115"/>
                <a:gd name="connsiteX78" fmla="*/ 8628 w 10000"/>
                <a:gd name="connsiteY78" fmla="*/ 4783 h 10115"/>
                <a:gd name="connsiteX79" fmla="*/ 8754 w 10000"/>
                <a:gd name="connsiteY79" fmla="*/ 4565 h 10115"/>
                <a:gd name="connsiteX80" fmla="*/ 8877 w 10000"/>
                <a:gd name="connsiteY80" fmla="*/ 4348 h 10115"/>
                <a:gd name="connsiteX81" fmla="*/ 9003 w 10000"/>
                <a:gd name="connsiteY81" fmla="*/ 4129 h 10115"/>
                <a:gd name="connsiteX82" fmla="*/ 9120 w 10000"/>
                <a:gd name="connsiteY82" fmla="*/ 3907 h 10115"/>
                <a:gd name="connsiteX83" fmla="*/ 9224 w 10000"/>
                <a:gd name="connsiteY83" fmla="*/ 3683 h 10115"/>
                <a:gd name="connsiteX84" fmla="*/ 9330 w 10000"/>
                <a:gd name="connsiteY84" fmla="*/ 3455 h 10115"/>
                <a:gd name="connsiteX85" fmla="*/ 9425 w 10000"/>
                <a:gd name="connsiteY85" fmla="*/ 3223 h 10115"/>
                <a:gd name="connsiteX86" fmla="*/ 9520 w 10000"/>
                <a:gd name="connsiteY86" fmla="*/ 2992 h 10115"/>
                <a:gd name="connsiteX87" fmla="*/ 9604 w 10000"/>
                <a:gd name="connsiteY87" fmla="*/ 2756 h 10115"/>
                <a:gd name="connsiteX88" fmla="*/ 9684 w 10000"/>
                <a:gd name="connsiteY88" fmla="*/ 2517 h 10115"/>
                <a:gd name="connsiteX89" fmla="*/ 9758 w 10000"/>
                <a:gd name="connsiteY89" fmla="*/ 2276 h 10115"/>
                <a:gd name="connsiteX90" fmla="*/ 9831 w 10000"/>
                <a:gd name="connsiteY90" fmla="*/ 2038 h 10115"/>
                <a:gd name="connsiteX91" fmla="*/ 9892 w 10000"/>
                <a:gd name="connsiteY91" fmla="*/ 1796 h 10115"/>
                <a:gd name="connsiteX92" fmla="*/ 9951 w 10000"/>
                <a:gd name="connsiteY92" fmla="*/ 1550 h 10115"/>
                <a:gd name="connsiteX93" fmla="*/ 10000 w 10000"/>
                <a:gd name="connsiteY93" fmla="*/ 1300 h 10115"/>
                <a:gd name="connsiteX94" fmla="*/ 6011 w 10000"/>
                <a:gd name="connsiteY94" fmla="*/ 1995 h 10115"/>
                <a:gd name="connsiteX95" fmla="*/ 2680 w 10000"/>
                <a:gd name="connsiteY95" fmla="*/ 0 h 10115"/>
                <a:gd name="connsiteX0" fmla="*/ 2680 w 10000"/>
                <a:gd name="connsiteY0" fmla="*/ 0 h 10157"/>
                <a:gd name="connsiteX1" fmla="*/ 2680 w 10000"/>
                <a:gd name="connsiteY1" fmla="*/ 0 h 10157"/>
                <a:gd name="connsiteX2" fmla="*/ 2665 w 10000"/>
                <a:gd name="connsiteY2" fmla="*/ 106 h 10157"/>
                <a:gd name="connsiteX3" fmla="*/ 2642 w 10000"/>
                <a:gd name="connsiteY3" fmla="*/ 212 h 10157"/>
                <a:gd name="connsiteX4" fmla="*/ 2621 w 10000"/>
                <a:gd name="connsiteY4" fmla="*/ 318 h 10157"/>
                <a:gd name="connsiteX5" fmla="*/ 2594 w 10000"/>
                <a:gd name="connsiteY5" fmla="*/ 418 h 10157"/>
                <a:gd name="connsiteX6" fmla="*/ 2561 w 10000"/>
                <a:gd name="connsiteY6" fmla="*/ 521 h 10157"/>
                <a:gd name="connsiteX7" fmla="*/ 2530 w 10000"/>
                <a:gd name="connsiteY7" fmla="*/ 625 h 10157"/>
                <a:gd name="connsiteX8" fmla="*/ 2502 w 10000"/>
                <a:gd name="connsiteY8" fmla="*/ 724 h 10157"/>
                <a:gd name="connsiteX9" fmla="*/ 2468 w 10000"/>
                <a:gd name="connsiteY9" fmla="*/ 826 h 10157"/>
                <a:gd name="connsiteX10" fmla="*/ 2428 w 10000"/>
                <a:gd name="connsiteY10" fmla="*/ 925 h 10157"/>
                <a:gd name="connsiteX11" fmla="*/ 2386 w 10000"/>
                <a:gd name="connsiteY11" fmla="*/ 1021 h 10157"/>
                <a:gd name="connsiteX12" fmla="*/ 2347 w 10000"/>
                <a:gd name="connsiteY12" fmla="*/ 1121 h 10157"/>
                <a:gd name="connsiteX13" fmla="*/ 2299 w 10000"/>
                <a:gd name="connsiteY13" fmla="*/ 1219 h 10157"/>
                <a:gd name="connsiteX14" fmla="*/ 2248 w 10000"/>
                <a:gd name="connsiteY14" fmla="*/ 1309 h 10157"/>
                <a:gd name="connsiteX15" fmla="*/ 2200 w 10000"/>
                <a:gd name="connsiteY15" fmla="*/ 1403 h 10157"/>
                <a:gd name="connsiteX16" fmla="*/ 2149 w 10000"/>
                <a:gd name="connsiteY16" fmla="*/ 1495 h 10157"/>
                <a:gd name="connsiteX17" fmla="*/ 2092 w 10000"/>
                <a:gd name="connsiteY17" fmla="*/ 1589 h 10157"/>
                <a:gd name="connsiteX18" fmla="*/ 2041 w 10000"/>
                <a:gd name="connsiteY18" fmla="*/ 1681 h 10157"/>
                <a:gd name="connsiteX19" fmla="*/ 1981 w 10000"/>
                <a:gd name="connsiteY19" fmla="*/ 1769 h 10157"/>
                <a:gd name="connsiteX20" fmla="*/ 1919 w 10000"/>
                <a:gd name="connsiteY20" fmla="*/ 1851 h 10157"/>
                <a:gd name="connsiteX21" fmla="*/ 1854 w 10000"/>
                <a:gd name="connsiteY21" fmla="*/ 1937 h 10157"/>
                <a:gd name="connsiteX22" fmla="*/ 1794 w 10000"/>
                <a:gd name="connsiteY22" fmla="*/ 2021 h 10157"/>
                <a:gd name="connsiteX23" fmla="*/ 1725 w 10000"/>
                <a:gd name="connsiteY23" fmla="*/ 2111 h 10157"/>
                <a:gd name="connsiteX24" fmla="*/ 1656 w 10000"/>
                <a:gd name="connsiteY24" fmla="*/ 2190 h 10157"/>
                <a:gd name="connsiteX25" fmla="*/ 1583 w 10000"/>
                <a:gd name="connsiteY25" fmla="*/ 2266 h 10157"/>
                <a:gd name="connsiteX26" fmla="*/ 1509 w 10000"/>
                <a:gd name="connsiteY26" fmla="*/ 2349 h 10157"/>
                <a:gd name="connsiteX27" fmla="*/ 1435 w 10000"/>
                <a:gd name="connsiteY27" fmla="*/ 2426 h 10157"/>
                <a:gd name="connsiteX28" fmla="*/ 1356 w 10000"/>
                <a:gd name="connsiteY28" fmla="*/ 2501 h 10157"/>
                <a:gd name="connsiteX29" fmla="*/ 1279 w 10000"/>
                <a:gd name="connsiteY29" fmla="*/ 2580 h 10157"/>
                <a:gd name="connsiteX30" fmla="*/ 1200 w 10000"/>
                <a:gd name="connsiteY30" fmla="*/ 2652 h 10157"/>
                <a:gd name="connsiteX31" fmla="*/ 1113 w 10000"/>
                <a:gd name="connsiteY31" fmla="*/ 2724 h 10157"/>
                <a:gd name="connsiteX32" fmla="*/ 1033 w 10000"/>
                <a:gd name="connsiteY32" fmla="*/ 2792 h 10157"/>
                <a:gd name="connsiteX33" fmla="*/ 946 w 10000"/>
                <a:gd name="connsiteY33" fmla="*/ 2862 h 10157"/>
                <a:gd name="connsiteX34" fmla="*/ 862 w 10000"/>
                <a:gd name="connsiteY34" fmla="*/ 2927 h 10157"/>
                <a:gd name="connsiteX35" fmla="*/ 767 w 10000"/>
                <a:gd name="connsiteY35" fmla="*/ 2994 h 10157"/>
                <a:gd name="connsiteX36" fmla="*/ 679 w 10000"/>
                <a:gd name="connsiteY36" fmla="*/ 3055 h 10157"/>
                <a:gd name="connsiteX37" fmla="*/ 586 w 10000"/>
                <a:gd name="connsiteY37" fmla="*/ 3119 h 10157"/>
                <a:gd name="connsiteX38" fmla="*/ 492 w 10000"/>
                <a:gd name="connsiteY38" fmla="*/ 3177 h 10157"/>
                <a:gd name="connsiteX39" fmla="*/ 394 w 10000"/>
                <a:gd name="connsiteY39" fmla="*/ 3234 h 10157"/>
                <a:gd name="connsiteX40" fmla="*/ 298 w 10000"/>
                <a:gd name="connsiteY40" fmla="*/ 3293 h 10157"/>
                <a:gd name="connsiteX41" fmla="*/ 203 w 10000"/>
                <a:gd name="connsiteY41" fmla="*/ 3347 h 10157"/>
                <a:gd name="connsiteX42" fmla="*/ 101 w 10000"/>
                <a:gd name="connsiteY42" fmla="*/ 3399 h 10157"/>
                <a:gd name="connsiteX43" fmla="*/ 0 w 10000"/>
                <a:gd name="connsiteY43" fmla="*/ 3448 h 10157"/>
                <a:gd name="connsiteX44" fmla="*/ 187 w 10000"/>
                <a:gd name="connsiteY44" fmla="*/ 6991 h 10157"/>
                <a:gd name="connsiteX45" fmla="*/ 1934 w 10000"/>
                <a:gd name="connsiteY45" fmla="*/ 9921 h 10157"/>
                <a:gd name="connsiteX46" fmla="*/ 1928 w 10000"/>
                <a:gd name="connsiteY46" fmla="*/ 9967 h 10157"/>
                <a:gd name="connsiteX47" fmla="*/ 2196 w 10000"/>
                <a:gd name="connsiteY47" fmla="*/ 9828 h 10157"/>
                <a:gd name="connsiteX48" fmla="*/ 2457 w 10000"/>
                <a:gd name="connsiteY48" fmla="*/ 9738 h 10157"/>
                <a:gd name="connsiteX49" fmla="*/ 2705 w 10000"/>
                <a:gd name="connsiteY49" fmla="*/ 9636 h 10157"/>
                <a:gd name="connsiteX50" fmla="*/ 2955 w 10000"/>
                <a:gd name="connsiteY50" fmla="*/ 9533 h 10157"/>
                <a:gd name="connsiteX51" fmla="*/ 3206 w 10000"/>
                <a:gd name="connsiteY51" fmla="*/ 9423 h 10157"/>
                <a:gd name="connsiteX52" fmla="*/ 3449 w 10000"/>
                <a:gd name="connsiteY52" fmla="*/ 9311 h 10157"/>
                <a:gd name="connsiteX53" fmla="*/ 3689 w 10000"/>
                <a:gd name="connsiteY53" fmla="*/ 9199 h 10157"/>
                <a:gd name="connsiteX54" fmla="*/ 3930 w 10000"/>
                <a:gd name="connsiteY54" fmla="*/ 9073 h 10157"/>
                <a:gd name="connsiteX55" fmla="*/ 4165 w 10000"/>
                <a:gd name="connsiteY55" fmla="*/ 8950 h 10157"/>
                <a:gd name="connsiteX56" fmla="*/ 4397 w 10000"/>
                <a:gd name="connsiteY56" fmla="*/ 8819 h 10157"/>
                <a:gd name="connsiteX57" fmla="*/ 4628 w 10000"/>
                <a:gd name="connsiteY57" fmla="*/ 8684 h 10157"/>
                <a:gd name="connsiteX58" fmla="*/ 4845 w 10000"/>
                <a:gd name="connsiteY58" fmla="*/ 8549 h 10157"/>
                <a:gd name="connsiteX59" fmla="*/ 5065 w 10000"/>
                <a:gd name="connsiteY59" fmla="*/ 8402 h 10157"/>
                <a:gd name="connsiteX60" fmla="*/ 5285 w 10000"/>
                <a:gd name="connsiteY60" fmla="*/ 8258 h 10157"/>
                <a:gd name="connsiteX61" fmla="*/ 5494 w 10000"/>
                <a:gd name="connsiteY61" fmla="*/ 8108 h 10157"/>
                <a:gd name="connsiteX62" fmla="*/ 5708 w 10000"/>
                <a:gd name="connsiteY62" fmla="*/ 7953 h 10157"/>
                <a:gd name="connsiteX63" fmla="*/ 5911 w 10000"/>
                <a:gd name="connsiteY63" fmla="*/ 7791 h 10157"/>
                <a:gd name="connsiteX64" fmla="*/ 6115 w 10000"/>
                <a:gd name="connsiteY64" fmla="*/ 7631 h 10157"/>
                <a:gd name="connsiteX65" fmla="*/ 6310 w 10000"/>
                <a:gd name="connsiteY65" fmla="*/ 7468 h 10157"/>
                <a:gd name="connsiteX66" fmla="*/ 6508 w 10000"/>
                <a:gd name="connsiteY66" fmla="*/ 7295 h 10157"/>
                <a:gd name="connsiteX67" fmla="*/ 6698 w 10000"/>
                <a:gd name="connsiteY67" fmla="*/ 7118 h 10157"/>
                <a:gd name="connsiteX68" fmla="*/ 6882 w 10000"/>
                <a:gd name="connsiteY68" fmla="*/ 6947 h 10157"/>
                <a:gd name="connsiteX69" fmla="*/ 7064 w 10000"/>
                <a:gd name="connsiteY69" fmla="*/ 6766 h 10157"/>
                <a:gd name="connsiteX70" fmla="*/ 7239 w 10000"/>
                <a:gd name="connsiteY70" fmla="*/ 6580 h 10157"/>
                <a:gd name="connsiteX71" fmla="*/ 7414 w 10000"/>
                <a:gd name="connsiteY71" fmla="*/ 6395 h 10157"/>
                <a:gd name="connsiteX72" fmla="*/ 7582 w 10000"/>
                <a:gd name="connsiteY72" fmla="*/ 6205 h 10157"/>
                <a:gd name="connsiteX73" fmla="*/ 7750 w 10000"/>
                <a:gd name="connsiteY73" fmla="*/ 6009 h 10157"/>
                <a:gd name="connsiteX74" fmla="*/ 7905 w 10000"/>
                <a:gd name="connsiteY74" fmla="*/ 5812 h 10157"/>
                <a:gd name="connsiteX75" fmla="*/ 8057 w 10000"/>
                <a:gd name="connsiteY75" fmla="*/ 5611 h 10157"/>
                <a:gd name="connsiteX76" fmla="*/ 8211 w 10000"/>
                <a:gd name="connsiteY76" fmla="*/ 5411 h 10157"/>
                <a:gd name="connsiteX77" fmla="*/ 8354 w 10000"/>
                <a:gd name="connsiteY77" fmla="*/ 5202 h 10157"/>
                <a:gd name="connsiteX78" fmla="*/ 8493 w 10000"/>
                <a:gd name="connsiteY78" fmla="*/ 4996 h 10157"/>
                <a:gd name="connsiteX79" fmla="*/ 8628 w 10000"/>
                <a:gd name="connsiteY79" fmla="*/ 4783 h 10157"/>
                <a:gd name="connsiteX80" fmla="*/ 8754 w 10000"/>
                <a:gd name="connsiteY80" fmla="*/ 4565 h 10157"/>
                <a:gd name="connsiteX81" fmla="*/ 8877 w 10000"/>
                <a:gd name="connsiteY81" fmla="*/ 4348 h 10157"/>
                <a:gd name="connsiteX82" fmla="*/ 9003 w 10000"/>
                <a:gd name="connsiteY82" fmla="*/ 4129 h 10157"/>
                <a:gd name="connsiteX83" fmla="*/ 9120 w 10000"/>
                <a:gd name="connsiteY83" fmla="*/ 3907 h 10157"/>
                <a:gd name="connsiteX84" fmla="*/ 9224 w 10000"/>
                <a:gd name="connsiteY84" fmla="*/ 3683 h 10157"/>
                <a:gd name="connsiteX85" fmla="*/ 9330 w 10000"/>
                <a:gd name="connsiteY85" fmla="*/ 3455 h 10157"/>
                <a:gd name="connsiteX86" fmla="*/ 9425 w 10000"/>
                <a:gd name="connsiteY86" fmla="*/ 3223 h 10157"/>
                <a:gd name="connsiteX87" fmla="*/ 9520 w 10000"/>
                <a:gd name="connsiteY87" fmla="*/ 2992 h 10157"/>
                <a:gd name="connsiteX88" fmla="*/ 9604 w 10000"/>
                <a:gd name="connsiteY88" fmla="*/ 2756 h 10157"/>
                <a:gd name="connsiteX89" fmla="*/ 9684 w 10000"/>
                <a:gd name="connsiteY89" fmla="*/ 2517 h 10157"/>
                <a:gd name="connsiteX90" fmla="*/ 9758 w 10000"/>
                <a:gd name="connsiteY90" fmla="*/ 2276 h 10157"/>
                <a:gd name="connsiteX91" fmla="*/ 9831 w 10000"/>
                <a:gd name="connsiteY91" fmla="*/ 2038 h 10157"/>
                <a:gd name="connsiteX92" fmla="*/ 9892 w 10000"/>
                <a:gd name="connsiteY92" fmla="*/ 1796 h 10157"/>
                <a:gd name="connsiteX93" fmla="*/ 9951 w 10000"/>
                <a:gd name="connsiteY93" fmla="*/ 1550 h 10157"/>
                <a:gd name="connsiteX94" fmla="*/ 10000 w 10000"/>
                <a:gd name="connsiteY94" fmla="*/ 1300 h 10157"/>
                <a:gd name="connsiteX95" fmla="*/ 6011 w 10000"/>
                <a:gd name="connsiteY95" fmla="*/ 1995 h 10157"/>
                <a:gd name="connsiteX96" fmla="*/ 2680 w 10000"/>
                <a:gd name="connsiteY96" fmla="*/ 0 h 10157"/>
                <a:gd name="connsiteX0" fmla="*/ 2680 w 10000"/>
                <a:gd name="connsiteY0" fmla="*/ 0 h 10161"/>
                <a:gd name="connsiteX1" fmla="*/ 2680 w 10000"/>
                <a:gd name="connsiteY1" fmla="*/ 0 h 10161"/>
                <a:gd name="connsiteX2" fmla="*/ 2665 w 10000"/>
                <a:gd name="connsiteY2" fmla="*/ 106 h 10161"/>
                <a:gd name="connsiteX3" fmla="*/ 2642 w 10000"/>
                <a:gd name="connsiteY3" fmla="*/ 212 h 10161"/>
                <a:gd name="connsiteX4" fmla="*/ 2621 w 10000"/>
                <a:gd name="connsiteY4" fmla="*/ 318 h 10161"/>
                <a:gd name="connsiteX5" fmla="*/ 2594 w 10000"/>
                <a:gd name="connsiteY5" fmla="*/ 418 h 10161"/>
                <a:gd name="connsiteX6" fmla="*/ 2561 w 10000"/>
                <a:gd name="connsiteY6" fmla="*/ 521 h 10161"/>
                <a:gd name="connsiteX7" fmla="*/ 2530 w 10000"/>
                <a:gd name="connsiteY7" fmla="*/ 625 h 10161"/>
                <a:gd name="connsiteX8" fmla="*/ 2502 w 10000"/>
                <a:gd name="connsiteY8" fmla="*/ 724 h 10161"/>
                <a:gd name="connsiteX9" fmla="*/ 2468 w 10000"/>
                <a:gd name="connsiteY9" fmla="*/ 826 h 10161"/>
                <a:gd name="connsiteX10" fmla="*/ 2428 w 10000"/>
                <a:gd name="connsiteY10" fmla="*/ 925 h 10161"/>
                <a:gd name="connsiteX11" fmla="*/ 2386 w 10000"/>
                <a:gd name="connsiteY11" fmla="*/ 1021 h 10161"/>
                <a:gd name="connsiteX12" fmla="*/ 2347 w 10000"/>
                <a:gd name="connsiteY12" fmla="*/ 1121 h 10161"/>
                <a:gd name="connsiteX13" fmla="*/ 2299 w 10000"/>
                <a:gd name="connsiteY13" fmla="*/ 1219 h 10161"/>
                <a:gd name="connsiteX14" fmla="*/ 2248 w 10000"/>
                <a:gd name="connsiteY14" fmla="*/ 1309 h 10161"/>
                <a:gd name="connsiteX15" fmla="*/ 2200 w 10000"/>
                <a:gd name="connsiteY15" fmla="*/ 1403 h 10161"/>
                <a:gd name="connsiteX16" fmla="*/ 2149 w 10000"/>
                <a:gd name="connsiteY16" fmla="*/ 1495 h 10161"/>
                <a:gd name="connsiteX17" fmla="*/ 2092 w 10000"/>
                <a:gd name="connsiteY17" fmla="*/ 1589 h 10161"/>
                <a:gd name="connsiteX18" fmla="*/ 2041 w 10000"/>
                <a:gd name="connsiteY18" fmla="*/ 1681 h 10161"/>
                <a:gd name="connsiteX19" fmla="*/ 1981 w 10000"/>
                <a:gd name="connsiteY19" fmla="*/ 1769 h 10161"/>
                <a:gd name="connsiteX20" fmla="*/ 1919 w 10000"/>
                <a:gd name="connsiteY20" fmla="*/ 1851 h 10161"/>
                <a:gd name="connsiteX21" fmla="*/ 1854 w 10000"/>
                <a:gd name="connsiteY21" fmla="*/ 1937 h 10161"/>
                <a:gd name="connsiteX22" fmla="*/ 1794 w 10000"/>
                <a:gd name="connsiteY22" fmla="*/ 2021 h 10161"/>
                <a:gd name="connsiteX23" fmla="*/ 1725 w 10000"/>
                <a:gd name="connsiteY23" fmla="*/ 2111 h 10161"/>
                <a:gd name="connsiteX24" fmla="*/ 1656 w 10000"/>
                <a:gd name="connsiteY24" fmla="*/ 2190 h 10161"/>
                <a:gd name="connsiteX25" fmla="*/ 1583 w 10000"/>
                <a:gd name="connsiteY25" fmla="*/ 2266 h 10161"/>
                <a:gd name="connsiteX26" fmla="*/ 1509 w 10000"/>
                <a:gd name="connsiteY26" fmla="*/ 2349 h 10161"/>
                <a:gd name="connsiteX27" fmla="*/ 1435 w 10000"/>
                <a:gd name="connsiteY27" fmla="*/ 2426 h 10161"/>
                <a:gd name="connsiteX28" fmla="*/ 1356 w 10000"/>
                <a:gd name="connsiteY28" fmla="*/ 2501 h 10161"/>
                <a:gd name="connsiteX29" fmla="*/ 1279 w 10000"/>
                <a:gd name="connsiteY29" fmla="*/ 2580 h 10161"/>
                <a:gd name="connsiteX30" fmla="*/ 1200 w 10000"/>
                <a:gd name="connsiteY30" fmla="*/ 2652 h 10161"/>
                <a:gd name="connsiteX31" fmla="*/ 1113 w 10000"/>
                <a:gd name="connsiteY31" fmla="*/ 2724 h 10161"/>
                <a:gd name="connsiteX32" fmla="*/ 1033 w 10000"/>
                <a:gd name="connsiteY32" fmla="*/ 2792 h 10161"/>
                <a:gd name="connsiteX33" fmla="*/ 946 w 10000"/>
                <a:gd name="connsiteY33" fmla="*/ 2862 h 10161"/>
                <a:gd name="connsiteX34" fmla="*/ 862 w 10000"/>
                <a:gd name="connsiteY34" fmla="*/ 2927 h 10161"/>
                <a:gd name="connsiteX35" fmla="*/ 767 w 10000"/>
                <a:gd name="connsiteY35" fmla="*/ 2994 h 10161"/>
                <a:gd name="connsiteX36" fmla="*/ 679 w 10000"/>
                <a:gd name="connsiteY36" fmla="*/ 3055 h 10161"/>
                <a:gd name="connsiteX37" fmla="*/ 586 w 10000"/>
                <a:gd name="connsiteY37" fmla="*/ 3119 h 10161"/>
                <a:gd name="connsiteX38" fmla="*/ 492 w 10000"/>
                <a:gd name="connsiteY38" fmla="*/ 3177 h 10161"/>
                <a:gd name="connsiteX39" fmla="*/ 394 w 10000"/>
                <a:gd name="connsiteY39" fmla="*/ 3234 h 10161"/>
                <a:gd name="connsiteX40" fmla="*/ 298 w 10000"/>
                <a:gd name="connsiteY40" fmla="*/ 3293 h 10161"/>
                <a:gd name="connsiteX41" fmla="*/ 203 w 10000"/>
                <a:gd name="connsiteY41" fmla="*/ 3347 h 10161"/>
                <a:gd name="connsiteX42" fmla="*/ 101 w 10000"/>
                <a:gd name="connsiteY42" fmla="*/ 3399 h 10161"/>
                <a:gd name="connsiteX43" fmla="*/ 0 w 10000"/>
                <a:gd name="connsiteY43" fmla="*/ 3448 h 10161"/>
                <a:gd name="connsiteX44" fmla="*/ 187 w 10000"/>
                <a:gd name="connsiteY44" fmla="*/ 6991 h 10161"/>
                <a:gd name="connsiteX45" fmla="*/ 1934 w 10000"/>
                <a:gd name="connsiteY45" fmla="*/ 9921 h 10161"/>
                <a:gd name="connsiteX46" fmla="*/ 1928 w 10000"/>
                <a:gd name="connsiteY46" fmla="*/ 9967 h 10161"/>
                <a:gd name="connsiteX47" fmla="*/ 2457 w 10000"/>
                <a:gd name="connsiteY47" fmla="*/ 9738 h 10161"/>
                <a:gd name="connsiteX48" fmla="*/ 2705 w 10000"/>
                <a:gd name="connsiteY48" fmla="*/ 9636 h 10161"/>
                <a:gd name="connsiteX49" fmla="*/ 2955 w 10000"/>
                <a:gd name="connsiteY49" fmla="*/ 9533 h 10161"/>
                <a:gd name="connsiteX50" fmla="*/ 3206 w 10000"/>
                <a:gd name="connsiteY50" fmla="*/ 9423 h 10161"/>
                <a:gd name="connsiteX51" fmla="*/ 3449 w 10000"/>
                <a:gd name="connsiteY51" fmla="*/ 9311 h 10161"/>
                <a:gd name="connsiteX52" fmla="*/ 3689 w 10000"/>
                <a:gd name="connsiteY52" fmla="*/ 9199 h 10161"/>
                <a:gd name="connsiteX53" fmla="*/ 3930 w 10000"/>
                <a:gd name="connsiteY53" fmla="*/ 9073 h 10161"/>
                <a:gd name="connsiteX54" fmla="*/ 4165 w 10000"/>
                <a:gd name="connsiteY54" fmla="*/ 8950 h 10161"/>
                <a:gd name="connsiteX55" fmla="*/ 4397 w 10000"/>
                <a:gd name="connsiteY55" fmla="*/ 8819 h 10161"/>
                <a:gd name="connsiteX56" fmla="*/ 4628 w 10000"/>
                <a:gd name="connsiteY56" fmla="*/ 8684 h 10161"/>
                <a:gd name="connsiteX57" fmla="*/ 4845 w 10000"/>
                <a:gd name="connsiteY57" fmla="*/ 8549 h 10161"/>
                <a:gd name="connsiteX58" fmla="*/ 5065 w 10000"/>
                <a:gd name="connsiteY58" fmla="*/ 8402 h 10161"/>
                <a:gd name="connsiteX59" fmla="*/ 5285 w 10000"/>
                <a:gd name="connsiteY59" fmla="*/ 8258 h 10161"/>
                <a:gd name="connsiteX60" fmla="*/ 5494 w 10000"/>
                <a:gd name="connsiteY60" fmla="*/ 8108 h 10161"/>
                <a:gd name="connsiteX61" fmla="*/ 5708 w 10000"/>
                <a:gd name="connsiteY61" fmla="*/ 7953 h 10161"/>
                <a:gd name="connsiteX62" fmla="*/ 5911 w 10000"/>
                <a:gd name="connsiteY62" fmla="*/ 7791 h 10161"/>
                <a:gd name="connsiteX63" fmla="*/ 6115 w 10000"/>
                <a:gd name="connsiteY63" fmla="*/ 7631 h 10161"/>
                <a:gd name="connsiteX64" fmla="*/ 6310 w 10000"/>
                <a:gd name="connsiteY64" fmla="*/ 7468 h 10161"/>
                <a:gd name="connsiteX65" fmla="*/ 6508 w 10000"/>
                <a:gd name="connsiteY65" fmla="*/ 7295 h 10161"/>
                <a:gd name="connsiteX66" fmla="*/ 6698 w 10000"/>
                <a:gd name="connsiteY66" fmla="*/ 7118 h 10161"/>
                <a:gd name="connsiteX67" fmla="*/ 6882 w 10000"/>
                <a:gd name="connsiteY67" fmla="*/ 6947 h 10161"/>
                <a:gd name="connsiteX68" fmla="*/ 7064 w 10000"/>
                <a:gd name="connsiteY68" fmla="*/ 6766 h 10161"/>
                <a:gd name="connsiteX69" fmla="*/ 7239 w 10000"/>
                <a:gd name="connsiteY69" fmla="*/ 6580 h 10161"/>
                <a:gd name="connsiteX70" fmla="*/ 7414 w 10000"/>
                <a:gd name="connsiteY70" fmla="*/ 6395 h 10161"/>
                <a:gd name="connsiteX71" fmla="*/ 7582 w 10000"/>
                <a:gd name="connsiteY71" fmla="*/ 6205 h 10161"/>
                <a:gd name="connsiteX72" fmla="*/ 7750 w 10000"/>
                <a:gd name="connsiteY72" fmla="*/ 6009 h 10161"/>
                <a:gd name="connsiteX73" fmla="*/ 7905 w 10000"/>
                <a:gd name="connsiteY73" fmla="*/ 5812 h 10161"/>
                <a:gd name="connsiteX74" fmla="*/ 8057 w 10000"/>
                <a:gd name="connsiteY74" fmla="*/ 5611 h 10161"/>
                <a:gd name="connsiteX75" fmla="*/ 8211 w 10000"/>
                <a:gd name="connsiteY75" fmla="*/ 5411 h 10161"/>
                <a:gd name="connsiteX76" fmla="*/ 8354 w 10000"/>
                <a:gd name="connsiteY76" fmla="*/ 5202 h 10161"/>
                <a:gd name="connsiteX77" fmla="*/ 8493 w 10000"/>
                <a:gd name="connsiteY77" fmla="*/ 4996 h 10161"/>
                <a:gd name="connsiteX78" fmla="*/ 8628 w 10000"/>
                <a:gd name="connsiteY78" fmla="*/ 4783 h 10161"/>
                <a:gd name="connsiteX79" fmla="*/ 8754 w 10000"/>
                <a:gd name="connsiteY79" fmla="*/ 4565 h 10161"/>
                <a:gd name="connsiteX80" fmla="*/ 8877 w 10000"/>
                <a:gd name="connsiteY80" fmla="*/ 4348 h 10161"/>
                <a:gd name="connsiteX81" fmla="*/ 9003 w 10000"/>
                <a:gd name="connsiteY81" fmla="*/ 4129 h 10161"/>
                <a:gd name="connsiteX82" fmla="*/ 9120 w 10000"/>
                <a:gd name="connsiteY82" fmla="*/ 3907 h 10161"/>
                <a:gd name="connsiteX83" fmla="*/ 9224 w 10000"/>
                <a:gd name="connsiteY83" fmla="*/ 3683 h 10161"/>
                <a:gd name="connsiteX84" fmla="*/ 9330 w 10000"/>
                <a:gd name="connsiteY84" fmla="*/ 3455 h 10161"/>
                <a:gd name="connsiteX85" fmla="*/ 9425 w 10000"/>
                <a:gd name="connsiteY85" fmla="*/ 3223 h 10161"/>
                <a:gd name="connsiteX86" fmla="*/ 9520 w 10000"/>
                <a:gd name="connsiteY86" fmla="*/ 2992 h 10161"/>
                <a:gd name="connsiteX87" fmla="*/ 9604 w 10000"/>
                <a:gd name="connsiteY87" fmla="*/ 2756 h 10161"/>
                <a:gd name="connsiteX88" fmla="*/ 9684 w 10000"/>
                <a:gd name="connsiteY88" fmla="*/ 2517 h 10161"/>
                <a:gd name="connsiteX89" fmla="*/ 9758 w 10000"/>
                <a:gd name="connsiteY89" fmla="*/ 2276 h 10161"/>
                <a:gd name="connsiteX90" fmla="*/ 9831 w 10000"/>
                <a:gd name="connsiteY90" fmla="*/ 2038 h 10161"/>
                <a:gd name="connsiteX91" fmla="*/ 9892 w 10000"/>
                <a:gd name="connsiteY91" fmla="*/ 1796 h 10161"/>
                <a:gd name="connsiteX92" fmla="*/ 9951 w 10000"/>
                <a:gd name="connsiteY92" fmla="*/ 1550 h 10161"/>
                <a:gd name="connsiteX93" fmla="*/ 10000 w 10000"/>
                <a:gd name="connsiteY93" fmla="*/ 1300 h 10161"/>
                <a:gd name="connsiteX94" fmla="*/ 6011 w 10000"/>
                <a:gd name="connsiteY94" fmla="*/ 1995 h 10161"/>
                <a:gd name="connsiteX95" fmla="*/ 2680 w 10000"/>
                <a:gd name="connsiteY95" fmla="*/ 0 h 10161"/>
                <a:gd name="connsiteX0" fmla="*/ 2680 w 10000"/>
                <a:gd name="connsiteY0" fmla="*/ 0 h 10093"/>
                <a:gd name="connsiteX1" fmla="*/ 2680 w 10000"/>
                <a:gd name="connsiteY1" fmla="*/ 0 h 10093"/>
                <a:gd name="connsiteX2" fmla="*/ 2665 w 10000"/>
                <a:gd name="connsiteY2" fmla="*/ 106 h 10093"/>
                <a:gd name="connsiteX3" fmla="*/ 2642 w 10000"/>
                <a:gd name="connsiteY3" fmla="*/ 212 h 10093"/>
                <a:gd name="connsiteX4" fmla="*/ 2621 w 10000"/>
                <a:gd name="connsiteY4" fmla="*/ 318 h 10093"/>
                <a:gd name="connsiteX5" fmla="*/ 2594 w 10000"/>
                <a:gd name="connsiteY5" fmla="*/ 418 h 10093"/>
                <a:gd name="connsiteX6" fmla="*/ 2561 w 10000"/>
                <a:gd name="connsiteY6" fmla="*/ 521 h 10093"/>
                <a:gd name="connsiteX7" fmla="*/ 2530 w 10000"/>
                <a:gd name="connsiteY7" fmla="*/ 625 h 10093"/>
                <a:gd name="connsiteX8" fmla="*/ 2502 w 10000"/>
                <a:gd name="connsiteY8" fmla="*/ 724 h 10093"/>
                <a:gd name="connsiteX9" fmla="*/ 2468 w 10000"/>
                <a:gd name="connsiteY9" fmla="*/ 826 h 10093"/>
                <a:gd name="connsiteX10" fmla="*/ 2428 w 10000"/>
                <a:gd name="connsiteY10" fmla="*/ 925 h 10093"/>
                <a:gd name="connsiteX11" fmla="*/ 2386 w 10000"/>
                <a:gd name="connsiteY11" fmla="*/ 1021 h 10093"/>
                <a:gd name="connsiteX12" fmla="*/ 2347 w 10000"/>
                <a:gd name="connsiteY12" fmla="*/ 1121 h 10093"/>
                <a:gd name="connsiteX13" fmla="*/ 2299 w 10000"/>
                <a:gd name="connsiteY13" fmla="*/ 1219 h 10093"/>
                <a:gd name="connsiteX14" fmla="*/ 2248 w 10000"/>
                <a:gd name="connsiteY14" fmla="*/ 1309 h 10093"/>
                <a:gd name="connsiteX15" fmla="*/ 2200 w 10000"/>
                <a:gd name="connsiteY15" fmla="*/ 1403 h 10093"/>
                <a:gd name="connsiteX16" fmla="*/ 2149 w 10000"/>
                <a:gd name="connsiteY16" fmla="*/ 1495 h 10093"/>
                <a:gd name="connsiteX17" fmla="*/ 2092 w 10000"/>
                <a:gd name="connsiteY17" fmla="*/ 1589 h 10093"/>
                <a:gd name="connsiteX18" fmla="*/ 2041 w 10000"/>
                <a:gd name="connsiteY18" fmla="*/ 1681 h 10093"/>
                <a:gd name="connsiteX19" fmla="*/ 1981 w 10000"/>
                <a:gd name="connsiteY19" fmla="*/ 1769 h 10093"/>
                <a:gd name="connsiteX20" fmla="*/ 1919 w 10000"/>
                <a:gd name="connsiteY20" fmla="*/ 1851 h 10093"/>
                <a:gd name="connsiteX21" fmla="*/ 1854 w 10000"/>
                <a:gd name="connsiteY21" fmla="*/ 1937 h 10093"/>
                <a:gd name="connsiteX22" fmla="*/ 1794 w 10000"/>
                <a:gd name="connsiteY22" fmla="*/ 2021 h 10093"/>
                <a:gd name="connsiteX23" fmla="*/ 1725 w 10000"/>
                <a:gd name="connsiteY23" fmla="*/ 2111 h 10093"/>
                <a:gd name="connsiteX24" fmla="*/ 1656 w 10000"/>
                <a:gd name="connsiteY24" fmla="*/ 2190 h 10093"/>
                <a:gd name="connsiteX25" fmla="*/ 1583 w 10000"/>
                <a:gd name="connsiteY25" fmla="*/ 2266 h 10093"/>
                <a:gd name="connsiteX26" fmla="*/ 1509 w 10000"/>
                <a:gd name="connsiteY26" fmla="*/ 2349 h 10093"/>
                <a:gd name="connsiteX27" fmla="*/ 1435 w 10000"/>
                <a:gd name="connsiteY27" fmla="*/ 2426 h 10093"/>
                <a:gd name="connsiteX28" fmla="*/ 1356 w 10000"/>
                <a:gd name="connsiteY28" fmla="*/ 2501 h 10093"/>
                <a:gd name="connsiteX29" fmla="*/ 1279 w 10000"/>
                <a:gd name="connsiteY29" fmla="*/ 2580 h 10093"/>
                <a:gd name="connsiteX30" fmla="*/ 1200 w 10000"/>
                <a:gd name="connsiteY30" fmla="*/ 2652 h 10093"/>
                <a:gd name="connsiteX31" fmla="*/ 1113 w 10000"/>
                <a:gd name="connsiteY31" fmla="*/ 2724 h 10093"/>
                <a:gd name="connsiteX32" fmla="*/ 1033 w 10000"/>
                <a:gd name="connsiteY32" fmla="*/ 2792 h 10093"/>
                <a:gd name="connsiteX33" fmla="*/ 946 w 10000"/>
                <a:gd name="connsiteY33" fmla="*/ 2862 h 10093"/>
                <a:gd name="connsiteX34" fmla="*/ 862 w 10000"/>
                <a:gd name="connsiteY34" fmla="*/ 2927 h 10093"/>
                <a:gd name="connsiteX35" fmla="*/ 767 w 10000"/>
                <a:gd name="connsiteY35" fmla="*/ 2994 h 10093"/>
                <a:gd name="connsiteX36" fmla="*/ 679 w 10000"/>
                <a:gd name="connsiteY36" fmla="*/ 3055 h 10093"/>
                <a:gd name="connsiteX37" fmla="*/ 586 w 10000"/>
                <a:gd name="connsiteY37" fmla="*/ 3119 h 10093"/>
                <a:gd name="connsiteX38" fmla="*/ 492 w 10000"/>
                <a:gd name="connsiteY38" fmla="*/ 3177 h 10093"/>
                <a:gd name="connsiteX39" fmla="*/ 394 w 10000"/>
                <a:gd name="connsiteY39" fmla="*/ 3234 h 10093"/>
                <a:gd name="connsiteX40" fmla="*/ 298 w 10000"/>
                <a:gd name="connsiteY40" fmla="*/ 3293 h 10093"/>
                <a:gd name="connsiteX41" fmla="*/ 203 w 10000"/>
                <a:gd name="connsiteY41" fmla="*/ 3347 h 10093"/>
                <a:gd name="connsiteX42" fmla="*/ 101 w 10000"/>
                <a:gd name="connsiteY42" fmla="*/ 3399 h 10093"/>
                <a:gd name="connsiteX43" fmla="*/ 0 w 10000"/>
                <a:gd name="connsiteY43" fmla="*/ 3448 h 10093"/>
                <a:gd name="connsiteX44" fmla="*/ 187 w 10000"/>
                <a:gd name="connsiteY44" fmla="*/ 6991 h 10093"/>
                <a:gd name="connsiteX45" fmla="*/ 1934 w 10000"/>
                <a:gd name="connsiteY45" fmla="*/ 9921 h 10093"/>
                <a:gd name="connsiteX46" fmla="*/ 2457 w 10000"/>
                <a:gd name="connsiteY46" fmla="*/ 9738 h 10093"/>
                <a:gd name="connsiteX47" fmla="*/ 2705 w 10000"/>
                <a:gd name="connsiteY47" fmla="*/ 9636 h 10093"/>
                <a:gd name="connsiteX48" fmla="*/ 2955 w 10000"/>
                <a:gd name="connsiteY48" fmla="*/ 9533 h 10093"/>
                <a:gd name="connsiteX49" fmla="*/ 3206 w 10000"/>
                <a:gd name="connsiteY49" fmla="*/ 9423 h 10093"/>
                <a:gd name="connsiteX50" fmla="*/ 3449 w 10000"/>
                <a:gd name="connsiteY50" fmla="*/ 9311 h 10093"/>
                <a:gd name="connsiteX51" fmla="*/ 3689 w 10000"/>
                <a:gd name="connsiteY51" fmla="*/ 9199 h 10093"/>
                <a:gd name="connsiteX52" fmla="*/ 3930 w 10000"/>
                <a:gd name="connsiteY52" fmla="*/ 9073 h 10093"/>
                <a:gd name="connsiteX53" fmla="*/ 4165 w 10000"/>
                <a:gd name="connsiteY53" fmla="*/ 8950 h 10093"/>
                <a:gd name="connsiteX54" fmla="*/ 4397 w 10000"/>
                <a:gd name="connsiteY54" fmla="*/ 8819 h 10093"/>
                <a:gd name="connsiteX55" fmla="*/ 4628 w 10000"/>
                <a:gd name="connsiteY55" fmla="*/ 8684 h 10093"/>
                <a:gd name="connsiteX56" fmla="*/ 4845 w 10000"/>
                <a:gd name="connsiteY56" fmla="*/ 8549 h 10093"/>
                <a:gd name="connsiteX57" fmla="*/ 5065 w 10000"/>
                <a:gd name="connsiteY57" fmla="*/ 8402 h 10093"/>
                <a:gd name="connsiteX58" fmla="*/ 5285 w 10000"/>
                <a:gd name="connsiteY58" fmla="*/ 8258 h 10093"/>
                <a:gd name="connsiteX59" fmla="*/ 5494 w 10000"/>
                <a:gd name="connsiteY59" fmla="*/ 8108 h 10093"/>
                <a:gd name="connsiteX60" fmla="*/ 5708 w 10000"/>
                <a:gd name="connsiteY60" fmla="*/ 7953 h 10093"/>
                <a:gd name="connsiteX61" fmla="*/ 5911 w 10000"/>
                <a:gd name="connsiteY61" fmla="*/ 7791 h 10093"/>
                <a:gd name="connsiteX62" fmla="*/ 6115 w 10000"/>
                <a:gd name="connsiteY62" fmla="*/ 7631 h 10093"/>
                <a:gd name="connsiteX63" fmla="*/ 6310 w 10000"/>
                <a:gd name="connsiteY63" fmla="*/ 7468 h 10093"/>
                <a:gd name="connsiteX64" fmla="*/ 6508 w 10000"/>
                <a:gd name="connsiteY64" fmla="*/ 7295 h 10093"/>
                <a:gd name="connsiteX65" fmla="*/ 6698 w 10000"/>
                <a:gd name="connsiteY65" fmla="*/ 7118 h 10093"/>
                <a:gd name="connsiteX66" fmla="*/ 6882 w 10000"/>
                <a:gd name="connsiteY66" fmla="*/ 6947 h 10093"/>
                <a:gd name="connsiteX67" fmla="*/ 7064 w 10000"/>
                <a:gd name="connsiteY67" fmla="*/ 6766 h 10093"/>
                <a:gd name="connsiteX68" fmla="*/ 7239 w 10000"/>
                <a:gd name="connsiteY68" fmla="*/ 6580 h 10093"/>
                <a:gd name="connsiteX69" fmla="*/ 7414 w 10000"/>
                <a:gd name="connsiteY69" fmla="*/ 6395 h 10093"/>
                <a:gd name="connsiteX70" fmla="*/ 7582 w 10000"/>
                <a:gd name="connsiteY70" fmla="*/ 6205 h 10093"/>
                <a:gd name="connsiteX71" fmla="*/ 7750 w 10000"/>
                <a:gd name="connsiteY71" fmla="*/ 6009 h 10093"/>
                <a:gd name="connsiteX72" fmla="*/ 7905 w 10000"/>
                <a:gd name="connsiteY72" fmla="*/ 5812 h 10093"/>
                <a:gd name="connsiteX73" fmla="*/ 8057 w 10000"/>
                <a:gd name="connsiteY73" fmla="*/ 5611 h 10093"/>
                <a:gd name="connsiteX74" fmla="*/ 8211 w 10000"/>
                <a:gd name="connsiteY74" fmla="*/ 5411 h 10093"/>
                <a:gd name="connsiteX75" fmla="*/ 8354 w 10000"/>
                <a:gd name="connsiteY75" fmla="*/ 5202 h 10093"/>
                <a:gd name="connsiteX76" fmla="*/ 8493 w 10000"/>
                <a:gd name="connsiteY76" fmla="*/ 4996 h 10093"/>
                <a:gd name="connsiteX77" fmla="*/ 8628 w 10000"/>
                <a:gd name="connsiteY77" fmla="*/ 4783 h 10093"/>
                <a:gd name="connsiteX78" fmla="*/ 8754 w 10000"/>
                <a:gd name="connsiteY78" fmla="*/ 4565 h 10093"/>
                <a:gd name="connsiteX79" fmla="*/ 8877 w 10000"/>
                <a:gd name="connsiteY79" fmla="*/ 4348 h 10093"/>
                <a:gd name="connsiteX80" fmla="*/ 9003 w 10000"/>
                <a:gd name="connsiteY80" fmla="*/ 4129 h 10093"/>
                <a:gd name="connsiteX81" fmla="*/ 9120 w 10000"/>
                <a:gd name="connsiteY81" fmla="*/ 3907 h 10093"/>
                <a:gd name="connsiteX82" fmla="*/ 9224 w 10000"/>
                <a:gd name="connsiteY82" fmla="*/ 3683 h 10093"/>
                <a:gd name="connsiteX83" fmla="*/ 9330 w 10000"/>
                <a:gd name="connsiteY83" fmla="*/ 3455 h 10093"/>
                <a:gd name="connsiteX84" fmla="*/ 9425 w 10000"/>
                <a:gd name="connsiteY84" fmla="*/ 3223 h 10093"/>
                <a:gd name="connsiteX85" fmla="*/ 9520 w 10000"/>
                <a:gd name="connsiteY85" fmla="*/ 2992 h 10093"/>
                <a:gd name="connsiteX86" fmla="*/ 9604 w 10000"/>
                <a:gd name="connsiteY86" fmla="*/ 2756 h 10093"/>
                <a:gd name="connsiteX87" fmla="*/ 9684 w 10000"/>
                <a:gd name="connsiteY87" fmla="*/ 2517 h 10093"/>
                <a:gd name="connsiteX88" fmla="*/ 9758 w 10000"/>
                <a:gd name="connsiteY88" fmla="*/ 2276 h 10093"/>
                <a:gd name="connsiteX89" fmla="*/ 9831 w 10000"/>
                <a:gd name="connsiteY89" fmla="*/ 2038 h 10093"/>
                <a:gd name="connsiteX90" fmla="*/ 9892 w 10000"/>
                <a:gd name="connsiteY90" fmla="*/ 1796 h 10093"/>
                <a:gd name="connsiteX91" fmla="*/ 9951 w 10000"/>
                <a:gd name="connsiteY91" fmla="*/ 1550 h 10093"/>
                <a:gd name="connsiteX92" fmla="*/ 10000 w 10000"/>
                <a:gd name="connsiteY92" fmla="*/ 1300 h 10093"/>
                <a:gd name="connsiteX93" fmla="*/ 6011 w 10000"/>
                <a:gd name="connsiteY93" fmla="*/ 1995 h 10093"/>
                <a:gd name="connsiteX94" fmla="*/ 2680 w 10000"/>
                <a:gd name="connsiteY94" fmla="*/ 0 h 10093"/>
                <a:gd name="connsiteX0" fmla="*/ 2680 w 10000"/>
                <a:gd name="connsiteY0" fmla="*/ 0 h 9916"/>
                <a:gd name="connsiteX1" fmla="*/ 2680 w 10000"/>
                <a:gd name="connsiteY1" fmla="*/ 0 h 9916"/>
                <a:gd name="connsiteX2" fmla="*/ 2665 w 10000"/>
                <a:gd name="connsiteY2" fmla="*/ 106 h 9916"/>
                <a:gd name="connsiteX3" fmla="*/ 2642 w 10000"/>
                <a:gd name="connsiteY3" fmla="*/ 212 h 9916"/>
                <a:gd name="connsiteX4" fmla="*/ 2621 w 10000"/>
                <a:gd name="connsiteY4" fmla="*/ 318 h 9916"/>
                <a:gd name="connsiteX5" fmla="*/ 2594 w 10000"/>
                <a:gd name="connsiteY5" fmla="*/ 418 h 9916"/>
                <a:gd name="connsiteX6" fmla="*/ 2561 w 10000"/>
                <a:gd name="connsiteY6" fmla="*/ 521 h 9916"/>
                <a:gd name="connsiteX7" fmla="*/ 2530 w 10000"/>
                <a:gd name="connsiteY7" fmla="*/ 625 h 9916"/>
                <a:gd name="connsiteX8" fmla="*/ 2502 w 10000"/>
                <a:gd name="connsiteY8" fmla="*/ 724 h 9916"/>
                <a:gd name="connsiteX9" fmla="*/ 2468 w 10000"/>
                <a:gd name="connsiteY9" fmla="*/ 826 h 9916"/>
                <a:gd name="connsiteX10" fmla="*/ 2428 w 10000"/>
                <a:gd name="connsiteY10" fmla="*/ 925 h 9916"/>
                <a:gd name="connsiteX11" fmla="*/ 2386 w 10000"/>
                <a:gd name="connsiteY11" fmla="*/ 1021 h 9916"/>
                <a:gd name="connsiteX12" fmla="*/ 2347 w 10000"/>
                <a:gd name="connsiteY12" fmla="*/ 1121 h 9916"/>
                <a:gd name="connsiteX13" fmla="*/ 2299 w 10000"/>
                <a:gd name="connsiteY13" fmla="*/ 1219 h 9916"/>
                <a:gd name="connsiteX14" fmla="*/ 2248 w 10000"/>
                <a:gd name="connsiteY14" fmla="*/ 1309 h 9916"/>
                <a:gd name="connsiteX15" fmla="*/ 2200 w 10000"/>
                <a:gd name="connsiteY15" fmla="*/ 1403 h 9916"/>
                <a:gd name="connsiteX16" fmla="*/ 2149 w 10000"/>
                <a:gd name="connsiteY16" fmla="*/ 1495 h 9916"/>
                <a:gd name="connsiteX17" fmla="*/ 2092 w 10000"/>
                <a:gd name="connsiteY17" fmla="*/ 1589 h 9916"/>
                <a:gd name="connsiteX18" fmla="*/ 2041 w 10000"/>
                <a:gd name="connsiteY18" fmla="*/ 1681 h 9916"/>
                <a:gd name="connsiteX19" fmla="*/ 1981 w 10000"/>
                <a:gd name="connsiteY19" fmla="*/ 1769 h 9916"/>
                <a:gd name="connsiteX20" fmla="*/ 1919 w 10000"/>
                <a:gd name="connsiteY20" fmla="*/ 1851 h 9916"/>
                <a:gd name="connsiteX21" fmla="*/ 1854 w 10000"/>
                <a:gd name="connsiteY21" fmla="*/ 1937 h 9916"/>
                <a:gd name="connsiteX22" fmla="*/ 1794 w 10000"/>
                <a:gd name="connsiteY22" fmla="*/ 2021 h 9916"/>
                <a:gd name="connsiteX23" fmla="*/ 1725 w 10000"/>
                <a:gd name="connsiteY23" fmla="*/ 2111 h 9916"/>
                <a:gd name="connsiteX24" fmla="*/ 1656 w 10000"/>
                <a:gd name="connsiteY24" fmla="*/ 2190 h 9916"/>
                <a:gd name="connsiteX25" fmla="*/ 1583 w 10000"/>
                <a:gd name="connsiteY25" fmla="*/ 2266 h 9916"/>
                <a:gd name="connsiteX26" fmla="*/ 1509 w 10000"/>
                <a:gd name="connsiteY26" fmla="*/ 2349 h 9916"/>
                <a:gd name="connsiteX27" fmla="*/ 1435 w 10000"/>
                <a:gd name="connsiteY27" fmla="*/ 2426 h 9916"/>
                <a:gd name="connsiteX28" fmla="*/ 1356 w 10000"/>
                <a:gd name="connsiteY28" fmla="*/ 2501 h 9916"/>
                <a:gd name="connsiteX29" fmla="*/ 1279 w 10000"/>
                <a:gd name="connsiteY29" fmla="*/ 2580 h 9916"/>
                <a:gd name="connsiteX30" fmla="*/ 1200 w 10000"/>
                <a:gd name="connsiteY30" fmla="*/ 2652 h 9916"/>
                <a:gd name="connsiteX31" fmla="*/ 1113 w 10000"/>
                <a:gd name="connsiteY31" fmla="*/ 2724 h 9916"/>
                <a:gd name="connsiteX32" fmla="*/ 1033 w 10000"/>
                <a:gd name="connsiteY32" fmla="*/ 2792 h 9916"/>
                <a:gd name="connsiteX33" fmla="*/ 946 w 10000"/>
                <a:gd name="connsiteY33" fmla="*/ 2862 h 9916"/>
                <a:gd name="connsiteX34" fmla="*/ 862 w 10000"/>
                <a:gd name="connsiteY34" fmla="*/ 2927 h 9916"/>
                <a:gd name="connsiteX35" fmla="*/ 767 w 10000"/>
                <a:gd name="connsiteY35" fmla="*/ 2994 h 9916"/>
                <a:gd name="connsiteX36" fmla="*/ 679 w 10000"/>
                <a:gd name="connsiteY36" fmla="*/ 3055 h 9916"/>
                <a:gd name="connsiteX37" fmla="*/ 586 w 10000"/>
                <a:gd name="connsiteY37" fmla="*/ 3119 h 9916"/>
                <a:gd name="connsiteX38" fmla="*/ 492 w 10000"/>
                <a:gd name="connsiteY38" fmla="*/ 3177 h 9916"/>
                <a:gd name="connsiteX39" fmla="*/ 394 w 10000"/>
                <a:gd name="connsiteY39" fmla="*/ 3234 h 9916"/>
                <a:gd name="connsiteX40" fmla="*/ 298 w 10000"/>
                <a:gd name="connsiteY40" fmla="*/ 3293 h 9916"/>
                <a:gd name="connsiteX41" fmla="*/ 203 w 10000"/>
                <a:gd name="connsiteY41" fmla="*/ 3347 h 9916"/>
                <a:gd name="connsiteX42" fmla="*/ 101 w 10000"/>
                <a:gd name="connsiteY42" fmla="*/ 3399 h 9916"/>
                <a:gd name="connsiteX43" fmla="*/ 0 w 10000"/>
                <a:gd name="connsiteY43" fmla="*/ 3448 h 9916"/>
                <a:gd name="connsiteX44" fmla="*/ 187 w 10000"/>
                <a:gd name="connsiteY44" fmla="*/ 6991 h 9916"/>
                <a:gd name="connsiteX45" fmla="*/ 2457 w 10000"/>
                <a:gd name="connsiteY45" fmla="*/ 9738 h 9916"/>
                <a:gd name="connsiteX46" fmla="*/ 2705 w 10000"/>
                <a:gd name="connsiteY46" fmla="*/ 9636 h 9916"/>
                <a:gd name="connsiteX47" fmla="*/ 2955 w 10000"/>
                <a:gd name="connsiteY47" fmla="*/ 9533 h 9916"/>
                <a:gd name="connsiteX48" fmla="*/ 3206 w 10000"/>
                <a:gd name="connsiteY48" fmla="*/ 9423 h 9916"/>
                <a:gd name="connsiteX49" fmla="*/ 3449 w 10000"/>
                <a:gd name="connsiteY49" fmla="*/ 9311 h 9916"/>
                <a:gd name="connsiteX50" fmla="*/ 3689 w 10000"/>
                <a:gd name="connsiteY50" fmla="*/ 9199 h 9916"/>
                <a:gd name="connsiteX51" fmla="*/ 3930 w 10000"/>
                <a:gd name="connsiteY51" fmla="*/ 9073 h 9916"/>
                <a:gd name="connsiteX52" fmla="*/ 4165 w 10000"/>
                <a:gd name="connsiteY52" fmla="*/ 8950 h 9916"/>
                <a:gd name="connsiteX53" fmla="*/ 4397 w 10000"/>
                <a:gd name="connsiteY53" fmla="*/ 8819 h 9916"/>
                <a:gd name="connsiteX54" fmla="*/ 4628 w 10000"/>
                <a:gd name="connsiteY54" fmla="*/ 8684 h 9916"/>
                <a:gd name="connsiteX55" fmla="*/ 4845 w 10000"/>
                <a:gd name="connsiteY55" fmla="*/ 8549 h 9916"/>
                <a:gd name="connsiteX56" fmla="*/ 5065 w 10000"/>
                <a:gd name="connsiteY56" fmla="*/ 8402 h 9916"/>
                <a:gd name="connsiteX57" fmla="*/ 5285 w 10000"/>
                <a:gd name="connsiteY57" fmla="*/ 8258 h 9916"/>
                <a:gd name="connsiteX58" fmla="*/ 5494 w 10000"/>
                <a:gd name="connsiteY58" fmla="*/ 8108 h 9916"/>
                <a:gd name="connsiteX59" fmla="*/ 5708 w 10000"/>
                <a:gd name="connsiteY59" fmla="*/ 7953 h 9916"/>
                <a:gd name="connsiteX60" fmla="*/ 5911 w 10000"/>
                <a:gd name="connsiteY60" fmla="*/ 7791 h 9916"/>
                <a:gd name="connsiteX61" fmla="*/ 6115 w 10000"/>
                <a:gd name="connsiteY61" fmla="*/ 7631 h 9916"/>
                <a:gd name="connsiteX62" fmla="*/ 6310 w 10000"/>
                <a:gd name="connsiteY62" fmla="*/ 7468 h 9916"/>
                <a:gd name="connsiteX63" fmla="*/ 6508 w 10000"/>
                <a:gd name="connsiteY63" fmla="*/ 7295 h 9916"/>
                <a:gd name="connsiteX64" fmla="*/ 6698 w 10000"/>
                <a:gd name="connsiteY64" fmla="*/ 7118 h 9916"/>
                <a:gd name="connsiteX65" fmla="*/ 6882 w 10000"/>
                <a:gd name="connsiteY65" fmla="*/ 6947 h 9916"/>
                <a:gd name="connsiteX66" fmla="*/ 7064 w 10000"/>
                <a:gd name="connsiteY66" fmla="*/ 6766 h 9916"/>
                <a:gd name="connsiteX67" fmla="*/ 7239 w 10000"/>
                <a:gd name="connsiteY67" fmla="*/ 6580 h 9916"/>
                <a:gd name="connsiteX68" fmla="*/ 7414 w 10000"/>
                <a:gd name="connsiteY68" fmla="*/ 6395 h 9916"/>
                <a:gd name="connsiteX69" fmla="*/ 7582 w 10000"/>
                <a:gd name="connsiteY69" fmla="*/ 6205 h 9916"/>
                <a:gd name="connsiteX70" fmla="*/ 7750 w 10000"/>
                <a:gd name="connsiteY70" fmla="*/ 6009 h 9916"/>
                <a:gd name="connsiteX71" fmla="*/ 7905 w 10000"/>
                <a:gd name="connsiteY71" fmla="*/ 5812 h 9916"/>
                <a:gd name="connsiteX72" fmla="*/ 8057 w 10000"/>
                <a:gd name="connsiteY72" fmla="*/ 5611 h 9916"/>
                <a:gd name="connsiteX73" fmla="*/ 8211 w 10000"/>
                <a:gd name="connsiteY73" fmla="*/ 5411 h 9916"/>
                <a:gd name="connsiteX74" fmla="*/ 8354 w 10000"/>
                <a:gd name="connsiteY74" fmla="*/ 5202 h 9916"/>
                <a:gd name="connsiteX75" fmla="*/ 8493 w 10000"/>
                <a:gd name="connsiteY75" fmla="*/ 4996 h 9916"/>
                <a:gd name="connsiteX76" fmla="*/ 8628 w 10000"/>
                <a:gd name="connsiteY76" fmla="*/ 4783 h 9916"/>
                <a:gd name="connsiteX77" fmla="*/ 8754 w 10000"/>
                <a:gd name="connsiteY77" fmla="*/ 4565 h 9916"/>
                <a:gd name="connsiteX78" fmla="*/ 8877 w 10000"/>
                <a:gd name="connsiteY78" fmla="*/ 4348 h 9916"/>
                <a:gd name="connsiteX79" fmla="*/ 9003 w 10000"/>
                <a:gd name="connsiteY79" fmla="*/ 4129 h 9916"/>
                <a:gd name="connsiteX80" fmla="*/ 9120 w 10000"/>
                <a:gd name="connsiteY80" fmla="*/ 3907 h 9916"/>
                <a:gd name="connsiteX81" fmla="*/ 9224 w 10000"/>
                <a:gd name="connsiteY81" fmla="*/ 3683 h 9916"/>
                <a:gd name="connsiteX82" fmla="*/ 9330 w 10000"/>
                <a:gd name="connsiteY82" fmla="*/ 3455 h 9916"/>
                <a:gd name="connsiteX83" fmla="*/ 9425 w 10000"/>
                <a:gd name="connsiteY83" fmla="*/ 3223 h 9916"/>
                <a:gd name="connsiteX84" fmla="*/ 9520 w 10000"/>
                <a:gd name="connsiteY84" fmla="*/ 2992 h 9916"/>
                <a:gd name="connsiteX85" fmla="*/ 9604 w 10000"/>
                <a:gd name="connsiteY85" fmla="*/ 2756 h 9916"/>
                <a:gd name="connsiteX86" fmla="*/ 9684 w 10000"/>
                <a:gd name="connsiteY86" fmla="*/ 2517 h 9916"/>
                <a:gd name="connsiteX87" fmla="*/ 9758 w 10000"/>
                <a:gd name="connsiteY87" fmla="*/ 2276 h 9916"/>
                <a:gd name="connsiteX88" fmla="*/ 9831 w 10000"/>
                <a:gd name="connsiteY88" fmla="*/ 2038 h 9916"/>
                <a:gd name="connsiteX89" fmla="*/ 9892 w 10000"/>
                <a:gd name="connsiteY89" fmla="*/ 1796 h 9916"/>
                <a:gd name="connsiteX90" fmla="*/ 9951 w 10000"/>
                <a:gd name="connsiteY90" fmla="*/ 1550 h 9916"/>
                <a:gd name="connsiteX91" fmla="*/ 10000 w 10000"/>
                <a:gd name="connsiteY91" fmla="*/ 1300 h 9916"/>
                <a:gd name="connsiteX92" fmla="*/ 6011 w 10000"/>
                <a:gd name="connsiteY92" fmla="*/ 1995 h 9916"/>
                <a:gd name="connsiteX93" fmla="*/ 2680 w 10000"/>
                <a:gd name="connsiteY93" fmla="*/ 0 h 9916"/>
                <a:gd name="connsiteX0" fmla="*/ 2680 w 10000"/>
                <a:gd name="connsiteY0" fmla="*/ 0 h 9890"/>
                <a:gd name="connsiteX1" fmla="*/ 2680 w 10000"/>
                <a:gd name="connsiteY1" fmla="*/ 0 h 9890"/>
                <a:gd name="connsiteX2" fmla="*/ 2665 w 10000"/>
                <a:gd name="connsiteY2" fmla="*/ 107 h 9890"/>
                <a:gd name="connsiteX3" fmla="*/ 2642 w 10000"/>
                <a:gd name="connsiteY3" fmla="*/ 214 h 9890"/>
                <a:gd name="connsiteX4" fmla="*/ 2621 w 10000"/>
                <a:gd name="connsiteY4" fmla="*/ 321 h 9890"/>
                <a:gd name="connsiteX5" fmla="*/ 2594 w 10000"/>
                <a:gd name="connsiteY5" fmla="*/ 422 h 9890"/>
                <a:gd name="connsiteX6" fmla="*/ 2561 w 10000"/>
                <a:gd name="connsiteY6" fmla="*/ 525 h 9890"/>
                <a:gd name="connsiteX7" fmla="*/ 2530 w 10000"/>
                <a:gd name="connsiteY7" fmla="*/ 630 h 9890"/>
                <a:gd name="connsiteX8" fmla="*/ 2502 w 10000"/>
                <a:gd name="connsiteY8" fmla="*/ 730 h 9890"/>
                <a:gd name="connsiteX9" fmla="*/ 2468 w 10000"/>
                <a:gd name="connsiteY9" fmla="*/ 833 h 9890"/>
                <a:gd name="connsiteX10" fmla="*/ 2428 w 10000"/>
                <a:gd name="connsiteY10" fmla="*/ 933 h 9890"/>
                <a:gd name="connsiteX11" fmla="*/ 2386 w 10000"/>
                <a:gd name="connsiteY11" fmla="*/ 1030 h 9890"/>
                <a:gd name="connsiteX12" fmla="*/ 2347 w 10000"/>
                <a:gd name="connsiteY12" fmla="*/ 1130 h 9890"/>
                <a:gd name="connsiteX13" fmla="*/ 2299 w 10000"/>
                <a:gd name="connsiteY13" fmla="*/ 1229 h 9890"/>
                <a:gd name="connsiteX14" fmla="*/ 2248 w 10000"/>
                <a:gd name="connsiteY14" fmla="*/ 1320 h 9890"/>
                <a:gd name="connsiteX15" fmla="*/ 2200 w 10000"/>
                <a:gd name="connsiteY15" fmla="*/ 1415 h 9890"/>
                <a:gd name="connsiteX16" fmla="*/ 2149 w 10000"/>
                <a:gd name="connsiteY16" fmla="*/ 1508 h 9890"/>
                <a:gd name="connsiteX17" fmla="*/ 2092 w 10000"/>
                <a:gd name="connsiteY17" fmla="*/ 1602 h 9890"/>
                <a:gd name="connsiteX18" fmla="*/ 2041 w 10000"/>
                <a:gd name="connsiteY18" fmla="*/ 1695 h 9890"/>
                <a:gd name="connsiteX19" fmla="*/ 1981 w 10000"/>
                <a:gd name="connsiteY19" fmla="*/ 1784 h 9890"/>
                <a:gd name="connsiteX20" fmla="*/ 1919 w 10000"/>
                <a:gd name="connsiteY20" fmla="*/ 1867 h 9890"/>
                <a:gd name="connsiteX21" fmla="*/ 1854 w 10000"/>
                <a:gd name="connsiteY21" fmla="*/ 1953 h 9890"/>
                <a:gd name="connsiteX22" fmla="*/ 1794 w 10000"/>
                <a:gd name="connsiteY22" fmla="*/ 2038 h 9890"/>
                <a:gd name="connsiteX23" fmla="*/ 1725 w 10000"/>
                <a:gd name="connsiteY23" fmla="*/ 2129 h 9890"/>
                <a:gd name="connsiteX24" fmla="*/ 1656 w 10000"/>
                <a:gd name="connsiteY24" fmla="*/ 2209 h 9890"/>
                <a:gd name="connsiteX25" fmla="*/ 1583 w 10000"/>
                <a:gd name="connsiteY25" fmla="*/ 2285 h 9890"/>
                <a:gd name="connsiteX26" fmla="*/ 1509 w 10000"/>
                <a:gd name="connsiteY26" fmla="*/ 2369 h 9890"/>
                <a:gd name="connsiteX27" fmla="*/ 1435 w 10000"/>
                <a:gd name="connsiteY27" fmla="*/ 2447 h 9890"/>
                <a:gd name="connsiteX28" fmla="*/ 1356 w 10000"/>
                <a:gd name="connsiteY28" fmla="*/ 2522 h 9890"/>
                <a:gd name="connsiteX29" fmla="*/ 1279 w 10000"/>
                <a:gd name="connsiteY29" fmla="*/ 2602 h 9890"/>
                <a:gd name="connsiteX30" fmla="*/ 1200 w 10000"/>
                <a:gd name="connsiteY30" fmla="*/ 2674 h 9890"/>
                <a:gd name="connsiteX31" fmla="*/ 1113 w 10000"/>
                <a:gd name="connsiteY31" fmla="*/ 2747 h 9890"/>
                <a:gd name="connsiteX32" fmla="*/ 1033 w 10000"/>
                <a:gd name="connsiteY32" fmla="*/ 2816 h 9890"/>
                <a:gd name="connsiteX33" fmla="*/ 946 w 10000"/>
                <a:gd name="connsiteY33" fmla="*/ 2886 h 9890"/>
                <a:gd name="connsiteX34" fmla="*/ 862 w 10000"/>
                <a:gd name="connsiteY34" fmla="*/ 2952 h 9890"/>
                <a:gd name="connsiteX35" fmla="*/ 767 w 10000"/>
                <a:gd name="connsiteY35" fmla="*/ 3019 h 9890"/>
                <a:gd name="connsiteX36" fmla="*/ 679 w 10000"/>
                <a:gd name="connsiteY36" fmla="*/ 3081 h 9890"/>
                <a:gd name="connsiteX37" fmla="*/ 586 w 10000"/>
                <a:gd name="connsiteY37" fmla="*/ 3145 h 9890"/>
                <a:gd name="connsiteX38" fmla="*/ 492 w 10000"/>
                <a:gd name="connsiteY38" fmla="*/ 3204 h 9890"/>
                <a:gd name="connsiteX39" fmla="*/ 394 w 10000"/>
                <a:gd name="connsiteY39" fmla="*/ 3261 h 9890"/>
                <a:gd name="connsiteX40" fmla="*/ 298 w 10000"/>
                <a:gd name="connsiteY40" fmla="*/ 3321 h 9890"/>
                <a:gd name="connsiteX41" fmla="*/ 203 w 10000"/>
                <a:gd name="connsiteY41" fmla="*/ 3375 h 9890"/>
                <a:gd name="connsiteX42" fmla="*/ 101 w 10000"/>
                <a:gd name="connsiteY42" fmla="*/ 3428 h 9890"/>
                <a:gd name="connsiteX43" fmla="*/ 0 w 10000"/>
                <a:gd name="connsiteY43" fmla="*/ 3477 h 9890"/>
                <a:gd name="connsiteX44" fmla="*/ 187 w 10000"/>
                <a:gd name="connsiteY44" fmla="*/ 7050 h 9890"/>
                <a:gd name="connsiteX45" fmla="*/ 2705 w 10000"/>
                <a:gd name="connsiteY45" fmla="*/ 9718 h 9890"/>
                <a:gd name="connsiteX46" fmla="*/ 2955 w 10000"/>
                <a:gd name="connsiteY46" fmla="*/ 9614 h 9890"/>
                <a:gd name="connsiteX47" fmla="*/ 3206 w 10000"/>
                <a:gd name="connsiteY47" fmla="*/ 9503 h 9890"/>
                <a:gd name="connsiteX48" fmla="*/ 3449 w 10000"/>
                <a:gd name="connsiteY48" fmla="*/ 9390 h 9890"/>
                <a:gd name="connsiteX49" fmla="*/ 3689 w 10000"/>
                <a:gd name="connsiteY49" fmla="*/ 9277 h 9890"/>
                <a:gd name="connsiteX50" fmla="*/ 3930 w 10000"/>
                <a:gd name="connsiteY50" fmla="*/ 9150 h 9890"/>
                <a:gd name="connsiteX51" fmla="*/ 4165 w 10000"/>
                <a:gd name="connsiteY51" fmla="*/ 9026 h 9890"/>
                <a:gd name="connsiteX52" fmla="*/ 4397 w 10000"/>
                <a:gd name="connsiteY52" fmla="*/ 8894 h 9890"/>
                <a:gd name="connsiteX53" fmla="*/ 4628 w 10000"/>
                <a:gd name="connsiteY53" fmla="*/ 8758 h 9890"/>
                <a:gd name="connsiteX54" fmla="*/ 4845 w 10000"/>
                <a:gd name="connsiteY54" fmla="*/ 8621 h 9890"/>
                <a:gd name="connsiteX55" fmla="*/ 5065 w 10000"/>
                <a:gd name="connsiteY55" fmla="*/ 8473 h 9890"/>
                <a:gd name="connsiteX56" fmla="*/ 5285 w 10000"/>
                <a:gd name="connsiteY56" fmla="*/ 8328 h 9890"/>
                <a:gd name="connsiteX57" fmla="*/ 5494 w 10000"/>
                <a:gd name="connsiteY57" fmla="*/ 8177 h 9890"/>
                <a:gd name="connsiteX58" fmla="*/ 5708 w 10000"/>
                <a:gd name="connsiteY58" fmla="*/ 8020 h 9890"/>
                <a:gd name="connsiteX59" fmla="*/ 5911 w 10000"/>
                <a:gd name="connsiteY59" fmla="*/ 7857 h 9890"/>
                <a:gd name="connsiteX60" fmla="*/ 6115 w 10000"/>
                <a:gd name="connsiteY60" fmla="*/ 7696 h 9890"/>
                <a:gd name="connsiteX61" fmla="*/ 6310 w 10000"/>
                <a:gd name="connsiteY61" fmla="*/ 7531 h 9890"/>
                <a:gd name="connsiteX62" fmla="*/ 6508 w 10000"/>
                <a:gd name="connsiteY62" fmla="*/ 7357 h 9890"/>
                <a:gd name="connsiteX63" fmla="*/ 6698 w 10000"/>
                <a:gd name="connsiteY63" fmla="*/ 7178 h 9890"/>
                <a:gd name="connsiteX64" fmla="*/ 6882 w 10000"/>
                <a:gd name="connsiteY64" fmla="*/ 7006 h 9890"/>
                <a:gd name="connsiteX65" fmla="*/ 7064 w 10000"/>
                <a:gd name="connsiteY65" fmla="*/ 6823 h 9890"/>
                <a:gd name="connsiteX66" fmla="*/ 7239 w 10000"/>
                <a:gd name="connsiteY66" fmla="*/ 6636 h 9890"/>
                <a:gd name="connsiteX67" fmla="*/ 7414 w 10000"/>
                <a:gd name="connsiteY67" fmla="*/ 6449 h 9890"/>
                <a:gd name="connsiteX68" fmla="*/ 7582 w 10000"/>
                <a:gd name="connsiteY68" fmla="*/ 6258 h 9890"/>
                <a:gd name="connsiteX69" fmla="*/ 7750 w 10000"/>
                <a:gd name="connsiteY69" fmla="*/ 6060 h 9890"/>
                <a:gd name="connsiteX70" fmla="*/ 7905 w 10000"/>
                <a:gd name="connsiteY70" fmla="*/ 5861 h 9890"/>
                <a:gd name="connsiteX71" fmla="*/ 8057 w 10000"/>
                <a:gd name="connsiteY71" fmla="*/ 5659 h 9890"/>
                <a:gd name="connsiteX72" fmla="*/ 8211 w 10000"/>
                <a:gd name="connsiteY72" fmla="*/ 5457 h 9890"/>
                <a:gd name="connsiteX73" fmla="*/ 8354 w 10000"/>
                <a:gd name="connsiteY73" fmla="*/ 5246 h 9890"/>
                <a:gd name="connsiteX74" fmla="*/ 8493 w 10000"/>
                <a:gd name="connsiteY74" fmla="*/ 5038 h 9890"/>
                <a:gd name="connsiteX75" fmla="*/ 8628 w 10000"/>
                <a:gd name="connsiteY75" fmla="*/ 4824 h 9890"/>
                <a:gd name="connsiteX76" fmla="*/ 8754 w 10000"/>
                <a:gd name="connsiteY76" fmla="*/ 4604 h 9890"/>
                <a:gd name="connsiteX77" fmla="*/ 8877 w 10000"/>
                <a:gd name="connsiteY77" fmla="*/ 4385 h 9890"/>
                <a:gd name="connsiteX78" fmla="*/ 9003 w 10000"/>
                <a:gd name="connsiteY78" fmla="*/ 4164 h 9890"/>
                <a:gd name="connsiteX79" fmla="*/ 9120 w 10000"/>
                <a:gd name="connsiteY79" fmla="*/ 3940 h 9890"/>
                <a:gd name="connsiteX80" fmla="*/ 9224 w 10000"/>
                <a:gd name="connsiteY80" fmla="*/ 3714 h 9890"/>
                <a:gd name="connsiteX81" fmla="*/ 9330 w 10000"/>
                <a:gd name="connsiteY81" fmla="*/ 3484 h 9890"/>
                <a:gd name="connsiteX82" fmla="*/ 9425 w 10000"/>
                <a:gd name="connsiteY82" fmla="*/ 3250 h 9890"/>
                <a:gd name="connsiteX83" fmla="*/ 9520 w 10000"/>
                <a:gd name="connsiteY83" fmla="*/ 3017 h 9890"/>
                <a:gd name="connsiteX84" fmla="*/ 9604 w 10000"/>
                <a:gd name="connsiteY84" fmla="*/ 2779 h 9890"/>
                <a:gd name="connsiteX85" fmla="*/ 9684 w 10000"/>
                <a:gd name="connsiteY85" fmla="*/ 2538 h 9890"/>
                <a:gd name="connsiteX86" fmla="*/ 9758 w 10000"/>
                <a:gd name="connsiteY86" fmla="*/ 2295 h 9890"/>
                <a:gd name="connsiteX87" fmla="*/ 9831 w 10000"/>
                <a:gd name="connsiteY87" fmla="*/ 2055 h 9890"/>
                <a:gd name="connsiteX88" fmla="*/ 9892 w 10000"/>
                <a:gd name="connsiteY88" fmla="*/ 1811 h 9890"/>
                <a:gd name="connsiteX89" fmla="*/ 9951 w 10000"/>
                <a:gd name="connsiteY89" fmla="*/ 1563 h 9890"/>
                <a:gd name="connsiteX90" fmla="*/ 10000 w 10000"/>
                <a:gd name="connsiteY90" fmla="*/ 1311 h 9890"/>
                <a:gd name="connsiteX91" fmla="*/ 6011 w 10000"/>
                <a:gd name="connsiteY91" fmla="*/ 2012 h 9890"/>
                <a:gd name="connsiteX92" fmla="*/ 2680 w 10000"/>
                <a:gd name="connsiteY92" fmla="*/ 0 h 9890"/>
                <a:gd name="connsiteX0" fmla="*/ 2680 w 10000"/>
                <a:gd name="connsiteY0" fmla="*/ 0 h 9721"/>
                <a:gd name="connsiteX1" fmla="*/ 2680 w 10000"/>
                <a:gd name="connsiteY1" fmla="*/ 0 h 9721"/>
                <a:gd name="connsiteX2" fmla="*/ 2665 w 10000"/>
                <a:gd name="connsiteY2" fmla="*/ 108 h 9721"/>
                <a:gd name="connsiteX3" fmla="*/ 2642 w 10000"/>
                <a:gd name="connsiteY3" fmla="*/ 216 h 9721"/>
                <a:gd name="connsiteX4" fmla="*/ 2621 w 10000"/>
                <a:gd name="connsiteY4" fmla="*/ 325 h 9721"/>
                <a:gd name="connsiteX5" fmla="*/ 2594 w 10000"/>
                <a:gd name="connsiteY5" fmla="*/ 427 h 9721"/>
                <a:gd name="connsiteX6" fmla="*/ 2561 w 10000"/>
                <a:gd name="connsiteY6" fmla="*/ 531 h 9721"/>
                <a:gd name="connsiteX7" fmla="*/ 2530 w 10000"/>
                <a:gd name="connsiteY7" fmla="*/ 637 h 9721"/>
                <a:gd name="connsiteX8" fmla="*/ 2502 w 10000"/>
                <a:gd name="connsiteY8" fmla="*/ 738 h 9721"/>
                <a:gd name="connsiteX9" fmla="*/ 2468 w 10000"/>
                <a:gd name="connsiteY9" fmla="*/ 842 h 9721"/>
                <a:gd name="connsiteX10" fmla="*/ 2428 w 10000"/>
                <a:gd name="connsiteY10" fmla="*/ 943 h 9721"/>
                <a:gd name="connsiteX11" fmla="*/ 2386 w 10000"/>
                <a:gd name="connsiteY11" fmla="*/ 1041 h 9721"/>
                <a:gd name="connsiteX12" fmla="*/ 2347 w 10000"/>
                <a:gd name="connsiteY12" fmla="*/ 1143 h 9721"/>
                <a:gd name="connsiteX13" fmla="*/ 2299 w 10000"/>
                <a:gd name="connsiteY13" fmla="*/ 1243 h 9721"/>
                <a:gd name="connsiteX14" fmla="*/ 2248 w 10000"/>
                <a:gd name="connsiteY14" fmla="*/ 1335 h 9721"/>
                <a:gd name="connsiteX15" fmla="*/ 2200 w 10000"/>
                <a:gd name="connsiteY15" fmla="*/ 1431 h 9721"/>
                <a:gd name="connsiteX16" fmla="*/ 2149 w 10000"/>
                <a:gd name="connsiteY16" fmla="*/ 1525 h 9721"/>
                <a:gd name="connsiteX17" fmla="*/ 2092 w 10000"/>
                <a:gd name="connsiteY17" fmla="*/ 1620 h 9721"/>
                <a:gd name="connsiteX18" fmla="*/ 2041 w 10000"/>
                <a:gd name="connsiteY18" fmla="*/ 1714 h 9721"/>
                <a:gd name="connsiteX19" fmla="*/ 1981 w 10000"/>
                <a:gd name="connsiteY19" fmla="*/ 1804 h 9721"/>
                <a:gd name="connsiteX20" fmla="*/ 1919 w 10000"/>
                <a:gd name="connsiteY20" fmla="*/ 1888 h 9721"/>
                <a:gd name="connsiteX21" fmla="*/ 1854 w 10000"/>
                <a:gd name="connsiteY21" fmla="*/ 1975 h 9721"/>
                <a:gd name="connsiteX22" fmla="*/ 1794 w 10000"/>
                <a:gd name="connsiteY22" fmla="*/ 2061 h 9721"/>
                <a:gd name="connsiteX23" fmla="*/ 1725 w 10000"/>
                <a:gd name="connsiteY23" fmla="*/ 2153 h 9721"/>
                <a:gd name="connsiteX24" fmla="*/ 1656 w 10000"/>
                <a:gd name="connsiteY24" fmla="*/ 2234 h 9721"/>
                <a:gd name="connsiteX25" fmla="*/ 1583 w 10000"/>
                <a:gd name="connsiteY25" fmla="*/ 2310 h 9721"/>
                <a:gd name="connsiteX26" fmla="*/ 1509 w 10000"/>
                <a:gd name="connsiteY26" fmla="*/ 2395 h 9721"/>
                <a:gd name="connsiteX27" fmla="*/ 1435 w 10000"/>
                <a:gd name="connsiteY27" fmla="*/ 2474 h 9721"/>
                <a:gd name="connsiteX28" fmla="*/ 1356 w 10000"/>
                <a:gd name="connsiteY28" fmla="*/ 2550 h 9721"/>
                <a:gd name="connsiteX29" fmla="*/ 1279 w 10000"/>
                <a:gd name="connsiteY29" fmla="*/ 2631 h 9721"/>
                <a:gd name="connsiteX30" fmla="*/ 1200 w 10000"/>
                <a:gd name="connsiteY30" fmla="*/ 2704 h 9721"/>
                <a:gd name="connsiteX31" fmla="*/ 1113 w 10000"/>
                <a:gd name="connsiteY31" fmla="*/ 2778 h 9721"/>
                <a:gd name="connsiteX32" fmla="*/ 1033 w 10000"/>
                <a:gd name="connsiteY32" fmla="*/ 2847 h 9721"/>
                <a:gd name="connsiteX33" fmla="*/ 946 w 10000"/>
                <a:gd name="connsiteY33" fmla="*/ 2918 h 9721"/>
                <a:gd name="connsiteX34" fmla="*/ 862 w 10000"/>
                <a:gd name="connsiteY34" fmla="*/ 2985 h 9721"/>
                <a:gd name="connsiteX35" fmla="*/ 767 w 10000"/>
                <a:gd name="connsiteY35" fmla="*/ 3053 h 9721"/>
                <a:gd name="connsiteX36" fmla="*/ 679 w 10000"/>
                <a:gd name="connsiteY36" fmla="*/ 3115 h 9721"/>
                <a:gd name="connsiteX37" fmla="*/ 586 w 10000"/>
                <a:gd name="connsiteY37" fmla="*/ 3180 h 9721"/>
                <a:gd name="connsiteX38" fmla="*/ 492 w 10000"/>
                <a:gd name="connsiteY38" fmla="*/ 3240 h 9721"/>
                <a:gd name="connsiteX39" fmla="*/ 394 w 10000"/>
                <a:gd name="connsiteY39" fmla="*/ 3297 h 9721"/>
                <a:gd name="connsiteX40" fmla="*/ 298 w 10000"/>
                <a:gd name="connsiteY40" fmla="*/ 3358 h 9721"/>
                <a:gd name="connsiteX41" fmla="*/ 203 w 10000"/>
                <a:gd name="connsiteY41" fmla="*/ 3413 h 9721"/>
                <a:gd name="connsiteX42" fmla="*/ 101 w 10000"/>
                <a:gd name="connsiteY42" fmla="*/ 3466 h 9721"/>
                <a:gd name="connsiteX43" fmla="*/ 0 w 10000"/>
                <a:gd name="connsiteY43" fmla="*/ 3516 h 9721"/>
                <a:gd name="connsiteX44" fmla="*/ 187 w 10000"/>
                <a:gd name="connsiteY44" fmla="*/ 7128 h 9721"/>
                <a:gd name="connsiteX45" fmla="*/ 2955 w 10000"/>
                <a:gd name="connsiteY45" fmla="*/ 9721 h 9721"/>
                <a:gd name="connsiteX46" fmla="*/ 3206 w 10000"/>
                <a:gd name="connsiteY46" fmla="*/ 9609 h 9721"/>
                <a:gd name="connsiteX47" fmla="*/ 3449 w 10000"/>
                <a:gd name="connsiteY47" fmla="*/ 9494 h 9721"/>
                <a:gd name="connsiteX48" fmla="*/ 3689 w 10000"/>
                <a:gd name="connsiteY48" fmla="*/ 9380 h 9721"/>
                <a:gd name="connsiteX49" fmla="*/ 3930 w 10000"/>
                <a:gd name="connsiteY49" fmla="*/ 9252 h 9721"/>
                <a:gd name="connsiteX50" fmla="*/ 4165 w 10000"/>
                <a:gd name="connsiteY50" fmla="*/ 9126 h 9721"/>
                <a:gd name="connsiteX51" fmla="*/ 4397 w 10000"/>
                <a:gd name="connsiteY51" fmla="*/ 8993 h 9721"/>
                <a:gd name="connsiteX52" fmla="*/ 4628 w 10000"/>
                <a:gd name="connsiteY52" fmla="*/ 8855 h 9721"/>
                <a:gd name="connsiteX53" fmla="*/ 4845 w 10000"/>
                <a:gd name="connsiteY53" fmla="*/ 8717 h 9721"/>
                <a:gd name="connsiteX54" fmla="*/ 5065 w 10000"/>
                <a:gd name="connsiteY54" fmla="*/ 8567 h 9721"/>
                <a:gd name="connsiteX55" fmla="*/ 5285 w 10000"/>
                <a:gd name="connsiteY55" fmla="*/ 8421 h 9721"/>
                <a:gd name="connsiteX56" fmla="*/ 5494 w 10000"/>
                <a:gd name="connsiteY56" fmla="*/ 8268 h 9721"/>
                <a:gd name="connsiteX57" fmla="*/ 5708 w 10000"/>
                <a:gd name="connsiteY57" fmla="*/ 8109 h 9721"/>
                <a:gd name="connsiteX58" fmla="*/ 5911 w 10000"/>
                <a:gd name="connsiteY58" fmla="*/ 7944 h 9721"/>
                <a:gd name="connsiteX59" fmla="*/ 6115 w 10000"/>
                <a:gd name="connsiteY59" fmla="*/ 7782 h 9721"/>
                <a:gd name="connsiteX60" fmla="*/ 6310 w 10000"/>
                <a:gd name="connsiteY60" fmla="*/ 7615 h 9721"/>
                <a:gd name="connsiteX61" fmla="*/ 6508 w 10000"/>
                <a:gd name="connsiteY61" fmla="*/ 7439 h 9721"/>
                <a:gd name="connsiteX62" fmla="*/ 6698 w 10000"/>
                <a:gd name="connsiteY62" fmla="*/ 7258 h 9721"/>
                <a:gd name="connsiteX63" fmla="*/ 6882 w 10000"/>
                <a:gd name="connsiteY63" fmla="*/ 7084 h 9721"/>
                <a:gd name="connsiteX64" fmla="*/ 7064 w 10000"/>
                <a:gd name="connsiteY64" fmla="*/ 6899 h 9721"/>
                <a:gd name="connsiteX65" fmla="*/ 7239 w 10000"/>
                <a:gd name="connsiteY65" fmla="*/ 6710 h 9721"/>
                <a:gd name="connsiteX66" fmla="*/ 7414 w 10000"/>
                <a:gd name="connsiteY66" fmla="*/ 6521 h 9721"/>
                <a:gd name="connsiteX67" fmla="*/ 7582 w 10000"/>
                <a:gd name="connsiteY67" fmla="*/ 6328 h 9721"/>
                <a:gd name="connsiteX68" fmla="*/ 7750 w 10000"/>
                <a:gd name="connsiteY68" fmla="*/ 6127 h 9721"/>
                <a:gd name="connsiteX69" fmla="*/ 7905 w 10000"/>
                <a:gd name="connsiteY69" fmla="*/ 5926 h 9721"/>
                <a:gd name="connsiteX70" fmla="*/ 8057 w 10000"/>
                <a:gd name="connsiteY70" fmla="*/ 5722 h 9721"/>
                <a:gd name="connsiteX71" fmla="*/ 8211 w 10000"/>
                <a:gd name="connsiteY71" fmla="*/ 5518 h 9721"/>
                <a:gd name="connsiteX72" fmla="*/ 8354 w 10000"/>
                <a:gd name="connsiteY72" fmla="*/ 5304 h 9721"/>
                <a:gd name="connsiteX73" fmla="*/ 8493 w 10000"/>
                <a:gd name="connsiteY73" fmla="*/ 5094 h 9721"/>
                <a:gd name="connsiteX74" fmla="*/ 8628 w 10000"/>
                <a:gd name="connsiteY74" fmla="*/ 4878 h 9721"/>
                <a:gd name="connsiteX75" fmla="*/ 8754 w 10000"/>
                <a:gd name="connsiteY75" fmla="*/ 4655 h 9721"/>
                <a:gd name="connsiteX76" fmla="*/ 8877 w 10000"/>
                <a:gd name="connsiteY76" fmla="*/ 4434 h 9721"/>
                <a:gd name="connsiteX77" fmla="*/ 9003 w 10000"/>
                <a:gd name="connsiteY77" fmla="*/ 4210 h 9721"/>
                <a:gd name="connsiteX78" fmla="*/ 9120 w 10000"/>
                <a:gd name="connsiteY78" fmla="*/ 3984 h 9721"/>
                <a:gd name="connsiteX79" fmla="*/ 9224 w 10000"/>
                <a:gd name="connsiteY79" fmla="*/ 3755 h 9721"/>
                <a:gd name="connsiteX80" fmla="*/ 9330 w 10000"/>
                <a:gd name="connsiteY80" fmla="*/ 3523 h 9721"/>
                <a:gd name="connsiteX81" fmla="*/ 9425 w 10000"/>
                <a:gd name="connsiteY81" fmla="*/ 3286 h 9721"/>
                <a:gd name="connsiteX82" fmla="*/ 9520 w 10000"/>
                <a:gd name="connsiteY82" fmla="*/ 3051 h 9721"/>
                <a:gd name="connsiteX83" fmla="*/ 9604 w 10000"/>
                <a:gd name="connsiteY83" fmla="*/ 2810 h 9721"/>
                <a:gd name="connsiteX84" fmla="*/ 9684 w 10000"/>
                <a:gd name="connsiteY84" fmla="*/ 2566 h 9721"/>
                <a:gd name="connsiteX85" fmla="*/ 9758 w 10000"/>
                <a:gd name="connsiteY85" fmla="*/ 2321 h 9721"/>
                <a:gd name="connsiteX86" fmla="*/ 9831 w 10000"/>
                <a:gd name="connsiteY86" fmla="*/ 2078 h 9721"/>
                <a:gd name="connsiteX87" fmla="*/ 9892 w 10000"/>
                <a:gd name="connsiteY87" fmla="*/ 1831 h 9721"/>
                <a:gd name="connsiteX88" fmla="*/ 9951 w 10000"/>
                <a:gd name="connsiteY88" fmla="*/ 1580 h 9721"/>
                <a:gd name="connsiteX89" fmla="*/ 10000 w 10000"/>
                <a:gd name="connsiteY89" fmla="*/ 1326 h 9721"/>
                <a:gd name="connsiteX90" fmla="*/ 6011 w 10000"/>
                <a:gd name="connsiteY90" fmla="*/ 2034 h 9721"/>
                <a:gd name="connsiteX91" fmla="*/ 2680 w 10000"/>
                <a:gd name="connsiteY91" fmla="*/ 0 h 9721"/>
                <a:gd name="connsiteX0" fmla="*/ 2680 w 10000"/>
                <a:gd name="connsiteY0" fmla="*/ 0 h 10045"/>
                <a:gd name="connsiteX1" fmla="*/ 2680 w 10000"/>
                <a:gd name="connsiteY1" fmla="*/ 0 h 10045"/>
                <a:gd name="connsiteX2" fmla="*/ 2665 w 10000"/>
                <a:gd name="connsiteY2" fmla="*/ 111 h 10045"/>
                <a:gd name="connsiteX3" fmla="*/ 2642 w 10000"/>
                <a:gd name="connsiteY3" fmla="*/ 222 h 10045"/>
                <a:gd name="connsiteX4" fmla="*/ 2621 w 10000"/>
                <a:gd name="connsiteY4" fmla="*/ 334 h 10045"/>
                <a:gd name="connsiteX5" fmla="*/ 2594 w 10000"/>
                <a:gd name="connsiteY5" fmla="*/ 439 h 10045"/>
                <a:gd name="connsiteX6" fmla="*/ 2561 w 10000"/>
                <a:gd name="connsiteY6" fmla="*/ 546 h 10045"/>
                <a:gd name="connsiteX7" fmla="*/ 2530 w 10000"/>
                <a:gd name="connsiteY7" fmla="*/ 655 h 10045"/>
                <a:gd name="connsiteX8" fmla="*/ 2502 w 10000"/>
                <a:gd name="connsiteY8" fmla="*/ 759 h 10045"/>
                <a:gd name="connsiteX9" fmla="*/ 2468 w 10000"/>
                <a:gd name="connsiteY9" fmla="*/ 866 h 10045"/>
                <a:gd name="connsiteX10" fmla="*/ 2428 w 10000"/>
                <a:gd name="connsiteY10" fmla="*/ 970 h 10045"/>
                <a:gd name="connsiteX11" fmla="*/ 2386 w 10000"/>
                <a:gd name="connsiteY11" fmla="*/ 1071 h 10045"/>
                <a:gd name="connsiteX12" fmla="*/ 2347 w 10000"/>
                <a:gd name="connsiteY12" fmla="*/ 1176 h 10045"/>
                <a:gd name="connsiteX13" fmla="*/ 2299 w 10000"/>
                <a:gd name="connsiteY13" fmla="*/ 1279 h 10045"/>
                <a:gd name="connsiteX14" fmla="*/ 2248 w 10000"/>
                <a:gd name="connsiteY14" fmla="*/ 1373 h 10045"/>
                <a:gd name="connsiteX15" fmla="*/ 2200 w 10000"/>
                <a:gd name="connsiteY15" fmla="*/ 1472 h 10045"/>
                <a:gd name="connsiteX16" fmla="*/ 2149 w 10000"/>
                <a:gd name="connsiteY16" fmla="*/ 1569 h 10045"/>
                <a:gd name="connsiteX17" fmla="*/ 2092 w 10000"/>
                <a:gd name="connsiteY17" fmla="*/ 1666 h 10045"/>
                <a:gd name="connsiteX18" fmla="*/ 2041 w 10000"/>
                <a:gd name="connsiteY18" fmla="*/ 1763 h 10045"/>
                <a:gd name="connsiteX19" fmla="*/ 1981 w 10000"/>
                <a:gd name="connsiteY19" fmla="*/ 1856 h 10045"/>
                <a:gd name="connsiteX20" fmla="*/ 1919 w 10000"/>
                <a:gd name="connsiteY20" fmla="*/ 1942 h 10045"/>
                <a:gd name="connsiteX21" fmla="*/ 1854 w 10000"/>
                <a:gd name="connsiteY21" fmla="*/ 2032 h 10045"/>
                <a:gd name="connsiteX22" fmla="*/ 1794 w 10000"/>
                <a:gd name="connsiteY22" fmla="*/ 2120 h 10045"/>
                <a:gd name="connsiteX23" fmla="*/ 1725 w 10000"/>
                <a:gd name="connsiteY23" fmla="*/ 2215 h 10045"/>
                <a:gd name="connsiteX24" fmla="*/ 1656 w 10000"/>
                <a:gd name="connsiteY24" fmla="*/ 2298 h 10045"/>
                <a:gd name="connsiteX25" fmla="*/ 1583 w 10000"/>
                <a:gd name="connsiteY25" fmla="*/ 2376 h 10045"/>
                <a:gd name="connsiteX26" fmla="*/ 1509 w 10000"/>
                <a:gd name="connsiteY26" fmla="*/ 2464 h 10045"/>
                <a:gd name="connsiteX27" fmla="*/ 1435 w 10000"/>
                <a:gd name="connsiteY27" fmla="*/ 2545 h 10045"/>
                <a:gd name="connsiteX28" fmla="*/ 1356 w 10000"/>
                <a:gd name="connsiteY28" fmla="*/ 2623 h 10045"/>
                <a:gd name="connsiteX29" fmla="*/ 1279 w 10000"/>
                <a:gd name="connsiteY29" fmla="*/ 2707 h 10045"/>
                <a:gd name="connsiteX30" fmla="*/ 1200 w 10000"/>
                <a:gd name="connsiteY30" fmla="*/ 2782 h 10045"/>
                <a:gd name="connsiteX31" fmla="*/ 1113 w 10000"/>
                <a:gd name="connsiteY31" fmla="*/ 2858 h 10045"/>
                <a:gd name="connsiteX32" fmla="*/ 1033 w 10000"/>
                <a:gd name="connsiteY32" fmla="*/ 2929 h 10045"/>
                <a:gd name="connsiteX33" fmla="*/ 946 w 10000"/>
                <a:gd name="connsiteY33" fmla="*/ 3002 h 10045"/>
                <a:gd name="connsiteX34" fmla="*/ 862 w 10000"/>
                <a:gd name="connsiteY34" fmla="*/ 3071 h 10045"/>
                <a:gd name="connsiteX35" fmla="*/ 767 w 10000"/>
                <a:gd name="connsiteY35" fmla="*/ 3141 h 10045"/>
                <a:gd name="connsiteX36" fmla="*/ 679 w 10000"/>
                <a:gd name="connsiteY36" fmla="*/ 3204 h 10045"/>
                <a:gd name="connsiteX37" fmla="*/ 586 w 10000"/>
                <a:gd name="connsiteY37" fmla="*/ 3271 h 10045"/>
                <a:gd name="connsiteX38" fmla="*/ 492 w 10000"/>
                <a:gd name="connsiteY38" fmla="*/ 3333 h 10045"/>
                <a:gd name="connsiteX39" fmla="*/ 394 w 10000"/>
                <a:gd name="connsiteY39" fmla="*/ 3392 h 10045"/>
                <a:gd name="connsiteX40" fmla="*/ 298 w 10000"/>
                <a:gd name="connsiteY40" fmla="*/ 3454 h 10045"/>
                <a:gd name="connsiteX41" fmla="*/ 203 w 10000"/>
                <a:gd name="connsiteY41" fmla="*/ 3511 h 10045"/>
                <a:gd name="connsiteX42" fmla="*/ 101 w 10000"/>
                <a:gd name="connsiteY42" fmla="*/ 3565 h 10045"/>
                <a:gd name="connsiteX43" fmla="*/ 0 w 10000"/>
                <a:gd name="connsiteY43" fmla="*/ 3617 h 10045"/>
                <a:gd name="connsiteX44" fmla="*/ 187 w 10000"/>
                <a:gd name="connsiteY44" fmla="*/ 7333 h 10045"/>
                <a:gd name="connsiteX45" fmla="*/ 3206 w 10000"/>
                <a:gd name="connsiteY45" fmla="*/ 9885 h 10045"/>
                <a:gd name="connsiteX46" fmla="*/ 3449 w 10000"/>
                <a:gd name="connsiteY46" fmla="*/ 9766 h 10045"/>
                <a:gd name="connsiteX47" fmla="*/ 3689 w 10000"/>
                <a:gd name="connsiteY47" fmla="*/ 9649 h 10045"/>
                <a:gd name="connsiteX48" fmla="*/ 3930 w 10000"/>
                <a:gd name="connsiteY48" fmla="*/ 9518 h 10045"/>
                <a:gd name="connsiteX49" fmla="*/ 4165 w 10000"/>
                <a:gd name="connsiteY49" fmla="*/ 9388 h 10045"/>
                <a:gd name="connsiteX50" fmla="*/ 4397 w 10000"/>
                <a:gd name="connsiteY50" fmla="*/ 9251 h 10045"/>
                <a:gd name="connsiteX51" fmla="*/ 4628 w 10000"/>
                <a:gd name="connsiteY51" fmla="*/ 9109 h 10045"/>
                <a:gd name="connsiteX52" fmla="*/ 4845 w 10000"/>
                <a:gd name="connsiteY52" fmla="*/ 8967 h 10045"/>
                <a:gd name="connsiteX53" fmla="*/ 5065 w 10000"/>
                <a:gd name="connsiteY53" fmla="*/ 8813 h 10045"/>
                <a:gd name="connsiteX54" fmla="*/ 5285 w 10000"/>
                <a:gd name="connsiteY54" fmla="*/ 8663 h 10045"/>
                <a:gd name="connsiteX55" fmla="*/ 5494 w 10000"/>
                <a:gd name="connsiteY55" fmla="*/ 8505 h 10045"/>
                <a:gd name="connsiteX56" fmla="*/ 5708 w 10000"/>
                <a:gd name="connsiteY56" fmla="*/ 8342 h 10045"/>
                <a:gd name="connsiteX57" fmla="*/ 5911 w 10000"/>
                <a:gd name="connsiteY57" fmla="*/ 8172 h 10045"/>
                <a:gd name="connsiteX58" fmla="*/ 6115 w 10000"/>
                <a:gd name="connsiteY58" fmla="*/ 8005 h 10045"/>
                <a:gd name="connsiteX59" fmla="*/ 6310 w 10000"/>
                <a:gd name="connsiteY59" fmla="*/ 7834 h 10045"/>
                <a:gd name="connsiteX60" fmla="*/ 6508 w 10000"/>
                <a:gd name="connsiteY60" fmla="*/ 7653 h 10045"/>
                <a:gd name="connsiteX61" fmla="*/ 6698 w 10000"/>
                <a:gd name="connsiteY61" fmla="*/ 7466 h 10045"/>
                <a:gd name="connsiteX62" fmla="*/ 6882 w 10000"/>
                <a:gd name="connsiteY62" fmla="*/ 7287 h 10045"/>
                <a:gd name="connsiteX63" fmla="*/ 7064 w 10000"/>
                <a:gd name="connsiteY63" fmla="*/ 7097 h 10045"/>
                <a:gd name="connsiteX64" fmla="*/ 7239 w 10000"/>
                <a:gd name="connsiteY64" fmla="*/ 6903 h 10045"/>
                <a:gd name="connsiteX65" fmla="*/ 7414 w 10000"/>
                <a:gd name="connsiteY65" fmla="*/ 6708 h 10045"/>
                <a:gd name="connsiteX66" fmla="*/ 7582 w 10000"/>
                <a:gd name="connsiteY66" fmla="*/ 6510 h 10045"/>
                <a:gd name="connsiteX67" fmla="*/ 7750 w 10000"/>
                <a:gd name="connsiteY67" fmla="*/ 6303 h 10045"/>
                <a:gd name="connsiteX68" fmla="*/ 7905 w 10000"/>
                <a:gd name="connsiteY68" fmla="*/ 6096 h 10045"/>
                <a:gd name="connsiteX69" fmla="*/ 8057 w 10000"/>
                <a:gd name="connsiteY69" fmla="*/ 5886 h 10045"/>
                <a:gd name="connsiteX70" fmla="*/ 8211 w 10000"/>
                <a:gd name="connsiteY70" fmla="*/ 5676 h 10045"/>
                <a:gd name="connsiteX71" fmla="*/ 8354 w 10000"/>
                <a:gd name="connsiteY71" fmla="*/ 5456 h 10045"/>
                <a:gd name="connsiteX72" fmla="*/ 8493 w 10000"/>
                <a:gd name="connsiteY72" fmla="*/ 5240 h 10045"/>
                <a:gd name="connsiteX73" fmla="*/ 8628 w 10000"/>
                <a:gd name="connsiteY73" fmla="*/ 5018 h 10045"/>
                <a:gd name="connsiteX74" fmla="*/ 8754 w 10000"/>
                <a:gd name="connsiteY74" fmla="*/ 4789 h 10045"/>
                <a:gd name="connsiteX75" fmla="*/ 8877 w 10000"/>
                <a:gd name="connsiteY75" fmla="*/ 4561 h 10045"/>
                <a:gd name="connsiteX76" fmla="*/ 9003 w 10000"/>
                <a:gd name="connsiteY76" fmla="*/ 4331 h 10045"/>
                <a:gd name="connsiteX77" fmla="*/ 9120 w 10000"/>
                <a:gd name="connsiteY77" fmla="*/ 4098 h 10045"/>
                <a:gd name="connsiteX78" fmla="*/ 9224 w 10000"/>
                <a:gd name="connsiteY78" fmla="*/ 3863 h 10045"/>
                <a:gd name="connsiteX79" fmla="*/ 9330 w 10000"/>
                <a:gd name="connsiteY79" fmla="*/ 3624 h 10045"/>
                <a:gd name="connsiteX80" fmla="*/ 9425 w 10000"/>
                <a:gd name="connsiteY80" fmla="*/ 3380 h 10045"/>
                <a:gd name="connsiteX81" fmla="*/ 9520 w 10000"/>
                <a:gd name="connsiteY81" fmla="*/ 3139 h 10045"/>
                <a:gd name="connsiteX82" fmla="*/ 9604 w 10000"/>
                <a:gd name="connsiteY82" fmla="*/ 2891 h 10045"/>
                <a:gd name="connsiteX83" fmla="*/ 9684 w 10000"/>
                <a:gd name="connsiteY83" fmla="*/ 2640 h 10045"/>
                <a:gd name="connsiteX84" fmla="*/ 9758 w 10000"/>
                <a:gd name="connsiteY84" fmla="*/ 2388 h 10045"/>
                <a:gd name="connsiteX85" fmla="*/ 9831 w 10000"/>
                <a:gd name="connsiteY85" fmla="*/ 2138 h 10045"/>
                <a:gd name="connsiteX86" fmla="*/ 9892 w 10000"/>
                <a:gd name="connsiteY86" fmla="*/ 1884 h 10045"/>
                <a:gd name="connsiteX87" fmla="*/ 9951 w 10000"/>
                <a:gd name="connsiteY87" fmla="*/ 1625 h 10045"/>
                <a:gd name="connsiteX88" fmla="*/ 10000 w 10000"/>
                <a:gd name="connsiteY88" fmla="*/ 1364 h 10045"/>
                <a:gd name="connsiteX89" fmla="*/ 6011 w 10000"/>
                <a:gd name="connsiteY89" fmla="*/ 2092 h 10045"/>
                <a:gd name="connsiteX90" fmla="*/ 2680 w 10000"/>
                <a:gd name="connsiteY90" fmla="*/ 0 h 10045"/>
                <a:gd name="connsiteX0" fmla="*/ 2680 w 10000"/>
                <a:gd name="connsiteY0" fmla="*/ 0 h 9766"/>
                <a:gd name="connsiteX1" fmla="*/ 2680 w 10000"/>
                <a:gd name="connsiteY1" fmla="*/ 0 h 9766"/>
                <a:gd name="connsiteX2" fmla="*/ 2665 w 10000"/>
                <a:gd name="connsiteY2" fmla="*/ 111 h 9766"/>
                <a:gd name="connsiteX3" fmla="*/ 2642 w 10000"/>
                <a:gd name="connsiteY3" fmla="*/ 222 h 9766"/>
                <a:gd name="connsiteX4" fmla="*/ 2621 w 10000"/>
                <a:gd name="connsiteY4" fmla="*/ 334 h 9766"/>
                <a:gd name="connsiteX5" fmla="*/ 2594 w 10000"/>
                <a:gd name="connsiteY5" fmla="*/ 439 h 9766"/>
                <a:gd name="connsiteX6" fmla="*/ 2561 w 10000"/>
                <a:gd name="connsiteY6" fmla="*/ 546 h 9766"/>
                <a:gd name="connsiteX7" fmla="*/ 2530 w 10000"/>
                <a:gd name="connsiteY7" fmla="*/ 655 h 9766"/>
                <a:gd name="connsiteX8" fmla="*/ 2502 w 10000"/>
                <a:gd name="connsiteY8" fmla="*/ 759 h 9766"/>
                <a:gd name="connsiteX9" fmla="*/ 2468 w 10000"/>
                <a:gd name="connsiteY9" fmla="*/ 866 h 9766"/>
                <a:gd name="connsiteX10" fmla="*/ 2428 w 10000"/>
                <a:gd name="connsiteY10" fmla="*/ 970 h 9766"/>
                <a:gd name="connsiteX11" fmla="*/ 2386 w 10000"/>
                <a:gd name="connsiteY11" fmla="*/ 1071 h 9766"/>
                <a:gd name="connsiteX12" fmla="*/ 2347 w 10000"/>
                <a:gd name="connsiteY12" fmla="*/ 1176 h 9766"/>
                <a:gd name="connsiteX13" fmla="*/ 2299 w 10000"/>
                <a:gd name="connsiteY13" fmla="*/ 1279 h 9766"/>
                <a:gd name="connsiteX14" fmla="*/ 2248 w 10000"/>
                <a:gd name="connsiteY14" fmla="*/ 1373 h 9766"/>
                <a:gd name="connsiteX15" fmla="*/ 2200 w 10000"/>
                <a:gd name="connsiteY15" fmla="*/ 1472 h 9766"/>
                <a:gd name="connsiteX16" fmla="*/ 2149 w 10000"/>
                <a:gd name="connsiteY16" fmla="*/ 1569 h 9766"/>
                <a:gd name="connsiteX17" fmla="*/ 2092 w 10000"/>
                <a:gd name="connsiteY17" fmla="*/ 1666 h 9766"/>
                <a:gd name="connsiteX18" fmla="*/ 2041 w 10000"/>
                <a:gd name="connsiteY18" fmla="*/ 1763 h 9766"/>
                <a:gd name="connsiteX19" fmla="*/ 1981 w 10000"/>
                <a:gd name="connsiteY19" fmla="*/ 1856 h 9766"/>
                <a:gd name="connsiteX20" fmla="*/ 1919 w 10000"/>
                <a:gd name="connsiteY20" fmla="*/ 1942 h 9766"/>
                <a:gd name="connsiteX21" fmla="*/ 1854 w 10000"/>
                <a:gd name="connsiteY21" fmla="*/ 2032 h 9766"/>
                <a:gd name="connsiteX22" fmla="*/ 1794 w 10000"/>
                <a:gd name="connsiteY22" fmla="*/ 2120 h 9766"/>
                <a:gd name="connsiteX23" fmla="*/ 1725 w 10000"/>
                <a:gd name="connsiteY23" fmla="*/ 2215 h 9766"/>
                <a:gd name="connsiteX24" fmla="*/ 1656 w 10000"/>
                <a:gd name="connsiteY24" fmla="*/ 2298 h 9766"/>
                <a:gd name="connsiteX25" fmla="*/ 1583 w 10000"/>
                <a:gd name="connsiteY25" fmla="*/ 2376 h 9766"/>
                <a:gd name="connsiteX26" fmla="*/ 1509 w 10000"/>
                <a:gd name="connsiteY26" fmla="*/ 2464 h 9766"/>
                <a:gd name="connsiteX27" fmla="*/ 1435 w 10000"/>
                <a:gd name="connsiteY27" fmla="*/ 2545 h 9766"/>
                <a:gd name="connsiteX28" fmla="*/ 1356 w 10000"/>
                <a:gd name="connsiteY28" fmla="*/ 2623 h 9766"/>
                <a:gd name="connsiteX29" fmla="*/ 1279 w 10000"/>
                <a:gd name="connsiteY29" fmla="*/ 2707 h 9766"/>
                <a:gd name="connsiteX30" fmla="*/ 1200 w 10000"/>
                <a:gd name="connsiteY30" fmla="*/ 2782 h 9766"/>
                <a:gd name="connsiteX31" fmla="*/ 1113 w 10000"/>
                <a:gd name="connsiteY31" fmla="*/ 2858 h 9766"/>
                <a:gd name="connsiteX32" fmla="*/ 1033 w 10000"/>
                <a:gd name="connsiteY32" fmla="*/ 2929 h 9766"/>
                <a:gd name="connsiteX33" fmla="*/ 946 w 10000"/>
                <a:gd name="connsiteY33" fmla="*/ 3002 h 9766"/>
                <a:gd name="connsiteX34" fmla="*/ 862 w 10000"/>
                <a:gd name="connsiteY34" fmla="*/ 3071 h 9766"/>
                <a:gd name="connsiteX35" fmla="*/ 767 w 10000"/>
                <a:gd name="connsiteY35" fmla="*/ 3141 h 9766"/>
                <a:gd name="connsiteX36" fmla="*/ 679 w 10000"/>
                <a:gd name="connsiteY36" fmla="*/ 3204 h 9766"/>
                <a:gd name="connsiteX37" fmla="*/ 586 w 10000"/>
                <a:gd name="connsiteY37" fmla="*/ 3271 h 9766"/>
                <a:gd name="connsiteX38" fmla="*/ 492 w 10000"/>
                <a:gd name="connsiteY38" fmla="*/ 3333 h 9766"/>
                <a:gd name="connsiteX39" fmla="*/ 394 w 10000"/>
                <a:gd name="connsiteY39" fmla="*/ 3392 h 9766"/>
                <a:gd name="connsiteX40" fmla="*/ 298 w 10000"/>
                <a:gd name="connsiteY40" fmla="*/ 3454 h 9766"/>
                <a:gd name="connsiteX41" fmla="*/ 203 w 10000"/>
                <a:gd name="connsiteY41" fmla="*/ 3511 h 9766"/>
                <a:gd name="connsiteX42" fmla="*/ 101 w 10000"/>
                <a:gd name="connsiteY42" fmla="*/ 3565 h 9766"/>
                <a:gd name="connsiteX43" fmla="*/ 0 w 10000"/>
                <a:gd name="connsiteY43" fmla="*/ 3617 h 9766"/>
                <a:gd name="connsiteX44" fmla="*/ 187 w 10000"/>
                <a:gd name="connsiteY44" fmla="*/ 7333 h 9766"/>
                <a:gd name="connsiteX45" fmla="*/ 3449 w 10000"/>
                <a:gd name="connsiteY45" fmla="*/ 9766 h 9766"/>
                <a:gd name="connsiteX46" fmla="*/ 3689 w 10000"/>
                <a:gd name="connsiteY46" fmla="*/ 9649 h 9766"/>
                <a:gd name="connsiteX47" fmla="*/ 3930 w 10000"/>
                <a:gd name="connsiteY47" fmla="*/ 9518 h 9766"/>
                <a:gd name="connsiteX48" fmla="*/ 4165 w 10000"/>
                <a:gd name="connsiteY48" fmla="*/ 9388 h 9766"/>
                <a:gd name="connsiteX49" fmla="*/ 4397 w 10000"/>
                <a:gd name="connsiteY49" fmla="*/ 9251 h 9766"/>
                <a:gd name="connsiteX50" fmla="*/ 4628 w 10000"/>
                <a:gd name="connsiteY50" fmla="*/ 9109 h 9766"/>
                <a:gd name="connsiteX51" fmla="*/ 4845 w 10000"/>
                <a:gd name="connsiteY51" fmla="*/ 8967 h 9766"/>
                <a:gd name="connsiteX52" fmla="*/ 5065 w 10000"/>
                <a:gd name="connsiteY52" fmla="*/ 8813 h 9766"/>
                <a:gd name="connsiteX53" fmla="*/ 5285 w 10000"/>
                <a:gd name="connsiteY53" fmla="*/ 8663 h 9766"/>
                <a:gd name="connsiteX54" fmla="*/ 5494 w 10000"/>
                <a:gd name="connsiteY54" fmla="*/ 8505 h 9766"/>
                <a:gd name="connsiteX55" fmla="*/ 5708 w 10000"/>
                <a:gd name="connsiteY55" fmla="*/ 8342 h 9766"/>
                <a:gd name="connsiteX56" fmla="*/ 5911 w 10000"/>
                <a:gd name="connsiteY56" fmla="*/ 8172 h 9766"/>
                <a:gd name="connsiteX57" fmla="*/ 6115 w 10000"/>
                <a:gd name="connsiteY57" fmla="*/ 8005 h 9766"/>
                <a:gd name="connsiteX58" fmla="*/ 6310 w 10000"/>
                <a:gd name="connsiteY58" fmla="*/ 7834 h 9766"/>
                <a:gd name="connsiteX59" fmla="*/ 6508 w 10000"/>
                <a:gd name="connsiteY59" fmla="*/ 7653 h 9766"/>
                <a:gd name="connsiteX60" fmla="*/ 6698 w 10000"/>
                <a:gd name="connsiteY60" fmla="*/ 7466 h 9766"/>
                <a:gd name="connsiteX61" fmla="*/ 6882 w 10000"/>
                <a:gd name="connsiteY61" fmla="*/ 7287 h 9766"/>
                <a:gd name="connsiteX62" fmla="*/ 7064 w 10000"/>
                <a:gd name="connsiteY62" fmla="*/ 7097 h 9766"/>
                <a:gd name="connsiteX63" fmla="*/ 7239 w 10000"/>
                <a:gd name="connsiteY63" fmla="*/ 6903 h 9766"/>
                <a:gd name="connsiteX64" fmla="*/ 7414 w 10000"/>
                <a:gd name="connsiteY64" fmla="*/ 6708 h 9766"/>
                <a:gd name="connsiteX65" fmla="*/ 7582 w 10000"/>
                <a:gd name="connsiteY65" fmla="*/ 6510 h 9766"/>
                <a:gd name="connsiteX66" fmla="*/ 7750 w 10000"/>
                <a:gd name="connsiteY66" fmla="*/ 6303 h 9766"/>
                <a:gd name="connsiteX67" fmla="*/ 7905 w 10000"/>
                <a:gd name="connsiteY67" fmla="*/ 6096 h 9766"/>
                <a:gd name="connsiteX68" fmla="*/ 8057 w 10000"/>
                <a:gd name="connsiteY68" fmla="*/ 5886 h 9766"/>
                <a:gd name="connsiteX69" fmla="*/ 8211 w 10000"/>
                <a:gd name="connsiteY69" fmla="*/ 5676 h 9766"/>
                <a:gd name="connsiteX70" fmla="*/ 8354 w 10000"/>
                <a:gd name="connsiteY70" fmla="*/ 5456 h 9766"/>
                <a:gd name="connsiteX71" fmla="*/ 8493 w 10000"/>
                <a:gd name="connsiteY71" fmla="*/ 5240 h 9766"/>
                <a:gd name="connsiteX72" fmla="*/ 8628 w 10000"/>
                <a:gd name="connsiteY72" fmla="*/ 5018 h 9766"/>
                <a:gd name="connsiteX73" fmla="*/ 8754 w 10000"/>
                <a:gd name="connsiteY73" fmla="*/ 4789 h 9766"/>
                <a:gd name="connsiteX74" fmla="*/ 8877 w 10000"/>
                <a:gd name="connsiteY74" fmla="*/ 4561 h 9766"/>
                <a:gd name="connsiteX75" fmla="*/ 9003 w 10000"/>
                <a:gd name="connsiteY75" fmla="*/ 4331 h 9766"/>
                <a:gd name="connsiteX76" fmla="*/ 9120 w 10000"/>
                <a:gd name="connsiteY76" fmla="*/ 4098 h 9766"/>
                <a:gd name="connsiteX77" fmla="*/ 9224 w 10000"/>
                <a:gd name="connsiteY77" fmla="*/ 3863 h 9766"/>
                <a:gd name="connsiteX78" fmla="*/ 9330 w 10000"/>
                <a:gd name="connsiteY78" fmla="*/ 3624 h 9766"/>
                <a:gd name="connsiteX79" fmla="*/ 9425 w 10000"/>
                <a:gd name="connsiteY79" fmla="*/ 3380 h 9766"/>
                <a:gd name="connsiteX80" fmla="*/ 9520 w 10000"/>
                <a:gd name="connsiteY80" fmla="*/ 3139 h 9766"/>
                <a:gd name="connsiteX81" fmla="*/ 9604 w 10000"/>
                <a:gd name="connsiteY81" fmla="*/ 2891 h 9766"/>
                <a:gd name="connsiteX82" fmla="*/ 9684 w 10000"/>
                <a:gd name="connsiteY82" fmla="*/ 2640 h 9766"/>
                <a:gd name="connsiteX83" fmla="*/ 9758 w 10000"/>
                <a:gd name="connsiteY83" fmla="*/ 2388 h 9766"/>
                <a:gd name="connsiteX84" fmla="*/ 9831 w 10000"/>
                <a:gd name="connsiteY84" fmla="*/ 2138 h 9766"/>
                <a:gd name="connsiteX85" fmla="*/ 9892 w 10000"/>
                <a:gd name="connsiteY85" fmla="*/ 1884 h 9766"/>
                <a:gd name="connsiteX86" fmla="*/ 9951 w 10000"/>
                <a:gd name="connsiteY86" fmla="*/ 1625 h 9766"/>
                <a:gd name="connsiteX87" fmla="*/ 10000 w 10000"/>
                <a:gd name="connsiteY87" fmla="*/ 1364 h 9766"/>
                <a:gd name="connsiteX88" fmla="*/ 6011 w 10000"/>
                <a:gd name="connsiteY88" fmla="*/ 2092 h 9766"/>
                <a:gd name="connsiteX89" fmla="*/ 2680 w 10000"/>
                <a:gd name="connsiteY89" fmla="*/ 0 h 9766"/>
                <a:gd name="connsiteX0" fmla="*/ 2680 w 10000"/>
                <a:gd name="connsiteY0" fmla="*/ 0 h 10000"/>
                <a:gd name="connsiteX1" fmla="*/ 2680 w 10000"/>
                <a:gd name="connsiteY1" fmla="*/ 0 h 10000"/>
                <a:gd name="connsiteX2" fmla="*/ 2665 w 10000"/>
                <a:gd name="connsiteY2" fmla="*/ 114 h 10000"/>
                <a:gd name="connsiteX3" fmla="*/ 2642 w 10000"/>
                <a:gd name="connsiteY3" fmla="*/ 227 h 10000"/>
                <a:gd name="connsiteX4" fmla="*/ 2621 w 10000"/>
                <a:gd name="connsiteY4" fmla="*/ 342 h 10000"/>
                <a:gd name="connsiteX5" fmla="*/ 2594 w 10000"/>
                <a:gd name="connsiteY5" fmla="*/ 450 h 10000"/>
                <a:gd name="connsiteX6" fmla="*/ 2561 w 10000"/>
                <a:gd name="connsiteY6" fmla="*/ 559 h 10000"/>
                <a:gd name="connsiteX7" fmla="*/ 2530 w 10000"/>
                <a:gd name="connsiteY7" fmla="*/ 671 h 10000"/>
                <a:gd name="connsiteX8" fmla="*/ 2502 w 10000"/>
                <a:gd name="connsiteY8" fmla="*/ 777 h 10000"/>
                <a:gd name="connsiteX9" fmla="*/ 2468 w 10000"/>
                <a:gd name="connsiteY9" fmla="*/ 887 h 10000"/>
                <a:gd name="connsiteX10" fmla="*/ 2428 w 10000"/>
                <a:gd name="connsiteY10" fmla="*/ 993 h 10000"/>
                <a:gd name="connsiteX11" fmla="*/ 2386 w 10000"/>
                <a:gd name="connsiteY11" fmla="*/ 1097 h 10000"/>
                <a:gd name="connsiteX12" fmla="*/ 2347 w 10000"/>
                <a:gd name="connsiteY12" fmla="*/ 1204 h 10000"/>
                <a:gd name="connsiteX13" fmla="*/ 2299 w 10000"/>
                <a:gd name="connsiteY13" fmla="*/ 1310 h 10000"/>
                <a:gd name="connsiteX14" fmla="*/ 2248 w 10000"/>
                <a:gd name="connsiteY14" fmla="*/ 1406 h 10000"/>
                <a:gd name="connsiteX15" fmla="*/ 2200 w 10000"/>
                <a:gd name="connsiteY15" fmla="*/ 1507 h 10000"/>
                <a:gd name="connsiteX16" fmla="*/ 2149 w 10000"/>
                <a:gd name="connsiteY16" fmla="*/ 1607 h 10000"/>
                <a:gd name="connsiteX17" fmla="*/ 2092 w 10000"/>
                <a:gd name="connsiteY17" fmla="*/ 1706 h 10000"/>
                <a:gd name="connsiteX18" fmla="*/ 2041 w 10000"/>
                <a:gd name="connsiteY18" fmla="*/ 1805 h 10000"/>
                <a:gd name="connsiteX19" fmla="*/ 1981 w 10000"/>
                <a:gd name="connsiteY19" fmla="*/ 1900 h 10000"/>
                <a:gd name="connsiteX20" fmla="*/ 1919 w 10000"/>
                <a:gd name="connsiteY20" fmla="*/ 1989 h 10000"/>
                <a:gd name="connsiteX21" fmla="*/ 1854 w 10000"/>
                <a:gd name="connsiteY21" fmla="*/ 2081 h 10000"/>
                <a:gd name="connsiteX22" fmla="*/ 1794 w 10000"/>
                <a:gd name="connsiteY22" fmla="*/ 2171 h 10000"/>
                <a:gd name="connsiteX23" fmla="*/ 1725 w 10000"/>
                <a:gd name="connsiteY23" fmla="*/ 2268 h 10000"/>
                <a:gd name="connsiteX24" fmla="*/ 1656 w 10000"/>
                <a:gd name="connsiteY24" fmla="*/ 2353 h 10000"/>
                <a:gd name="connsiteX25" fmla="*/ 1583 w 10000"/>
                <a:gd name="connsiteY25" fmla="*/ 2433 h 10000"/>
                <a:gd name="connsiteX26" fmla="*/ 1509 w 10000"/>
                <a:gd name="connsiteY26" fmla="*/ 2523 h 10000"/>
                <a:gd name="connsiteX27" fmla="*/ 1435 w 10000"/>
                <a:gd name="connsiteY27" fmla="*/ 2606 h 10000"/>
                <a:gd name="connsiteX28" fmla="*/ 1356 w 10000"/>
                <a:gd name="connsiteY28" fmla="*/ 2686 h 10000"/>
                <a:gd name="connsiteX29" fmla="*/ 1279 w 10000"/>
                <a:gd name="connsiteY29" fmla="*/ 2772 h 10000"/>
                <a:gd name="connsiteX30" fmla="*/ 1200 w 10000"/>
                <a:gd name="connsiteY30" fmla="*/ 2849 h 10000"/>
                <a:gd name="connsiteX31" fmla="*/ 1113 w 10000"/>
                <a:gd name="connsiteY31" fmla="*/ 2926 h 10000"/>
                <a:gd name="connsiteX32" fmla="*/ 1033 w 10000"/>
                <a:gd name="connsiteY32" fmla="*/ 2999 h 10000"/>
                <a:gd name="connsiteX33" fmla="*/ 946 w 10000"/>
                <a:gd name="connsiteY33" fmla="*/ 3074 h 10000"/>
                <a:gd name="connsiteX34" fmla="*/ 862 w 10000"/>
                <a:gd name="connsiteY34" fmla="*/ 3145 h 10000"/>
                <a:gd name="connsiteX35" fmla="*/ 767 w 10000"/>
                <a:gd name="connsiteY35" fmla="*/ 3216 h 10000"/>
                <a:gd name="connsiteX36" fmla="*/ 679 w 10000"/>
                <a:gd name="connsiteY36" fmla="*/ 3281 h 10000"/>
                <a:gd name="connsiteX37" fmla="*/ 586 w 10000"/>
                <a:gd name="connsiteY37" fmla="*/ 3349 h 10000"/>
                <a:gd name="connsiteX38" fmla="*/ 492 w 10000"/>
                <a:gd name="connsiteY38" fmla="*/ 3413 h 10000"/>
                <a:gd name="connsiteX39" fmla="*/ 394 w 10000"/>
                <a:gd name="connsiteY39" fmla="*/ 3473 h 10000"/>
                <a:gd name="connsiteX40" fmla="*/ 298 w 10000"/>
                <a:gd name="connsiteY40" fmla="*/ 3537 h 10000"/>
                <a:gd name="connsiteX41" fmla="*/ 203 w 10000"/>
                <a:gd name="connsiteY41" fmla="*/ 3595 h 10000"/>
                <a:gd name="connsiteX42" fmla="*/ 101 w 10000"/>
                <a:gd name="connsiteY42" fmla="*/ 3650 h 10000"/>
                <a:gd name="connsiteX43" fmla="*/ 0 w 10000"/>
                <a:gd name="connsiteY43" fmla="*/ 3704 h 10000"/>
                <a:gd name="connsiteX44" fmla="*/ 187 w 10000"/>
                <a:gd name="connsiteY44" fmla="*/ 7509 h 10000"/>
                <a:gd name="connsiteX45" fmla="*/ 3449 w 10000"/>
                <a:gd name="connsiteY45" fmla="*/ 10000 h 10000"/>
                <a:gd name="connsiteX46" fmla="*/ 3689 w 10000"/>
                <a:gd name="connsiteY46" fmla="*/ 9880 h 10000"/>
                <a:gd name="connsiteX47" fmla="*/ 3930 w 10000"/>
                <a:gd name="connsiteY47" fmla="*/ 9746 h 10000"/>
                <a:gd name="connsiteX48" fmla="*/ 4165 w 10000"/>
                <a:gd name="connsiteY48" fmla="*/ 9613 h 10000"/>
                <a:gd name="connsiteX49" fmla="*/ 4397 w 10000"/>
                <a:gd name="connsiteY49" fmla="*/ 9473 h 10000"/>
                <a:gd name="connsiteX50" fmla="*/ 4628 w 10000"/>
                <a:gd name="connsiteY50" fmla="*/ 9327 h 10000"/>
                <a:gd name="connsiteX51" fmla="*/ 4845 w 10000"/>
                <a:gd name="connsiteY51" fmla="*/ 9182 h 10000"/>
                <a:gd name="connsiteX52" fmla="*/ 5065 w 10000"/>
                <a:gd name="connsiteY52" fmla="*/ 9024 h 10000"/>
                <a:gd name="connsiteX53" fmla="*/ 5285 w 10000"/>
                <a:gd name="connsiteY53" fmla="*/ 8871 h 10000"/>
                <a:gd name="connsiteX54" fmla="*/ 5494 w 10000"/>
                <a:gd name="connsiteY54" fmla="*/ 8709 h 10000"/>
                <a:gd name="connsiteX55" fmla="*/ 5708 w 10000"/>
                <a:gd name="connsiteY55" fmla="*/ 8542 h 10000"/>
                <a:gd name="connsiteX56" fmla="*/ 5911 w 10000"/>
                <a:gd name="connsiteY56" fmla="*/ 8368 h 10000"/>
                <a:gd name="connsiteX57" fmla="*/ 6115 w 10000"/>
                <a:gd name="connsiteY57" fmla="*/ 8197 h 10000"/>
                <a:gd name="connsiteX58" fmla="*/ 6310 w 10000"/>
                <a:gd name="connsiteY58" fmla="*/ 8022 h 10000"/>
                <a:gd name="connsiteX59" fmla="*/ 6508 w 10000"/>
                <a:gd name="connsiteY59" fmla="*/ 7836 h 10000"/>
                <a:gd name="connsiteX60" fmla="*/ 6698 w 10000"/>
                <a:gd name="connsiteY60" fmla="*/ 7645 h 10000"/>
                <a:gd name="connsiteX61" fmla="*/ 6882 w 10000"/>
                <a:gd name="connsiteY61" fmla="*/ 7462 h 10000"/>
                <a:gd name="connsiteX62" fmla="*/ 7064 w 10000"/>
                <a:gd name="connsiteY62" fmla="*/ 7267 h 10000"/>
                <a:gd name="connsiteX63" fmla="*/ 7239 w 10000"/>
                <a:gd name="connsiteY63" fmla="*/ 7068 h 10000"/>
                <a:gd name="connsiteX64" fmla="*/ 7414 w 10000"/>
                <a:gd name="connsiteY64" fmla="*/ 6869 h 10000"/>
                <a:gd name="connsiteX65" fmla="*/ 7582 w 10000"/>
                <a:gd name="connsiteY65" fmla="*/ 6666 h 10000"/>
                <a:gd name="connsiteX66" fmla="*/ 7750 w 10000"/>
                <a:gd name="connsiteY66" fmla="*/ 6454 h 10000"/>
                <a:gd name="connsiteX67" fmla="*/ 7905 w 10000"/>
                <a:gd name="connsiteY67" fmla="*/ 6242 h 10000"/>
                <a:gd name="connsiteX68" fmla="*/ 8057 w 10000"/>
                <a:gd name="connsiteY68" fmla="*/ 6027 h 10000"/>
                <a:gd name="connsiteX69" fmla="*/ 8211 w 10000"/>
                <a:gd name="connsiteY69" fmla="*/ 5812 h 10000"/>
                <a:gd name="connsiteX70" fmla="*/ 8354 w 10000"/>
                <a:gd name="connsiteY70" fmla="*/ 5587 h 10000"/>
                <a:gd name="connsiteX71" fmla="*/ 8493 w 10000"/>
                <a:gd name="connsiteY71" fmla="*/ 5366 h 10000"/>
                <a:gd name="connsiteX72" fmla="*/ 8628 w 10000"/>
                <a:gd name="connsiteY72" fmla="*/ 5138 h 10000"/>
                <a:gd name="connsiteX73" fmla="*/ 8754 w 10000"/>
                <a:gd name="connsiteY73" fmla="*/ 4904 h 10000"/>
                <a:gd name="connsiteX74" fmla="*/ 8877 w 10000"/>
                <a:gd name="connsiteY74" fmla="*/ 4670 h 10000"/>
                <a:gd name="connsiteX75" fmla="*/ 9003 w 10000"/>
                <a:gd name="connsiteY75" fmla="*/ 4435 h 10000"/>
                <a:gd name="connsiteX76" fmla="*/ 9120 w 10000"/>
                <a:gd name="connsiteY76" fmla="*/ 4196 h 10000"/>
                <a:gd name="connsiteX77" fmla="*/ 9224 w 10000"/>
                <a:gd name="connsiteY77" fmla="*/ 3956 h 10000"/>
                <a:gd name="connsiteX78" fmla="*/ 9330 w 10000"/>
                <a:gd name="connsiteY78" fmla="*/ 3711 h 10000"/>
                <a:gd name="connsiteX79" fmla="*/ 9425 w 10000"/>
                <a:gd name="connsiteY79" fmla="*/ 3461 h 10000"/>
                <a:gd name="connsiteX80" fmla="*/ 9520 w 10000"/>
                <a:gd name="connsiteY80" fmla="*/ 3214 h 10000"/>
                <a:gd name="connsiteX81" fmla="*/ 9604 w 10000"/>
                <a:gd name="connsiteY81" fmla="*/ 2960 h 10000"/>
                <a:gd name="connsiteX82" fmla="*/ 9684 w 10000"/>
                <a:gd name="connsiteY82" fmla="*/ 2703 h 10000"/>
                <a:gd name="connsiteX83" fmla="*/ 9758 w 10000"/>
                <a:gd name="connsiteY83" fmla="*/ 2445 h 10000"/>
                <a:gd name="connsiteX84" fmla="*/ 9831 w 10000"/>
                <a:gd name="connsiteY84" fmla="*/ 2189 h 10000"/>
                <a:gd name="connsiteX85" fmla="*/ 9892 w 10000"/>
                <a:gd name="connsiteY85" fmla="*/ 1929 h 10000"/>
                <a:gd name="connsiteX86" fmla="*/ 9951 w 10000"/>
                <a:gd name="connsiteY86" fmla="*/ 1664 h 10000"/>
                <a:gd name="connsiteX87" fmla="*/ 10000 w 10000"/>
                <a:gd name="connsiteY87" fmla="*/ 1397 h 10000"/>
                <a:gd name="connsiteX88" fmla="*/ 6011 w 10000"/>
                <a:gd name="connsiteY88" fmla="*/ 2142 h 10000"/>
                <a:gd name="connsiteX89" fmla="*/ 2680 w 10000"/>
                <a:gd name="connsiteY89" fmla="*/ 0 h 10000"/>
                <a:gd name="connsiteX0" fmla="*/ 2680 w 10000"/>
                <a:gd name="connsiteY0" fmla="*/ 0 h 10084"/>
                <a:gd name="connsiteX1" fmla="*/ 2680 w 10000"/>
                <a:gd name="connsiteY1" fmla="*/ 0 h 10084"/>
                <a:gd name="connsiteX2" fmla="*/ 2665 w 10000"/>
                <a:gd name="connsiteY2" fmla="*/ 114 h 10084"/>
                <a:gd name="connsiteX3" fmla="*/ 2642 w 10000"/>
                <a:gd name="connsiteY3" fmla="*/ 227 h 10084"/>
                <a:gd name="connsiteX4" fmla="*/ 2621 w 10000"/>
                <a:gd name="connsiteY4" fmla="*/ 342 h 10084"/>
                <a:gd name="connsiteX5" fmla="*/ 2594 w 10000"/>
                <a:gd name="connsiteY5" fmla="*/ 450 h 10084"/>
                <a:gd name="connsiteX6" fmla="*/ 2561 w 10000"/>
                <a:gd name="connsiteY6" fmla="*/ 559 h 10084"/>
                <a:gd name="connsiteX7" fmla="*/ 2530 w 10000"/>
                <a:gd name="connsiteY7" fmla="*/ 671 h 10084"/>
                <a:gd name="connsiteX8" fmla="*/ 2502 w 10000"/>
                <a:gd name="connsiteY8" fmla="*/ 777 h 10084"/>
                <a:gd name="connsiteX9" fmla="*/ 2468 w 10000"/>
                <a:gd name="connsiteY9" fmla="*/ 887 h 10084"/>
                <a:gd name="connsiteX10" fmla="*/ 2428 w 10000"/>
                <a:gd name="connsiteY10" fmla="*/ 993 h 10084"/>
                <a:gd name="connsiteX11" fmla="*/ 2386 w 10000"/>
                <a:gd name="connsiteY11" fmla="*/ 1097 h 10084"/>
                <a:gd name="connsiteX12" fmla="*/ 2347 w 10000"/>
                <a:gd name="connsiteY12" fmla="*/ 1204 h 10084"/>
                <a:gd name="connsiteX13" fmla="*/ 2299 w 10000"/>
                <a:gd name="connsiteY13" fmla="*/ 1310 h 10084"/>
                <a:gd name="connsiteX14" fmla="*/ 2248 w 10000"/>
                <a:gd name="connsiteY14" fmla="*/ 1406 h 10084"/>
                <a:gd name="connsiteX15" fmla="*/ 2200 w 10000"/>
                <a:gd name="connsiteY15" fmla="*/ 1507 h 10084"/>
                <a:gd name="connsiteX16" fmla="*/ 2149 w 10000"/>
                <a:gd name="connsiteY16" fmla="*/ 1607 h 10084"/>
                <a:gd name="connsiteX17" fmla="*/ 2092 w 10000"/>
                <a:gd name="connsiteY17" fmla="*/ 1706 h 10084"/>
                <a:gd name="connsiteX18" fmla="*/ 2041 w 10000"/>
                <a:gd name="connsiteY18" fmla="*/ 1805 h 10084"/>
                <a:gd name="connsiteX19" fmla="*/ 1981 w 10000"/>
                <a:gd name="connsiteY19" fmla="*/ 1900 h 10084"/>
                <a:gd name="connsiteX20" fmla="*/ 1919 w 10000"/>
                <a:gd name="connsiteY20" fmla="*/ 1989 h 10084"/>
                <a:gd name="connsiteX21" fmla="*/ 1854 w 10000"/>
                <a:gd name="connsiteY21" fmla="*/ 2081 h 10084"/>
                <a:gd name="connsiteX22" fmla="*/ 1794 w 10000"/>
                <a:gd name="connsiteY22" fmla="*/ 2171 h 10084"/>
                <a:gd name="connsiteX23" fmla="*/ 1725 w 10000"/>
                <a:gd name="connsiteY23" fmla="*/ 2268 h 10084"/>
                <a:gd name="connsiteX24" fmla="*/ 1656 w 10000"/>
                <a:gd name="connsiteY24" fmla="*/ 2353 h 10084"/>
                <a:gd name="connsiteX25" fmla="*/ 1583 w 10000"/>
                <a:gd name="connsiteY25" fmla="*/ 2433 h 10084"/>
                <a:gd name="connsiteX26" fmla="*/ 1509 w 10000"/>
                <a:gd name="connsiteY26" fmla="*/ 2523 h 10084"/>
                <a:gd name="connsiteX27" fmla="*/ 1435 w 10000"/>
                <a:gd name="connsiteY27" fmla="*/ 2606 h 10084"/>
                <a:gd name="connsiteX28" fmla="*/ 1356 w 10000"/>
                <a:gd name="connsiteY28" fmla="*/ 2686 h 10084"/>
                <a:gd name="connsiteX29" fmla="*/ 1279 w 10000"/>
                <a:gd name="connsiteY29" fmla="*/ 2772 h 10084"/>
                <a:gd name="connsiteX30" fmla="*/ 1200 w 10000"/>
                <a:gd name="connsiteY30" fmla="*/ 2849 h 10084"/>
                <a:gd name="connsiteX31" fmla="*/ 1113 w 10000"/>
                <a:gd name="connsiteY31" fmla="*/ 2926 h 10084"/>
                <a:gd name="connsiteX32" fmla="*/ 1033 w 10000"/>
                <a:gd name="connsiteY32" fmla="*/ 2999 h 10084"/>
                <a:gd name="connsiteX33" fmla="*/ 946 w 10000"/>
                <a:gd name="connsiteY33" fmla="*/ 3074 h 10084"/>
                <a:gd name="connsiteX34" fmla="*/ 862 w 10000"/>
                <a:gd name="connsiteY34" fmla="*/ 3145 h 10084"/>
                <a:gd name="connsiteX35" fmla="*/ 767 w 10000"/>
                <a:gd name="connsiteY35" fmla="*/ 3216 h 10084"/>
                <a:gd name="connsiteX36" fmla="*/ 679 w 10000"/>
                <a:gd name="connsiteY36" fmla="*/ 3281 h 10084"/>
                <a:gd name="connsiteX37" fmla="*/ 586 w 10000"/>
                <a:gd name="connsiteY37" fmla="*/ 3349 h 10084"/>
                <a:gd name="connsiteX38" fmla="*/ 492 w 10000"/>
                <a:gd name="connsiteY38" fmla="*/ 3413 h 10084"/>
                <a:gd name="connsiteX39" fmla="*/ 394 w 10000"/>
                <a:gd name="connsiteY39" fmla="*/ 3473 h 10084"/>
                <a:gd name="connsiteX40" fmla="*/ 298 w 10000"/>
                <a:gd name="connsiteY40" fmla="*/ 3537 h 10084"/>
                <a:gd name="connsiteX41" fmla="*/ 203 w 10000"/>
                <a:gd name="connsiteY41" fmla="*/ 3595 h 10084"/>
                <a:gd name="connsiteX42" fmla="*/ 101 w 10000"/>
                <a:gd name="connsiteY42" fmla="*/ 3650 h 10084"/>
                <a:gd name="connsiteX43" fmla="*/ 0 w 10000"/>
                <a:gd name="connsiteY43" fmla="*/ 3704 h 10084"/>
                <a:gd name="connsiteX44" fmla="*/ 187 w 10000"/>
                <a:gd name="connsiteY44" fmla="*/ 7509 h 10084"/>
                <a:gd name="connsiteX45" fmla="*/ 3424 w 10000"/>
                <a:gd name="connsiteY45" fmla="*/ 10084 h 10084"/>
                <a:gd name="connsiteX46" fmla="*/ 3689 w 10000"/>
                <a:gd name="connsiteY46" fmla="*/ 9880 h 10084"/>
                <a:gd name="connsiteX47" fmla="*/ 3930 w 10000"/>
                <a:gd name="connsiteY47" fmla="*/ 9746 h 10084"/>
                <a:gd name="connsiteX48" fmla="*/ 4165 w 10000"/>
                <a:gd name="connsiteY48" fmla="*/ 9613 h 10084"/>
                <a:gd name="connsiteX49" fmla="*/ 4397 w 10000"/>
                <a:gd name="connsiteY49" fmla="*/ 9473 h 10084"/>
                <a:gd name="connsiteX50" fmla="*/ 4628 w 10000"/>
                <a:gd name="connsiteY50" fmla="*/ 9327 h 10084"/>
                <a:gd name="connsiteX51" fmla="*/ 4845 w 10000"/>
                <a:gd name="connsiteY51" fmla="*/ 9182 h 10084"/>
                <a:gd name="connsiteX52" fmla="*/ 5065 w 10000"/>
                <a:gd name="connsiteY52" fmla="*/ 9024 h 10084"/>
                <a:gd name="connsiteX53" fmla="*/ 5285 w 10000"/>
                <a:gd name="connsiteY53" fmla="*/ 8871 h 10084"/>
                <a:gd name="connsiteX54" fmla="*/ 5494 w 10000"/>
                <a:gd name="connsiteY54" fmla="*/ 8709 h 10084"/>
                <a:gd name="connsiteX55" fmla="*/ 5708 w 10000"/>
                <a:gd name="connsiteY55" fmla="*/ 8542 h 10084"/>
                <a:gd name="connsiteX56" fmla="*/ 5911 w 10000"/>
                <a:gd name="connsiteY56" fmla="*/ 8368 h 10084"/>
                <a:gd name="connsiteX57" fmla="*/ 6115 w 10000"/>
                <a:gd name="connsiteY57" fmla="*/ 8197 h 10084"/>
                <a:gd name="connsiteX58" fmla="*/ 6310 w 10000"/>
                <a:gd name="connsiteY58" fmla="*/ 8022 h 10084"/>
                <a:gd name="connsiteX59" fmla="*/ 6508 w 10000"/>
                <a:gd name="connsiteY59" fmla="*/ 7836 h 10084"/>
                <a:gd name="connsiteX60" fmla="*/ 6698 w 10000"/>
                <a:gd name="connsiteY60" fmla="*/ 7645 h 10084"/>
                <a:gd name="connsiteX61" fmla="*/ 6882 w 10000"/>
                <a:gd name="connsiteY61" fmla="*/ 7462 h 10084"/>
                <a:gd name="connsiteX62" fmla="*/ 7064 w 10000"/>
                <a:gd name="connsiteY62" fmla="*/ 7267 h 10084"/>
                <a:gd name="connsiteX63" fmla="*/ 7239 w 10000"/>
                <a:gd name="connsiteY63" fmla="*/ 7068 h 10084"/>
                <a:gd name="connsiteX64" fmla="*/ 7414 w 10000"/>
                <a:gd name="connsiteY64" fmla="*/ 6869 h 10084"/>
                <a:gd name="connsiteX65" fmla="*/ 7582 w 10000"/>
                <a:gd name="connsiteY65" fmla="*/ 6666 h 10084"/>
                <a:gd name="connsiteX66" fmla="*/ 7750 w 10000"/>
                <a:gd name="connsiteY66" fmla="*/ 6454 h 10084"/>
                <a:gd name="connsiteX67" fmla="*/ 7905 w 10000"/>
                <a:gd name="connsiteY67" fmla="*/ 6242 h 10084"/>
                <a:gd name="connsiteX68" fmla="*/ 8057 w 10000"/>
                <a:gd name="connsiteY68" fmla="*/ 6027 h 10084"/>
                <a:gd name="connsiteX69" fmla="*/ 8211 w 10000"/>
                <a:gd name="connsiteY69" fmla="*/ 5812 h 10084"/>
                <a:gd name="connsiteX70" fmla="*/ 8354 w 10000"/>
                <a:gd name="connsiteY70" fmla="*/ 5587 h 10084"/>
                <a:gd name="connsiteX71" fmla="*/ 8493 w 10000"/>
                <a:gd name="connsiteY71" fmla="*/ 5366 h 10084"/>
                <a:gd name="connsiteX72" fmla="*/ 8628 w 10000"/>
                <a:gd name="connsiteY72" fmla="*/ 5138 h 10084"/>
                <a:gd name="connsiteX73" fmla="*/ 8754 w 10000"/>
                <a:gd name="connsiteY73" fmla="*/ 4904 h 10084"/>
                <a:gd name="connsiteX74" fmla="*/ 8877 w 10000"/>
                <a:gd name="connsiteY74" fmla="*/ 4670 h 10084"/>
                <a:gd name="connsiteX75" fmla="*/ 9003 w 10000"/>
                <a:gd name="connsiteY75" fmla="*/ 4435 h 10084"/>
                <a:gd name="connsiteX76" fmla="*/ 9120 w 10000"/>
                <a:gd name="connsiteY76" fmla="*/ 4196 h 10084"/>
                <a:gd name="connsiteX77" fmla="*/ 9224 w 10000"/>
                <a:gd name="connsiteY77" fmla="*/ 3956 h 10084"/>
                <a:gd name="connsiteX78" fmla="*/ 9330 w 10000"/>
                <a:gd name="connsiteY78" fmla="*/ 3711 h 10084"/>
                <a:gd name="connsiteX79" fmla="*/ 9425 w 10000"/>
                <a:gd name="connsiteY79" fmla="*/ 3461 h 10084"/>
                <a:gd name="connsiteX80" fmla="*/ 9520 w 10000"/>
                <a:gd name="connsiteY80" fmla="*/ 3214 h 10084"/>
                <a:gd name="connsiteX81" fmla="*/ 9604 w 10000"/>
                <a:gd name="connsiteY81" fmla="*/ 2960 h 10084"/>
                <a:gd name="connsiteX82" fmla="*/ 9684 w 10000"/>
                <a:gd name="connsiteY82" fmla="*/ 2703 h 10084"/>
                <a:gd name="connsiteX83" fmla="*/ 9758 w 10000"/>
                <a:gd name="connsiteY83" fmla="*/ 2445 h 10084"/>
                <a:gd name="connsiteX84" fmla="*/ 9831 w 10000"/>
                <a:gd name="connsiteY84" fmla="*/ 2189 h 10084"/>
                <a:gd name="connsiteX85" fmla="*/ 9892 w 10000"/>
                <a:gd name="connsiteY85" fmla="*/ 1929 h 10084"/>
                <a:gd name="connsiteX86" fmla="*/ 9951 w 10000"/>
                <a:gd name="connsiteY86" fmla="*/ 1664 h 10084"/>
                <a:gd name="connsiteX87" fmla="*/ 10000 w 10000"/>
                <a:gd name="connsiteY87" fmla="*/ 1397 h 10084"/>
                <a:gd name="connsiteX88" fmla="*/ 6011 w 10000"/>
                <a:gd name="connsiteY88" fmla="*/ 2142 h 10084"/>
                <a:gd name="connsiteX89" fmla="*/ 2680 w 10000"/>
                <a:gd name="connsiteY89" fmla="*/ 0 h 10084"/>
                <a:gd name="connsiteX0" fmla="*/ 2680 w 10000"/>
                <a:gd name="connsiteY0" fmla="*/ 0 h 10048"/>
                <a:gd name="connsiteX1" fmla="*/ 2680 w 10000"/>
                <a:gd name="connsiteY1" fmla="*/ 0 h 10048"/>
                <a:gd name="connsiteX2" fmla="*/ 2665 w 10000"/>
                <a:gd name="connsiteY2" fmla="*/ 114 h 10048"/>
                <a:gd name="connsiteX3" fmla="*/ 2642 w 10000"/>
                <a:gd name="connsiteY3" fmla="*/ 227 h 10048"/>
                <a:gd name="connsiteX4" fmla="*/ 2621 w 10000"/>
                <a:gd name="connsiteY4" fmla="*/ 342 h 10048"/>
                <a:gd name="connsiteX5" fmla="*/ 2594 w 10000"/>
                <a:gd name="connsiteY5" fmla="*/ 450 h 10048"/>
                <a:gd name="connsiteX6" fmla="*/ 2561 w 10000"/>
                <a:gd name="connsiteY6" fmla="*/ 559 h 10048"/>
                <a:gd name="connsiteX7" fmla="*/ 2530 w 10000"/>
                <a:gd name="connsiteY7" fmla="*/ 671 h 10048"/>
                <a:gd name="connsiteX8" fmla="*/ 2502 w 10000"/>
                <a:gd name="connsiteY8" fmla="*/ 777 h 10048"/>
                <a:gd name="connsiteX9" fmla="*/ 2468 w 10000"/>
                <a:gd name="connsiteY9" fmla="*/ 887 h 10048"/>
                <a:gd name="connsiteX10" fmla="*/ 2428 w 10000"/>
                <a:gd name="connsiteY10" fmla="*/ 993 h 10048"/>
                <a:gd name="connsiteX11" fmla="*/ 2386 w 10000"/>
                <a:gd name="connsiteY11" fmla="*/ 1097 h 10048"/>
                <a:gd name="connsiteX12" fmla="*/ 2347 w 10000"/>
                <a:gd name="connsiteY12" fmla="*/ 1204 h 10048"/>
                <a:gd name="connsiteX13" fmla="*/ 2299 w 10000"/>
                <a:gd name="connsiteY13" fmla="*/ 1310 h 10048"/>
                <a:gd name="connsiteX14" fmla="*/ 2248 w 10000"/>
                <a:gd name="connsiteY14" fmla="*/ 1406 h 10048"/>
                <a:gd name="connsiteX15" fmla="*/ 2200 w 10000"/>
                <a:gd name="connsiteY15" fmla="*/ 1507 h 10048"/>
                <a:gd name="connsiteX16" fmla="*/ 2149 w 10000"/>
                <a:gd name="connsiteY16" fmla="*/ 1607 h 10048"/>
                <a:gd name="connsiteX17" fmla="*/ 2092 w 10000"/>
                <a:gd name="connsiteY17" fmla="*/ 1706 h 10048"/>
                <a:gd name="connsiteX18" fmla="*/ 2041 w 10000"/>
                <a:gd name="connsiteY18" fmla="*/ 1805 h 10048"/>
                <a:gd name="connsiteX19" fmla="*/ 1981 w 10000"/>
                <a:gd name="connsiteY19" fmla="*/ 1900 h 10048"/>
                <a:gd name="connsiteX20" fmla="*/ 1919 w 10000"/>
                <a:gd name="connsiteY20" fmla="*/ 1989 h 10048"/>
                <a:gd name="connsiteX21" fmla="*/ 1854 w 10000"/>
                <a:gd name="connsiteY21" fmla="*/ 2081 h 10048"/>
                <a:gd name="connsiteX22" fmla="*/ 1794 w 10000"/>
                <a:gd name="connsiteY22" fmla="*/ 2171 h 10048"/>
                <a:gd name="connsiteX23" fmla="*/ 1725 w 10000"/>
                <a:gd name="connsiteY23" fmla="*/ 2268 h 10048"/>
                <a:gd name="connsiteX24" fmla="*/ 1656 w 10000"/>
                <a:gd name="connsiteY24" fmla="*/ 2353 h 10048"/>
                <a:gd name="connsiteX25" fmla="*/ 1583 w 10000"/>
                <a:gd name="connsiteY25" fmla="*/ 2433 h 10048"/>
                <a:gd name="connsiteX26" fmla="*/ 1509 w 10000"/>
                <a:gd name="connsiteY26" fmla="*/ 2523 h 10048"/>
                <a:gd name="connsiteX27" fmla="*/ 1435 w 10000"/>
                <a:gd name="connsiteY27" fmla="*/ 2606 h 10048"/>
                <a:gd name="connsiteX28" fmla="*/ 1356 w 10000"/>
                <a:gd name="connsiteY28" fmla="*/ 2686 h 10048"/>
                <a:gd name="connsiteX29" fmla="*/ 1279 w 10000"/>
                <a:gd name="connsiteY29" fmla="*/ 2772 h 10048"/>
                <a:gd name="connsiteX30" fmla="*/ 1200 w 10000"/>
                <a:gd name="connsiteY30" fmla="*/ 2849 h 10048"/>
                <a:gd name="connsiteX31" fmla="*/ 1113 w 10000"/>
                <a:gd name="connsiteY31" fmla="*/ 2926 h 10048"/>
                <a:gd name="connsiteX32" fmla="*/ 1033 w 10000"/>
                <a:gd name="connsiteY32" fmla="*/ 2999 h 10048"/>
                <a:gd name="connsiteX33" fmla="*/ 946 w 10000"/>
                <a:gd name="connsiteY33" fmla="*/ 3074 h 10048"/>
                <a:gd name="connsiteX34" fmla="*/ 862 w 10000"/>
                <a:gd name="connsiteY34" fmla="*/ 3145 h 10048"/>
                <a:gd name="connsiteX35" fmla="*/ 767 w 10000"/>
                <a:gd name="connsiteY35" fmla="*/ 3216 h 10048"/>
                <a:gd name="connsiteX36" fmla="*/ 679 w 10000"/>
                <a:gd name="connsiteY36" fmla="*/ 3281 h 10048"/>
                <a:gd name="connsiteX37" fmla="*/ 586 w 10000"/>
                <a:gd name="connsiteY37" fmla="*/ 3349 h 10048"/>
                <a:gd name="connsiteX38" fmla="*/ 492 w 10000"/>
                <a:gd name="connsiteY38" fmla="*/ 3413 h 10048"/>
                <a:gd name="connsiteX39" fmla="*/ 394 w 10000"/>
                <a:gd name="connsiteY39" fmla="*/ 3473 h 10048"/>
                <a:gd name="connsiteX40" fmla="*/ 298 w 10000"/>
                <a:gd name="connsiteY40" fmla="*/ 3537 h 10048"/>
                <a:gd name="connsiteX41" fmla="*/ 203 w 10000"/>
                <a:gd name="connsiteY41" fmla="*/ 3595 h 10048"/>
                <a:gd name="connsiteX42" fmla="*/ 101 w 10000"/>
                <a:gd name="connsiteY42" fmla="*/ 3650 h 10048"/>
                <a:gd name="connsiteX43" fmla="*/ 0 w 10000"/>
                <a:gd name="connsiteY43" fmla="*/ 3704 h 10048"/>
                <a:gd name="connsiteX44" fmla="*/ 187 w 10000"/>
                <a:gd name="connsiteY44" fmla="*/ 7509 h 10048"/>
                <a:gd name="connsiteX45" fmla="*/ 3386 w 10000"/>
                <a:gd name="connsiteY45" fmla="*/ 10048 h 10048"/>
                <a:gd name="connsiteX46" fmla="*/ 3689 w 10000"/>
                <a:gd name="connsiteY46" fmla="*/ 9880 h 10048"/>
                <a:gd name="connsiteX47" fmla="*/ 3930 w 10000"/>
                <a:gd name="connsiteY47" fmla="*/ 9746 h 10048"/>
                <a:gd name="connsiteX48" fmla="*/ 4165 w 10000"/>
                <a:gd name="connsiteY48" fmla="*/ 9613 h 10048"/>
                <a:gd name="connsiteX49" fmla="*/ 4397 w 10000"/>
                <a:gd name="connsiteY49" fmla="*/ 9473 h 10048"/>
                <a:gd name="connsiteX50" fmla="*/ 4628 w 10000"/>
                <a:gd name="connsiteY50" fmla="*/ 9327 h 10048"/>
                <a:gd name="connsiteX51" fmla="*/ 4845 w 10000"/>
                <a:gd name="connsiteY51" fmla="*/ 9182 h 10048"/>
                <a:gd name="connsiteX52" fmla="*/ 5065 w 10000"/>
                <a:gd name="connsiteY52" fmla="*/ 9024 h 10048"/>
                <a:gd name="connsiteX53" fmla="*/ 5285 w 10000"/>
                <a:gd name="connsiteY53" fmla="*/ 8871 h 10048"/>
                <a:gd name="connsiteX54" fmla="*/ 5494 w 10000"/>
                <a:gd name="connsiteY54" fmla="*/ 8709 h 10048"/>
                <a:gd name="connsiteX55" fmla="*/ 5708 w 10000"/>
                <a:gd name="connsiteY55" fmla="*/ 8542 h 10048"/>
                <a:gd name="connsiteX56" fmla="*/ 5911 w 10000"/>
                <a:gd name="connsiteY56" fmla="*/ 8368 h 10048"/>
                <a:gd name="connsiteX57" fmla="*/ 6115 w 10000"/>
                <a:gd name="connsiteY57" fmla="*/ 8197 h 10048"/>
                <a:gd name="connsiteX58" fmla="*/ 6310 w 10000"/>
                <a:gd name="connsiteY58" fmla="*/ 8022 h 10048"/>
                <a:gd name="connsiteX59" fmla="*/ 6508 w 10000"/>
                <a:gd name="connsiteY59" fmla="*/ 7836 h 10048"/>
                <a:gd name="connsiteX60" fmla="*/ 6698 w 10000"/>
                <a:gd name="connsiteY60" fmla="*/ 7645 h 10048"/>
                <a:gd name="connsiteX61" fmla="*/ 6882 w 10000"/>
                <a:gd name="connsiteY61" fmla="*/ 7462 h 10048"/>
                <a:gd name="connsiteX62" fmla="*/ 7064 w 10000"/>
                <a:gd name="connsiteY62" fmla="*/ 7267 h 10048"/>
                <a:gd name="connsiteX63" fmla="*/ 7239 w 10000"/>
                <a:gd name="connsiteY63" fmla="*/ 7068 h 10048"/>
                <a:gd name="connsiteX64" fmla="*/ 7414 w 10000"/>
                <a:gd name="connsiteY64" fmla="*/ 6869 h 10048"/>
                <a:gd name="connsiteX65" fmla="*/ 7582 w 10000"/>
                <a:gd name="connsiteY65" fmla="*/ 6666 h 10048"/>
                <a:gd name="connsiteX66" fmla="*/ 7750 w 10000"/>
                <a:gd name="connsiteY66" fmla="*/ 6454 h 10048"/>
                <a:gd name="connsiteX67" fmla="*/ 7905 w 10000"/>
                <a:gd name="connsiteY67" fmla="*/ 6242 h 10048"/>
                <a:gd name="connsiteX68" fmla="*/ 8057 w 10000"/>
                <a:gd name="connsiteY68" fmla="*/ 6027 h 10048"/>
                <a:gd name="connsiteX69" fmla="*/ 8211 w 10000"/>
                <a:gd name="connsiteY69" fmla="*/ 5812 h 10048"/>
                <a:gd name="connsiteX70" fmla="*/ 8354 w 10000"/>
                <a:gd name="connsiteY70" fmla="*/ 5587 h 10048"/>
                <a:gd name="connsiteX71" fmla="*/ 8493 w 10000"/>
                <a:gd name="connsiteY71" fmla="*/ 5366 h 10048"/>
                <a:gd name="connsiteX72" fmla="*/ 8628 w 10000"/>
                <a:gd name="connsiteY72" fmla="*/ 5138 h 10048"/>
                <a:gd name="connsiteX73" fmla="*/ 8754 w 10000"/>
                <a:gd name="connsiteY73" fmla="*/ 4904 h 10048"/>
                <a:gd name="connsiteX74" fmla="*/ 8877 w 10000"/>
                <a:gd name="connsiteY74" fmla="*/ 4670 h 10048"/>
                <a:gd name="connsiteX75" fmla="*/ 9003 w 10000"/>
                <a:gd name="connsiteY75" fmla="*/ 4435 h 10048"/>
                <a:gd name="connsiteX76" fmla="*/ 9120 w 10000"/>
                <a:gd name="connsiteY76" fmla="*/ 4196 h 10048"/>
                <a:gd name="connsiteX77" fmla="*/ 9224 w 10000"/>
                <a:gd name="connsiteY77" fmla="*/ 3956 h 10048"/>
                <a:gd name="connsiteX78" fmla="*/ 9330 w 10000"/>
                <a:gd name="connsiteY78" fmla="*/ 3711 h 10048"/>
                <a:gd name="connsiteX79" fmla="*/ 9425 w 10000"/>
                <a:gd name="connsiteY79" fmla="*/ 3461 h 10048"/>
                <a:gd name="connsiteX80" fmla="*/ 9520 w 10000"/>
                <a:gd name="connsiteY80" fmla="*/ 3214 h 10048"/>
                <a:gd name="connsiteX81" fmla="*/ 9604 w 10000"/>
                <a:gd name="connsiteY81" fmla="*/ 2960 h 10048"/>
                <a:gd name="connsiteX82" fmla="*/ 9684 w 10000"/>
                <a:gd name="connsiteY82" fmla="*/ 2703 h 10048"/>
                <a:gd name="connsiteX83" fmla="*/ 9758 w 10000"/>
                <a:gd name="connsiteY83" fmla="*/ 2445 h 10048"/>
                <a:gd name="connsiteX84" fmla="*/ 9831 w 10000"/>
                <a:gd name="connsiteY84" fmla="*/ 2189 h 10048"/>
                <a:gd name="connsiteX85" fmla="*/ 9892 w 10000"/>
                <a:gd name="connsiteY85" fmla="*/ 1929 h 10048"/>
                <a:gd name="connsiteX86" fmla="*/ 9951 w 10000"/>
                <a:gd name="connsiteY86" fmla="*/ 1664 h 10048"/>
                <a:gd name="connsiteX87" fmla="*/ 10000 w 10000"/>
                <a:gd name="connsiteY87" fmla="*/ 1397 h 10048"/>
                <a:gd name="connsiteX88" fmla="*/ 6011 w 10000"/>
                <a:gd name="connsiteY88" fmla="*/ 2142 h 10048"/>
                <a:gd name="connsiteX89" fmla="*/ 2680 w 10000"/>
                <a:gd name="connsiteY89" fmla="*/ 0 h 10048"/>
                <a:gd name="connsiteX0" fmla="*/ 2642 w 10000"/>
                <a:gd name="connsiteY0" fmla="*/ 0 h 11448"/>
                <a:gd name="connsiteX1" fmla="*/ 2680 w 10000"/>
                <a:gd name="connsiteY1" fmla="*/ 1400 h 11448"/>
                <a:gd name="connsiteX2" fmla="*/ 2665 w 10000"/>
                <a:gd name="connsiteY2" fmla="*/ 1514 h 11448"/>
                <a:gd name="connsiteX3" fmla="*/ 2642 w 10000"/>
                <a:gd name="connsiteY3" fmla="*/ 1627 h 11448"/>
                <a:gd name="connsiteX4" fmla="*/ 2621 w 10000"/>
                <a:gd name="connsiteY4" fmla="*/ 1742 h 11448"/>
                <a:gd name="connsiteX5" fmla="*/ 2594 w 10000"/>
                <a:gd name="connsiteY5" fmla="*/ 1850 h 11448"/>
                <a:gd name="connsiteX6" fmla="*/ 2561 w 10000"/>
                <a:gd name="connsiteY6" fmla="*/ 1959 h 11448"/>
                <a:gd name="connsiteX7" fmla="*/ 2530 w 10000"/>
                <a:gd name="connsiteY7" fmla="*/ 2071 h 11448"/>
                <a:gd name="connsiteX8" fmla="*/ 2502 w 10000"/>
                <a:gd name="connsiteY8" fmla="*/ 2177 h 11448"/>
                <a:gd name="connsiteX9" fmla="*/ 2468 w 10000"/>
                <a:gd name="connsiteY9" fmla="*/ 2287 h 11448"/>
                <a:gd name="connsiteX10" fmla="*/ 2428 w 10000"/>
                <a:gd name="connsiteY10" fmla="*/ 2393 h 11448"/>
                <a:gd name="connsiteX11" fmla="*/ 2386 w 10000"/>
                <a:gd name="connsiteY11" fmla="*/ 2497 h 11448"/>
                <a:gd name="connsiteX12" fmla="*/ 2347 w 10000"/>
                <a:gd name="connsiteY12" fmla="*/ 2604 h 11448"/>
                <a:gd name="connsiteX13" fmla="*/ 2299 w 10000"/>
                <a:gd name="connsiteY13" fmla="*/ 2710 h 11448"/>
                <a:gd name="connsiteX14" fmla="*/ 2248 w 10000"/>
                <a:gd name="connsiteY14" fmla="*/ 2806 h 11448"/>
                <a:gd name="connsiteX15" fmla="*/ 2200 w 10000"/>
                <a:gd name="connsiteY15" fmla="*/ 2907 h 11448"/>
                <a:gd name="connsiteX16" fmla="*/ 2149 w 10000"/>
                <a:gd name="connsiteY16" fmla="*/ 3007 h 11448"/>
                <a:gd name="connsiteX17" fmla="*/ 2092 w 10000"/>
                <a:gd name="connsiteY17" fmla="*/ 3106 h 11448"/>
                <a:gd name="connsiteX18" fmla="*/ 2041 w 10000"/>
                <a:gd name="connsiteY18" fmla="*/ 3205 h 11448"/>
                <a:gd name="connsiteX19" fmla="*/ 1981 w 10000"/>
                <a:gd name="connsiteY19" fmla="*/ 3300 h 11448"/>
                <a:gd name="connsiteX20" fmla="*/ 1919 w 10000"/>
                <a:gd name="connsiteY20" fmla="*/ 3389 h 11448"/>
                <a:gd name="connsiteX21" fmla="*/ 1854 w 10000"/>
                <a:gd name="connsiteY21" fmla="*/ 3481 h 11448"/>
                <a:gd name="connsiteX22" fmla="*/ 1794 w 10000"/>
                <a:gd name="connsiteY22" fmla="*/ 3571 h 11448"/>
                <a:gd name="connsiteX23" fmla="*/ 1725 w 10000"/>
                <a:gd name="connsiteY23" fmla="*/ 3668 h 11448"/>
                <a:gd name="connsiteX24" fmla="*/ 1656 w 10000"/>
                <a:gd name="connsiteY24" fmla="*/ 3753 h 11448"/>
                <a:gd name="connsiteX25" fmla="*/ 1583 w 10000"/>
                <a:gd name="connsiteY25" fmla="*/ 3833 h 11448"/>
                <a:gd name="connsiteX26" fmla="*/ 1509 w 10000"/>
                <a:gd name="connsiteY26" fmla="*/ 3923 h 11448"/>
                <a:gd name="connsiteX27" fmla="*/ 1435 w 10000"/>
                <a:gd name="connsiteY27" fmla="*/ 4006 h 11448"/>
                <a:gd name="connsiteX28" fmla="*/ 1356 w 10000"/>
                <a:gd name="connsiteY28" fmla="*/ 4086 h 11448"/>
                <a:gd name="connsiteX29" fmla="*/ 1279 w 10000"/>
                <a:gd name="connsiteY29" fmla="*/ 4172 h 11448"/>
                <a:gd name="connsiteX30" fmla="*/ 1200 w 10000"/>
                <a:gd name="connsiteY30" fmla="*/ 4249 h 11448"/>
                <a:gd name="connsiteX31" fmla="*/ 1113 w 10000"/>
                <a:gd name="connsiteY31" fmla="*/ 4326 h 11448"/>
                <a:gd name="connsiteX32" fmla="*/ 1033 w 10000"/>
                <a:gd name="connsiteY32" fmla="*/ 4399 h 11448"/>
                <a:gd name="connsiteX33" fmla="*/ 946 w 10000"/>
                <a:gd name="connsiteY33" fmla="*/ 4474 h 11448"/>
                <a:gd name="connsiteX34" fmla="*/ 862 w 10000"/>
                <a:gd name="connsiteY34" fmla="*/ 4545 h 11448"/>
                <a:gd name="connsiteX35" fmla="*/ 767 w 10000"/>
                <a:gd name="connsiteY35" fmla="*/ 4616 h 11448"/>
                <a:gd name="connsiteX36" fmla="*/ 679 w 10000"/>
                <a:gd name="connsiteY36" fmla="*/ 4681 h 11448"/>
                <a:gd name="connsiteX37" fmla="*/ 586 w 10000"/>
                <a:gd name="connsiteY37" fmla="*/ 4749 h 11448"/>
                <a:gd name="connsiteX38" fmla="*/ 492 w 10000"/>
                <a:gd name="connsiteY38" fmla="*/ 4813 h 11448"/>
                <a:gd name="connsiteX39" fmla="*/ 394 w 10000"/>
                <a:gd name="connsiteY39" fmla="*/ 4873 h 11448"/>
                <a:gd name="connsiteX40" fmla="*/ 298 w 10000"/>
                <a:gd name="connsiteY40" fmla="*/ 4937 h 11448"/>
                <a:gd name="connsiteX41" fmla="*/ 203 w 10000"/>
                <a:gd name="connsiteY41" fmla="*/ 4995 h 11448"/>
                <a:gd name="connsiteX42" fmla="*/ 101 w 10000"/>
                <a:gd name="connsiteY42" fmla="*/ 5050 h 11448"/>
                <a:gd name="connsiteX43" fmla="*/ 0 w 10000"/>
                <a:gd name="connsiteY43" fmla="*/ 5104 h 11448"/>
                <a:gd name="connsiteX44" fmla="*/ 187 w 10000"/>
                <a:gd name="connsiteY44" fmla="*/ 8909 h 11448"/>
                <a:gd name="connsiteX45" fmla="*/ 3386 w 10000"/>
                <a:gd name="connsiteY45" fmla="*/ 11448 h 11448"/>
                <a:gd name="connsiteX46" fmla="*/ 3689 w 10000"/>
                <a:gd name="connsiteY46" fmla="*/ 11280 h 11448"/>
                <a:gd name="connsiteX47" fmla="*/ 3930 w 10000"/>
                <a:gd name="connsiteY47" fmla="*/ 11146 h 11448"/>
                <a:gd name="connsiteX48" fmla="*/ 4165 w 10000"/>
                <a:gd name="connsiteY48" fmla="*/ 11013 h 11448"/>
                <a:gd name="connsiteX49" fmla="*/ 4397 w 10000"/>
                <a:gd name="connsiteY49" fmla="*/ 10873 h 11448"/>
                <a:gd name="connsiteX50" fmla="*/ 4628 w 10000"/>
                <a:gd name="connsiteY50" fmla="*/ 10727 h 11448"/>
                <a:gd name="connsiteX51" fmla="*/ 4845 w 10000"/>
                <a:gd name="connsiteY51" fmla="*/ 10582 h 11448"/>
                <a:gd name="connsiteX52" fmla="*/ 5065 w 10000"/>
                <a:gd name="connsiteY52" fmla="*/ 10424 h 11448"/>
                <a:gd name="connsiteX53" fmla="*/ 5285 w 10000"/>
                <a:gd name="connsiteY53" fmla="*/ 10271 h 11448"/>
                <a:gd name="connsiteX54" fmla="*/ 5494 w 10000"/>
                <a:gd name="connsiteY54" fmla="*/ 10109 h 11448"/>
                <a:gd name="connsiteX55" fmla="*/ 5708 w 10000"/>
                <a:gd name="connsiteY55" fmla="*/ 9942 h 11448"/>
                <a:gd name="connsiteX56" fmla="*/ 5911 w 10000"/>
                <a:gd name="connsiteY56" fmla="*/ 9768 h 11448"/>
                <a:gd name="connsiteX57" fmla="*/ 6115 w 10000"/>
                <a:gd name="connsiteY57" fmla="*/ 9597 h 11448"/>
                <a:gd name="connsiteX58" fmla="*/ 6310 w 10000"/>
                <a:gd name="connsiteY58" fmla="*/ 9422 h 11448"/>
                <a:gd name="connsiteX59" fmla="*/ 6508 w 10000"/>
                <a:gd name="connsiteY59" fmla="*/ 9236 h 11448"/>
                <a:gd name="connsiteX60" fmla="*/ 6698 w 10000"/>
                <a:gd name="connsiteY60" fmla="*/ 9045 h 11448"/>
                <a:gd name="connsiteX61" fmla="*/ 6882 w 10000"/>
                <a:gd name="connsiteY61" fmla="*/ 8862 h 11448"/>
                <a:gd name="connsiteX62" fmla="*/ 7064 w 10000"/>
                <a:gd name="connsiteY62" fmla="*/ 8667 h 11448"/>
                <a:gd name="connsiteX63" fmla="*/ 7239 w 10000"/>
                <a:gd name="connsiteY63" fmla="*/ 8468 h 11448"/>
                <a:gd name="connsiteX64" fmla="*/ 7414 w 10000"/>
                <a:gd name="connsiteY64" fmla="*/ 8269 h 11448"/>
                <a:gd name="connsiteX65" fmla="*/ 7582 w 10000"/>
                <a:gd name="connsiteY65" fmla="*/ 8066 h 11448"/>
                <a:gd name="connsiteX66" fmla="*/ 7750 w 10000"/>
                <a:gd name="connsiteY66" fmla="*/ 7854 h 11448"/>
                <a:gd name="connsiteX67" fmla="*/ 7905 w 10000"/>
                <a:gd name="connsiteY67" fmla="*/ 7642 h 11448"/>
                <a:gd name="connsiteX68" fmla="*/ 8057 w 10000"/>
                <a:gd name="connsiteY68" fmla="*/ 7427 h 11448"/>
                <a:gd name="connsiteX69" fmla="*/ 8211 w 10000"/>
                <a:gd name="connsiteY69" fmla="*/ 7212 h 11448"/>
                <a:gd name="connsiteX70" fmla="*/ 8354 w 10000"/>
                <a:gd name="connsiteY70" fmla="*/ 6987 h 11448"/>
                <a:gd name="connsiteX71" fmla="*/ 8493 w 10000"/>
                <a:gd name="connsiteY71" fmla="*/ 6766 h 11448"/>
                <a:gd name="connsiteX72" fmla="*/ 8628 w 10000"/>
                <a:gd name="connsiteY72" fmla="*/ 6538 h 11448"/>
                <a:gd name="connsiteX73" fmla="*/ 8754 w 10000"/>
                <a:gd name="connsiteY73" fmla="*/ 6304 h 11448"/>
                <a:gd name="connsiteX74" fmla="*/ 8877 w 10000"/>
                <a:gd name="connsiteY74" fmla="*/ 6070 h 11448"/>
                <a:gd name="connsiteX75" fmla="*/ 9003 w 10000"/>
                <a:gd name="connsiteY75" fmla="*/ 5835 h 11448"/>
                <a:gd name="connsiteX76" fmla="*/ 9120 w 10000"/>
                <a:gd name="connsiteY76" fmla="*/ 5596 h 11448"/>
                <a:gd name="connsiteX77" fmla="*/ 9224 w 10000"/>
                <a:gd name="connsiteY77" fmla="*/ 5356 h 11448"/>
                <a:gd name="connsiteX78" fmla="*/ 9330 w 10000"/>
                <a:gd name="connsiteY78" fmla="*/ 5111 h 11448"/>
                <a:gd name="connsiteX79" fmla="*/ 9425 w 10000"/>
                <a:gd name="connsiteY79" fmla="*/ 4861 h 11448"/>
                <a:gd name="connsiteX80" fmla="*/ 9520 w 10000"/>
                <a:gd name="connsiteY80" fmla="*/ 4614 h 11448"/>
                <a:gd name="connsiteX81" fmla="*/ 9604 w 10000"/>
                <a:gd name="connsiteY81" fmla="*/ 4360 h 11448"/>
                <a:gd name="connsiteX82" fmla="*/ 9684 w 10000"/>
                <a:gd name="connsiteY82" fmla="*/ 4103 h 11448"/>
                <a:gd name="connsiteX83" fmla="*/ 9758 w 10000"/>
                <a:gd name="connsiteY83" fmla="*/ 3845 h 11448"/>
                <a:gd name="connsiteX84" fmla="*/ 9831 w 10000"/>
                <a:gd name="connsiteY84" fmla="*/ 3589 h 11448"/>
                <a:gd name="connsiteX85" fmla="*/ 9892 w 10000"/>
                <a:gd name="connsiteY85" fmla="*/ 3329 h 11448"/>
                <a:gd name="connsiteX86" fmla="*/ 9951 w 10000"/>
                <a:gd name="connsiteY86" fmla="*/ 3064 h 11448"/>
                <a:gd name="connsiteX87" fmla="*/ 10000 w 10000"/>
                <a:gd name="connsiteY87" fmla="*/ 2797 h 11448"/>
                <a:gd name="connsiteX88" fmla="*/ 6011 w 10000"/>
                <a:gd name="connsiteY88" fmla="*/ 3542 h 11448"/>
                <a:gd name="connsiteX89" fmla="*/ 2642 w 10000"/>
                <a:gd name="connsiteY89" fmla="*/ 0 h 11448"/>
                <a:gd name="connsiteX0" fmla="*/ 2705 w 10000"/>
                <a:gd name="connsiteY0" fmla="*/ 0 h 11460"/>
                <a:gd name="connsiteX1" fmla="*/ 2680 w 10000"/>
                <a:gd name="connsiteY1" fmla="*/ 1412 h 11460"/>
                <a:gd name="connsiteX2" fmla="*/ 2665 w 10000"/>
                <a:gd name="connsiteY2" fmla="*/ 1526 h 11460"/>
                <a:gd name="connsiteX3" fmla="*/ 2642 w 10000"/>
                <a:gd name="connsiteY3" fmla="*/ 1639 h 11460"/>
                <a:gd name="connsiteX4" fmla="*/ 2621 w 10000"/>
                <a:gd name="connsiteY4" fmla="*/ 1754 h 11460"/>
                <a:gd name="connsiteX5" fmla="*/ 2594 w 10000"/>
                <a:gd name="connsiteY5" fmla="*/ 1862 h 11460"/>
                <a:gd name="connsiteX6" fmla="*/ 2561 w 10000"/>
                <a:gd name="connsiteY6" fmla="*/ 1971 h 11460"/>
                <a:gd name="connsiteX7" fmla="*/ 2530 w 10000"/>
                <a:gd name="connsiteY7" fmla="*/ 2083 h 11460"/>
                <a:gd name="connsiteX8" fmla="*/ 2502 w 10000"/>
                <a:gd name="connsiteY8" fmla="*/ 2189 h 11460"/>
                <a:gd name="connsiteX9" fmla="*/ 2468 w 10000"/>
                <a:gd name="connsiteY9" fmla="*/ 2299 h 11460"/>
                <a:gd name="connsiteX10" fmla="*/ 2428 w 10000"/>
                <a:gd name="connsiteY10" fmla="*/ 2405 h 11460"/>
                <a:gd name="connsiteX11" fmla="*/ 2386 w 10000"/>
                <a:gd name="connsiteY11" fmla="*/ 2509 h 11460"/>
                <a:gd name="connsiteX12" fmla="*/ 2347 w 10000"/>
                <a:gd name="connsiteY12" fmla="*/ 2616 h 11460"/>
                <a:gd name="connsiteX13" fmla="*/ 2299 w 10000"/>
                <a:gd name="connsiteY13" fmla="*/ 2722 h 11460"/>
                <a:gd name="connsiteX14" fmla="*/ 2248 w 10000"/>
                <a:gd name="connsiteY14" fmla="*/ 2818 h 11460"/>
                <a:gd name="connsiteX15" fmla="*/ 2200 w 10000"/>
                <a:gd name="connsiteY15" fmla="*/ 2919 h 11460"/>
                <a:gd name="connsiteX16" fmla="*/ 2149 w 10000"/>
                <a:gd name="connsiteY16" fmla="*/ 3019 h 11460"/>
                <a:gd name="connsiteX17" fmla="*/ 2092 w 10000"/>
                <a:gd name="connsiteY17" fmla="*/ 3118 h 11460"/>
                <a:gd name="connsiteX18" fmla="*/ 2041 w 10000"/>
                <a:gd name="connsiteY18" fmla="*/ 3217 h 11460"/>
                <a:gd name="connsiteX19" fmla="*/ 1981 w 10000"/>
                <a:gd name="connsiteY19" fmla="*/ 3312 h 11460"/>
                <a:gd name="connsiteX20" fmla="*/ 1919 w 10000"/>
                <a:gd name="connsiteY20" fmla="*/ 3401 h 11460"/>
                <a:gd name="connsiteX21" fmla="*/ 1854 w 10000"/>
                <a:gd name="connsiteY21" fmla="*/ 3493 h 11460"/>
                <a:gd name="connsiteX22" fmla="*/ 1794 w 10000"/>
                <a:gd name="connsiteY22" fmla="*/ 3583 h 11460"/>
                <a:gd name="connsiteX23" fmla="*/ 1725 w 10000"/>
                <a:gd name="connsiteY23" fmla="*/ 3680 h 11460"/>
                <a:gd name="connsiteX24" fmla="*/ 1656 w 10000"/>
                <a:gd name="connsiteY24" fmla="*/ 3765 h 11460"/>
                <a:gd name="connsiteX25" fmla="*/ 1583 w 10000"/>
                <a:gd name="connsiteY25" fmla="*/ 3845 h 11460"/>
                <a:gd name="connsiteX26" fmla="*/ 1509 w 10000"/>
                <a:gd name="connsiteY26" fmla="*/ 3935 h 11460"/>
                <a:gd name="connsiteX27" fmla="*/ 1435 w 10000"/>
                <a:gd name="connsiteY27" fmla="*/ 4018 h 11460"/>
                <a:gd name="connsiteX28" fmla="*/ 1356 w 10000"/>
                <a:gd name="connsiteY28" fmla="*/ 4098 h 11460"/>
                <a:gd name="connsiteX29" fmla="*/ 1279 w 10000"/>
                <a:gd name="connsiteY29" fmla="*/ 4184 h 11460"/>
                <a:gd name="connsiteX30" fmla="*/ 1200 w 10000"/>
                <a:gd name="connsiteY30" fmla="*/ 4261 h 11460"/>
                <a:gd name="connsiteX31" fmla="*/ 1113 w 10000"/>
                <a:gd name="connsiteY31" fmla="*/ 4338 h 11460"/>
                <a:gd name="connsiteX32" fmla="*/ 1033 w 10000"/>
                <a:gd name="connsiteY32" fmla="*/ 4411 h 11460"/>
                <a:gd name="connsiteX33" fmla="*/ 946 w 10000"/>
                <a:gd name="connsiteY33" fmla="*/ 4486 h 11460"/>
                <a:gd name="connsiteX34" fmla="*/ 862 w 10000"/>
                <a:gd name="connsiteY34" fmla="*/ 4557 h 11460"/>
                <a:gd name="connsiteX35" fmla="*/ 767 w 10000"/>
                <a:gd name="connsiteY35" fmla="*/ 4628 h 11460"/>
                <a:gd name="connsiteX36" fmla="*/ 679 w 10000"/>
                <a:gd name="connsiteY36" fmla="*/ 4693 h 11460"/>
                <a:gd name="connsiteX37" fmla="*/ 586 w 10000"/>
                <a:gd name="connsiteY37" fmla="*/ 4761 h 11460"/>
                <a:gd name="connsiteX38" fmla="*/ 492 w 10000"/>
                <a:gd name="connsiteY38" fmla="*/ 4825 h 11460"/>
                <a:gd name="connsiteX39" fmla="*/ 394 w 10000"/>
                <a:gd name="connsiteY39" fmla="*/ 4885 h 11460"/>
                <a:gd name="connsiteX40" fmla="*/ 298 w 10000"/>
                <a:gd name="connsiteY40" fmla="*/ 4949 h 11460"/>
                <a:gd name="connsiteX41" fmla="*/ 203 w 10000"/>
                <a:gd name="connsiteY41" fmla="*/ 5007 h 11460"/>
                <a:gd name="connsiteX42" fmla="*/ 101 w 10000"/>
                <a:gd name="connsiteY42" fmla="*/ 5062 h 11460"/>
                <a:gd name="connsiteX43" fmla="*/ 0 w 10000"/>
                <a:gd name="connsiteY43" fmla="*/ 5116 h 11460"/>
                <a:gd name="connsiteX44" fmla="*/ 187 w 10000"/>
                <a:gd name="connsiteY44" fmla="*/ 8921 h 11460"/>
                <a:gd name="connsiteX45" fmla="*/ 3386 w 10000"/>
                <a:gd name="connsiteY45" fmla="*/ 11460 h 11460"/>
                <a:gd name="connsiteX46" fmla="*/ 3689 w 10000"/>
                <a:gd name="connsiteY46" fmla="*/ 11292 h 11460"/>
                <a:gd name="connsiteX47" fmla="*/ 3930 w 10000"/>
                <a:gd name="connsiteY47" fmla="*/ 11158 h 11460"/>
                <a:gd name="connsiteX48" fmla="*/ 4165 w 10000"/>
                <a:gd name="connsiteY48" fmla="*/ 11025 h 11460"/>
                <a:gd name="connsiteX49" fmla="*/ 4397 w 10000"/>
                <a:gd name="connsiteY49" fmla="*/ 10885 h 11460"/>
                <a:gd name="connsiteX50" fmla="*/ 4628 w 10000"/>
                <a:gd name="connsiteY50" fmla="*/ 10739 h 11460"/>
                <a:gd name="connsiteX51" fmla="*/ 4845 w 10000"/>
                <a:gd name="connsiteY51" fmla="*/ 10594 h 11460"/>
                <a:gd name="connsiteX52" fmla="*/ 5065 w 10000"/>
                <a:gd name="connsiteY52" fmla="*/ 10436 h 11460"/>
                <a:gd name="connsiteX53" fmla="*/ 5285 w 10000"/>
                <a:gd name="connsiteY53" fmla="*/ 10283 h 11460"/>
                <a:gd name="connsiteX54" fmla="*/ 5494 w 10000"/>
                <a:gd name="connsiteY54" fmla="*/ 10121 h 11460"/>
                <a:gd name="connsiteX55" fmla="*/ 5708 w 10000"/>
                <a:gd name="connsiteY55" fmla="*/ 9954 h 11460"/>
                <a:gd name="connsiteX56" fmla="*/ 5911 w 10000"/>
                <a:gd name="connsiteY56" fmla="*/ 9780 h 11460"/>
                <a:gd name="connsiteX57" fmla="*/ 6115 w 10000"/>
                <a:gd name="connsiteY57" fmla="*/ 9609 h 11460"/>
                <a:gd name="connsiteX58" fmla="*/ 6310 w 10000"/>
                <a:gd name="connsiteY58" fmla="*/ 9434 h 11460"/>
                <a:gd name="connsiteX59" fmla="*/ 6508 w 10000"/>
                <a:gd name="connsiteY59" fmla="*/ 9248 h 11460"/>
                <a:gd name="connsiteX60" fmla="*/ 6698 w 10000"/>
                <a:gd name="connsiteY60" fmla="*/ 9057 h 11460"/>
                <a:gd name="connsiteX61" fmla="*/ 6882 w 10000"/>
                <a:gd name="connsiteY61" fmla="*/ 8874 h 11460"/>
                <a:gd name="connsiteX62" fmla="*/ 7064 w 10000"/>
                <a:gd name="connsiteY62" fmla="*/ 8679 h 11460"/>
                <a:gd name="connsiteX63" fmla="*/ 7239 w 10000"/>
                <a:gd name="connsiteY63" fmla="*/ 8480 h 11460"/>
                <a:gd name="connsiteX64" fmla="*/ 7414 w 10000"/>
                <a:gd name="connsiteY64" fmla="*/ 8281 h 11460"/>
                <a:gd name="connsiteX65" fmla="*/ 7582 w 10000"/>
                <a:gd name="connsiteY65" fmla="*/ 8078 h 11460"/>
                <a:gd name="connsiteX66" fmla="*/ 7750 w 10000"/>
                <a:gd name="connsiteY66" fmla="*/ 7866 h 11460"/>
                <a:gd name="connsiteX67" fmla="*/ 7905 w 10000"/>
                <a:gd name="connsiteY67" fmla="*/ 7654 h 11460"/>
                <a:gd name="connsiteX68" fmla="*/ 8057 w 10000"/>
                <a:gd name="connsiteY68" fmla="*/ 7439 h 11460"/>
                <a:gd name="connsiteX69" fmla="*/ 8211 w 10000"/>
                <a:gd name="connsiteY69" fmla="*/ 7224 h 11460"/>
                <a:gd name="connsiteX70" fmla="*/ 8354 w 10000"/>
                <a:gd name="connsiteY70" fmla="*/ 6999 h 11460"/>
                <a:gd name="connsiteX71" fmla="*/ 8493 w 10000"/>
                <a:gd name="connsiteY71" fmla="*/ 6778 h 11460"/>
                <a:gd name="connsiteX72" fmla="*/ 8628 w 10000"/>
                <a:gd name="connsiteY72" fmla="*/ 6550 h 11460"/>
                <a:gd name="connsiteX73" fmla="*/ 8754 w 10000"/>
                <a:gd name="connsiteY73" fmla="*/ 6316 h 11460"/>
                <a:gd name="connsiteX74" fmla="*/ 8877 w 10000"/>
                <a:gd name="connsiteY74" fmla="*/ 6082 h 11460"/>
                <a:gd name="connsiteX75" fmla="*/ 9003 w 10000"/>
                <a:gd name="connsiteY75" fmla="*/ 5847 h 11460"/>
                <a:gd name="connsiteX76" fmla="*/ 9120 w 10000"/>
                <a:gd name="connsiteY76" fmla="*/ 5608 h 11460"/>
                <a:gd name="connsiteX77" fmla="*/ 9224 w 10000"/>
                <a:gd name="connsiteY77" fmla="*/ 5368 h 11460"/>
                <a:gd name="connsiteX78" fmla="*/ 9330 w 10000"/>
                <a:gd name="connsiteY78" fmla="*/ 5123 h 11460"/>
                <a:gd name="connsiteX79" fmla="*/ 9425 w 10000"/>
                <a:gd name="connsiteY79" fmla="*/ 4873 h 11460"/>
                <a:gd name="connsiteX80" fmla="*/ 9520 w 10000"/>
                <a:gd name="connsiteY80" fmla="*/ 4626 h 11460"/>
                <a:gd name="connsiteX81" fmla="*/ 9604 w 10000"/>
                <a:gd name="connsiteY81" fmla="*/ 4372 h 11460"/>
                <a:gd name="connsiteX82" fmla="*/ 9684 w 10000"/>
                <a:gd name="connsiteY82" fmla="*/ 4115 h 11460"/>
                <a:gd name="connsiteX83" fmla="*/ 9758 w 10000"/>
                <a:gd name="connsiteY83" fmla="*/ 3857 h 11460"/>
                <a:gd name="connsiteX84" fmla="*/ 9831 w 10000"/>
                <a:gd name="connsiteY84" fmla="*/ 3601 h 11460"/>
                <a:gd name="connsiteX85" fmla="*/ 9892 w 10000"/>
                <a:gd name="connsiteY85" fmla="*/ 3341 h 11460"/>
                <a:gd name="connsiteX86" fmla="*/ 9951 w 10000"/>
                <a:gd name="connsiteY86" fmla="*/ 3076 h 11460"/>
                <a:gd name="connsiteX87" fmla="*/ 10000 w 10000"/>
                <a:gd name="connsiteY87" fmla="*/ 2809 h 11460"/>
                <a:gd name="connsiteX88" fmla="*/ 6011 w 10000"/>
                <a:gd name="connsiteY88" fmla="*/ 3554 h 11460"/>
                <a:gd name="connsiteX89" fmla="*/ 2705 w 10000"/>
                <a:gd name="connsiteY89" fmla="*/ 0 h 11460"/>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011 w 10000"/>
                <a:gd name="connsiteY88" fmla="*/ 3566 h 11472"/>
                <a:gd name="connsiteX89" fmla="*/ 2667 w 10000"/>
                <a:gd name="connsiteY89" fmla="*/ 0 h 11472"/>
                <a:gd name="connsiteX0" fmla="*/ 2667 w 10000"/>
                <a:gd name="connsiteY0" fmla="*/ 0 h 11472"/>
                <a:gd name="connsiteX1" fmla="*/ 2680 w 10000"/>
                <a:gd name="connsiteY1" fmla="*/ 1424 h 11472"/>
                <a:gd name="connsiteX2" fmla="*/ 2665 w 10000"/>
                <a:gd name="connsiteY2" fmla="*/ 1538 h 11472"/>
                <a:gd name="connsiteX3" fmla="*/ 2642 w 10000"/>
                <a:gd name="connsiteY3" fmla="*/ 1651 h 11472"/>
                <a:gd name="connsiteX4" fmla="*/ 2621 w 10000"/>
                <a:gd name="connsiteY4" fmla="*/ 1766 h 11472"/>
                <a:gd name="connsiteX5" fmla="*/ 2594 w 10000"/>
                <a:gd name="connsiteY5" fmla="*/ 1874 h 11472"/>
                <a:gd name="connsiteX6" fmla="*/ 2561 w 10000"/>
                <a:gd name="connsiteY6" fmla="*/ 1983 h 11472"/>
                <a:gd name="connsiteX7" fmla="*/ 2530 w 10000"/>
                <a:gd name="connsiteY7" fmla="*/ 2095 h 11472"/>
                <a:gd name="connsiteX8" fmla="*/ 2502 w 10000"/>
                <a:gd name="connsiteY8" fmla="*/ 2201 h 11472"/>
                <a:gd name="connsiteX9" fmla="*/ 2468 w 10000"/>
                <a:gd name="connsiteY9" fmla="*/ 2311 h 11472"/>
                <a:gd name="connsiteX10" fmla="*/ 2428 w 10000"/>
                <a:gd name="connsiteY10" fmla="*/ 2417 h 11472"/>
                <a:gd name="connsiteX11" fmla="*/ 2386 w 10000"/>
                <a:gd name="connsiteY11" fmla="*/ 2521 h 11472"/>
                <a:gd name="connsiteX12" fmla="*/ 2347 w 10000"/>
                <a:gd name="connsiteY12" fmla="*/ 2628 h 11472"/>
                <a:gd name="connsiteX13" fmla="*/ 2299 w 10000"/>
                <a:gd name="connsiteY13" fmla="*/ 2734 h 11472"/>
                <a:gd name="connsiteX14" fmla="*/ 2248 w 10000"/>
                <a:gd name="connsiteY14" fmla="*/ 2830 h 11472"/>
                <a:gd name="connsiteX15" fmla="*/ 2200 w 10000"/>
                <a:gd name="connsiteY15" fmla="*/ 2931 h 11472"/>
                <a:gd name="connsiteX16" fmla="*/ 2149 w 10000"/>
                <a:gd name="connsiteY16" fmla="*/ 3031 h 11472"/>
                <a:gd name="connsiteX17" fmla="*/ 2092 w 10000"/>
                <a:gd name="connsiteY17" fmla="*/ 3130 h 11472"/>
                <a:gd name="connsiteX18" fmla="*/ 2041 w 10000"/>
                <a:gd name="connsiteY18" fmla="*/ 3229 h 11472"/>
                <a:gd name="connsiteX19" fmla="*/ 1981 w 10000"/>
                <a:gd name="connsiteY19" fmla="*/ 3324 h 11472"/>
                <a:gd name="connsiteX20" fmla="*/ 1919 w 10000"/>
                <a:gd name="connsiteY20" fmla="*/ 3413 h 11472"/>
                <a:gd name="connsiteX21" fmla="*/ 1854 w 10000"/>
                <a:gd name="connsiteY21" fmla="*/ 3505 h 11472"/>
                <a:gd name="connsiteX22" fmla="*/ 1794 w 10000"/>
                <a:gd name="connsiteY22" fmla="*/ 3595 h 11472"/>
                <a:gd name="connsiteX23" fmla="*/ 1725 w 10000"/>
                <a:gd name="connsiteY23" fmla="*/ 3692 h 11472"/>
                <a:gd name="connsiteX24" fmla="*/ 1656 w 10000"/>
                <a:gd name="connsiteY24" fmla="*/ 3777 h 11472"/>
                <a:gd name="connsiteX25" fmla="*/ 1583 w 10000"/>
                <a:gd name="connsiteY25" fmla="*/ 3857 h 11472"/>
                <a:gd name="connsiteX26" fmla="*/ 1509 w 10000"/>
                <a:gd name="connsiteY26" fmla="*/ 3947 h 11472"/>
                <a:gd name="connsiteX27" fmla="*/ 1435 w 10000"/>
                <a:gd name="connsiteY27" fmla="*/ 4030 h 11472"/>
                <a:gd name="connsiteX28" fmla="*/ 1356 w 10000"/>
                <a:gd name="connsiteY28" fmla="*/ 4110 h 11472"/>
                <a:gd name="connsiteX29" fmla="*/ 1279 w 10000"/>
                <a:gd name="connsiteY29" fmla="*/ 4196 h 11472"/>
                <a:gd name="connsiteX30" fmla="*/ 1200 w 10000"/>
                <a:gd name="connsiteY30" fmla="*/ 4273 h 11472"/>
                <a:gd name="connsiteX31" fmla="*/ 1113 w 10000"/>
                <a:gd name="connsiteY31" fmla="*/ 4350 h 11472"/>
                <a:gd name="connsiteX32" fmla="*/ 1033 w 10000"/>
                <a:gd name="connsiteY32" fmla="*/ 4423 h 11472"/>
                <a:gd name="connsiteX33" fmla="*/ 946 w 10000"/>
                <a:gd name="connsiteY33" fmla="*/ 4498 h 11472"/>
                <a:gd name="connsiteX34" fmla="*/ 862 w 10000"/>
                <a:gd name="connsiteY34" fmla="*/ 4569 h 11472"/>
                <a:gd name="connsiteX35" fmla="*/ 767 w 10000"/>
                <a:gd name="connsiteY35" fmla="*/ 4640 h 11472"/>
                <a:gd name="connsiteX36" fmla="*/ 679 w 10000"/>
                <a:gd name="connsiteY36" fmla="*/ 4705 h 11472"/>
                <a:gd name="connsiteX37" fmla="*/ 586 w 10000"/>
                <a:gd name="connsiteY37" fmla="*/ 4773 h 11472"/>
                <a:gd name="connsiteX38" fmla="*/ 492 w 10000"/>
                <a:gd name="connsiteY38" fmla="*/ 4837 h 11472"/>
                <a:gd name="connsiteX39" fmla="*/ 394 w 10000"/>
                <a:gd name="connsiteY39" fmla="*/ 4897 h 11472"/>
                <a:gd name="connsiteX40" fmla="*/ 298 w 10000"/>
                <a:gd name="connsiteY40" fmla="*/ 4961 h 11472"/>
                <a:gd name="connsiteX41" fmla="*/ 203 w 10000"/>
                <a:gd name="connsiteY41" fmla="*/ 5019 h 11472"/>
                <a:gd name="connsiteX42" fmla="*/ 101 w 10000"/>
                <a:gd name="connsiteY42" fmla="*/ 5074 h 11472"/>
                <a:gd name="connsiteX43" fmla="*/ 0 w 10000"/>
                <a:gd name="connsiteY43" fmla="*/ 5128 h 11472"/>
                <a:gd name="connsiteX44" fmla="*/ 187 w 10000"/>
                <a:gd name="connsiteY44" fmla="*/ 8933 h 11472"/>
                <a:gd name="connsiteX45" fmla="*/ 3386 w 10000"/>
                <a:gd name="connsiteY45" fmla="*/ 11472 h 11472"/>
                <a:gd name="connsiteX46" fmla="*/ 3689 w 10000"/>
                <a:gd name="connsiteY46" fmla="*/ 11304 h 11472"/>
                <a:gd name="connsiteX47" fmla="*/ 3930 w 10000"/>
                <a:gd name="connsiteY47" fmla="*/ 11170 h 11472"/>
                <a:gd name="connsiteX48" fmla="*/ 4165 w 10000"/>
                <a:gd name="connsiteY48" fmla="*/ 11037 h 11472"/>
                <a:gd name="connsiteX49" fmla="*/ 4397 w 10000"/>
                <a:gd name="connsiteY49" fmla="*/ 10897 h 11472"/>
                <a:gd name="connsiteX50" fmla="*/ 4628 w 10000"/>
                <a:gd name="connsiteY50" fmla="*/ 10751 h 11472"/>
                <a:gd name="connsiteX51" fmla="*/ 4845 w 10000"/>
                <a:gd name="connsiteY51" fmla="*/ 10606 h 11472"/>
                <a:gd name="connsiteX52" fmla="*/ 5065 w 10000"/>
                <a:gd name="connsiteY52" fmla="*/ 10448 h 11472"/>
                <a:gd name="connsiteX53" fmla="*/ 5285 w 10000"/>
                <a:gd name="connsiteY53" fmla="*/ 10295 h 11472"/>
                <a:gd name="connsiteX54" fmla="*/ 5494 w 10000"/>
                <a:gd name="connsiteY54" fmla="*/ 10133 h 11472"/>
                <a:gd name="connsiteX55" fmla="*/ 5708 w 10000"/>
                <a:gd name="connsiteY55" fmla="*/ 9966 h 11472"/>
                <a:gd name="connsiteX56" fmla="*/ 5911 w 10000"/>
                <a:gd name="connsiteY56" fmla="*/ 9792 h 11472"/>
                <a:gd name="connsiteX57" fmla="*/ 6115 w 10000"/>
                <a:gd name="connsiteY57" fmla="*/ 9621 h 11472"/>
                <a:gd name="connsiteX58" fmla="*/ 6310 w 10000"/>
                <a:gd name="connsiteY58" fmla="*/ 9446 h 11472"/>
                <a:gd name="connsiteX59" fmla="*/ 6508 w 10000"/>
                <a:gd name="connsiteY59" fmla="*/ 9260 h 11472"/>
                <a:gd name="connsiteX60" fmla="*/ 6698 w 10000"/>
                <a:gd name="connsiteY60" fmla="*/ 9069 h 11472"/>
                <a:gd name="connsiteX61" fmla="*/ 6882 w 10000"/>
                <a:gd name="connsiteY61" fmla="*/ 8886 h 11472"/>
                <a:gd name="connsiteX62" fmla="*/ 7064 w 10000"/>
                <a:gd name="connsiteY62" fmla="*/ 8691 h 11472"/>
                <a:gd name="connsiteX63" fmla="*/ 7239 w 10000"/>
                <a:gd name="connsiteY63" fmla="*/ 8492 h 11472"/>
                <a:gd name="connsiteX64" fmla="*/ 7414 w 10000"/>
                <a:gd name="connsiteY64" fmla="*/ 8293 h 11472"/>
                <a:gd name="connsiteX65" fmla="*/ 7582 w 10000"/>
                <a:gd name="connsiteY65" fmla="*/ 8090 h 11472"/>
                <a:gd name="connsiteX66" fmla="*/ 7750 w 10000"/>
                <a:gd name="connsiteY66" fmla="*/ 7878 h 11472"/>
                <a:gd name="connsiteX67" fmla="*/ 7905 w 10000"/>
                <a:gd name="connsiteY67" fmla="*/ 7666 h 11472"/>
                <a:gd name="connsiteX68" fmla="*/ 8057 w 10000"/>
                <a:gd name="connsiteY68" fmla="*/ 7451 h 11472"/>
                <a:gd name="connsiteX69" fmla="*/ 8211 w 10000"/>
                <a:gd name="connsiteY69" fmla="*/ 7236 h 11472"/>
                <a:gd name="connsiteX70" fmla="*/ 8354 w 10000"/>
                <a:gd name="connsiteY70" fmla="*/ 7011 h 11472"/>
                <a:gd name="connsiteX71" fmla="*/ 8493 w 10000"/>
                <a:gd name="connsiteY71" fmla="*/ 6790 h 11472"/>
                <a:gd name="connsiteX72" fmla="*/ 8628 w 10000"/>
                <a:gd name="connsiteY72" fmla="*/ 6562 h 11472"/>
                <a:gd name="connsiteX73" fmla="*/ 8754 w 10000"/>
                <a:gd name="connsiteY73" fmla="*/ 6328 h 11472"/>
                <a:gd name="connsiteX74" fmla="*/ 8877 w 10000"/>
                <a:gd name="connsiteY74" fmla="*/ 6094 h 11472"/>
                <a:gd name="connsiteX75" fmla="*/ 9003 w 10000"/>
                <a:gd name="connsiteY75" fmla="*/ 5859 h 11472"/>
                <a:gd name="connsiteX76" fmla="*/ 9120 w 10000"/>
                <a:gd name="connsiteY76" fmla="*/ 5620 h 11472"/>
                <a:gd name="connsiteX77" fmla="*/ 9224 w 10000"/>
                <a:gd name="connsiteY77" fmla="*/ 5380 h 11472"/>
                <a:gd name="connsiteX78" fmla="*/ 9330 w 10000"/>
                <a:gd name="connsiteY78" fmla="*/ 5135 h 11472"/>
                <a:gd name="connsiteX79" fmla="*/ 9425 w 10000"/>
                <a:gd name="connsiteY79" fmla="*/ 4885 h 11472"/>
                <a:gd name="connsiteX80" fmla="*/ 9520 w 10000"/>
                <a:gd name="connsiteY80" fmla="*/ 4638 h 11472"/>
                <a:gd name="connsiteX81" fmla="*/ 9604 w 10000"/>
                <a:gd name="connsiteY81" fmla="*/ 4384 h 11472"/>
                <a:gd name="connsiteX82" fmla="*/ 9684 w 10000"/>
                <a:gd name="connsiteY82" fmla="*/ 4127 h 11472"/>
                <a:gd name="connsiteX83" fmla="*/ 9758 w 10000"/>
                <a:gd name="connsiteY83" fmla="*/ 3869 h 11472"/>
                <a:gd name="connsiteX84" fmla="*/ 9831 w 10000"/>
                <a:gd name="connsiteY84" fmla="*/ 3613 h 11472"/>
                <a:gd name="connsiteX85" fmla="*/ 9892 w 10000"/>
                <a:gd name="connsiteY85" fmla="*/ 3353 h 11472"/>
                <a:gd name="connsiteX86" fmla="*/ 9951 w 10000"/>
                <a:gd name="connsiteY86" fmla="*/ 3088 h 11472"/>
                <a:gd name="connsiteX87" fmla="*/ 10000 w 10000"/>
                <a:gd name="connsiteY87" fmla="*/ 2821 h 11472"/>
                <a:gd name="connsiteX88" fmla="*/ 6627 w 10000"/>
                <a:gd name="connsiteY88" fmla="*/ 408 h 11472"/>
                <a:gd name="connsiteX89" fmla="*/ 2667 w 10000"/>
                <a:gd name="connsiteY89" fmla="*/ 0 h 11472"/>
                <a:gd name="connsiteX0" fmla="*/ 2667 w 9952"/>
                <a:gd name="connsiteY0" fmla="*/ 1988 h 13460"/>
                <a:gd name="connsiteX1" fmla="*/ 2680 w 9952"/>
                <a:gd name="connsiteY1" fmla="*/ 3412 h 13460"/>
                <a:gd name="connsiteX2" fmla="*/ 2665 w 9952"/>
                <a:gd name="connsiteY2" fmla="*/ 3526 h 13460"/>
                <a:gd name="connsiteX3" fmla="*/ 2642 w 9952"/>
                <a:gd name="connsiteY3" fmla="*/ 3639 h 13460"/>
                <a:gd name="connsiteX4" fmla="*/ 2621 w 9952"/>
                <a:gd name="connsiteY4" fmla="*/ 3754 h 13460"/>
                <a:gd name="connsiteX5" fmla="*/ 2594 w 9952"/>
                <a:gd name="connsiteY5" fmla="*/ 3862 h 13460"/>
                <a:gd name="connsiteX6" fmla="*/ 2561 w 9952"/>
                <a:gd name="connsiteY6" fmla="*/ 3971 h 13460"/>
                <a:gd name="connsiteX7" fmla="*/ 2530 w 9952"/>
                <a:gd name="connsiteY7" fmla="*/ 4083 h 13460"/>
                <a:gd name="connsiteX8" fmla="*/ 2502 w 9952"/>
                <a:gd name="connsiteY8" fmla="*/ 4189 h 13460"/>
                <a:gd name="connsiteX9" fmla="*/ 2468 w 9952"/>
                <a:gd name="connsiteY9" fmla="*/ 4299 h 13460"/>
                <a:gd name="connsiteX10" fmla="*/ 2428 w 9952"/>
                <a:gd name="connsiteY10" fmla="*/ 4405 h 13460"/>
                <a:gd name="connsiteX11" fmla="*/ 2386 w 9952"/>
                <a:gd name="connsiteY11" fmla="*/ 4509 h 13460"/>
                <a:gd name="connsiteX12" fmla="*/ 2347 w 9952"/>
                <a:gd name="connsiteY12" fmla="*/ 4616 h 13460"/>
                <a:gd name="connsiteX13" fmla="*/ 2299 w 9952"/>
                <a:gd name="connsiteY13" fmla="*/ 4722 h 13460"/>
                <a:gd name="connsiteX14" fmla="*/ 2248 w 9952"/>
                <a:gd name="connsiteY14" fmla="*/ 4818 h 13460"/>
                <a:gd name="connsiteX15" fmla="*/ 2200 w 9952"/>
                <a:gd name="connsiteY15" fmla="*/ 4919 h 13460"/>
                <a:gd name="connsiteX16" fmla="*/ 2149 w 9952"/>
                <a:gd name="connsiteY16" fmla="*/ 5019 h 13460"/>
                <a:gd name="connsiteX17" fmla="*/ 2092 w 9952"/>
                <a:gd name="connsiteY17" fmla="*/ 5118 h 13460"/>
                <a:gd name="connsiteX18" fmla="*/ 2041 w 9952"/>
                <a:gd name="connsiteY18" fmla="*/ 5217 h 13460"/>
                <a:gd name="connsiteX19" fmla="*/ 1981 w 9952"/>
                <a:gd name="connsiteY19" fmla="*/ 5312 h 13460"/>
                <a:gd name="connsiteX20" fmla="*/ 1919 w 9952"/>
                <a:gd name="connsiteY20" fmla="*/ 5401 h 13460"/>
                <a:gd name="connsiteX21" fmla="*/ 1854 w 9952"/>
                <a:gd name="connsiteY21" fmla="*/ 5493 h 13460"/>
                <a:gd name="connsiteX22" fmla="*/ 1794 w 9952"/>
                <a:gd name="connsiteY22" fmla="*/ 5583 h 13460"/>
                <a:gd name="connsiteX23" fmla="*/ 1725 w 9952"/>
                <a:gd name="connsiteY23" fmla="*/ 5680 h 13460"/>
                <a:gd name="connsiteX24" fmla="*/ 1656 w 9952"/>
                <a:gd name="connsiteY24" fmla="*/ 5765 h 13460"/>
                <a:gd name="connsiteX25" fmla="*/ 1583 w 9952"/>
                <a:gd name="connsiteY25" fmla="*/ 5845 h 13460"/>
                <a:gd name="connsiteX26" fmla="*/ 1509 w 9952"/>
                <a:gd name="connsiteY26" fmla="*/ 5935 h 13460"/>
                <a:gd name="connsiteX27" fmla="*/ 1435 w 9952"/>
                <a:gd name="connsiteY27" fmla="*/ 6018 h 13460"/>
                <a:gd name="connsiteX28" fmla="*/ 1356 w 9952"/>
                <a:gd name="connsiteY28" fmla="*/ 6098 h 13460"/>
                <a:gd name="connsiteX29" fmla="*/ 1279 w 9952"/>
                <a:gd name="connsiteY29" fmla="*/ 6184 h 13460"/>
                <a:gd name="connsiteX30" fmla="*/ 1200 w 9952"/>
                <a:gd name="connsiteY30" fmla="*/ 6261 h 13460"/>
                <a:gd name="connsiteX31" fmla="*/ 1113 w 9952"/>
                <a:gd name="connsiteY31" fmla="*/ 6338 h 13460"/>
                <a:gd name="connsiteX32" fmla="*/ 1033 w 9952"/>
                <a:gd name="connsiteY32" fmla="*/ 6411 h 13460"/>
                <a:gd name="connsiteX33" fmla="*/ 946 w 9952"/>
                <a:gd name="connsiteY33" fmla="*/ 6486 h 13460"/>
                <a:gd name="connsiteX34" fmla="*/ 862 w 9952"/>
                <a:gd name="connsiteY34" fmla="*/ 6557 h 13460"/>
                <a:gd name="connsiteX35" fmla="*/ 767 w 9952"/>
                <a:gd name="connsiteY35" fmla="*/ 6628 h 13460"/>
                <a:gd name="connsiteX36" fmla="*/ 679 w 9952"/>
                <a:gd name="connsiteY36" fmla="*/ 6693 h 13460"/>
                <a:gd name="connsiteX37" fmla="*/ 586 w 9952"/>
                <a:gd name="connsiteY37" fmla="*/ 6761 h 13460"/>
                <a:gd name="connsiteX38" fmla="*/ 492 w 9952"/>
                <a:gd name="connsiteY38" fmla="*/ 6825 h 13460"/>
                <a:gd name="connsiteX39" fmla="*/ 394 w 9952"/>
                <a:gd name="connsiteY39" fmla="*/ 6885 h 13460"/>
                <a:gd name="connsiteX40" fmla="*/ 298 w 9952"/>
                <a:gd name="connsiteY40" fmla="*/ 6949 h 13460"/>
                <a:gd name="connsiteX41" fmla="*/ 203 w 9952"/>
                <a:gd name="connsiteY41" fmla="*/ 7007 h 13460"/>
                <a:gd name="connsiteX42" fmla="*/ 101 w 9952"/>
                <a:gd name="connsiteY42" fmla="*/ 7062 h 13460"/>
                <a:gd name="connsiteX43" fmla="*/ 0 w 9952"/>
                <a:gd name="connsiteY43" fmla="*/ 7116 h 13460"/>
                <a:gd name="connsiteX44" fmla="*/ 187 w 9952"/>
                <a:gd name="connsiteY44" fmla="*/ 10921 h 13460"/>
                <a:gd name="connsiteX45" fmla="*/ 3386 w 9952"/>
                <a:gd name="connsiteY45" fmla="*/ 13460 h 13460"/>
                <a:gd name="connsiteX46" fmla="*/ 3689 w 9952"/>
                <a:gd name="connsiteY46" fmla="*/ 13292 h 13460"/>
                <a:gd name="connsiteX47" fmla="*/ 3930 w 9952"/>
                <a:gd name="connsiteY47" fmla="*/ 13158 h 13460"/>
                <a:gd name="connsiteX48" fmla="*/ 4165 w 9952"/>
                <a:gd name="connsiteY48" fmla="*/ 13025 h 13460"/>
                <a:gd name="connsiteX49" fmla="*/ 4397 w 9952"/>
                <a:gd name="connsiteY49" fmla="*/ 12885 h 13460"/>
                <a:gd name="connsiteX50" fmla="*/ 4628 w 9952"/>
                <a:gd name="connsiteY50" fmla="*/ 12739 h 13460"/>
                <a:gd name="connsiteX51" fmla="*/ 4845 w 9952"/>
                <a:gd name="connsiteY51" fmla="*/ 12594 h 13460"/>
                <a:gd name="connsiteX52" fmla="*/ 5065 w 9952"/>
                <a:gd name="connsiteY52" fmla="*/ 12436 h 13460"/>
                <a:gd name="connsiteX53" fmla="*/ 5285 w 9952"/>
                <a:gd name="connsiteY53" fmla="*/ 12283 h 13460"/>
                <a:gd name="connsiteX54" fmla="*/ 5494 w 9952"/>
                <a:gd name="connsiteY54" fmla="*/ 12121 h 13460"/>
                <a:gd name="connsiteX55" fmla="*/ 5708 w 9952"/>
                <a:gd name="connsiteY55" fmla="*/ 11954 h 13460"/>
                <a:gd name="connsiteX56" fmla="*/ 5911 w 9952"/>
                <a:gd name="connsiteY56" fmla="*/ 11780 h 13460"/>
                <a:gd name="connsiteX57" fmla="*/ 6115 w 9952"/>
                <a:gd name="connsiteY57" fmla="*/ 11609 h 13460"/>
                <a:gd name="connsiteX58" fmla="*/ 6310 w 9952"/>
                <a:gd name="connsiteY58" fmla="*/ 11434 h 13460"/>
                <a:gd name="connsiteX59" fmla="*/ 6508 w 9952"/>
                <a:gd name="connsiteY59" fmla="*/ 11248 h 13460"/>
                <a:gd name="connsiteX60" fmla="*/ 6698 w 9952"/>
                <a:gd name="connsiteY60" fmla="*/ 11057 h 13460"/>
                <a:gd name="connsiteX61" fmla="*/ 6882 w 9952"/>
                <a:gd name="connsiteY61" fmla="*/ 10874 h 13460"/>
                <a:gd name="connsiteX62" fmla="*/ 7064 w 9952"/>
                <a:gd name="connsiteY62" fmla="*/ 10679 h 13460"/>
                <a:gd name="connsiteX63" fmla="*/ 7239 w 9952"/>
                <a:gd name="connsiteY63" fmla="*/ 10480 h 13460"/>
                <a:gd name="connsiteX64" fmla="*/ 7414 w 9952"/>
                <a:gd name="connsiteY64" fmla="*/ 10281 h 13460"/>
                <a:gd name="connsiteX65" fmla="*/ 7582 w 9952"/>
                <a:gd name="connsiteY65" fmla="*/ 10078 h 13460"/>
                <a:gd name="connsiteX66" fmla="*/ 7750 w 9952"/>
                <a:gd name="connsiteY66" fmla="*/ 9866 h 13460"/>
                <a:gd name="connsiteX67" fmla="*/ 7905 w 9952"/>
                <a:gd name="connsiteY67" fmla="*/ 9654 h 13460"/>
                <a:gd name="connsiteX68" fmla="*/ 8057 w 9952"/>
                <a:gd name="connsiteY68" fmla="*/ 9439 h 13460"/>
                <a:gd name="connsiteX69" fmla="*/ 8211 w 9952"/>
                <a:gd name="connsiteY69" fmla="*/ 9224 h 13460"/>
                <a:gd name="connsiteX70" fmla="*/ 8354 w 9952"/>
                <a:gd name="connsiteY70" fmla="*/ 8999 h 13460"/>
                <a:gd name="connsiteX71" fmla="*/ 8493 w 9952"/>
                <a:gd name="connsiteY71" fmla="*/ 8778 h 13460"/>
                <a:gd name="connsiteX72" fmla="*/ 8628 w 9952"/>
                <a:gd name="connsiteY72" fmla="*/ 8550 h 13460"/>
                <a:gd name="connsiteX73" fmla="*/ 8754 w 9952"/>
                <a:gd name="connsiteY73" fmla="*/ 8316 h 13460"/>
                <a:gd name="connsiteX74" fmla="*/ 8877 w 9952"/>
                <a:gd name="connsiteY74" fmla="*/ 8082 h 13460"/>
                <a:gd name="connsiteX75" fmla="*/ 9003 w 9952"/>
                <a:gd name="connsiteY75" fmla="*/ 7847 h 13460"/>
                <a:gd name="connsiteX76" fmla="*/ 9120 w 9952"/>
                <a:gd name="connsiteY76" fmla="*/ 7608 h 13460"/>
                <a:gd name="connsiteX77" fmla="*/ 9224 w 9952"/>
                <a:gd name="connsiteY77" fmla="*/ 7368 h 13460"/>
                <a:gd name="connsiteX78" fmla="*/ 9330 w 9952"/>
                <a:gd name="connsiteY78" fmla="*/ 7123 h 13460"/>
                <a:gd name="connsiteX79" fmla="*/ 9425 w 9952"/>
                <a:gd name="connsiteY79" fmla="*/ 6873 h 13460"/>
                <a:gd name="connsiteX80" fmla="*/ 9520 w 9952"/>
                <a:gd name="connsiteY80" fmla="*/ 6626 h 13460"/>
                <a:gd name="connsiteX81" fmla="*/ 9604 w 9952"/>
                <a:gd name="connsiteY81" fmla="*/ 6372 h 13460"/>
                <a:gd name="connsiteX82" fmla="*/ 9684 w 9952"/>
                <a:gd name="connsiteY82" fmla="*/ 6115 h 13460"/>
                <a:gd name="connsiteX83" fmla="*/ 9758 w 9952"/>
                <a:gd name="connsiteY83" fmla="*/ 5857 h 13460"/>
                <a:gd name="connsiteX84" fmla="*/ 9831 w 9952"/>
                <a:gd name="connsiteY84" fmla="*/ 5601 h 13460"/>
                <a:gd name="connsiteX85" fmla="*/ 9892 w 9952"/>
                <a:gd name="connsiteY85" fmla="*/ 5341 h 13460"/>
                <a:gd name="connsiteX86" fmla="*/ 9951 w 9952"/>
                <a:gd name="connsiteY86" fmla="*/ 5076 h 13460"/>
                <a:gd name="connsiteX87" fmla="*/ 9862 w 9952"/>
                <a:gd name="connsiteY87" fmla="*/ 0 h 13460"/>
                <a:gd name="connsiteX88" fmla="*/ 6627 w 9952"/>
                <a:gd name="connsiteY88" fmla="*/ 2396 h 13460"/>
                <a:gd name="connsiteX89" fmla="*/ 2667 w 9952"/>
                <a:gd name="connsiteY89" fmla="*/ 1988 h 13460"/>
                <a:gd name="connsiteX0" fmla="*/ 2680 w 10208"/>
                <a:gd name="connsiteY0" fmla="*/ 1477 h 10000"/>
                <a:gd name="connsiteX1" fmla="*/ 2693 w 10208"/>
                <a:gd name="connsiteY1" fmla="*/ 2535 h 10000"/>
                <a:gd name="connsiteX2" fmla="*/ 2678 w 10208"/>
                <a:gd name="connsiteY2" fmla="*/ 2620 h 10000"/>
                <a:gd name="connsiteX3" fmla="*/ 2655 w 10208"/>
                <a:gd name="connsiteY3" fmla="*/ 2704 h 10000"/>
                <a:gd name="connsiteX4" fmla="*/ 2634 w 10208"/>
                <a:gd name="connsiteY4" fmla="*/ 2789 h 10000"/>
                <a:gd name="connsiteX5" fmla="*/ 2607 w 10208"/>
                <a:gd name="connsiteY5" fmla="*/ 2869 h 10000"/>
                <a:gd name="connsiteX6" fmla="*/ 2573 w 10208"/>
                <a:gd name="connsiteY6" fmla="*/ 2950 h 10000"/>
                <a:gd name="connsiteX7" fmla="*/ 2542 w 10208"/>
                <a:gd name="connsiteY7" fmla="*/ 3033 h 10000"/>
                <a:gd name="connsiteX8" fmla="*/ 2514 w 10208"/>
                <a:gd name="connsiteY8" fmla="*/ 3112 h 10000"/>
                <a:gd name="connsiteX9" fmla="*/ 2480 w 10208"/>
                <a:gd name="connsiteY9" fmla="*/ 3194 h 10000"/>
                <a:gd name="connsiteX10" fmla="*/ 2440 w 10208"/>
                <a:gd name="connsiteY10" fmla="*/ 3273 h 10000"/>
                <a:gd name="connsiteX11" fmla="*/ 2398 w 10208"/>
                <a:gd name="connsiteY11" fmla="*/ 3350 h 10000"/>
                <a:gd name="connsiteX12" fmla="*/ 2358 w 10208"/>
                <a:gd name="connsiteY12" fmla="*/ 3429 h 10000"/>
                <a:gd name="connsiteX13" fmla="*/ 2310 w 10208"/>
                <a:gd name="connsiteY13" fmla="*/ 3508 h 10000"/>
                <a:gd name="connsiteX14" fmla="*/ 2259 w 10208"/>
                <a:gd name="connsiteY14" fmla="*/ 3579 h 10000"/>
                <a:gd name="connsiteX15" fmla="*/ 2211 w 10208"/>
                <a:gd name="connsiteY15" fmla="*/ 3655 h 10000"/>
                <a:gd name="connsiteX16" fmla="*/ 2159 w 10208"/>
                <a:gd name="connsiteY16" fmla="*/ 3729 h 10000"/>
                <a:gd name="connsiteX17" fmla="*/ 2102 w 10208"/>
                <a:gd name="connsiteY17" fmla="*/ 3802 h 10000"/>
                <a:gd name="connsiteX18" fmla="*/ 2051 w 10208"/>
                <a:gd name="connsiteY18" fmla="*/ 3876 h 10000"/>
                <a:gd name="connsiteX19" fmla="*/ 1991 w 10208"/>
                <a:gd name="connsiteY19" fmla="*/ 3947 h 10000"/>
                <a:gd name="connsiteX20" fmla="*/ 1928 w 10208"/>
                <a:gd name="connsiteY20" fmla="*/ 4013 h 10000"/>
                <a:gd name="connsiteX21" fmla="*/ 1863 w 10208"/>
                <a:gd name="connsiteY21" fmla="*/ 4081 h 10000"/>
                <a:gd name="connsiteX22" fmla="*/ 1803 w 10208"/>
                <a:gd name="connsiteY22" fmla="*/ 4148 h 10000"/>
                <a:gd name="connsiteX23" fmla="*/ 1733 w 10208"/>
                <a:gd name="connsiteY23" fmla="*/ 4220 h 10000"/>
                <a:gd name="connsiteX24" fmla="*/ 1664 w 10208"/>
                <a:gd name="connsiteY24" fmla="*/ 4283 h 10000"/>
                <a:gd name="connsiteX25" fmla="*/ 1591 w 10208"/>
                <a:gd name="connsiteY25" fmla="*/ 4342 h 10000"/>
                <a:gd name="connsiteX26" fmla="*/ 1516 w 10208"/>
                <a:gd name="connsiteY26" fmla="*/ 4409 h 10000"/>
                <a:gd name="connsiteX27" fmla="*/ 1442 w 10208"/>
                <a:gd name="connsiteY27" fmla="*/ 4471 h 10000"/>
                <a:gd name="connsiteX28" fmla="*/ 1363 w 10208"/>
                <a:gd name="connsiteY28" fmla="*/ 4530 h 10000"/>
                <a:gd name="connsiteX29" fmla="*/ 1285 w 10208"/>
                <a:gd name="connsiteY29" fmla="*/ 4594 h 10000"/>
                <a:gd name="connsiteX30" fmla="*/ 1206 w 10208"/>
                <a:gd name="connsiteY30" fmla="*/ 4652 h 10000"/>
                <a:gd name="connsiteX31" fmla="*/ 1118 w 10208"/>
                <a:gd name="connsiteY31" fmla="*/ 4709 h 10000"/>
                <a:gd name="connsiteX32" fmla="*/ 1038 w 10208"/>
                <a:gd name="connsiteY32" fmla="*/ 4763 h 10000"/>
                <a:gd name="connsiteX33" fmla="*/ 951 w 10208"/>
                <a:gd name="connsiteY33" fmla="*/ 4819 h 10000"/>
                <a:gd name="connsiteX34" fmla="*/ 866 w 10208"/>
                <a:gd name="connsiteY34" fmla="*/ 4871 h 10000"/>
                <a:gd name="connsiteX35" fmla="*/ 771 w 10208"/>
                <a:gd name="connsiteY35" fmla="*/ 4924 h 10000"/>
                <a:gd name="connsiteX36" fmla="*/ 682 w 10208"/>
                <a:gd name="connsiteY36" fmla="*/ 4973 h 10000"/>
                <a:gd name="connsiteX37" fmla="*/ 589 w 10208"/>
                <a:gd name="connsiteY37" fmla="*/ 5023 h 10000"/>
                <a:gd name="connsiteX38" fmla="*/ 494 w 10208"/>
                <a:gd name="connsiteY38" fmla="*/ 5071 h 10000"/>
                <a:gd name="connsiteX39" fmla="*/ 396 w 10208"/>
                <a:gd name="connsiteY39" fmla="*/ 5115 h 10000"/>
                <a:gd name="connsiteX40" fmla="*/ 299 w 10208"/>
                <a:gd name="connsiteY40" fmla="*/ 5163 h 10000"/>
                <a:gd name="connsiteX41" fmla="*/ 204 w 10208"/>
                <a:gd name="connsiteY41" fmla="*/ 5206 h 10000"/>
                <a:gd name="connsiteX42" fmla="*/ 101 w 10208"/>
                <a:gd name="connsiteY42" fmla="*/ 5247 h 10000"/>
                <a:gd name="connsiteX43" fmla="*/ 0 w 10208"/>
                <a:gd name="connsiteY43" fmla="*/ 5287 h 10000"/>
                <a:gd name="connsiteX44" fmla="*/ 188 w 10208"/>
                <a:gd name="connsiteY44" fmla="*/ 8114 h 10000"/>
                <a:gd name="connsiteX45" fmla="*/ 3402 w 10208"/>
                <a:gd name="connsiteY45" fmla="*/ 10000 h 10000"/>
                <a:gd name="connsiteX46" fmla="*/ 3707 w 10208"/>
                <a:gd name="connsiteY46" fmla="*/ 9875 h 10000"/>
                <a:gd name="connsiteX47" fmla="*/ 3949 w 10208"/>
                <a:gd name="connsiteY47" fmla="*/ 9776 h 10000"/>
                <a:gd name="connsiteX48" fmla="*/ 4185 w 10208"/>
                <a:gd name="connsiteY48" fmla="*/ 9677 h 10000"/>
                <a:gd name="connsiteX49" fmla="*/ 4418 w 10208"/>
                <a:gd name="connsiteY49" fmla="*/ 9573 h 10000"/>
                <a:gd name="connsiteX50" fmla="*/ 4650 w 10208"/>
                <a:gd name="connsiteY50" fmla="*/ 9464 h 10000"/>
                <a:gd name="connsiteX51" fmla="*/ 4868 w 10208"/>
                <a:gd name="connsiteY51" fmla="*/ 9357 h 10000"/>
                <a:gd name="connsiteX52" fmla="*/ 5089 w 10208"/>
                <a:gd name="connsiteY52" fmla="*/ 9239 h 10000"/>
                <a:gd name="connsiteX53" fmla="*/ 5310 w 10208"/>
                <a:gd name="connsiteY53" fmla="*/ 9126 h 10000"/>
                <a:gd name="connsiteX54" fmla="*/ 5520 w 10208"/>
                <a:gd name="connsiteY54" fmla="*/ 9005 h 10000"/>
                <a:gd name="connsiteX55" fmla="*/ 5736 w 10208"/>
                <a:gd name="connsiteY55" fmla="*/ 8881 h 10000"/>
                <a:gd name="connsiteX56" fmla="*/ 5940 w 10208"/>
                <a:gd name="connsiteY56" fmla="*/ 8752 h 10000"/>
                <a:gd name="connsiteX57" fmla="*/ 6144 w 10208"/>
                <a:gd name="connsiteY57" fmla="*/ 8625 h 10000"/>
                <a:gd name="connsiteX58" fmla="*/ 6340 w 10208"/>
                <a:gd name="connsiteY58" fmla="*/ 8495 h 10000"/>
                <a:gd name="connsiteX59" fmla="*/ 6539 w 10208"/>
                <a:gd name="connsiteY59" fmla="*/ 8357 h 10000"/>
                <a:gd name="connsiteX60" fmla="*/ 6730 w 10208"/>
                <a:gd name="connsiteY60" fmla="*/ 8215 h 10000"/>
                <a:gd name="connsiteX61" fmla="*/ 6915 w 10208"/>
                <a:gd name="connsiteY61" fmla="*/ 8079 h 10000"/>
                <a:gd name="connsiteX62" fmla="*/ 7098 w 10208"/>
                <a:gd name="connsiteY62" fmla="*/ 7934 h 10000"/>
                <a:gd name="connsiteX63" fmla="*/ 7274 w 10208"/>
                <a:gd name="connsiteY63" fmla="*/ 7786 h 10000"/>
                <a:gd name="connsiteX64" fmla="*/ 7450 w 10208"/>
                <a:gd name="connsiteY64" fmla="*/ 7638 h 10000"/>
                <a:gd name="connsiteX65" fmla="*/ 7619 w 10208"/>
                <a:gd name="connsiteY65" fmla="*/ 7487 h 10000"/>
                <a:gd name="connsiteX66" fmla="*/ 7787 w 10208"/>
                <a:gd name="connsiteY66" fmla="*/ 7330 h 10000"/>
                <a:gd name="connsiteX67" fmla="*/ 7943 w 10208"/>
                <a:gd name="connsiteY67" fmla="*/ 7172 h 10000"/>
                <a:gd name="connsiteX68" fmla="*/ 8096 w 10208"/>
                <a:gd name="connsiteY68" fmla="*/ 7013 h 10000"/>
                <a:gd name="connsiteX69" fmla="*/ 8251 w 10208"/>
                <a:gd name="connsiteY69" fmla="*/ 6853 h 10000"/>
                <a:gd name="connsiteX70" fmla="*/ 8394 w 10208"/>
                <a:gd name="connsiteY70" fmla="*/ 6686 h 10000"/>
                <a:gd name="connsiteX71" fmla="*/ 8534 w 10208"/>
                <a:gd name="connsiteY71" fmla="*/ 6522 h 10000"/>
                <a:gd name="connsiteX72" fmla="*/ 8670 w 10208"/>
                <a:gd name="connsiteY72" fmla="*/ 6352 h 10000"/>
                <a:gd name="connsiteX73" fmla="*/ 8796 w 10208"/>
                <a:gd name="connsiteY73" fmla="*/ 6178 h 10000"/>
                <a:gd name="connsiteX74" fmla="*/ 8920 w 10208"/>
                <a:gd name="connsiteY74" fmla="*/ 6004 h 10000"/>
                <a:gd name="connsiteX75" fmla="*/ 9046 w 10208"/>
                <a:gd name="connsiteY75" fmla="*/ 5830 h 10000"/>
                <a:gd name="connsiteX76" fmla="*/ 9164 w 10208"/>
                <a:gd name="connsiteY76" fmla="*/ 5652 h 10000"/>
                <a:gd name="connsiteX77" fmla="*/ 9268 w 10208"/>
                <a:gd name="connsiteY77" fmla="*/ 5474 h 10000"/>
                <a:gd name="connsiteX78" fmla="*/ 9375 w 10208"/>
                <a:gd name="connsiteY78" fmla="*/ 5292 h 10000"/>
                <a:gd name="connsiteX79" fmla="*/ 9470 w 10208"/>
                <a:gd name="connsiteY79" fmla="*/ 5106 h 10000"/>
                <a:gd name="connsiteX80" fmla="*/ 9566 w 10208"/>
                <a:gd name="connsiteY80" fmla="*/ 4923 h 10000"/>
                <a:gd name="connsiteX81" fmla="*/ 9650 w 10208"/>
                <a:gd name="connsiteY81" fmla="*/ 4734 h 10000"/>
                <a:gd name="connsiteX82" fmla="*/ 9731 w 10208"/>
                <a:gd name="connsiteY82" fmla="*/ 4543 h 10000"/>
                <a:gd name="connsiteX83" fmla="*/ 9805 w 10208"/>
                <a:gd name="connsiteY83" fmla="*/ 4351 h 10000"/>
                <a:gd name="connsiteX84" fmla="*/ 9878 w 10208"/>
                <a:gd name="connsiteY84" fmla="*/ 4161 h 10000"/>
                <a:gd name="connsiteX85" fmla="*/ 9940 w 10208"/>
                <a:gd name="connsiteY85" fmla="*/ 3968 h 10000"/>
                <a:gd name="connsiteX86" fmla="*/ 9999 w 10208"/>
                <a:gd name="connsiteY86" fmla="*/ 3771 h 10000"/>
                <a:gd name="connsiteX87" fmla="*/ 9910 w 10208"/>
                <a:gd name="connsiteY87" fmla="*/ 0 h 10000"/>
                <a:gd name="connsiteX88" fmla="*/ 6659 w 10208"/>
                <a:gd name="connsiteY88" fmla="*/ 1780 h 10000"/>
                <a:gd name="connsiteX89" fmla="*/ 2680 w 10208"/>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680 w 10219"/>
                <a:gd name="connsiteY0" fmla="*/ 1477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680 w 10219"/>
                <a:gd name="connsiteY89" fmla="*/ 1477 h 10000"/>
                <a:gd name="connsiteX0" fmla="*/ 2524 w 10219"/>
                <a:gd name="connsiteY0" fmla="*/ 896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659 w 10219"/>
                <a:gd name="connsiteY88" fmla="*/ 1780 h 10000"/>
                <a:gd name="connsiteX89" fmla="*/ 2524 w 10219"/>
                <a:gd name="connsiteY89" fmla="*/ 896 h 10000"/>
                <a:gd name="connsiteX0" fmla="*/ 2524 w 10219"/>
                <a:gd name="connsiteY0" fmla="*/ 896 h 10000"/>
                <a:gd name="connsiteX1" fmla="*/ 2693 w 10219"/>
                <a:gd name="connsiteY1" fmla="*/ 2535 h 10000"/>
                <a:gd name="connsiteX2" fmla="*/ 2678 w 10219"/>
                <a:gd name="connsiteY2" fmla="*/ 2620 h 10000"/>
                <a:gd name="connsiteX3" fmla="*/ 2655 w 10219"/>
                <a:gd name="connsiteY3" fmla="*/ 2704 h 10000"/>
                <a:gd name="connsiteX4" fmla="*/ 2634 w 10219"/>
                <a:gd name="connsiteY4" fmla="*/ 2789 h 10000"/>
                <a:gd name="connsiteX5" fmla="*/ 2607 w 10219"/>
                <a:gd name="connsiteY5" fmla="*/ 2869 h 10000"/>
                <a:gd name="connsiteX6" fmla="*/ 2573 w 10219"/>
                <a:gd name="connsiteY6" fmla="*/ 2950 h 10000"/>
                <a:gd name="connsiteX7" fmla="*/ 2542 w 10219"/>
                <a:gd name="connsiteY7" fmla="*/ 3033 h 10000"/>
                <a:gd name="connsiteX8" fmla="*/ 2514 w 10219"/>
                <a:gd name="connsiteY8" fmla="*/ 3112 h 10000"/>
                <a:gd name="connsiteX9" fmla="*/ 2480 w 10219"/>
                <a:gd name="connsiteY9" fmla="*/ 3194 h 10000"/>
                <a:gd name="connsiteX10" fmla="*/ 2440 w 10219"/>
                <a:gd name="connsiteY10" fmla="*/ 3273 h 10000"/>
                <a:gd name="connsiteX11" fmla="*/ 2398 w 10219"/>
                <a:gd name="connsiteY11" fmla="*/ 3350 h 10000"/>
                <a:gd name="connsiteX12" fmla="*/ 2358 w 10219"/>
                <a:gd name="connsiteY12" fmla="*/ 3429 h 10000"/>
                <a:gd name="connsiteX13" fmla="*/ 2310 w 10219"/>
                <a:gd name="connsiteY13" fmla="*/ 3508 h 10000"/>
                <a:gd name="connsiteX14" fmla="*/ 2259 w 10219"/>
                <a:gd name="connsiteY14" fmla="*/ 3579 h 10000"/>
                <a:gd name="connsiteX15" fmla="*/ 2211 w 10219"/>
                <a:gd name="connsiteY15" fmla="*/ 3655 h 10000"/>
                <a:gd name="connsiteX16" fmla="*/ 2159 w 10219"/>
                <a:gd name="connsiteY16" fmla="*/ 3729 h 10000"/>
                <a:gd name="connsiteX17" fmla="*/ 2102 w 10219"/>
                <a:gd name="connsiteY17" fmla="*/ 3802 h 10000"/>
                <a:gd name="connsiteX18" fmla="*/ 2051 w 10219"/>
                <a:gd name="connsiteY18" fmla="*/ 3876 h 10000"/>
                <a:gd name="connsiteX19" fmla="*/ 1991 w 10219"/>
                <a:gd name="connsiteY19" fmla="*/ 3947 h 10000"/>
                <a:gd name="connsiteX20" fmla="*/ 1928 w 10219"/>
                <a:gd name="connsiteY20" fmla="*/ 4013 h 10000"/>
                <a:gd name="connsiteX21" fmla="*/ 1863 w 10219"/>
                <a:gd name="connsiteY21" fmla="*/ 4081 h 10000"/>
                <a:gd name="connsiteX22" fmla="*/ 1803 w 10219"/>
                <a:gd name="connsiteY22" fmla="*/ 4148 h 10000"/>
                <a:gd name="connsiteX23" fmla="*/ 1733 w 10219"/>
                <a:gd name="connsiteY23" fmla="*/ 4220 h 10000"/>
                <a:gd name="connsiteX24" fmla="*/ 1664 w 10219"/>
                <a:gd name="connsiteY24" fmla="*/ 4283 h 10000"/>
                <a:gd name="connsiteX25" fmla="*/ 1591 w 10219"/>
                <a:gd name="connsiteY25" fmla="*/ 4342 h 10000"/>
                <a:gd name="connsiteX26" fmla="*/ 1516 w 10219"/>
                <a:gd name="connsiteY26" fmla="*/ 4409 h 10000"/>
                <a:gd name="connsiteX27" fmla="*/ 1442 w 10219"/>
                <a:gd name="connsiteY27" fmla="*/ 4471 h 10000"/>
                <a:gd name="connsiteX28" fmla="*/ 1363 w 10219"/>
                <a:gd name="connsiteY28" fmla="*/ 4530 h 10000"/>
                <a:gd name="connsiteX29" fmla="*/ 1285 w 10219"/>
                <a:gd name="connsiteY29" fmla="*/ 4594 h 10000"/>
                <a:gd name="connsiteX30" fmla="*/ 1206 w 10219"/>
                <a:gd name="connsiteY30" fmla="*/ 4652 h 10000"/>
                <a:gd name="connsiteX31" fmla="*/ 1118 w 10219"/>
                <a:gd name="connsiteY31" fmla="*/ 4709 h 10000"/>
                <a:gd name="connsiteX32" fmla="*/ 1038 w 10219"/>
                <a:gd name="connsiteY32" fmla="*/ 4763 h 10000"/>
                <a:gd name="connsiteX33" fmla="*/ 951 w 10219"/>
                <a:gd name="connsiteY33" fmla="*/ 4819 h 10000"/>
                <a:gd name="connsiteX34" fmla="*/ 866 w 10219"/>
                <a:gd name="connsiteY34" fmla="*/ 4871 h 10000"/>
                <a:gd name="connsiteX35" fmla="*/ 771 w 10219"/>
                <a:gd name="connsiteY35" fmla="*/ 4924 h 10000"/>
                <a:gd name="connsiteX36" fmla="*/ 682 w 10219"/>
                <a:gd name="connsiteY36" fmla="*/ 4973 h 10000"/>
                <a:gd name="connsiteX37" fmla="*/ 589 w 10219"/>
                <a:gd name="connsiteY37" fmla="*/ 5023 h 10000"/>
                <a:gd name="connsiteX38" fmla="*/ 494 w 10219"/>
                <a:gd name="connsiteY38" fmla="*/ 5071 h 10000"/>
                <a:gd name="connsiteX39" fmla="*/ 396 w 10219"/>
                <a:gd name="connsiteY39" fmla="*/ 5115 h 10000"/>
                <a:gd name="connsiteX40" fmla="*/ 299 w 10219"/>
                <a:gd name="connsiteY40" fmla="*/ 5163 h 10000"/>
                <a:gd name="connsiteX41" fmla="*/ 204 w 10219"/>
                <a:gd name="connsiteY41" fmla="*/ 5206 h 10000"/>
                <a:gd name="connsiteX42" fmla="*/ 101 w 10219"/>
                <a:gd name="connsiteY42" fmla="*/ 5247 h 10000"/>
                <a:gd name="connsiteX43" fmla="*/ 0 w 10219"/>
                <a:gd name="connsiteY43" fmla="*/ 5287 h 10000"/>
                <a:gd name="connsiteX44" fmla="*/ 188 w 10219"/>
                <a:gd name="connsiteY44" fmla="*/ 8114 h 10000"/>
                <a:gd name="connsiteX45" fmla="*/ 3402 w 10219"/>
                <a:gd name="connsiteY45" fmla="*/ 10000 h 10000"/>
                <a:gd name="connsiteX46" fmla="*/ 3707 w 10219"/>
                <a:gd name="connsiteY46" fmla="*/ 9875 h 10000"/>
                <a:gd name="connsiteX47" fmla="*/ 3949 w 10219"/>
                <a:gd name="connsiteY47" fmla="*/ 9776 h 10000"/>
                <a:gd name="connsiteX48" fmla="*/ 4185 w 10219"/>
                <a:gd name="connsiteY48" fmla="*/ 9677 h 10000"/>
                <a:gd name="connsiteX49" fmla="*/ 4418 w 10219"/>
                <a:gd name="connsiteY49" fmla="*/ 9573 h 10000"/>
                <a:gd name="connsiteX50" fmla="*/ 4650 w 10219"/>
                <a:gd name="connsiteY50" fmla="*/ 9464 h 10000"/>
                <a:gd name="connsiteX51" fmla="*/ 4868 w 10219"/>
                <a:gd name="connsiteY51" fmla="*/ 9357 h 10000"/>
                <a:gd name="connsiteX52" fmla="*/ 5089 w 10219"/>
                <a:gd name="connsiteY52" fmla="*/ 9239 h 10000"/>
                <a:gd name="connsiteX53" fmla="*/ 5310 w 10219"/>
                <a:gd name="connsiteY53" fmla="*/ 9126 h 10000"/>
                <a:gd name="connsiteX54" fmla="*/ 5520 w 10219"/>
                <a:gd name="connsiteY54" fmla="*/ 9005 h 10000"/>
                <a:gd name="connsiteX55" fmla="*/ 5736 w 10219"/>
                <a:gd name="connsiteY55" fmla="*/ 8881 h 10000"/>
                <a:gd name="connsiteX56" fmla="*/ 5940 w 10219"/>
                <a:gd name="connsiteY56" fmla="*/ 8752 h 10000"/>
                <a:gd name="connsiteX57" fmla="*/ 6144 w 10219"/>
                <a:gd name="connsiteY57" fmla="*/ 8625 h 10000"/>
                <a:gd name="connsiteX58" fmla="*/ 6340 w 10219"/>
                <a:gd name="connsiteY58" fmla="*/ 8495 h 10000"/>
                <a:gd name="connsiteX59" fmla="*/ 6539 w 10219"/>
                <a:gd name="connsiteY59" fmla="*/ 8357 h 10000"/>
                <a:gd name="connsiteX60" fmla="*/ 6730 w 10219"/>
                <a:gd name="connsiteY60" fmla="*/ 8215 h 10000"/>
                <a:gd name="connsiteX61" fmla="*/ 6915 w 10219"/>
                <a:gd name="connsiteY61" fmla="*/ 8079 h 10000"/>
                <a:gd name="connsiteX62" fmla="*/ 7098 w 10219"/>
                <a:gd name="connsiteY62" fmla="*/ 7934 h 10000"/>
                <a:gd name="connsiteX63" fmla="*/ 7274 w 10219"/>
                <a:gd name="connsiteY63" fmla="*/ 7786 h 10000"/>
                <a:gd name="connsiteX64" fmla="*/ 7450 w 10219"/>
                <a:gd name="connsiteY64" fmla="*/ 7638 h 10000"/>
                <a:gd name="connsiteX65" fmla="*/ 7619 w 10219"/>
                <a:gd name="connsiteY65" fmla="*/ 7487 h 10000"/>
                <a:gd name="connsiteX66" fmla="*/ 7787 w 10219"/>
                <a:gd name="connsiteY66" fmla="*/ 7330 h 10000"/>
                <a:gd name="connsiteX67" fmla="*/ 7943 w 10219"/>
                <a:gd name="connsiteY67" fmla="*/ 7172 h 10000"/>
                <a:gd name="connsiteX68" fmla="*/ 8096 w 10219"/>
                <a:gd name="connsiteY68" fmla="*/ 7013 h 10000"/>
                <a:gd name="connsiteX69" fmla="*/ 8251 w 10219"/>
                <a:gd name="connsiteY69" fmla="*/ 6853 h 10000"/>
                <a:gd name="connsiteX70" fmla="*/ 8394 w 10219"/>
                <a:gd name="connsiteY70" fmla="*/ 6686 h 10000"/>
                <a:gd name="connsiteX71" fmla="*/ 8534 w 10219"/>
                <a:gd name="connsiteY71" fmla="*/ 6522 h 10000"/>
                <a:gd name="connsiteX72" fmla="*/ 8670 w 10219"/>
                <a:gd name="connsiteY72" fmla="*/ 6352 h 10000"/>
                <a:gd name="connsiteX73" fmla="*/ 8796 w 10219"/>
                <a:gd name="connsiteY73" fmla="*/ 6178 h 10000"/>
                <a:gd name="connsiteX74" fmla="*/ 8920 w 10219"/>
                <a:gd name="connsiteY74" fmla="*/ 6004 h 10000"/>
                <a:gd name="connsiteX75" fmla="*/ 9046 w 10219"/>
                <a:gd name="connsiteY75" fmla="*/ 5830 h 10000"/>
                <a:gd name="connsiteX76" fmla="*/ 9164 w 10219"/>
                <a:gd name="connsiteY76" fmla="*/ 5652 h 10000"/>
                <a:gd name="connsiteX77" fmla="*/ 9268 w 10219"/>
                <a:gd name="connsiteY77" fmla="*/ 5474 h 10000"/>
                <a:gd name="connsiteX78" fmla="*/ 9375 w 10219"/>
                <a:gd name="connsiteY78" fmla="*/ 5292 h 10000"/>
                <a:gd name="connsiteX79" fmla="*/ 9470 w 10219"/>
                <a:gd name="connsiteY79" fmla="*/ 5106 h 10000"/>
                <a:gd name="connsiteX80" fmla="*/ 9566 w 10219"/>
                <a:gd name="connsiteY80" fmla="*/ 4923 h 10000"/>
                <a:gd name="connsiteX81" fmla="*/ 9650 w 10219"/>
                <a:gd name="connsiteY81" fmla="*/ 4734 h 10000"/>
                <a:gd name="connsiteX82" fmla="*/ 9731 w 10219"/>
                <a:gd name="connsiteY82" fmla="*/ 4543 h 10000"/>
                <a:gd name="connsiteX83" fmla="*/ 9805 w 10219"/>
                <a:gd name="connsiteY83" fmla="*/ 4351 h 10000"/>
                <a:gd name="connsiteX84" fmla="*/ 9878 w 10219"/>
                <a:gd name="connsiteY84" fmla="*/ 4161 h 10000"/>
                <a:gd name="connsiteX85" fmla="*/ 9940 w 10219"/>
                <a:gd name="connsiteY85" fmla="*/ 3968 h 10000"/>
                <a:gd name="connsiteX86" fmla="*/ 9999 w 10219"/>
                <a:gd name="connsiteY86" fmla="*/ 3771 h 10000"/>
                <a:gd name="connsiteX87" fmla="*/ 9910 w 10219"/>
                <a:gd name="connsiteY87" fmla="*/ 0 h 10000"/>
                <a:gd name="connsiteX88" fmla="*/ 6509 w 10219"/>
                <a:gd name="connsiteY88" fmla="*/ 1273 h 10000"/>
                <a:gd name="connsiteX89" fmla="*/ 2524 w 10219"/>
                <a:gd name="connsiteY89" fmla="*/ 896 h 10000"/>
                <a:gd name="connsiteX0" fmla="*/ 2524 w 10187"/>
                <a:gd name="connsiteY0" fmla="*/ 1506 h 10610"/>
                <a:gd name="connsiteX1" fmla="*/ 2693 w 10187"/>
                <a:gd name="connsiteY1" fmla="*/ 3145 h 10610"/>
                <a:gd name="connsiteX2" fmla="*/ 2678 w 10187"/>
                <a:gd name="connsiteY2" fmla="*/ 3230 h 10610"/>
                <a:gd name="connsiteX3" fmla="*/ 2655 w 10187"/>
                <a:gd name="connsiteY3" fmla="*/ 3314 h 10610"/>
                <a:gd name="connsiteX4" fmla="*/ 2634 w 10187"/>
                <a:gd name="connsiteY4" fmla="*/ 3399 h 10610"/>
                <a:gd name="connsiteX5" fmla="*/ 2607 w 10187"/>
                <a:gd name="connsiteY5" fmla="*/ 3479 h 10610"/>
                <a:gd name="connsiteX6" fmla="*/ 2573 w 10187"/>
                <a:gd name="connsiteY6" fmla="*/ 3560 h 10610"/>
                <a:gd name="connsiteX7" fmla="*/ 2542 w 10187"/>
                <a:gd name="connsiteY7" fmla="*/ 3643 h 10610"/>
                <a:gd name="connsiteX8" fmla="*/ 2514 w 10187"/>
                <a:gd name="connsiteY8" fmla="*/ 3722 h 10610"/>
                <a:gd name="connsiteX9" fmla="*/ 2480 w 10187"/>
                <a:gd name="connsiteY9" fmla="*/ 3804 h 10610"/>
                <a:gd name="connsiteX10" fmla="*/ 2440 w 10187"/>
                <a:gd name="connsiteY10" fmla="*/ 3883 h 10610"/>
                <a:gd name="connsiteX11" fmla="*/ 2398 w 10187"/>
                <a:gd name="connsiteY11" fmla="*/ 3960 h 10610"/>
                <a:gd name="connsiteX12" fmla="*/ 2358 w 10187"/>
                <a:gd name="connsiteY12" fmla="*/ 4039 h 10610"/>
                <a:gd name="connsiteX13" fmla="*/ 2310 w 10187"/>
                <a:gd name="connsiteY13" fmla="*/ 4118 h 10610"/>
                <a:gd name="connsiteX14" fmla="*/ 2259 w 10187"/>
                <a:gd name="connsiteY14" fmla="*/ 4189 h 10610"/>
                <a:gd name="connsiteX15" fmla="*/ 2211 w 10187"/>
                <a:gd name="connsiteY15" fmla="*/ 4265 h 10610"/>
                <a:gd name="connsiteX16" fmla="*/ 2159 w 10187"/>
                <a:gd name="connsiteY16" fmla="*/ 4339 h 10610"/>
                <a:gd name="connsiteX17" fmla="*/ 2102 w 10187"/>
                <a:gd name="connsiteY17" fmla="*/ 4412 h 10610"/>
                <a:gd name="connsiteX18" fmla="*/ 2051 w 10187"/>
                <a:gd name="connsiteY18" fmla="*/ 4486 h 10610"/>
                <a:gd name="connsiteX19" fmla="*/ 1991 w 10187"/>
                <a:gd name="connsiteY19" fmla="*/ 4557 h 10610"/>
                <a:gd name="connsiteX20" fmla="*/ 1928 w 10187"/>
                <a:gd name="connsiteY20" fmla="*/ 4623 h 10610"/>
                <a:gd name="connsiteX21" fmla="*/ 1863 w 10187"/>
                <a:gd name="connsiteY21" fmla="*/ 4691 h 10610"/>
                <a:gd name="connsiteX22" fmla="*/ 1803 w 10187"/>
                <a:gd name="connsiteY22" fmla="*/ 4758 h 10610"/>
                <a:gd name="connsiteX23" fmla="*/ 1733 w 10187"/>
                <a:gd name="connsiteY23" fmla="*/ 4830 h 10610"/>
                <a:gd name="connsiteX24" fmla="*/ 1664 w 10187"/>
                <a:gd name="connsiteY24" fmla="*/ 4893 h 10610"/>
                <a:gd name="connsiteX25" fmla="*/ 1591 w 10187"/>
                <a:gd name="connsiteY25" fmla="*/ 4952 h 10610"/>
                <a:gd name="connsiteX26" fmla="*/ 1516 w 10187"/>
                <a:gd name="connsiteY26" fmla="*/ 5019 h 10610"/>
                <a:gd name="connsiteX27" fmla="*/ 1442 w 10187"/>
                <a:gd name="connsiteY27" fmla="*/ 5081 h 10610"/>
                <a:gd name="connsiteX28" fmla="*/ 1363 w 10187"/>
                <a:gd name="connsiteY28" fmla="*/ 5140 h 10610"/>
                <a:gd name="connsiteX29" fmla="*/ 1285 w 10187"/>
                <a:gd name="connsiteY29" fmla="*/ 5204 h 10610"/>
                <a:gd name="connsiteX30" fmla="*/ 1206 w 10187"/>
                <a:gd name="connsiteY30" fmla="*/ 5262 h 10610"/>
                <a:gd name="connsiteX31" fmla="*/ 1118 w 10187"/>
                <a:gd name="connsiteY31" fmla="*/ 5319 h 10610"/>
                <a:gd name="connsiteX32" fmla="*/ 1038 w 10187"/>
                <a:gd name="connsiteY32" fmla="*/ 5373 h 10610"/>
                <a:gd name="connsiteX33" fmla="*/ 951 w 10187"/>
                <a:gd name="connsiteY33" fmla="*/ 5429 h 10610"/>
                <a:gd name="connsiteX34" fmla="*/ 866 w 10187"/>
                <a:gd name="connsiteY34" fmla="*/ 5481 h 10610"/>
                <a:gd name="connsiteX35" fmla="*/ 771 w 10187"/>
                <a:gd name="connsiteY35" fmla="*/ 5534 h 10610"/>
                <a:gd name="connsiteX36" fmla="*/ 682 w 10187"/>
                <a:gd name="connsiteY36" fmla="*/ 5583 h 10610"/>
                <a:gd name="connsiteX37" fmla="*/ 589 w 10187"/>
                <a:gd name="connsiteY37" fmla="*/ 5633 h 10610"/>
                <a:gd name="connsiteX38" fmla="*/ 494 w 10187"/>
                <a:gd name="connsiteY38" fmla="*/ 5681 h 10610"/>
                <a:gd name="connsiteX39" fmla="*/ 396 w 10187"/>
                <a:gd name="connsiteY39" fmla="*/ 5725 h 10610"/>
                <a:gd name="connsiteX40" fmla="*/ 299 w 10187"/>
                <a:gd name="connsiteY40" fmla="*/ 5773 h 10610"/>
                <a:gd name="connsiteX41" fmla="*/ 204 w 10187"/>
                <a:gd name="connsiteY41" fmla="*/ 5816 h 10610"/>
                <a:gd name="connsiteX42" fmla="*/ 101 w 10187"/>
                <a:gd name="connsiteY42" fmla="*/ 5857 h 10610"/>
                <a:gd name="connsiteX43" fmla="*/ 0 w 10187"/>
                <a:gd name="connsiteY43" fmla="*/ 5897 h 10610"/>
                <a:gd name="connsiteX44" fmla="*/ 188 w 10187"/>
                <a:gd name="connsiteY44" fmla="*/ 8724 h 10610"/>
                <a:gd name="connsiteX45" fmla="*/ 3402 w 10187"/>
                <a:gd name="connsiteY45" fmla="*/ 10610 h 10610"/>
                <a:gd name="connsiteX46" fmla="*/ 3707 w 10187"/>
                <a:gd name="connsiteY46" fmla="*/ 10485 h 10610"/>
                <a:gd name="connsiteX47" fmla="*/ 3949 w 10187"/>
                <a:gd name="connsiteY47" fmla="*/ 10386 h 10610"/>
                <a:gd name="connsiteX48" fmla="*/ 4185 w 10187"/>
                <a:gd name="connsiteY48" fmla="*/ 10287 h 10610"/>
                <a:gd name="connsiteX49" fmla="*/ 4418 w 10187"/>
                <a:gd name="connsiteY49" fmla="*/ 10183 h 10610"/>
                <a:gd name="connsiteX50" fmla="*/ 4650 w 10187"/>
                <a:gd name="connsiteY50" fmla="*/ 10074 h 10610"/>
                <a:gd name="connsiteX51" fmla="*/ 4868 w 10187"/>
                <a:gd name="connsiteY51" fmla="*/ 9967 h 10610"/>
                <a:gd name="connsiteX52" fmla="*/ 5089 w 10187"/>
                <a:gd name="connsiteY52" fmla="*/ 9849 h 10610"/>
                <a:gd name="connsiteX53" fmla="*/ 5310 w 10187"/>
                <a:gd name="connsiteY53" fmla="*/ 9736 h 10610"/>
                <a:gd name="connsiteX54" fmla="*/ 5520 w 10187"/>
                <a:gd name="connsiteY54" fmla="*/ 9615 h 10610"/>
                <a:gd name="connsiteX55" fmla="*/ 5736 w 10187"/>
                <a:gd name="connsiteY55" fmla="*/ 9491 h 10610"/>
                <a:gd name="connsiteX56" fmla="*/ 5940 w 10187"/>
                <a:gd name="connsiteY56" fmla="*/ 9362 h 10610"/>
                <a:gd name="connsiteX57" fmla="*/ 6144 w 10187"/>
                <a:gd name="connsiteY57" fmla="*/ 9235 h 10610"/>
                <a:gd name="connsiteX58" fmla="*/ 6340 w 10187"/>
                <a:gd name="connsiteY58" fmla="*/ 9105 h 10610"/>
                <a:gd name="connsiteX59" fmla="*/ 6539 w 10187"/>
                <a:gd name="connsiteY59" fmla="*/ 8967 h 10610"/>
                <a:gd name="connsiteX60" fmla="*/ 6730 w 10187"/>
                <a:gd name="connsiteY60" fmla="*/ 8825 h 10610"/>
                <a:gd name="connsiteX61" fmla="*/ 6915 w 10187"/>
                <a:gd name="connsiteY61" fmla="*/ 8689 h 10610"/>
                <a:gd name="connsiteX62" fmla="*/ 7098 w 10187"/>
                <a:gd name="connsiteY62" fmla="*/ 8544 h 10610"/>
                <a:gd name="connsiteX63" fmla="*/ 7274 w 10187"/>
                <a:gd name="connsiteY63" fmla="*/ 8396 h 10610"/>
                <a:gd name="connsiteX64" fmla="*/ 7450 w 10187"/>
                <a:gd name="connsiteY64" fmla="*/ 8248 h 10610"/>
                <a:gd name="connsiteX65" fmla="*/ 7619 w 10187"/>
                <a:gd name="connsiteY65" fmla="*/ 8097 h 10610"/>
                <a:gd name="connsiteX66" fmla="*/ 7787 w 10187"/>
                <a:gd name="connsiteY66" fmla="*/ 7940 h 10610"/>
                <a:gd name="connsiteX67" fmla="*/ 7943 w 10187"/>
                <a:gd name="connsiteY67" fmla="*/ 7782 h 10610"/>
                <a:gd name="connsiteX68" fmla="*/ 8096 w 10187"/>
                <a:gd name="connsiteY68" fmla="*/ 7623 h 10610"/>
                <a:gd name="connsiteX69" fmla="*/ 8251 w 10187"/>
                <a:gd name="connsiteY69" fmla="*/ 7463 h 10610"/>
                <a:gd name="connsiteX70" fmla="*/ 8394 w 10187"/>
                <a:gd name="connsiteY70" fmla="*/ 7296 h 10610"/>
                <a:gd name="connsiteX71" fmla="*/ 8534 w 10187"/>
                <a:gd name="connsiteY71" fmla="*/ 7132 h 10610"/>
                <a:gd name="connsiteX72" fmla="*/ 8670 w 10187"/>
                <a:gd name="connsiteY72" fmla="*/ 6962 h 10610"/>
                <a:gd name="connsiteX73" fmla="*/ 8796 w 10187"/>
                <a:gd name="connsiteY73" fmla="*/ 6788 h 10610"/>
                <a:gd name="connsiteX74" fmla="*/ 8920 w 10187"/>
                <a:gd name="connsiteY74" fmla="*/ 6614 h 10610"/>
                <a:gd name="connsiteX75" fmla="*/ 9046 w 10187"/>
                <a:gd name="connsiteY75" fmla="*/ 6440 h 10610"/>
                <a:gd name="connsiteX76" fmla="*/ 9164 w 10187"/>
                <a:gd name="connsiteY76" fmla="*/ 6262 h 10610"/>
                <a:gd name="connsiteX77" fmla="*/ 9268 w 10187"/>
                <a:gd name="connsiteY77" fmla="*/ 6084 h 10610"/>
                <a:gd name="connsiteX78" fmla="*/ 9375 w 10187"/>
                <a:gd name="connsiteY78" fmla="*/ 5902 h 10610"/>
                <a:gd name="connsiteX79" fmla="*/ 9470 w 10187"/>
                <a:gd name="connsiteY79" fmla="*/ 5716 h 10610"/>
                <a:gd name="connsiteX80" fmla="*/ 9566 w 10187"/>
                <a:gd name="connsiteY80" fmla="*/ 5533 h 10610"/>
                <a:gd name="connsiteX81" fmla="*/ 9650 w 10187"/>
                <a:gd name="connsiteY81" fmla="*/ 5344 h 10610"/>
                <a:gd name="connsiteX82" fmla="*/ 9731 w 10187"/>
                <a:gd name="connsiteY82" fmla="*/ 5153 h 10610"/>
                <a:gd name="connsiteX83" fmla="*/ 9805 w 10187"/>
                <a:gd name="connsiteY83" fmla="*/ 4961 h 10610"/>
                <a:gd name="connsiteX84" fmla="*/ 9878 w 10187"/>
                <a:gd name="connsiteY84" fmla="*/ 4771 h 10610"/>
                <a:gd name="connsiteX85" fmla="*/ 9940 w 10187"/>
                <a:gd name="connsiteY85" fmla="*/ 4578 h 10610"/>
                <a:gd name="connsiteX86" fmla="*/ 9999 w 10187"/>
                <a:gd name="connsiteY86" fmla="*/ 4381 h 10610"/>
                <a:gd name="connsiteX87" fmla="*/ 9736 w 10187"/>
                <a:gd name="connsiteY87" fmla="*/ 0 h 10610"/>
                <a:gd name="connsiteX88" fmla="*/ 6509 w 10187"/>
                <a:gd name="connsiteY88" fmla="*/ 1883 h 10610"/>
                <a:gd name="connsiteX89" fmla="*/ 2524 w 10187"/>
                <a:gd name="connsiteY89" fmla="*/ 1506 h 10610"/>
                <a:gd name="connsiteX0" fmla="*/ 2524 w 10187"/>
                <a:gd name="connsiteY0" fmla="*/ 1506 h 10610"/>
                <a:gd name="connsiteX1" fmla="*/ 2693 w 10187"/>
                <a:gd name="connsiteY1" fmla="*/ 3145 h 10610"/>
                <a:gd name="connsiteX2" fmla="*/ 2678 w 10187"/>
                <a:gd name="connsiteY2" fmla="*/ 3230 h 10610"/>
                <a:gd name="connsiteX3" fmla="*/ 2655 w 10187"/>
                <a:gd name="connsiteY3" fmla="*/ 3314 h 10610"/>
                <a:gd name="connsiteX4" fmla="*/ 2634 w 10187"/>
                <a:gd name="connsiteY4" fmla="*/ 3399 h 10610"/>
                <a:gd name="connsiteX5" fmla="*/ 2607 w 10187"/>
                <a:gd name="connsiteY5" fmla="*/ 3479 h 10610"/>
                <a:gd name="connsiteX6" fmla="*/ 2573 w 10187"/>
                <a:gd name="connsiteY6" fmla="*/ 3560 h 10610"/>
                <a:gd name="connsiteX7" fmla="*/ 2542 w 10187"/>
                <a:gd name="connsiteY7" fmla="*/ 3643 h 10610"/>
                <a:gd name="connsiteX8" fmla="*/ 2514 w 10187"/>
                <a:gd name="connsiteY8" fmla="*/ 3722 h 10610"/>
                <a:gd name="connsiteX9" fmla="*/ 2480 w 10187"/>
                <a:gd name="connsiteY9" fmla="*/ 3804 h 10610"/>
                <a:gd name="connsiteX10" fmla="*/ 2440 w 10187"/>
                <a:gd name="connsiteY10" fmla="*/ 3883 h 10610"/>
                <a:gd name="connsiteX11" fmla="*/ 2398 w 10187"/>
                <a:gd name="connsiteY11" fmla="*/ 3960 h 10610"/>
                <a:gd name="connsiteX12" fmla="*/ 2358 w 10187"/>
                <a:gd name="connsiteY12" fmla="*/ 4039 h 10610"/>
                <a:gd name="connsiteX13" fmla="*/ 2310 w 10187"/>
                <a:gd name="connsiteY13" fmla="*/ 4118 h 10610"/>
                <a:gd name="connsiteX14" fmla="*/ 2259 w 10187"/>
                <a:gd name="connsiteY14" fmla="*/ 4189 h 10610"/>
                <a:gd name="connsiteX15" fmla="*/ 2211 w 10187"/>
                <a:gd name="connsiteY15" fmla="*/ 4265 h 10610"/>
                <a:gd name="connsiteX16" fmla="*/ 2159 w 10187"/>
                <a:gd name="connsiteY16" fmla="*/ 4339 h 10610"/>
                <a:gd name="connsiteX17" fmla="*/ 2102 w 10187"/>
                <a:gd name="connsiteY17" fmla="*/ 4412 h 10610"/>
                <a:gd name="connsiteX18" fmla="*/ 2051 w 10187"/>
                <a:gd name="connsiteY18" fmla="*/ 4486 h 10610"/>
                <a:gd name="connsiteX19" fmla="*/ 1991 w 10187"/>
                <a:gd name="connsiteY19" fmla="*/ 4557 h 10610"/>
                <a:gd name="connsiteX20" fmla="*/ 1928 w 10187"/>
                <a:gd name="connsiteY20" fmla="*/ 4623 h 10610"/>
                <a:gd name="connsiteX21" fmla="*/ 1863 w 10187"/>
                <a:gd name="connsiteY21" fmla="*/ 4691 h 10610"/>
                <a:gd name="connsiteX22" fmla="*/ 1803 w 10187"/>
                <a:gd name="connsiteY22" fmla="*/ 4758 h 10610"/>
                <a:gd name="connsiteX23" fmla="*/ 1733 w 10187"/>
                <a:gd name="connsiteY23" fmla="*/ 4830 h 10610"/>
                <a:gd name="connsiteX24" fmla="*/ 1664 w 10187"/>
                <a:gd name="connsiteY24" fmla="*/ 4893 h 10610"/>
                <a:gd name="connsiteX25" fmla="*/ 1591 w 10187"/>
                <a:gd name="connsiteY25" fmla="*/ 4952 h 10610"/>
                <a:gd name="connsiteX26" fmla="*/ 1516 w 10187"/>
                <a:gd name="connsiteY26" fmla="*/ 5019 h 10610"/>
                <a:gd name="connsiteX27" fmla="*/ 1442 w 10187"/>
                <a:gd name="connsiteY27" fmla="*/ 5081 h 10610"/>
                <a:gd name="connsiteX28" fmla="*/ 1363 w 10187"/>
                <a:gd name="connsiteY28" fmla="*/ 5140 h 10610"/>
                <a:gd name="connsiteX29" fmla="*/ 1285 w 10187"/>
                <a:gd name="connsiteY29" fmla="*/ 5204 h 10610"/>
                <a:gd name="connsiteX30" fmla="*/ 1206 w 10187"/>
                <a:gd name="connsiteY30" fmla="*/ 5262 h 10610"/>
                <a:gd name="connsiteX31" fmla="*/ 1118 w 10187"/>
                <a:gd name="connsiteY31" fmla="*/ 5319 h 10610"/>
                <a:gd name="connsiteX32" fmla="*/ 1038 w 10187"/>
                <a:gd name="connsiteY32" fmla="*/ 5373 h 10610"/>
                <a:gd name="connsiteX33" fmla="*/ 951 w 10187"/>
                <a:gd name="connsiteY33" fmla="*/ 5429 h 10610"/>
                <a:gd name="connsiteX34" fmla="*/ 866 w 10187"/>
                <a:gd name="connsiteY34" fmla="*/ 5481 h 10610"/>
                <a:gd name="connsiteX35" fmla="*/ 771 w 10187"/>
                <a:gd name="connsiteY35" fmla="*/ 5534 h 10610"/>
                <a:gd name="connsiteX36" fmla="*/ 682 w 10187"/>
                <a:gd name="connsiteY36" fmla="*/ 5583 h 10610"/>
                <a:gd name="connsiteX37" fmla="*/ 589 w 10187"/>
                <a:gd name="connsiteY37" fmla="*/ 5633 h 10610"/>
                <a:gd name="connsiteX38" fmla="*/ 494 w 10187"/>
                <a:gd name="connsiteY38" fmla="*/ 5681 h 10610"/>
                <a:gd name="connsiteX39" fmla="*/ 396 w 10187"/>
                <a:gd name="connsiteY39" fmla="*/ 5725 h 10610"/>
                <a:gd name="connsiteX40" fmla="*/ 299 w 10187"/>
                <a:gd name="connsiteY40" fmla="*/ 5773 h 10610"/>
                <a:gd name="connsiteX41" fmla="*/ 204 w 10187"/>
                <a:gd name="connsiteY41" fmla="*/ 5816 h 10610"/>
                <a:gd name="connsiteX42" fmla="*/ 101 w 10187"/>
                <a:gd name="connsiteY42" fmla="*/ 5857 h 10610"/>
                <a:gd name="connsiteX43" fmla="*/ 0 w 10187"/>
                <a:gd name="connsiteY43" fmla="*/ 5897 h 10610"/>
                <a:gd name="connsiteX44" fmla="*/ 188 w 10187"/>
                <a:gd name="connsiteY44" fmla="*/ 8724 h 10610"/>
                <a:gd name="connsiteX45" fmla="*/ 3402 w 10187"/>
                <a:gd name="connsiteY45" fmla="*/ 10610 h 10610"/>
                <a:gd name="connsiteX46" fmla="*/ 3707 w 10187"/>
                <a:gd name="connsiteY46" fmla="*/ 10485 h 10610"/>
                <a:gd name="connsiteX47" fmla="*/ 3949 w 10187"/>
                <a:gd name="connsiteY47" fmla="*/ 10386 h 10610"/>
                <a:gd name="connsiteX48" fmla="*/ 4185 w 10187"/>
                <a:gd name="connsiteY48" fmla="*/ 10287 h 10610"/>
                <a:gd name="connsiteX49" fmla="*/ 4418 w 10187"/>
                <a:gd name="connsiteY49" fmla="*/ 10183 h 10610"/>
                <a:gd name="connsiteX50" fmla="*/ 4650 w 10187"/>
                <a:gd name="connsiteY50" fmla="*/ 10074 h 10610"/>
                <a:gd name="connsiteX51" fmla="*/ 4868 w 10187"/>
                <a:gd name="connsiteY51" fmla="*/ 9967 h 10610"/>
                <a:gd name="connsiteX52" fmla="*/ 5089 w 10187"/>
                <a:gd name="connsiteY52" fmla="*/ 9849 h 10610"/>
                <a:gd name="connsiteX53" fmla="*/ 5310 w 10187"/>
                <a:gd name="connsiteY53" fmla="*/ 9736 h 10610"/>
                <a:gd name="connsiteX54" fmla="*/ 5520 w 10187"/>
                <a:gd name="connsiteY54" fmla="*/ 9615 h 10610"/>
                <a:gd name="connsiteX55" fmla="*/ 5736 w 10187"/>
                <a:gd name="connsiteY55" fmla="*/ 9491 h 10610"/>
                <a:gd name="connsiteX56" fmla="*/ 5940 w 10187"/>
                <a:gd name="connsiteY56" fmla="*/ 9362 h 10610"/>
                <a:gd name="connsiteX57" fmla="*/ 6144 w 10187"/>
                <a:gd name="connsiteY57" fmla="*/ 9235 h 10610"/>
                <a:gd name="connsiteX58" fmla="*/ 6340 w 10187"/>
                <a:gd name="connsiteY58" fmla="*/ 9105 h 10610"/>
                <a:gd name="connsiteX59" fmla="*/ 6539 w 10187"/>
                <a:gd name="connsiteY59" fmla="*/ 8967 h 10610"/>
                <a:gd name="connsiteX60" fmla="*/ 6730 w 10187"/>
                <a:gd name="connsiteY60" fmla="*/ 8825 h 10610"/>
                <a:gd name="connsiteX61" fmla="*/ 6915 w 10187"/>
                <a:gd name="connsiteY61" fmla="*/ 8689 h 10610"/>
                <a:gd name="connsiteX62" fmla="*/ 7098 w 10187"/>
                <a:gd name="connsiteY62" fmla="*/ 8544 h 10610"/>
                <a:gd name="connsiteX63" fmla="*/ 7274 w 10187"/>
                <a:gd name="connsiteY63" fmla="*/ 8396 h 10610"/>
                <a:gd name="connsiteX64" fmla="*/ 7450 w 10187"/>
                <a:gd name="connsiteY64" fmla="*/ 8248 h 10610"/>
                <a:gd name="connsiteX65" fmla="*/ 7619 w 10187"/>
                <a:gd name="connsiteY65" fmla="*/ 8097 h 10610"/>
                <a:gd name="connsiteX66" fmla="*/ 7787 w 10187"/>
                <a:gd name="connsiteY66" fmla="*/ 7940 h 10610"/>
                <a:gd name="connsiteX67" fmla="*/ 7943 w 10187"/>
                <a:gd name="connsiteY67" fmla="*/ 7782 h 10610"/>
                <a:gd name="connsiteX68" fmla="*/ 8096 w 10187"/>
                <a:gd name="connsiteY68" fmla="*/ 7623 h 10610"/>
                <a:gd name="connsiteX69" fmla="*/ 8251 w 10187"/>
                <a:gd name="connsiteY69" fmla="*/ 7463 h 10610"/>
                <a:gd name="connsiteX70" fmla="*/ 8394 w 10187"/>
                <a:gd name="connsiteY70" fmla="*/ 7296 h 10610"/>
                <a:gd name="connsiteX71" fmla="*/ 8534 w 10187"/>
                <a:gd name="connsiteY71" fmla="*/ 7132 h 10610"/>
                <a:gd name="connsiteX72" fmla="*/ 8670 w 10187"/>
                <a:gd name="connsiteY72" fmla="*/ 6962 h 10610"/>
                <a:gd name="connsiteX73" fmla="*/ 8796 w 10187"/>
                <a:gd name="connsiteY73" fmla="*/ 6788 h 10610"/>
                <a:gd name="connsiteX74" fmla="*/ 8920 w 10187"/>
                <a:gd name="connsiteY74" fmla="*/ 6614 h 10610"/>
                <a:gd name="connsiteX75" fmla="*/ 9046 w 10187"/>
                <a:gd name="connsiteY75" fmla="*/ 6440 h 10610"/>
                <a:gd name="connsiteX76" fmla="*/ 9164 w 10187"/>
                <a:gd name="connsiteY76" fmla="*/ 6262 h 10610"/>
                <a:gd name="connsiteX77" fmla="*/ 9268 w 10187"/>
                <a:gd name="connsiteY77" fmla="*/ 6084 h 10610"/>
                <a:gd name="connsiteX78" fmla="*/ 9375 w 10187"/>
                <a:gd name="connsiteY78" fmla="*/ 5902 h 10610"/>
                <a:gd name="connsiteX79" fmla="*/ 9470 w 10187"/>
                <a:gd name="connsiteY79" fmla="*/ 5716 h 10610"/>
                <a:gd name="connsiteX80" fmla="*/ 9566 w 10187"/>
                <a:gd name="connsiteY80" fmla="*/ 5533 h 10610"/>
                <a:gd name="connsiteX81" fmla="*/ 9650 w 10187"/>
                <a:gd name="connsiteY81" fmla="*/ 5344 h 10610"/>
                <a:gd name="connsiteX82" fmla="*/ 9731 w 10187"/>
                <a:gd name="connsiteY82" fmla="*/ 5153 h 10610"/>
                <a:gd name="connsiteX83" fmla="*/ 9805 w 10187"/>
                <a:gd name="connsiteY83" fmla="*/ 4961 h 10610"/>
                <a:gd name="connsiteX84" fmla="*/ 9878 w 10187"/>
                <a:gd name="connsiteY84" fmla="*/ 4771 h 10610"/>
                <a:gd name="connsiteX85" fmla="*/ 9940 w 10187"/>
                <a:gd name="connsiteY85" fmla="*/ 4578 h 10610"/>
                <a:gd name="connsiteX86" fmla="*/ 9999 w 10187"/>
                <a:gd name="connsiteY86" fmla="*/ 4381 h 10610"/>
                <a:gd name="connsiteX87" fmla="*/ 9736 w 10187"/>
                <a:gd name="connsiteY87" fmla="*/ 0 h 10610"/>
                <a:gd name="connsiteX88" fmla="*/ 6509 w 10187"/>
                <a:gd name="connsiteY88" fmla="*/ 1883 h 10610"/>
                <a:gd name="connsiteX89" fmla="*/ 2524 w 10187"/>
                <a:gd name="connsiteY89" fmla="*/ 1506 h 10610"/>
                <a:gd name="connsiteX0" fmla="*/ 2524 w 10249"/>
                <a:gd name="connsiteY0" fmla="*/ 1506 h 10610"/>
                <a:gd name="connsiteX1" fmla="*/ 2693 w 10249"/>
                <a:gd name="connsiteY1" fmla="*/ 3145 h 10610"/>
                <a:gd name="connsiteX2" fmla="*/ 2678 w 10249"/>
                <a:gd name="connsiteY2" fmla="*/ 3230 h 10610"/>
                <a:gd name="connsiteX3" fmla="*/ 2655 w 10249"/>
                <a:gd name="connsiteY3" fmla="*/ 3314 h 10610"/>
                <a:gd name="connsiteX4" fmla="*/ 2634 w 10249"/>
                <a:gd name="connsiteY4" fmla="*/ 3399 h 10610"/>
                <a:gd name="connsiteX5" fmla="*/ 2607 w 10249"/>
                <a:gd name="connsiteY5" fmla="*/ 3479 h 10610"/>
                <a:gd name="connsiteX6" fmla="*/ 2573 w 10249"/>
                <a:gd name="connsiteY6" fmla="*/ 3560 h 10610"/>
                <a:gd name="connsiteX7" fmla="*/ 2542 w 10249"/>
                <a:gd name="connsiteY7" fmla="*/ 3643 h 10610"/>
                <a:gd name="connsiteX8" fmla="*/ 2514 w 10249"/>
                <a:gd name="connsiteY8" fmla="*/ 3722 h 10610"/>
                <a:gd name="connsiteX9" fmla="*/ 2480 w 10249"/>
                <a:gd name="connsiteY9" fmla="*/ 3804 h 10610"/>
                <a:gd name="connsiteX10" fmla="*/ 2440 w 10249"/>
                <a:gd name="connsiteY10" fmla="*/ 3883 h 10610"/>
                <a:gd name="connsiteX11" fmla="*/ 2398 w 10249"/>
                <a:gd name="connsiteY11" fmla="*/ 3960 h 10610"/>
                <a:gd name="connsiteX12" fmla="*/ 2358 w 10249"/>
                <a:gd name="connsiteY12" fmla="*/ 4039 h 10610"/>
                <a:gd name="connsiteX13" fmla="*/ 2310 w 10249"/>
                <a:gd name="connsiteY13" fmla="*/ 4118 h 10610"/>
                <a:gd name="connsiteX14" fmla="*/ 2259 w 10249"/>
                <a:gd name="connsiteY14" fmla="*/ 4189 h 10610"/>
                <a:gd name="connsiteX15" fmla="*/ 2211 w 10249"/>
                <a:gd name="connsiteY15" fmla="*/ 4265 h 10610"/>
                <a:gd name="connsiteX16" fmla="*/ 2159 w 10249"/>
                <a:gd name="connsiteY16" fmla="*/ 4339 h 10610"/>
                <a:gd name="connsiteX17" fmla="*/ 2102 w 10249"/>
                <a:gd name="connsiteY17" fmla="*/ 4412 h 10610"/>
                <a:gd name="connsiteX18" fmla="*/ 2051 w 10249"/>
                <a:gd name="connsiteY18" fmla="*/ 4486 h 10610"/>
                <a:gd name="connsiteX19" fmla="*/ 1991 w 10249"/>
                <a:gd name="connsiteY19" fmla="*/ 4557 h 10610"/>
                <a:gd name="connsiteX20" fmla="*/ 1928 w 10249"/>
                <a:gd name="connsiteY20" fmla="*/ 4623 h 10610"/>
                <a:gd name="connsiteX21" fmla="*/ 1863 w 10249"/>
                <a:gd name="connsiteY21" fmla="*/ 4691 h 10610"/>
                <a:gd name="connsiteX22" fmla="*/ 1803 w 10249"/>
                <a:gd name="connsiteY22" fmla="*/ 4758 h 10610"/>
                <a:gd name="connsiteX23" fmla="*/ 1733 w 10249"/>
                <a:gd name="connsiteY23" fmla="*/ 4830 h 10610"/>
                <a:gd name="connsiteX24" fmla="*/ 1664 w 10249"/>
                <a:gd name="connsiteY24" fmla="*/ 4893 h 10610"/>
                <a:gd name="connsiteX25" fmla="*/ 1591 w 10249"/>
                <a:gd name="connsiteY25" fmla="*/ 4952 h 10610"/>
                <a:gd name="connsiteX26" fmla="*/ 1516 w 10249"/>
                <a:gd name="connsiteY26" fmla="*/ 5019 h 10610"/>
                <a:gd name="connsiteX27" fmla="*/ 1442 w 10249"/>
                <a:gd name="connsiteY27" fmla="*/ 5081 h 10610"/>
                <a:gd name="connsiteX28" fmla="*/ 1363 w 10249"/>
                <a:gd name="connsiteY28" fmla="*/ 5140 h 10610"/>
                <a:gd name="connsiteX29" fmla="*/ 1285 w 10249"/>
                <a:gd name="connsiteY29" fmla="*/ 5204 h 10610"/>
                <a:gd name="connsiteX30" fmla="*/ 1206 w 10249"/>
                <a:gd name="connsiteY30" fmla="*/ 5262 h 10610"/>
                <a:gd name="connsiteX31" fmla="*/ 1118 w 10249"/>
                <a:gd name="connsiteY31" fmla="*/ 5319 h 10610"/>
                <a:gd name="connsiteX32" fmla="*/ 1038 w 10249"/>
                <a:gd name="connsiteY32" fmla="*/ 5373 h 10610"/>
                <a:gd name="connsiteX33" fmla="*/ 951 w 10249"/>
                <a:gd name="connsiteY33" fmla="*/ 5429 h 10610"/>
                <a:gd name="connsiteX34" fmla="*/ 866 w 10249"/>
                <a:gd name="connsiteY34" fmla="*/ 5481 h 10610"/>
                <a:gd name="connsiteX35" fmla="*/ 771 w 10249"/>
                <a:gd name="connsiteY35" fmla="*/ 5534 h 10610"/>
                <a:gd name="connsiteX36" fmla="*/ 682 w 10249"/>
                <a:gd name="connsiteY36" fmla="*/ 5583 h 10610"/>
                <a:gd name="connsiteX37" fmla="*/ 589 w 10249"/>
                <a:gd name="connsiteY37" fmla="*/ 5633 h 10610"/>
                <a:gd name="connsiteX38" fmla="*/ 494 w 10249"/>
                <a:gd name="connsiteY38" fmla="*/ 5681 h 10610"/>
                <a:gd name="connsiteX39" fmla="*/ 396 w 10249"/>
                <a:gd name="connsiteY39" fmla="*/ 5725 h 10610"/>
                <a:gd name="connsiteX40" fmla="*/ 299 w 10249"/>
                <a:gd name="connsiteY40" fmla="*/ 5773 h 10610"/>
                <a:gd name="connsiteX41" fmla="*/ 204 w 10249"/>
                <a:gd name="connsiteY41" fmla="*/ 5816 h 10610"/>
                <a:gd name="connsiteX42" fmla="*/ 101 w 10249"/>
                <a:gd name="connsiteY42" fmla="*/ 5857 h 10610"/>
                <a:gd name="connsiteX43" fmla="*/ 0 w 10249"/>
                <a:gd name="connsiteY43" fmla="*/ 5897 h 10610"/>
                <a:gd name="connsiteX44" fmla="*/ 188 w 10249"/>
                <a:gd name="connsiteY44" fmla="*/ 8724 h 10610"/>
                <a:gd name="connsiteX45" fmla="*/ 3402 w 10249"/>
                <a:gd name="connsiteY45" fmla="*/ 10610 h 10610"/>
                <a:gd name="connsiteX46" fmla="*/ 3707 w 10249"/>
                <a:gd name="connsiteY46" fmla="*/ 10485 h 10610"/>
                <a:gd name="connsiteX47" fmla="*/ 3949 w 10249"/>
                <a:gd name="connsiteY47" fmla="*/ 10386 h 10610"/>
                <a:gd name="connsiteX48" fmla="*/ 4185 w 10249"/>
                <a:gd name="connsiteY48" fmla="*/ 10287 h 10610"/>
                <a:gd name="connsiteX49" fmla="*/ 4418 w 10249"/>
                <a:gd name="connsiteY49" fmla="*/ 10183 h 10610"/>
                <a:gd name="connsiteX50" fmla="*/ 4650 w 10249"/>
                <a:gd name="connsiteY50" fmla="*/ 10074 h 10610"/>
                <a:gd name="connsiteX51" fmla="*/ 4868 w 10249"/>
                <a:gd name="connsiteY51" fmla="*/ 9967 h 10610"/>
                <a:gd name="connsiteX52" fmla="*/ 5089 w 10249"/>
                <a:gd name="connsiteY52" fmla="*/ 9849 h 10610"/>
                <a:gd name="connsiteX53" fmla="*/ 5310 w 10249"/>
                <a:gd name="connsiteY53" fmla="*/ 9736 h 10610"/>
                <a:gd name="connsiteX54" fmla="*/ 5520 w 10249"/>
                <a:gd name="connsiteY54" fmla="*/ 9615 h 10610"/>
                <a:gd name="connsiteX55" fmla="*/ 5736 w 10249"/>
                <a:gd name="connsiteY55" fmla="*/ 9491 h 10610"/>
                <a:gd name="connsiteX56" fmla="*/ 5940 w 10249"/>
                <a:gd name="connsiteY56" fmla="*/ 9362 h 10610"/>
                <a:gd name="connsiteX57" fmla="*/ 6144 w 10249"/>
                <a:gd name="connsiteY57" fmla="*/ 9235 h 10610"/>
                <a:gd name="connsiteX58" fmla="*/ 6340 w 10249"/>
                <a:gd name="connsiteY58" fmla="*/ 9105 h 10610"/>
                <a:gd name="connsiteX59" fmla="*/ 6539 w 10249"/>
                <a:gd name="connsiteY59" fmla="*/ 8967 h 10610"/>
                <a:gd name="connsiteX60" fmla="*/ 6730 w 10249"/>
                <a:gd name="connsiteY60" fmla="*/ 8825 h 10610"/>
                <a:gd name="connsiteX61" fmla="*/ 6915 w 10249"/>
                <a:gd name="connsiteY61" fmla="*/ 8689 h 10610"/>
                <a:gd name="connsiteX62" fmla="*/ 7098 w 10249"/>
                <a:gd name="connsiteY62" fmla="*/ 8544 h 10610"/>
                <a:gd name="connsiteX63" fmla="*/ 7274 w 10249"/>
                <a:gd name="connsiteY63" fmla="*/ 8396 h 10610"/>
                <a:gd name="connsiteX64" fmla="*/ 7450 w 10249"/>
                <a:gd name="connsiteY64" fmla="*/ 8248 h 10610"/>
                <a:gd name="connsiteX65" fmla="*/ 7619 w 10249"/>
                <a:gd name="connsiteY65" fmla="*/ 8097 h 10610"/>
                <a:gd name="connsiteX66" fmla="*/ 7787 w 10249"/>
                <a:gd name="connsiteY66" fmla="*/ 7940 h 10610"/>
                <a:gd name="connsiteX67" fmla="*/ 7943 w 10249"/>
                <a:gd name="connsiteY67" fmla="*/ 7782 h 10610"/>
                <a:gd name="connsiteX68" fmla="*/ 8096 w 10249"/>
                <a:gd name="connsiteY68" fmla="*/ 7623 h 10610"/>
                <a:gd name="connsiteX69" fmla="*/ 8251 w 10249"/>
                <a:gd name="connsiteY69" fmla="*/ 7463 h 10610"/>
                <a:gd name="connsiteX70" fmla="*/ 8394 w 10249"/>
                <a:gd name="connsiteY70" fmla="*/ 7296 h 10610"/>
                <a:gd name="connsiteX71" fmla="*/ 8534 w 10249"/>
                <a:gd name="connsiteY71" fmla="*/ 7132 h 10610"/>
                <a:gd name="connsiteX72" fmla="*/ 8670 w 10249"/>
                <a:gd name="connsiteY72" fmla="*/ 6962 h 10610"/>
                <a:gd name="connsiteX73" fmla="*/ 8796 w 10249"/>
                <a:gd name="connsiteY73" fmla="*/ 6788 h 10610"/>
                <a:gd name="connsiteX74" fmla="*/ 8920 w 10249"/>
                <a:gd name="connsiteY74" fmla="*/ 6614 h 10610"/>
                <a:gd name="connsiteX75" fmla="*/ 9046 w 10249"/>
                <a:gd name="connsiteY75" fmla="*/ 6440 h 10610"/>
                <a:gd name="connsiteX76" fmla="*/ 9164 w 10249"/>
                <a:gd name="connsiteY76" fmla="*/ 6262 h 10610"/>
                <a:gd name="connsiteX77" fmla="*/ 9268 w 10249"/>
                <a:gd name="connsiteY77" fmla="*/ 6084 h 10610"/>
                <a:gd name="connsiteX78" fmla="*/ 9375 w 10249"/>
                <a:gd name="connsiteY78" fmla="*/ 5902 h 10610"/>
                <a:gd name="connsiteX79" fmla="*/ 9470 w 10249"/>
                <a:gd name="connsiteY79" fmla="*/ 5716 h 10610"/>
                <a:gd name="connsiteX80" fmla="*/ 9566 w 10249"/>
                <a:gd name="connsiteY80" fmla="*/ 5533 h 10610"/>
                <a:gd name="connsiteX81" fmla="*/ 9650 w 10249"/>
                <a:gd name="connsiteY81" fmla="*/ 5344 h 10610"/>
                <a:gd name="connsiteX82" fmla="*/ 9731 w 10249"/>
                <a:gd name="connsiteY82" fmla="*/ 5153 h 10610"/>
                <a:gd name="connsiteX83" fmla="*/ 9805 w 10249"/>
                <a:gd name="connsiteY83" fmla="*/ 4961 h 10610"/>
                <a:gd name="connsiteX84" fmla="*/ 9878 w 10249"/>
                <a:gd name="connsiteY84" fmla="*/ 4771 h 10610"/>
                <a:gd name="connsiteX85" fmla="*/ 9940 w 10249"/>
                <a:gd name="connsiteY85" fmla="*/ 4578 h 10610"/>
                <a:gd name="connsiteX86" fmla="*/ 9999 w 10249"/>
                <a:gd name="connsiteY86" fmla="*/ 4381 h 10610"/>
                <a:gd name="connsiteX87" fmla="*/ 9736 w 10249"/>
                <a:gd name="connsiteY87" fmla="*/ 0 h 10610"/>
                <a:gd name="connsiteX88" fmla="*/ 6509 w 10249"/>
                <a:gd name="connsiteY88" fmla="*/ 1883 h 10610"/>
                <a:gd name="connsiteX89" fmla="*/ 2524 w 10249"/>
                <a:gd name="connsiteY89" fmla="*/ 1506 h 10610"/>
                <a:gd name="connsiteX0" fmla="*/ 2524 w 10235"/>
                <a:gd name="connsiteY0" fmla="*/ 1506 h 10610"/>
                <a:gd name="connsiteX1" fmla="*/ 2693 w 10235"/>
                <a:gd name="connsiteY1" fmla="*/ 3145 h 10610"/>
                <a:gd name="connsiteX2" fmla="*/ 2678 w 10235"/>
                <a:gd name="connsiteY2" fmla="*/ 3230 h 10610"/>
                <a:gd name="connsiteX3" fmla="*/ 2655 w 10235"/>
                <a:gd name="connsiteY3" fmla="*/ 3314 h 10610"/>
                <a:gd name="connsiteX4" fmla="*/ 2634 w 10235"/>
                <a:gd name="connsiteY4" fmla="*/ 3399 h 10610"/>
                <a:gd name="connsiteX5" fmla="*/ 2607 w 10235"/>
                <a:gd name="connsiteY5" fmla="*/ 3479 h 10610"/>
                <a:gd name="connsiteX6" fmla="*/ 2573 w 10235"/>
                <a:gd name="connsiteY6" fmla="*/ 3560 h 10610"/>
                <a:gd name="connsiteX7" fmla="*/ 2542 w 10235"/>
                <a:gd name="connsiteY7" fmla="*/ 3643 h 10610"/>
                <a:gd name="connsiteX8" fmla="*/ 2514 w 10235"/>
                <a:gd name="connsiteY8" fmla="*/ 3722 h 10610"/>
                <a:gd name="connsiteX9" fmla="*/ 2480 w 10235"/>
                <a:gd name="connsiteY9" fmla="*/ 3804 h 10610"/>
                <a:gd name="connsiteX10" fmla="*/ 2440 w 10235"/>
                <a:gd name="connsiteY10" fmla="*/ 3883 h 10610"/>
                <a:gd name="connsiteX11" fmla="*/ 2398 w 10235"/>
                <a:gd name="connsiteY11" fmla="*/ 3960 h 10610"/>
                <a:gd name="connsiteX12" fmla="*/ 2358 w 10235"/>
                <a:gd name="connsiteY12" fmla="*/ 4039 h 10610"/>
                <a:gd name="connsiteX13" fmla="*/ 2310 w 10235"/>
                <a:gd name="connsiteY13" fmla="*/ 4118 h 10610"/>
                <a:gd name="connsiteX14" fmla="*/ 2259 w 10235"/>
                <a:gd name="connsiteY14" fmla="*/ 4189 h 10610"/>
                <a:gd name="connsiteX15" fmla="*/ 2211 w 10235"/>
                <a:gd name="connsiteY15" fmla="*/ 4265 h 10610"/>
                <a:gd name="connsiteX16" fmla="*/ 2159 w 10235"/>
                <a:gd name="connsiteY16" fmla="*/ 4339 h 10610"/>
                <a:gd name="connsiteX17" fmla="*/ 2102 w 10235"/>
                <a:gd name="connsiteY17" fmla="*/ 4412 h 10610"/>
                <a:gd name="connsiteX18" fmla="*/ 2051 w 10235"/>
                <a:gd name="connsiteY18" fmla="*/ 4486 h 10610"/>
                <a:gd name="connsiteX19" fmla="*/ 1991 w 10235"/>
                <a:gd name="connsiteY19" fmla="*/ 4557 h 10610"/>
                <a:gd name="connsiteX20" fmla="*/ 1928 w 10235"/>
                <a:gd name="connsiteY20" fmla="*/ 4623 h 10610"/>
                <a:gd name="connsiteX21" fmla="*/ 1863 w 10235"/>
                <a:gd name="connsiteY21" fmla="*/ 4691 h 10610"/>
                <a:gd name="connsiteX22" fmla="*/ 1803 w 10235"/>
                <a:gd name="connsiteY22" fmla="*/ 4758 h 10610"/>
                <a:gd name="connsiteX23" fmla="*/ 1733 w 10235"/>
                <a:gd name="connsiteY23" fmla="*/ 4830 h 10610"/>
                <a:gd name="connsiteX24" fmla="*/ 1664 w 10235"/>
                <a:gd name="connsiteY24" fmla="*/ 4893 h 10610"/>
                <a:gd name="connsiteX25" fmla="*/ 1591 w 10235"/>
                <a:gd name="connsiteY25" fmla="*/ 4952 h 10610"/>
                <a:gd name="connsiteX26" fmla="*/ 1516 w 10235"/>
                <a:gd name="connsiteY26" fmla="*/ 5019 h 10610"/>
                <a:gd name="connsiteX27" fmla="*/ 1442 w 10235"/>
                <a:gd name="connsiteY27" fmla="*/ 5081 h 10610"/>
                <a:gd name="connsiteX28" fmla="*/ 1363 w 10235"/>
                <a:gd name="connsiteY28" fmla="*/ 5140 h 10610"/>
                <a:gd name="connsiteX29" fmla="*/ 1285 w 10235"/>
                <a:gd name="connsiteY29" fmla="*/ 5204 h 10610"/>
                <a:gd name="connsiteX30" fmla="*/ 1206 w 10235"/>
                <a:gd name="connsiteY30" fmla="*/ 5262 h 10610"/>
                <a:gd name="connsiteX31" fmla="*/ 1118 w 10235"/>
                <a:gd name="connsiteY31" fmla="*/ 5319 h 10610"/>
                <a:gd name="connsiteX32" fmla="*/ 1038 w 10235"/>
                <a:gd name="connsiteY32" fmla="*/ 5373 h 10610"/>
                <a:gd name="connsiteX33" fmla="*/ 951 w 10235"/>
                <a:gd name="connsiteY33" fmla="*/ 5429 h 10610"/>
                <a:gd name="connsiteX34" fmla="*/ 866 w 10235"/>
                <a:gd name="connsiteY34" fmla="*/ 5481 h 10610"/>
                <a:gd name="connsiteX35" fmla="*/ 771 w 10235"/>
                <a:gd name="connsiteY35" fmla="*/ 5534 h 10610"/>
                <a:gd name="connsiteX36" fmla="*/ 682 w 10235"/>
                <a:gd name="connsiteY36" fmla="*/ 5583 h 10610"/>
                <a:gd name="connsiteX37" fmla="*/ 589 w 10235"/>
                <a:gd name="connsiteY37" fmla="*/ 5633 h 10610"/>
                <a:gd name="connsiteX38" fmla="*/ 494 w 10235"/>
                <a:gd name="connsiteY38" fmla="*/ 5681 h 10610"/>
                <a:gd name="connsiteX39" fmla="*/ 396 w 10235"/>
                <a:gd name="connsiteY39" fmla="*/ 5725 h 10610"/>
                <a:gd name="connsiteX40" fmla="*/ 299 w 10235"/>
                <a:gd name="connsiteY40" fmla="*/ 5773 h 10610"/>
                <a:gd name="connsiteX41" fmla="*/ 204 w 10235"/>
                <a:gd name="connsiteY41" fmla="*/ 5816 h 10610"/>
                <a:gd name="connsiteX42" fmla="*/ 101 w 10235"/>
                <a:gd name="connsiteY42" fmla="*/ 5857 h 10610"/>
                <a:gd name="connsiteX43" fmla="*/ 0 w 10235"/>
                <a:gd name="connsiteY43" fmla="*/ 5897 h 10610"/>
                <a:gd name="connsiteX44" fmla="*/ 188 w 10235"/>
                <a:gd name="connsiteY44" fmla="*/ 8724 h 10610"/>
                <a:gd name="connsiteX45" fmla="*/ 3402 w 10235"/>
                <a:gd name="connsiteY45" fmla="*/ 10610 h 10610"/>
                <a:gd name="connsiteX46" fmla="*/ 3707 w 10235"/>
                <a:gd name="connsiteY46" fmla="*/ 10485 h 10610"/>
                <a:gd name="connsiteX47" fmla="*/ 3949 w 10235"/>
                <a:gd name="connsiteY47" fmla="*/ 10386 h 10610"/>
                <a:gd name="connsiteX48" fmla="*/ 4185 w 10235"/>
                <a:gd name="connsiteY48" fmla="*/ 10287 h 10610"/>
                <a:gd name="connsiteX49" fmla="*/ 4418 w 10235"/>
                <a:gd name="connsiteY49" fmla="*/ 10183 h 10610"/>
                <a:gd name="connsiteX50" fmla="*/ 4650 w 10235"/>
                <a:gd name="connsiteY50" fmla="*/ 10074 h 10610"/>
                <a:gd name="connsiteX51" fmla="*/ 4868 w 10235"/>
                <a:gd name="connsiteY51" fmla="*/ 9967 h 10610"/>
                <a:gd name="connsiteX52" fmla="*/ 5089 w 10235"/>
                <a:gd name="connsiteY52" fmla="*/ 9849 h 10610"/>
                <a:gd name="connsiteX53" fmla="*/ 5310 w 10235"/>
                <a:gd name="connsiteY53" fmla="*/ 9736 h 10610"/>
                <a:gd name="connsiteX54" fmla="*/ 5520 w 10235"/>
                <a:gd name="connsiteY54" fmla="*/ 9615 h 10610"/>
                <a:gd name="connsiteX55" fmla="*/ 5736 w 10235"/>
                <a:gd name="connsiteY55" fmla="*/ 9491 h 10610"/>
                <a:gd name="connsiteX56" fmla="*/ 5940 w 10235"/>
                <a:gd name="connsiteY56" fmla="*/ 9362 h 10610"/>
                <a:gd name="connsiteX57" fmla="*/ 6144 w 10235"/>
                <a:gd name="connsiteY57" fmla="*/ 9235 h 10610"/>
                <a:gd name="connsiteX58" fmla="*/ 6340 w 10235"/>
                <a:gd name="connsiteY58" fmla="*/ 9105 h 10610"/>
                <a:gd name="connsiteX59" fmla="*/ 6539 w 10235"/>
                <a:gd name="connsiteY59" fmla="*/ 8967 h 10610"/>
                <a:gd name="connsiteX60" fmla="*/ 6730 w 10235"/>
                <a:gd name="connsiteY60" fmla="*/ 8825 h 10610"/>
                <a:gd name="connsiteX61" fmla="*/ 6915 w 10235"/>
                <a:gd name="connsiteY61" fmla="*/ 8689 h 10610"/>
                <a:gd name="connsiteX62" fmla="*/ 7098 w 10235"/>
                <a:gd name="connsiteY62" fmla="*/ 8544 h 10610"/>
                <a:gd name="connsiteX63" fmla="*/ 7274 w 10235"/>
                <a:gd name="connsiteY63" fmla="*/ 8396 h 10610"/>
                <a:gd name="connsiteX64" fmla="*/ 7450 w 10235"/>
                <a:gd name="connsiteY64" fmla="*/ 8248 h 10610"/>
                <a:gd name="connsiteX65" fmla="*/ 7619 w 10235"/>
                <a:gd name="connsiteY65" fmla="*/ 8097 h 10610"/>
                <a:gd name="connsiteX66" fmla="*/ 7787 w 10235"/>
                <a:gd name="connsiteY66" fmla="*/ 7940 h 10610"/>
                <a:gd name="connsiteX67" fmla="*/ 7943 w 10235"/>
                <a:gd name="connsiteY67" fmla="*/ 7782 h 10610"/>
                <a:gd name="connsiteX68" fmla="*/ 8096 w 10235"/>
                <a:gd name="connsiteY68" fmla="*/ 7623 h 10610"/>
                <a:gd name="connsiteX69" fmla="*/ 8251 w 10235"/>
                <a:gd name="connsiteY69" fmla="*/ 7463 h 10610"/>
                <a:gd name="connsiteX70" fmla="*/ 8394 w 10235"/>
                <a:gd name="connsiteY70" fmla="*/ 7296 h 10610"/>
                <a:gd name="connsiteX71" fmla="*/ 8534 w 10235"/>
                <a:gd name="connsiteY71" fmla="*/ 7132 h 10610"/>
                <a:gd name="connsiteX72" fmla="*/ 8670 w 10235"/>
                <a:gd name="connsiteY72" fmla="*/ 6962 h 10610"/>
                <a:gd name="connsiteX73" fmla="*/ 8796 w 10235"/>
                <a:gd name="connsiteY73" fmla="*/ 6788 h 10610"/>
                <a:gd name="connsiteX74" fmla="*/ 8920 w 10235"/>
                <a:gd name="connsiteY74" fmla="*/ 6614 h 10610"/>
                <a:gd name="connsiteX75" fmla="*/ 9046 w 10235"/>
                <a:gd name="connsiteY75" fmla="*/ 6440 h 10610"/>
                <a:gd name="connsiteX76" fmla="*/ 9164 w 10235"/>
                <a:gd name="connsiteY76" fmla="*/ 6262 h 10610"/>
                <a:gd name="connsiteX77" fmla="*/ 9268 w 10235"/>
                <a:gd name="connsiteY77" fmla="*/ 6084 h 10610"/>
                <a:gd name="connsiteX78" fmla="*/ 9375 w 10235"/>
                <a:gd name="connsiteY78" fmla="*/ 5902 h 10610"/>
                <a:gd name="connsiteX79" fmla="*/ 9470 w 10235"/>
                <a:gd name="connsiteY79" fmla="*/ 5716 h 10610"/>
                <a:gd name="connsiteX80" fmla="*/ 9566 w 10235"/>
                <a:gd name="connsiteY80" fmla="*/ 5533 h 10610"/>
                <a:gd name="connsiteX81" fmla="*/ 9650 w 10235"/>
                <a:gd name="connsiteY81" fmla="*/ 5344 h 10610"/>
                <a:gd name="connsiteX82" fmla="*/ 9731 w 10235"/>
                <a:gd name="connsiteY82" fmla="*/ 5153 h 10610"/>
                <a:gd name="connsiteX83" fmla="*/ 9805 w 10235"/>
                <a:gd name="connsiteY83" fmla="*/ 4961 h 10610"/>
                <a:gd name="connsiteX84" fmla="*/ 9878 w 10235"/>
                <a:gd name="connsiteY84" fmla="*/ 4771 h 10610"/>
                <a:gd name="connsiteX85" fmla="*/ 9940 w 10235"/>
                <a:gd name="connsiteY85" fmla="*/ 4578 h 10610"/>
                <a:gd name="connsiteX86" fmla="*/ 9999 w 10235"/>
                <a:gd name="connsiteY86" fmla="*/ 4381 h 10610"/>
                <a:gd name="connsiteX87" fmla="*/ 9736 w 10235"/>
                <a:gd name="connsiteY87" fmla="*/ 0 h 10610"/>
                <a:gd name="connsiteX88" fmla="*/ 6509 w 10235"/>
                <a:gd name="connsiteY88" fmla="*/ 1883 h 10610"/>
                <a:gd name="connsiteX89" fmla="*/ 2524 w 10235"/>
                <a:gd name="connsiteY89" fmla="*/ 1506 h 10610"/>
                <a:gd name="connsiteX0" fmla="*/ 2524 w 10218"/>
                <a:gd name="connsiteY0" fmla="*/ 1506 h 10610"/>
                <a:gd name="connsiteX1" fmla="*/ 2693 w 10218"/>
                <a:gd name="connsiteY1" fmla="*/ 3145 h 10610"/>
                <a:gd name="connsiteX2" fmla="*/ 2678 w 10218"/>
                <a:gd name="connsiteY2" fmla="*/ 3230 h 10610"/>
                <a:gd name="connsiteX3" fmla="*/ 2655 w 10218"/>
                <a:gd name="connsiteY3" fmla="*/ 3314 h 10610"/>
                <a:gd name="connsiteX4" fmla="*/ 2634 w 10218"/>
                <a:gd name="connsiteY4" fmla="*/ 3399 h 10610"/>
                <a:gd name="connsiteX5" fmla="*/ 2607 w 10218"/>
                <a:gd name="connsiteY5" fmla="*/ 3479 h 10610"/>
                <a:gd name="connsiteX6" fmla="*/ 2573 w 10218"/>
                <a:gd name="connsiteY6" fmla="*/ 3560 h 10610"/>
                <a:gd name="connsiteX7" fmla="*/ 2542 w 10218"/>
                <a:gd name="connsiteY7" fmla="*/ 3643 h 10610"/>
                <a:gd name="connsiteX8" fmla="*/ 2514 w 10218"/>
                <a:gd name="connsiteY8" fmla="*/ 3722 h 10610"/>
                <a:gd name="connsiteX9" fmla="*/ 2480 w 10218"/>
                <a:gd name="connsiteY9" fmla="*/ 3804 h 10610"/>
                <a:gd name="connsiteX10" fmla="*/ 2440 w 10218"/>
                <a:gd name="connsiteY10" fmla="*/ 3883 h 10610"/>
                <a:gd name="connsiteX11" fmla="*/ 2398 w 10218"/>
                <a:gd name="connsiteY11" fmla="*/ 3960 h 10610"/>
                <a:gd name="connsiteX12" fmla="*/ 2358 w 10218"/>
                <a:gd name="connsiteY12" fmla="*/ 4039 h 10610"/>
                <a:gd name="connsiteX13" fmla="*/ 2310 w 10218"/>
                <a:gd name="connsiteY13" fmla="*/ 4118 h 10610"/>
                <a:gd name="connsiteX14" fmla="*/ 2259 w 10218"/>
                <a:gd name="connsiteY14" fmla="*/ 4189 h 10610"/>
                <a:gd name="connsiteX15" fmla="*/ 2211 w 10218"/>
                <a:gd name="connsiteY15" fmla="*/ 4265 h 10610"/>
                <a:gd name="connsiteX16" fmla="*/ 2159 w 10218"/>
                <a:gd name="connsiteY16" fmla="*/ 4339 h 10610"/>
                <a:gd name="connsiteX17" fmla="*/ 2102 w 10218"/>
                <a:gd name="connsiteY17" fmla="*/ 4412 h 10610"/>
                <a:gd name="connsiteX18" fmla="*/ 2051 w 10218"/>
                <a:gd name="connsiteY18" fmla="*/ 4486 h 10610"/>
                <a:gd name="connsiteX19" fmla="*/ 1991 w 10218"/>
                <a:gd name="connsiteY19" fmla="*/ 4557 h 10610"/>
                <a:gd name="connsiteX20" fmla="*/ 1928 w 10218"/>
                <a:gd name="connsiteY20" fmla="*/ 4623 h 10610"/>
                <a:gd name="connsiteX21" fmla="*/ 1863 w 10218"/>
                <a:gd name="connsiteY21" fmla="*/ 4691 h 10610"/>
                <a:gd name="connsiteX22" fmla="*/ 1803 w 10218"/>
                <a:gd name="connsiteY22" fmla="*/ 4758 h 10610"/>
                <a:gd name="connsiteX23" fmla="*/ 1733 w 10218"/>
                <a:gd name="connsiteY23" fmla="*/ 4830 h 10610"/>
                <a:gd name="connsiteX24" fmla="*/ 1664 w 10218"/>
                <a:gd name="connsiteY24" fmla="*/ 4893 h 10610"/>
                <a:gd name="connsiteX25" fmla="*/ 1591 w 10218"/>
                <a:gd name="connsiteY25" fmla="*/ 4952 h 10610"/>
                <a:gd name="connsiteX26" fmla="*/ 1516 w 10218"/>
                <a:gd name="connsiteY26" fmla="*/ 5019 h 10610"/>
                <a:gd name="connsiteX27" fmla="*/ 1442 w 10218"/>
                <a:gd name="connsiteY27" fmla="*/ 5081 h 10610"/>
                <a:gd name="connsiteX28" fmla="*/ 1363 w 10218"/>
                <a:gd name="connsiteY28" fmla="*/ 5140 h 10610"/>
                <a:gd name="connsiteX29" fmla="*/ 1285 w 10218"/>
                <a:gd name="connsiteY29" fmla="*/ 5204 h 10610"/>
                <a:gd name="connsiteX30" fmla="*/ 1206 w 10218"/>
                <a:gd name="connsiteY30" fmla="*/ 5262 h 10610"/>
                <a:gd name="connsiteX31" fmla="*/ 1118 w 10218"/>
                <a:gd name="connsiteY31" fmla="*/ 5319 h 10610"/>
                <a:gd name="connsiteX32" fmla="*/ 1038 w 10218"/>
                <a:gd name="connsiteY32" fmla="*/ 5373 h 10610"/>
                <a:gd name="connsiteX33" fmla="*/ 951 w 10218"/>
                <a:gd name="connsiteY33" fmla="*/ 5429 h 10610"/>
                <a:gd name="connsiteX34" fmla="*/ 866 w 10218"/>
                <a:gd name="connsiteY34" fmla="*/ 5481 h 10610"/>
                <a:gd name="connsiteX35" fmla="*/ 771 w 10218"/>
                <a:gd name="connsiteY35" fmla="*/ 5534 h 10610"/>
                <a:gd name="connsiteX36" fmla="*/ 682 w 10218"/>
                <a:gd name="connsiteY36" fmla="*/ 5583 h 10610"/>
                <a:gd name="connsiteX37" fmla="*/ 589 w 10218"/>
                <a:gd name="connsiteY37" fmla="*/ 5633 h 10610"/>
                <a:gd name="connsiteX38" fmla="*/ 494 w 10218"/>
                <a:gd name="connsiteY38" fmla="*/ 5681 h 10610"/>
                <a:gd name="connsiteX39" fmla="*/ 396 w 10218"/>
                <a:gd name="connsiteY39" fmla="*/ 5725 h 10610"/>
                <a:gd name="connsiteX40" fmla="*/ 299 w 10218"/>
                <a:gd name="connsiteY40" fmla="*/ 5773 h 10610"/>
                <a:gd name="connsiteX41" fmla="*/ 204 w 10218"/>
                <a:gd name="connsiteY41" fmla="*/ 5816 h 10610"/>
                <a:gd name="connsiteX42" fmla="*/ 101 w 10218"/>
                <a:gd name="connsiteY42" fmla="*/ 5857 h 10610"/>
                <a:gd name="connsiteX43" fmla="*/ 0 w 10218"/>
                <a:gd name="connsiteY43" fmla="*/ 5897 h 10610"/>
                <a:gd name="connsiteX44" fmla="*/ 188 w 10218"/>
                <a:gd name="connsiteY44" fmla="*/ 8724 h 10610"/>
                <a:gd name="connsiteX45" fmla="*/ 3402 w 10218"/>
                <a:gd name="connsiteY45" fmla="*/ 10610 h 10610"/>
                <a:gd name="connsiteX46" fmla="*/ 3707 w 10218"/>
                <a:gd name="connsiteY46" fmla="*/ 10485 h 10610"/>
                <a:gd name="connsiteX47" fmla="*/ 3949 w 10218"/>
                <a:gd name="connsiteY47" fmla="*/ 10386 h 10610"/>
                <a:gd name="connsiteX48" fmla="*/ 4185 w 10218"/>
                <a:gd name="connsiteY48" fmla="*/ 10287 h 10610"/>
                <a:gd name="connsiteX49" fmla="*/ 4418 w 10218"/>
                <a:gd name="connsiteY49" fmla="*/ 10183 h 10610"/>
                <a:gd name="connsiteX50" fmla="*/ 4650 w 10218"/>
                <a:gd name="connsiteY50" fmla="*/ 10074 h 10610"/>
                <a:gd name="connsiteX51" fmla="*/ 4868 w 10218"/>
                <a:gd name="connsiteY51" fmla="*/ 9967 h 10610"/>
                <a:gd name="connsiteX52" fmla="*/ 5089 w 10218"/>
                <a:gd name="connsiteY52" fmla="*/ 9849 h 10610"/>
                <a:gd name="connsiteX53" fmla="*/ 5310 w 10218"/>
                <a:gd name="connsiteY53" fmla="*/ 9736 h 10610"/>
                <a:gd name="connsiteX54" fmla="*/ 5520 w 10218"/>
                <a:gd name="connsiteY54" fmla="*/ 9615 h 10610"/>
                <a:gd name="connsiteX55" fmla="*/ 5736 w 10218"/>
                <a:gd name="connsiteY55" fmla="*/ 9491 h 10610"/>
                <a:gd name="connsiteX56" fmla="*/ 5940 w 10218"/>
                <a:gd name="connsiteY56" fmla="*/ 9362 h 10610"/>
                <a:gd name="connsiteX57" fmla="*/ 6144 w 10218"/>
                <a:gd name="connsiteY57" fmla="*/ 9235 h 10610"/>
                <a:gd name="connsiteX58" fmla="*/ 6340 w 10218"/>
                <a:gd name="connsiteY58" fmla="*/ 9105 h 10610"/>
                <a:gd name="connsiteX59" fmla="*/ 6539 w 10218"/>
                <a:gd name="connsiteY59" fmla="*/ 8967 h 10610"/>
                <a:gd name="connsiteX60" fmla="*/ 6730 w 10218"/>
                <a:gd name="connsiteY60" fmla="*/ 8825 h 10610"/>
                <a:gd name="connsiteX61" fmla="*/ 6915 w 10218"/>
                <a:gd name="connsiteY61" fmla="*/ 8689 h 10610"/>
                <a:gd name="connsiteX62" fmla="*/ 7098 w 10218"/>
                <a:gd name="connsiteY62" fmla="*/ 8544 h 10610"/>
                <a:gd name="connsiteX63" fmla="*/ 7274 w 10218"/>
                <a:gd name="connsiteY63" fmla="*/ 8396 h 10610"/>
                <a:gd name="connsiteX64" fmla="*/ 7450 w 10218"/>
                <a:gd name="connsiteY64" fmla="*/ 8248 h 10610"/>
                <a:gd name="connsiteX65" fmla="*/ 7619 w 10218"/>
                <a:gd name="connsiteY65" fmla="*/ 8097 h 10610"/>
                <a:gd name="connsiteX66" fmla="*/ 7787 w 10218"/>
                <a:gd name="connsiteY66" fmla="*/ 7940 h 10610"/>
                <a:gd name="connsiteX67" fmla="*/ 7943 w 10218"/>
                <a:gd name="connsiteY67" fmla="*/ 7782 h 10610"/>
                <a:gd name="connsiteX68" fmla="*/ 8096 w 10218"/>
                <a:gd name="connsiteY68" fmla="*/ 7623 h 10610"/>
                <a:gd name="connsiteX69" fmla="*/ 8251 w 10218"/>
                <a:gd name="connsiteY69" fmla="*/ 7463 h 10610"/>
                <a:gd name="connsiteX70" fmla="*/ 8394 w 10218"/>
                <a:gd name="connsiteY70" fmla="*/ 7296 h 10610"/>
                <a:gd name="connsiteX71" fmla="*/ 8534 w 10218"/>
                <a:gd name="connsiteY71" fmla="*/ 7132 h 10610"/>
                <a:gd name="connsiteX72" fmla="*/ 8670 w 10218"/>
                <a:gd name="connsiteY72" fmla="*/ 6962 h 10610"/>
                <a:gd name="connsiteX73" fmla="*/ 8796 w 10218"/>
                <a:gd name="connsiteY73" fmla="*/ 6788 h 10610"/>
                <a:gd name="connsiteX74" fmla="*/ 8920 w 10218"/>
                <a:gd name="connsiteY74" fmla="*/ 6614 h 10610"/>
                <a:gd name="connsiteX75" fmla="*/ 9046 w 10218"/>
                <a:gd name="connsiteY75" fmla="*/ 6440 h 10610"/>
                <a:gd name="connsiteX76" fmla="*/ 9164 w 10218"/>
                <a:gd name="connsiteY76" fmla="*/ 6262 h 10610"/>
                <a:gd name="connsiteX77" fmla="*/ 9268 w 10218"/>
                <a:gd name="connsiteY77" fmla="*/ 6084 h 10610"/>
                <a:gd name="connsiteX78" fmla="*/ 9375 w 10218"/>
                <a:gd name="connsiteY78" fmla="*/ 5902 h 10610"/>
                <a:gd name="connsiteX79" fmla="*/ 9470 w 10218"/>
                <a:gd name="connsiteY79" fmla="*/ 5716 h 10610"/>
                <a:gd name="connsiteX80" fmla="*/ 9566 w 10218"/>
                <a:gd name="connsiteY80" fmla="*/ 5533 h 10610"/>
                <a:gd name="connsiteX81" fmla="*/ 9650 w 10218"/>
                <a:gd name="connsiteY81" fmla="*/ 5344 h 10610"/>
                <a:gd name="connsiteX82" fmla="*/ 9731 w 10218"/>
                <a:gd name="connsiteY82" fmla="*/ 5153 h 10610"/>
                <a:gd name="connsiteX83" fmla="*/ 9805 w 10218"/>
                <a:gd name="connsiteY83" fmla="*/ 4961 h 10610"/>
                <a:gd name="connsiteX84" fmla="*/ 9878 w 10218"/>
                <a:gd name="connsiteY84" fmla="*/ 4771 h 10610"/>
                <a:gd name="connsiteX85" fmla="*/ 9940 w 10218"/>
                <a:gd name="connsiteY85" fmla="*/ 4578 h 10610"/>
                <a:gd name="connsiteX86" fmla="*/ 9999 w 10218"/>
                <a:gd name="connsiteY86" fmla="*/ 4381 h 10610"/>
                <a:gd name="connsiteX87" fmla="*/ 9736 w 10218"/>
                <a:gd name="connsiteY87" fmla="*/ 0 h 10610"/>
                <a:gd name="connsiteX88" fmla="*/ 6509 w 10218"/>
                <a:gd name="connsiteY88" fmla="*/ 1883 h 10610"/>
                <a:gd name="connsiteX89" fmla="*/ 2524 w 10218"/>
                <a:gd name="connsiteY89" fmla="*/ 1506 h 10610"/>
                <a:gd name="connsiteX0" fmla="*/ 2524 w 10218"/>
                <a:gd name="connsiteY0" fmla="*/ 1506 h 10610"/>
                <a:gd name="connsiteX1" fmla="*/ 2693 w 10218"/>
                <a:gd name="connsiteY1" fmla="*/ 3145 h 10610"/>
                <a:gd name="connsiteX2" fmla="*/ 2678 w 10218"/>
                <a:gd name="connsiteY2" fmla="*/ 3230 h 10610"/>
                <a:gd name="connsiteX3" fmla="*/ 2655 w 10218"/>
                <a:gd name="connsiteY3" fmla="*/ 3314 h 10610"/>
                <a:gd name="connsiteX4" fmla="*/ 2634 w 10218"/>
                <a:gd name="connsiteY4" fmla="*/ 3399 h 10610"/>
                <a:gd name="connsiteX5" fmla="*/ 2607 w 10218"/>
                <a:gd name="connsiteY5" fmla="*/ 3479 h 10610"/>
                <a:gd name="connsiteX6" fmla="*/ 2573 w 10218"/>
                <a:gd name="connsiteY6" fmla="*/ 3560 h 10610"/>
                <a:gd name="connsiteX7" fmla="*/ 2542 w 10218"/>
                <a:gd name="connsiteY7" fmla="*/ 3643 h 10610"/>
                <a:gd name="connsiteX8" fmla="*/ 2514 w 10218"/>
                <a:gd name="connsiteY8" fmla="*/ 3722 h 10610"/>
                <a:gd name="connsiteX9" fmla="*/ 2480 w 10218"/>
                <a:gd name="connsiteY9" fmla="*/ 3804 h 10610"/>
                <a:gd name="connsiteX10" fmla="*/ 2440 w 10218"/>
                <a:gd name="connsiteY10" fmla="*/ 3883 h 10610"/>
                <a:gd name="connsiteX11" fmla="*/ 2398 w 10218"/>
                <a:gd name="connsiteY11" fmla="*/ 3960 h 10610"/>
                <a:gd name="connsiteX12" fmla="*/ 2358 w 10218"/>
                <a:gd name="connsiteY12" fmla="*/ 4039 h 10610"/>
                <a:gd name="connsiteX13" fmla="*/ 2310 w 10218"/>
                <a:gd name="connsiteY13" fmla="*/ 4118 h 10610"/>
                <a:gd name="connsiteX14" fmla="*/ 2259 w 10218"/>
                <a:gd name="connsiteY14" fmla="*/ 4189 h 10610"/>
                <a:gd name="connsiteX15" fmla="*/ 2211 w 10218"/>
                <a:gd name="connsiteY15" fmla="*/ 4265 h 10610"/>
                <a:gd name="connsiteX16" fmla="*/ 2159 w 10218"/>
                <a:gd name="connsiteY16" fmla="*/ 4339 h 10610"/>
                <a:gd name="connsiteX17" fmla="*/ 2102 w 10218"/>
                <a:gd name="connsiteY17" fmla="*/ 4412 h 10610"/>
                <a:gd name="connsiteX18" fmla="*/ 2051 w 10218"/>
                <a:gd name="connsiteY18" fmla="*/ 4486 h 10610"/>
                <a:gd name="connsiteX19" fmla="*/ 1991 w 10218"/>
                <a:gd name="connsiteY19" fmla="*/ 4557 h 10610"/>
                <a:gd name="connsiteX20" fmla="*/ 1928 w 10218"/>
                <a:gd name="connsiteY20" fmla="*/ 4623 h 10610"/>
                <a:gd name="connsiteX21" fmla="*/ 1863 w 10218"/>
                <a:gd name="connsiteY21" fmla="*/ 4691 h 10610"/>
                <a:gd name="connsiteX22" fmla="*/ 1803 w 10218"/>
                <a:gd name="connsiteY22" fmla="*/ 4758 h 10610"/>
                <a:gd name="connsiteX23" fmla="*/ 1733 w 10218"/>
                <a:gd name="connsiteY23" fmla="*/ 4830 h 10610"/>
                <a:gd name="connsiteX24" fmla="*/ 1664 w 10218"/>
                <a:gd name="connsiteY24" fmla="*/ 4893 h 10610"/>
                <a:gd name="connsiteX25" fmla="*/ 1591 w 10218"/>
                <a:gd name="connsiteY25" fmla="*/ 4952 h 10610"/>
                <a:gd name="connsiteX26" fmla="*/ 1516 w 10218"/>
                <a:gd name="connsiteY26" fmla="*/ 5019 h 10610"/>
                <a:gd name="connsiteX27" fmla="*/ 1442 w 10218"/>
                <a:gd name="connsiteY27" fmla="*/ 5081 h 10610"/>
                <a:gd name="connsiteX28" fmla="*/ 1363 w 10218"/>
                <a:gd name="connsiteY28" fmla="*/ 5140 h 10610"/>
                <a:gd name="connsiteX29" fmla="*/ 1285 w 10218"/>
                <a:gd name="connsiteY29" fmla="*/ 5204 h 10610"/>
                <a:gd name="connsiteX30" fmla="*/ 1206 w 10218"/>
                <a:gd name="connsiteY30" fmla="*/ 5262 h 10610"/>
                <a:gd name="connsiteX31" fmla="*/ 1118 w 10218"/>
                <a:gd name="connsiteY31" fmla="*/ 5319 h 10610"/>
                <a:gd name="connsiteX32" fmla="*/ 1038 w 10218"/>
                <a:gd name="connsiteY32" fmla="*/ 5373 h 10610"/>
                <a:gd name="connsiteX33" fmla="*/ 951 w 10218"/>
                <a:gd name="connsiteY33" fmla="*/ 5429 h 10610"/>
                <a:gd name="connsiteX34" fmla="*/ 866 w 10218"/>
                <a:gd name="connsiteY34" fmla="*/ 5481 h 10610"/>
                <a:gd name="connsiteX35" fmla="*/ 771 w 10218"/>
                <a:gd name="connsiteY35" fmla="*/ 5534 h 10610"/>
                <a:gd name="connsiteX36" fmla="*/ 682 w 10218"/>
                <a:gd name="connsiteY36" fmla="*/ 5583 h 10610"/>
                <a:gd name="connsiteX37" fmla="*/ 589 w 10218"/>
                <a:gd name="connsiteY37" fmla="*/ 5633 h 10610"/>
                <a:gd name="connsiteX38" fmla="*/ 494 w 10218"/>
                <a:gd name="connsiteY38" fmla="*/ 5681 h 10610"/>
                <a:gd name="connsiteX39" fmla="*/ 396 w 10218"/>
                <a:gd name="connsiteY39" fmla="*/ 5725 h 10610"/>
                <a:gd name="connsiteX40" fmla="*/ 299 w 10218"/>
                <a:gd name="connsiteY40" fmla="*/ 5773 h 10610"/>
                <a:gd name="connsiteX41" fmla="*/ 204 w 10218"/>
                <a:gd name="connsiteY41" fmla="*/ 5816 h 10610"/>
                <a:gd name="connsiteX42" fmla="*/ 101 w 10218"/>
                <a:gd name="connsiteY42" fmla="*/ 5857 h 10610"/>
                <a:gd name="connsiteX43" fmla="*/ 0 w 10218"/>
                <a:gd name="connsiteY43" fmla="*/ 5897 h 10610"/>
                <a:gd name="connsiteX44" fmla="*/ 311 w 10218"/>
                <a:gd name="connsiteY44" fmla="*/ 8550 h 10610"/>
                <a:gd name="connsiteX45" fmla="*/ 3402 w 10218"/>
                <a:gd name="connsiteY45" fmla="*/ 10610 h 10610"/>
                <a:gd name="connsiteX46" fmla="*/ 3707 w 10218"/>
                <a:gd name="connsiteY46" fmla="*/ 10485 h 10610"/>
                <a:gd name="connsiteX47" fmla="*/ 3949 w 10218"/>
                <a:gd name="connsiteY47" fmla="*/ 10386 h 10610"/>
                <a:gd name="connsiteX48" fmla="*/ 4185 w 10218"/>
                <a:gd name="connsiteY48" fmla="*/ 10287 h 10610"/>
                <a:gd name="connsiteX49" fmla="*/ 4418 w 10218"/>
                <a:gd name="connsiteY49" fmla="*/ 10183 h 10610"/>
                <a:gd name="connsiteX50" fmla="*/ 4650 w 10218"/>
                <a:gd name="connsiteY50" fmla="*/ 10074 h 10610"/>
                <a:gd name="connsiteX51" fmla="*/ 4868 w 10218"/>
                <a:gd name="connsiteY51" fmla="*/ 9967 h 10610"/>
                <a:gd name="connsiteX52" fmla="*/ 5089 w 10218"/>
                <a:gd name="connsiteY52" fmla="*/ 9849 h 10610"/>
                <a:gd name="connsiteX53" fmla="*/ 5310 w 10218"/>
                <a:gd name="connsiteY53" fmla="*/ 9736 h 10610"/>
                <a:gd name="connsiteX54" fmla="*/ 5520 w 10218"/>
                <a:gd name="connsiteY54" fmla="*/ 9615 h 10610"/>
                <a:gd name="connsiteX55" fmla="*/ 5736 w 10218"/>
                <a:gd name="connsiteY55" fmla="*/ 9491 h 10610"/>
                <a:gd name="connsiteX56" fmla="*/ 5940 w 10218"/>
                <a:gd name="connsiteY56" fmla="*/ 9362 h 10610"/>
                <a:gd name="connsiteX57" fmla="*/ 6144 w 10218"/>
                <a:gd name="connsiteY57" fmla="*/ 9235 h 10610"/>
                <a:gd name="connsiteX58" fmla="*/ 6340 w 10218"/>
                <a:gd name="connsiteY58" fmla="*/ 9105 h 10610"/>
                <a:gd name="connsiteX59" fmla="*/ 6539 w 10218"/>
                <a:gd name="connsiteY59" fmla="*/ 8967 h 10610"/>
                <a:gd name="connsiteX60" fmla="*/ 6730 w 10218"/>
                <a:gd name="connsiteY60" fmla="*/ 8825 h 10610"/>
                <a:gd name="connsiteX61" fmla="*/ 6915 w 10218"/>
                <a:gd name="connsiteY61" fmla="*/ 8689 h 10610"/>
                <a:gd name="connsiteX62" fmla="*/ 7098 w 10218"/>
                <a:gd name="connsiteY62" fmla="*/ 8544 h 10610"/>
                <a:gd name="connsiteX63" fmla="*/ 7274 w 10218"/>
                <a:gd name="connsiteY63" fmla="*/ 8396 h 10610"/>
                <a:gd name="connsiteX64" fmla="*/ 7450 w 10218"/>
                <a:gd name="connsiteY64" fmla="*/ 8248 h 10610"/>
                <a:gd name="connsiteX65" fmla="*/ 7619 w 10218"/>
                <a:gd name="connsiteY65" fmla="*/ 8097 h 10610"/>
                <a:gd name="connsiteX66" fmla="*/ 7787 w 10218"/>
                <a:gd name="connsiteY66" fmla="*/ 7940 h 10610"/>
                <a:gd name="connsiteX67" fmla="*/ 7943 w 10218"/>
                <a:gd name="connsiteY67" fmla="*/ 7782 h 10610"/>
                <a:gd name="connsiteX68" fmla="*/ 8096 w 10218"/>
                <a:gd name="connsiteY68" fmla="*/ 7623 h 10610"/>
                <a:gd name="connsiteX69" fmla="*/ 8251 w 10218"/>
                <a:gd name="connsiteY69" fmla="*/ 7463 h 10610"/>
                <a:gd name="connsiteX70" fmla="*/ 8394 w 10218"/>
                <a:gd name="connsiteY70" fmla="*/ 7296 h 10610"/>
                <a:gd name="connsiteX71" fmla="*/ 8534 w 10218"/>
                <a:gd name="connsiteY71" fmla="*/ 7132 h 10610"/>
                <a:gd name="connsiteX72" fmla="*/ 8670 w 10218"/>
                <a:gd name="connsiteY72" fmla="*/ 6962 h 10610"/>
                <a:gd name="connsiteX73" fmla="*/ 8796 w 10218"/>
                <a:gd name="connsiteY73" fmla="*/ 6788 h 10610"/>
                <a:gd name="connsiteX74" fmla="*/ 8920 w 10218"/>
                <a:gd name="connsiteY74" fmla="*/ 6614 h 10610"/>
                <a:gd name="connsiteX75" fmla="*/ 9046 w 10218"/>
                <a:gd name="connsiteY75" fmla="*/ 6440 h 10610"/>
                <a:gd name="connsiteX76" fmla="*/ 9164 w 10218"/>
                <a:gd name="connsiteY76" fmla="*/ 6262 h 10610"/>
                <a:gd name="connsiteX77" fmla="*/ 9268 w 10218"/>
                <a:gd name="connsiteY77" fmla="*/ 6084 h 10610"/>
                <a:gd name="connsiteX78" fmla="*/ 9375 w 10218"/>
                <a:gd name="connsiteY78" fmla="*/ 5902 h 10610"/>
                <a:gd name="connsiteX79" fmla="*/ 9470 w 10218"/>
                <a:gd name="connsiteY79" fmla="*/ 5716 h 10610"/>
                <a:gd name="connsiteX80" fmla="*/ 9566 w 10218"/>
                <a:gd name="connsiteY80" fmla="*/ 5533 h 10610"/>
                <a:gd name="connsiteX81" fmla="*/ 9650 w 10218"/>
                <a:gd name="connsiteY81" fmla="*/ 5344 h 10610"/>
                <a:gd name="connsiteX82" fmla="*/ 9731 w 10218"/>
                <a:gd name="connsiteY82" fmla="*/ 5153 h 10610"/>
                <a:gd name="connsiteX83" fmla="*/ 9805 w 10218"/>
                <a:gd name="connsiteY83" fmla="*/ 4961 h 10610"/>
                <a:gd name="connsiteX84" fmla="*/ 9878 w 10218"/>
                <a:gd name="connsiteY84" fmla="*/ 4771 h 10610"/>
                <a:gd name="connsiteX85" fmla="*/ 9940 w 10218"/>
                <a:gd name="connsiteY85" fmla="*/ 4578 h 10610"/>
                <a:gd name="connsiteX86" fmla="*/ 9999 w 10218"/>
                <a:gd name="connsiteY86" fmla="*/ 4381 h 10610"/>
                <a:gd name="connsiteX87" fmla="*/ 9736 w 10218"/>
                <a:gd name="connsiteY87" fmla="*/ 0 h 10610"/>
                <a:gd name="connsiteX88" fmla="*/ 6509 w 10218"/>
                <a:gd name="connsiteY88" fmla="*/ 1883 h 10610"/>
                <a:gd name="connsiteX89" fmla="*/ 2524 w 10218"/>
                <a:gd name="connsiteY89" fmla="*/ 1506 h 10610"/>
                <a:gd name="connsiteX0" fmla="*/ 2522 w 10216"/>
                <a:gd name="connsiteY0" fmla="*/ 1506 h 10610"/>
                <a:gd name="connsiteX1" fmla="*/ 2691 w 10216"/>
                <a:gd name="connsiteY1" fmla="*/ 3145 h 10610"/>
                <a:gd name="connsiteX2" fmla="*/ 2676 w 10216"/>
                <a:gd name="connsiteY2" fmla="*/ 3230 h 10610"/>
                <a:gd name="connsiteX3" fmla="*/ 2653 w 10216"/>
                <a:gd name="connsiteY3" fmla="*/ 3314 h 10610"/>
                <a:gd name="connsiteX4" fmla="*/ 2632 w 10216"/>
                <a:gd name="connsiteY4" fmla="*/ 3399 h 10610"/>
                <a:gd name="connsiteX5" fmla="*/ 2605 w 10216"/>
                <a:gd name="connsiteY5" fmla="*/ 3479 h 10610"/>
                <a:gd name="connsiteX6" fmla="*/ 2571 w 10216"/>
                <a:gd name="connsiteY6" fmla="*/ 3560 h 10610"/>
                <a:gd name="connsiteX7" fmla="*/ 2540 w 10216"/>
                <a:gd name="connsiteY7" fmla="*/ 3643 h 10610"/>
                <a:gd name="connsiteX8" fmla="*/ 2512 w 10216"/>
                <a:gd name="connsiteY8" fmla="*/ 3722 h 10610"/>
                <a:gd name="connsiteX9" fmla="*/ 2478 w 10216"/>
                <a:gd name="connsiteY9" fmla="*/ 3804 h 10610"/>
                <a:gd name="connsiteX10" fmla="*/ 2438 w 10216"/>
                <a:gd name="connsiteY10" fmla="*/ 3883 h 10610"/>
                <a:gd name="connsiteX11" fmla="*/ 2396 w 10216"/>
                <a:gd name="connsiteY11" fmla="*/ 3960 h 10610"/>
                <a:gd name="connsiteX12" fmla="*/ 2356 w 10216"/>
                <a:gd name="connsiteY12" fmla="*/ 4039 h 10610"/>
                <a:gd name="connsiteX13" fmla="*/ 2308 w 10216"/>
                <a:gd name="connsiteY13" fmla="*/ 4118 h 10610"/>
                <a:gd name="connsiteX14" fmla="*/ 2257 w 10216"/>
                <a:gd name="connsiteY14" fmla="*/ 4189 h 10610"/>
                <a:gd name="connsiteX15" fmla="*/ 2209 w 10216"/>
                <a:gd name="connsiteY15" fmla="*/ 4265 h 10610"/>
                <a:gd name="connsiteX16" fmla="*/ 2157 w 10216"/>
                <a:gd name="connsiteY16" fmla="*/ 4339 h 10610"/>
                <a:gd name="connsiteX17" fmla="*/ 2100 w 10216"/>
                <a:gd name="connsiteY17" fmla="*/ 4412 h 10610"/>
                <a:gd name="connsiteX18" fmla="*/ 2049 w 10216"/>
                <a:gd name="connsiteY18" fmla="*/ 4486 h 10610"/>
                <a:gd name="connsiteX19" fmla="*/ 1989 w 10216"/>
                <a:gd name="connsiteY19" fmla="*/ 4557 h 10610"/>
                <a:gd name="connsiteX20" fmla="*/ 1926 w 10216"/>
                <a:gd name="connsiteY20" fmla="*/ 4623 h 10610"/>
                <a:gd name="connsiteX21" fmla="*/ 1861 w 10216"/>
                <a:gd name="connsiteY21" fmla="*/ 4691 h 10610"/>
                <a:gd name="connsiteX22" fmla="*/ 1801 w 10216"/>
                <a:gd name="connsiteY22" fmla="*/ 4758 h 10610"/>
                <a:gd name="connsiteX23" fmla="*/ 1731 w 10216"/>
                <a:gd name="connsiteY23" fmla="*/ 4830 h 10610"/>
                <a:gd name="connsiteX24" fmla="*/ 1662 w 10216"/>
                <a:gd name="connsiteY24" fmla="*/ 4893 h 10610"/>
                <a:gd name="connsiteX25" fmla="*/ 1589 w 10216"/>
                <a:gd name="connsiteY25" fmla="*/ 4952 h 10610"/>
                <a:gd name="connsiteX26" fmla="*/ 1514 w 10216"/>
                <a:gd name="connsiteY26" fmla="*/ 5019 h 10610"/>
                <a:gd name="connsiteX27" fmla="*/ 1440 w 10216"/>
                <a:gd name="connsiteY27" fmla="*/ 5081 h 10610"/>
                <a:gd name="connsiteX28" fmla="*/ 1361 w 10216"/>
                <a:gd name="connsiteY28" fmla="*/ 5140 h 10610"/>
                <a:gd name="connsiteX29" fmla="*/ 1283 w 10216"/>
                <a:gd name="connsiteY29" fmla="*/ 5204 h 10610"/>
                <a:gd name="connsiteX30" fmla="*/ 1204 w 10216"/>
                <a:gd name="connsiteY30" fmla="*/ 5262 h 10610"/>
                <a:gd name="connsiteX31" fmla="*/ 1116 w 10216"/>
                <a:gd name="connsiteY31" fmla="*/ 5319 h 10610"/>
                <a:gd name="connsiteX32" fmla="*/ 1036 w 10216"/>
                <a:gd name="connsiteY32" fmla="*/ 5373 h 10610"/>
                <a:gd name="connsiteX33" fmla="*/ 949 w 10216"/>
                <a:gd name="connsiteY33" fmla="*/ 5429 h 10610"/>
                <a:gd name="connsiteX34" fmla="*/ 864 w 10216"/>
                <a:gd name="connsiteY34" fmla="*/ 5481 h 10610"/>
                <a:gd name="connsiteX35" fmla="*/ 769 w 10216"/>
                <a:gd name="connsiteY35" fmla="*/ 5534 h 10610"/>
                <a:gd name="connsiteX36" fmla="*/ 680 w 10216"/>
                <a:gd name="connsiteY36" fmla="*/ 5583 h 10610"/>
                <a:gd name="connsiteX37" fmla="*/ 587 w 10216"/>
                <a:gd name="connsiteY37" fmla="*/ 5633 h 10610"/>
                <a:gd name="connsiteX38" fmla="*/ 492 w 10216"/>
                <a:gd name="connsiteY38" fmla="*/ 5681 h 10610"/>
                <a:gd name="connsiteX39" fmla="*/ 394 w 10216"/>
                <a:gd name="connsiteY39" fmla="*/ 5725 h 10610"/>
                <a:gd name="connsiteX40" fmla="*/ 297 w 10216"/>
                <a:gd name="connsiteY40" fmla="*/ 5773 h 10610"/>
                <a:gd name="connsiteX41" fmla="*/ 202 w 10216"/>
                <a:gd name="connsiteY41" fmla="*/ 5816 h 10610"/>
                <a:gd name="connsiteX42" fmla="*/ 99 w 10216"/>
                <a:gd name="connsiteY42" fmla="*/ 5857 h 10610"/>
                <a:gd name="connsiteX43" fmla="*/ 309 w 10216"/>
                <a:gd name="connsiteY43" fmla="*/ 8550 h 10610"/>
                <a:gd name="connsiteX44" fmla="*/ 3400 w 10216"/>
                <a:gd name="connsiteY44" fmla="*/ 10610 h 10610"/>
                <a:gd name="connsiteX45" fmla="*/ 3705 w 10216"/>
                <a:gd name="connsiteY45" fmla="*/ 10485 h 10610"/>
                <a:gd name="connsiteX46" fmla="*/ 3947 w 10216"/>
                <a:gd name="connsiteY46" fmla="*/ 10386 h 10610"/>
                <a:gd name="connsiteX47" fmla="*/ 4183 w 10216"/>
                <a:gd name="connsiteY47" fmla="*/ 10287 h 10610"/>
                <a:gd name="connsiteX48" fmla="*/ 4416 w 10216"/>
                <a:gd name="connsiteY48" fmla="*/ 10183 h 10610"/>
                <a:gd name="connsiteX49" fmla="*/ 4648 w 10216"/>
                <a:gd name="connsiteY49" fmla="*/ 10074 h 10610"/>
                <a:gd name="connsiteX50" fmla="*/ 4866 w 10216"/>
                <a:gd name="connsiteY50" fmla="*/ 9967 h 10610"/>
                <a:gd name="connsiteX51" fmla="*/ 5087 w 10216"/>
                <a:gd name="connsiteY51" fmla="*/ 9849 h 10610"/>
                <a:gd name="connsiteX52" fmla="*/ 5308 w 10216"/>
                <a:gd name="connsiteY52" fmla="*/ 9736 h 10610"/>
                <a:gd name="connsiteX53" fmla="*/ 5518 w 10216"/>
                <a:gd name="connsiteY53" fmla="*/ 9615 h 10610"/>
                <a:gd name="connsiteX54" fmla="*/ 5734 w 10216"/>
                <a:gd name="connsiteY54" fmla="*/ 9491 h 10610"/>
                <a:gd name="connsiteX55" fmla="*/ 5938 w 10216"/>
                <a:gd name="connsiteY55" fmla="*/ 9362 h 10610"/>
                <a:gd name="connsiteX56" fmla="*/ 6142 w 10216"/>
                <a:gd name="connsiteY56" fmla="*/ 9235 h 10610"/>
                <a:gd name="connsiteX57" fmla="*/ 6338 w 10216"/>
                <a:gd name="connsiteY57" fmla="*/ 9105 h 10610"/>
                <a:gd name="connsiteX58" fmla="*/ 6537 w 10216"/>
                <a:gd name="connsiteY58" fmla="*/ 8967 h 10610"/>
                <a:gd name="connsiteX59" fmla="*/ 6728 w 10216"/>
                <a:gd name="connsiteY59" fmla="*/ 8825 h 10610"/>
                <a:gd name="connsiteX60" fmla="*/ 6913 w 10216"/>
                <a:gd name="connsiteY60" fmla="*/ 8689 h 10610"/>
                <a:gd name="connsiteX61" fmla="*/ 7096 w 10216"/>
                <a:gd name="connsiteY61" fmla="*/ 8544 h 10610"/>
                <a:gd name="connsiteX62" fmla="*/ 7272 w 10216"/>
                <a:gd name="connsiteY62" fmla="*/ 8396 h 10610"/>
                <a:gd name="connsiteX63" fmla="*/ 7448 w 10216"/>
                <a:gd name="connsiteY63" fmla="*/ 8248 h 10610"/>
                <a:gd name="connsiteX64" fmla="*/ 7617 w 10216"/>
                <a:gd name="connsiteY64" fmla="*/ 8097 h 10610"/>
                <a:gd name="connsiteX65" fmla="*/ 7785 w 10216"/>
                <a:gd name="connsiteY65" fmla="*/ 7940 h 10610"/>
                <a:gd name="connsiteX66" fmla="*/ 7941 w 10216"/>
                <a:gd name="connsiteY66" fmla="*/ 7782 h 10610"/>
                <a:gd name="connsiteX67" fmla="*/ 8094 w 10216"/>
                <a:gd name="connsiteY67" fmla="*/ 7623 h 10610"/>
                <a:gd name="connsiteX68" fmla="*/ 8249 w 10216"/>
                <a:gd name="connsiteY68" fmla="*/ 7463 h 10610"/>
                <a:gd name="connsiteX69" fmla="*/ 8392 w 10216"/>
                <a:gd name="connsiteY69" fmla="*/ 7296 h 10610"/>
                <a:gd name="connsiteX70" fmla="*/ 8532 w 10216"/>
                <a:gd name="connsiteY70" fmla="*/ 7132 h 10610"/>
                <a:gd name="connsiteX71" fmla="*/ 8668 w 10216"/>
                <a:gd name="connsiteY71" fmla="*/ 6962 h 10610"/>
                <a:gd name="connsiteX72" fmla="*/ 8794 w 10216"/>
                <a:gd name="connsiteY72" fmla="*/ 6788 h 10610"/>
                <a:gd name="connsiteX73" fmla="*/ 8918 w 10216"/>
                <a:gd name="connsiteY73" fmla="*/ 6614 h 10610"/>
                <a:gd name="connsiteX74" fmla="*/ 9044 w 10216"/>
                <a:gd name="connsiteY74" fmla="*/ 6440 h 10610"/>
                <a:gd name="connsiteX75" fmla="*/ 9162 w 10216"/>
                <a:gd name="connsiteY75" fmla="*/ 6262 h 10610"/>
                <a:gd name="connsiteX76" fmla="*/ 9266 w 10216"/>
                <a:gd name="connsiteY76" fmla="*/ 6084 h 10610"/>
                <a:gd name="connsiteX77" fmla="*/ 9373 w 10216"/>
                <a:gd name="connsiteY77" fmla="*/ 5902 h 10610"/>
                <a:gd name="connsiteX78" fmla="*/ 9468 w 10216"/>
                <a:gd name="connsiteY78" fmla="*/ 5716 h 10610"/>
                <a:gd name="connsiteX79" fmla="*/ 9564 w 10216"/>
                <a:gd name="connsiteY79" fmla="*/ 5533 h 10610"/>
                <a:gd name="connsiteX80" fmla="*/ 9648 w 10216"/>
                <a:gd name="connsiteY80" fmla="*/ 5344 h 10610"/>
                <a:gd name="connsiteX81" fmla="*/ 9729 w 10216"/>
                <a:gd name="connsiteY81" fmla="*/ 5153 h 10610"/>
                <a:gd name="connsiteX82" fmla="*/ 9803 w 10216"/>
                <a:gd name="connsiteY82" fmla="*/ 4961 h 10610"/>
                <a:gd name="connsiteX83" fmla="*/ 9876 w 10216"/>
                <a:gd name="connsiteY83" fmla="*/ 4771 h 10610"/>
                <a:gd name="connsiteX84" fmla="*/ 9938 w 10216"/>
                <a:gd name="connsiteY84" fmla="*/ 4578 h 10610"/>
                <a:gd name="connsiteX85" fmla="*/ 9997 w 10216"/>
                <a:gd name="connsiteY85" fmla="*/ 4381 h 10610"/>
                <a:gd name="connsiteX86" fmla="*/ 9734 w 10216"/>
                <a:gd name="connsiteY86" fmla="*/ 0 h 10610"/>
                <a:gd name="connsiteX87" fmla="*/ 6507 w 10216"/>
                <a:gd name="connsiteY87" fmla="*/ 1883 h 10610"/>
                <a:gd name="connsiteX88" fmla="*/ 2522 w 10216"/>
                <a:gd name="connsiteY88" fmla="*/ 1506 h 10610"/>
                <a:gd name="connsiteX0" fmla="*/ 2423 w 10117"/>
                <a:gd name="connsiteY0" fmla="*/ 1506 h 10610"/>
                <a:gd name="connsiteX1" fmla="*/ 2592 w 10117"/>
                <a:gd name="connsiteY1" fmla="*/ 3145 h 10610"/>
                <a:gd name="connsiteX2" fmla="*/ 2577 w 10117"/>
                <a:gd name="connsiteY2" fmla="*/ 3230 h 10610"/>
                <a:gd name="connsiteX3" fmla="*/ 2554 w 10117"/>
                <a:gd name="connsiteY3" fmla="*/ 3314 h 10610"/>
                <a:gd name="connsiteX4" fmla="*/ 2533 w 10117"/>
                <a:gd name="connsiteY4" fmla="*/ 3399 h 10610"/>
                <a:gd name="connsiteX5" fmla="*/ 2506 w 10117"/>
                <a:gd name="connsiteY5" fmla="*/ 3479 h 10610"/>
                <a:gd name="connsiteX6" fmla="*/ 2472 w 10117"/>
                <a:gd name="connsiteY6" fmla="*/ 3560 h 10610"/>
                <a:gd name="connsiteX7" fmla="*/ 2441 w 10117"/>
                <a:gd name="connsiteY7" fmla="*/ 3643 h 10610"/>
                <a:gd name="connsiteX8" fmla="*/ 2413 w 10117"/>
                <a:gd name="connsiteY8" fmla="*/ 3722 h 10610"/>
                <a:gd name="connsiteX9" fmla="*/ 2379 w 10117"/>
                <a:gd name="connsiteY9" fmla="*/ 3804 h 10610"/>
                <a:gd name="connsiteX10" fmla="*/ 2339 w 10117"/>
                <a:gd name="connsiteY10" fmla="*/ 3883 h 10610"/>
                <a:gd name="connsiteX11" fmla="*/ 2297 w 10117"/>
                <a:gd name="connsiteY11" fmla="*/ 3960 h 10610"/>
                <a:gd name="connsiteX12" fmla="*/ 2257 w 10117"/>
                <a:gd name="connsiteY12" fmla="*/ 4039 h 10610"/>
                <a:gd name="connsiteX13" fmla="*/ 2209 w 10117"/>
                <a:gd name="connsiteY13" fmla="*/ 4118 h 10610"/>
                <a:gd name="connsiteX14" fmla="*/ 2158 w 10117"/>
                <a:gd name="connsiteY14" fmla="*/ 4189 h 10610"/>
                <a:gd name="connsiteX15" fmla="*/ 2110 w 10117"/>
                <a:gd name="connsiteY15" fmla="*/ 4265 h 10610"/>
                <a:gd name="connsiteX16" fmla="*/ 2058 w 10117"/>
                <a:gd name="connsiteY16" fmla="*/ 4339 h 10610"/>
                <a:gd name="connsiteX17" fmla="*/ 2001 w 10117"/>
                <a:gd name="connsiteY17" fmla="*/ 4412 h 10610"/>
                <a:gd name="connsiteX18" fmla="*/ 1950 w 10117"/>
                <a:gd name="connsiteY18" fmla="*/ 4486 h 10610"/>
                <a:gd name="connsiteX19" fmla="*/ 1890 w 10117"/>
                <a:gd name="connsiteY19" fmla="*/ 4557 h 10610"/>
                <a:gd name="connsiteX20" fmla="*/ 1827 w 10117"/>
                <a:gd name="connsiteY20" fmla="*/ 4623 h 10610"/>
                <a:gd name="connsiteX21" fmla="*/ 1762 w 10117"/>
                <a:gd name="connsiteY21" fmla="*/ 4691 h 10610"/>
                <a:gd name="connsiteX22" fmla="*/ 1702 w 10117"/>
                <a:gd name="connsiteY22" fmla="*/ 4758 h 10610"/>
                <a:gd name="connsiteX23" fmla="*/ 1632 w 10117"/>
                <a:gd name="connsiteY23" fmla="*/ 4830 h 10610"/>
                <a:gd name="connsiteX24" fmla="*/ 1563 w 10117"/>
                <a:gd name="connsiteY24" fmla="*/ 4893 h 10610"/>
                <a:gd name="connsiteX25" fmla="*/ 1490 w 10117"/>
                <a:gd name="connsiteY25" fmla="*/ 4952 h 10610"/>
                <a:gd name="connsiteX26" fmla="*/ 1415 w 10117"/>
                <a:gd name="connsiteY26" fmla="*/ 5019 h 10610"/>
                <a:gd name="connsiteX27" fmla="*/ 1341 w 10117"/>
                <a:gd name="connsiteY27" fmla="*/ 5081 h 10610"/>
                <a:gd name="connsiteX28" fmla="*/ 1262 w 10117"/>
                <a:gd name="connsiteY28" fmla="*/ 5140 h 10610"/>
                <a:gd name="connsiteX29" fmla="*/ 1184 w 10117"/>
                <a:gd name="connsiteY29" fmla="*/ 5204 h 10610"/>
                <a:gd name="connsiteX30" fmla="*/ 1105 w 10117"/>
                <a:gd name="connsiteY30" fmla="*/ 5262 h 10610"/>
                <a:gd name="connsiteX31" fmla="*/ 1017 w 10117"/>
                <a:gd name="connsiteY31" fmla="*/ 5319 h 10610"/>
                <a:gd name="connsiteX32" fmla="*/ 937 w 10117"/>
                <a:gd name="connsiteY32" fmla="*/ 5373 h 10610"/>
                <a:gd name="connsiteX33" fmla="*/ 850 w 10117"/>
                <a:gd name="connsiteY33" fmla="*/ 5429 h 10610"/>
                <a:gd name="connsiteX34" fmla="*/ 765 w 10117"/>
                <a:gd name="connsiteY34" fmla="*/ 5481 h 10610"/>
                <a:gd name="connsiteX35" fmla="*/ 670 w 10117"/>
                <a:gd name="connsiteY35" fmla="*/ 5534 h 10610"/>
                <a:gd name="connsiteX36" fmla="*/ 581 w 10117"/>
                <a:gd name="connsiteY36" fmla="*/ 5583 h 10610"/>
                <a:gd name="connsiteX37" fmla="*/ 488 w 10117"/>
                <a:gd name="connsiteY37" fmla="*/ 5633 h 10610"/>
                <a:gd name="connsiteX38" fmla="*/ 393 w 10117"/>
                <a:gd name="connsiteY38" fmla="*/ 5681 h 10610"/>
                <a:gd name="connsiteX39" fmla="*/ 295 w 10117"/>
                <a:gd name="connsiteY39" fmla="*/ 5725 h 10610"/>
                <a:gd name="connsiteX40" fmla="*/ 198 w 10117"/>
                <a:gd name="connsiteY40" fmla="*/ 5773 h 10610"/>
                <a:gd name="connsiteX41" fmla="*/ 103 w 10117"/>
                <a:gd name="connsiteY41" fmla="*/ 5816 h 10610"/>
                <a:gd name="connsiteX42" fmla="*/ 0 w 10117"/>
                <a:gd name="connsiteY42" fmla="*/ 5857 h 10610"/>
                <a:gd name="connsiteX43" fmla="*/ 210 w 10117"/>
                <a:gd name="connsiteY43" fmla="*/ 8550 h 10610"/>
                <a:gd name="connsiteX44" fmla="*/ 3301 w 10117"/>
                <a:gd name="connsiteY44" fmla="*/ 10610 h 10610"/>
                <a:gd name="connsiteX45" fmla="*/ 3606 w 10117"/>
                <a:gd name="connsiteY45" fmla="*/ 10485 h 10610"/>
                <a:gd name="connsiteX46" fmla="*/ 3848 w 10117"/>
                <a:gd name="connsiteY46" fmla="*/ 10386 h 10610"/>
                <a:gd name="connsiteX47" fmla="*/ 4084 w 10117"/>
                <a:gd name="connsiteY47" fmla="*/ 10287 h 10610"/>
                <a:gd name="connsiteX48" fmla="*/ 4317 w 10117"/>
                <a:gd name="connsiteY48" fmla="*/ 10183 h 10610"/>
                <a:gd name="connsiteX49" fmla="*/ 4549 w 10117"/>
                <a:gd name="connsiteY49" fmla="*/ 10074 h 10610"/>
                <a:gd name="connsiteX50" fmla="*/ 4767 w 10117"/>
                <a:gd name="connsiteY50" fmla="*/ 9967 h 10610"/>
                <a:gd name="connsiteX51" fmla="*/ 4988 w 10117"/>
                <a:gd name="connsiteY51" fmla="*/ 9849 h 10610"/>
                <a:gd name="connsiteX52" fmla="*/ 5209 w 10117"/>
                <a:gd name="connsiteY52" fmla="*/ 9736 h 10610"/>
                <a:gd name="connsiteX53" fmla="*/ 5419 w 10117"/>
                <a:gd name="connsiteY53" fmla="*/ 9615 h 10610"/>
                <a:gd name="connsiteX54" fmla="*/ 5635 w 10117"/>
                <a:gd name="connsiteY54" fmla="*/ 9491 h 10610"/>
                <a:gd name="connsiteX55" fmla="*/ 5839 w 10117"/>
                <a:gd name="connsiteY55" fmla="*/ 9362 h 10610"/>
                <a:gd name="connsiteX56" fmla="*/ 6043 w 10117"/>
                <a:gd name="connsiteY56" fmla="*/ 9235 h 10610"/>
                <a:gd name="connsiteX57" fmla="*/ 6239 w 10117"/>
                <a:gd name="connsiteY57" fmla="*/ 9105 h 10610"/>
                <a:gd name="connsiteX58" fmla="*/ 6438 w 10117"/>
                <a:gd name="connsiteY58" fmla="*/ 8967 h 10610"/>
                <a:gd name="connsiteX59" fmla="*/ 6629 w 10117"/>
                <a:gd name="connsiteY59" fmla="*/ 8825 h 10610"/>
                <a:gd name="connsiteX60" fmla="*/ 6814 w 10117"/>
                <a:gd name="connsiteY60" fmla="*/ 8689 h 10610"/>
                <a:gd name="connsiteX61" fmla="*/ 6997 w 10117"/>
                <a:gd name="connsiteY61" fmla="*/ 8544 h 10610"/>
                <a:gd name="connsiteX62" fmla="*/ 7173 w 10117"/>
                <a:gd name="connsiteY62" fmla="*/ 8396 h 10610"/>
                <a:gd name="connsiteX63" fmla="*/ 7349 w 10117"/>
                <a:gd name="connsiteY63" fmla="*/ 8248 h 10610"/>
                <a:gd name="connsiteX64" fmla="*/ 7518 w 10117"/>
                <a:gd name="connsiteY64" fmla="*/ 8097 h 10610"/>
                <a:gd name="connsiteX65" fmla="*/ 7686 w 10117"/>
                <a:gd name="connsiteY65" fmla="*/ 7940 h 10610"/>
                <a:gd name="connsiteX66" fmla="*/ 7842 w 10117"/>
                <a:gd name="connsiteY66" fmla="*/ 7782 h 10610"/>
                <a:gd name="connsiteX67" fmla="*/ 7995 w 10117"/>
                <a:gd name="connsiteY67" fmla="*/ 7623 h 10610"/>
                <a:gd name="connsiteX68" fmla="*/ 8150 w 10117"/>
                <a:gd name="connsiteY68" fmla="*/ 7463 h 10610"/>
                <a:gd name="connsiteX69" fmla="*/ 8293 w 10117"/>
                <a:gd name="connsiteY69" fmla="*/ 7296 h 10610"/>
                <a:gd name="connsiteX70" fmla="*/ 8433 w 10117"/>
                <a:gd name="connsiteY70" fmla="*/ 7132 h 10610"/>
                <a:gd name="connsiteX71" fmla="*/ 8569 w 10117"/>
                <a:gd name="connsiteY71" fmla="*/ 6962 h 10610"/>
                <a:gd name="connsiteX72" fmla="*/ 8695 w 10117"/>
                <a:gd name="connsiteY72" fmla="*/ 6788 h 10610"/>
                <a:gd name="connsiteX73" fmla="*/ 8819 w 10117"/>
                <a:gd name="connsiteY73" fmla="*/ 6614 h 10610"/>
                <a:gd name="connsiteX74" fmla="*/ 8945 w 10117"/>
                <a:gd name="connsiteY74" fmla="*/ 6440 h 10610"/>
                <a:gd name="connsiteX75" fmla="*/ 9063 w 10117"/>
                <a:gd name="connsiteY75" fmla="*/ 6262 h 10610"/>
                <a:gd name="connsiteX76" fmla="*/ 9167 w 10117"/>
                <a:gd name="connsiteY76" fmla="*/ 6084 h 10610"/>
                <a:gd name="connsiteX77" fmla="*/ 9274 w 10117"/>
                <a:gd name="connsiteY77" fmla="*/ 5902 h 10610"/>
                <a:gd name="connsiteX78" fmla="*/ 9369 w 10117"/>
                <a:gd name="connsiteY78" fmla="*/ 5716 h 10610"/>
                <a:gd name="connsiteX79" fmla="*/ 9465 w 10117"/>
                <a:gd name="connsiteY79" fmla="*/ 5533 h 10610"/>
                <a:gd name="connsiteX80" fmla="*/ 9549 w 10117"/>
                <a:gd name="connsiteY80" fmla="*/ 5344 h 10610"/>
                <a:gd name="connsiteX81" fmla="*/ 9630 w 10117"/>
                <a:gd name="connsiteY81" fmla="*/ 5153 h 10610"/>
                <a:gd name="connsiteX82" fmla="*/ 9704 w 10117"/>
                <a:gd name="connsiteY82" fmla="*/ 4961 h 10610"/>
                <a:gd name="connsiteX83" fmla="*/ 9777 w 10117"/>
                <a:gd name="connsiteY83" fmla="*/ 4771 h 10610"/>
                <a:gd name="connsiteX84" fmla="*/ 9839 w 10117"/>
                <a:gd name="connsiteY84" fmla="*/ 4578 h 10610"/>
                <a:gd name="connsiteX85" fmla="*/ 9898 w 10117"/>
                <a:gd name="connsiteY85" fmla="*/ 4381 h 10610"/>
                <a:gd name="connsiteX86" fmla="*/ 9635 w 10117"/>
                <a:gd name="connsiteY86" fmla="*/ 0 h 10610"/>
                <a:gd name="connsiteX87" fmla="*/ 6408 w 10117"/>
                <a:gd name="connsiteY87" fmla="*/ 1883 h 10610"/>
                <a:gd name="connsiteX88" fmla="*/ 2423 w 10117"/>
                <a:gd name="connsiteY88" fmla="*/ 1506 h 10610"/>
                <a:gd name="connsiteX0" fmla="*/ 2450 w 10117"/>
                <a:gd name="connsiteY0" fmla="*/ 1500 h 10610"/>
                <a:gd name="connsiteX1" fmla="*/ 2592 w 10117"/>
                <a:gd name="connsiteY1" fmla="*/ 3145 h 10610"/>
                <a:gd name="connsiteX2" fmla="*/ 2577 w 10117"/>
                <a:gd name="connsiteY2" fmla="*/ 3230 h 10610"/>
                <a:gd name="connsiteX3" fmla="*/ 2554 w 10117"/>
                <a:gd name="connsiteY3" fmla="*/ 3314 h 10610"/>
                <a:gd name="connsiteX4" fmla="*/ 2533 w 10117"/>
                <a:gd name="connsiteY4" fmla="*/ 3399 h 10610"/>
                <a:gd name="connsiteX5" fmla="*/ 2506 w 10117"/>
                <a:gd name="connsiteY5" fmla="*/ 3479 h 10610"/>
                <a:gd name="connsiteX6" fmla="*/ 2472 w 10117"/>
                <a:gd name="connsiteY6" fmla="*/ 3560 h 10610"/>
                <a:gd name="connsiteX7" fmla="*/ 2441 w 10117"/>
                <a:gd name="connsiteY7" fmla="*/ 3643 h 10610"/>
                <a:gd name="connsiteX8" fmla="*/ 2413 w 10117"/>
                <a:gd name="connsiteY8" fmla="*/ 3722 h 10610"/>
                <a:gd name="connsiteX9" fmla="*/ 2379 w 10117"/>
                <a:gd name="connsiteY9" fmla="*/ 3804 h 10610"/>
                <a:gd name="connsiteX10" fmla="*/ 2339 w 10117"/>
                <a:gd name="connsiteY10" fmla="*/ 3883 h 10610"/>
                <a:gd name="connsiteX11" fmla="*/ 2297 w 10117"/>
                <a:gd name="connsiteY11" fmla="*/ 3960 h 10610"/>
                <a:gd name="connsiteX12" fmla="*/ 2257 w 10117"/>
                <a:gd name="connsiteY12" fmla="*/ 4039 h 10610"/>
                <a:gd name="connsiteX13" fmla="*/ 2209 w 10117"/>
                <a:gd name="connsiteY13" fmla="*/ 4118 h 10610"/>
                <a:gd name="connsiteX14" fmla="*/ 2158 w 10117"/>
                <a:gd name="connsiteY14" fmla="*/ 4189 h 10610"/>
                <a:gd name="connsiteX15" fmla="*/ 2110 w 10117"/>
                <a:gd name="connsiteY15" fmla="*/ 4265 h 10610"/>
                <a:gd name="connsiteX16" fmla="*/ 2058 w 10117"/>
                <a:gd name="connsiteY16" fmla="*/ 4339 h 10610"/>
                <a:gd name="connsiteX17" fmla="*/ 2001 w 10117"/>
                <a:gd name="connsiteY17" fmla="*/ 4412 h 10610"/>
                <a:gd name="connsiteX18" fmla="*/ 1950 w 10117"/>
                <a:gd name="connsiteY18" fmla="*/ 4486 h 10610"/>
                <a:gd name="connsiteX19" fmla="*/ 1890 w 10117"/>
                <a:gd name="connsiteY19" fmla="*/ 4557 h 10610"/>
                <a:gd name="connsiteX20" fmla="*/ 1827 w 10117"/>
                <a:gd name="connsiteY20" fmla="*/ 4623 h 10610"/>
                <a:gd name="connsiteX21" fmla="*/ 1762 w 10117"/>
                <a:gd name="connsiteY21" fmla="*/ 4691 h 10610"/>
                <a:gd name="connsiteX22" fmla="*/ 1702 w 10117"/>
                <a:gd name="connsiteY22" fmla="*/ 4758 h 10610"/>
                <a:gd name="connsiteX23" fmla="*/ 1632 w 10117"/>
                <a:gd name="connsiteY23" fmla="*/ 4830 h 10610"/>
                <a:gd name="connsiteX24" fmla="*/ 1563 w 10117"/>
                <a:gd name="connsiteY24" fmla="*/ 4893 h 10610"/>
                <a:gd name="connsiteX25" fmla="*/ 1490 w 10117"/>
                <a:gd name="connsiteY25" fmla="*/ 4952 h 10610"/>
                <a:gd name="connsiteX26" fmla="*/ 1415 w 10117"/>
                <a:gd name="connsiteY26" fmla="*/ 5019 h 10610"/>
                <a:gd name="connsiteX27" fmla="*/ 1341 w 10117"/>
                <a:gd name="connsiteY27" fmla="*/ 5081 h 10610"/>
                <a:gd name="connsiteX28" fmla="*/ 1262 w 10117"/>
                <a:gd name="connsiteY28" fmla="*/ 5140 h 10610"/>
                <a:gd name="connsiteX29" fmla="*/ 1184 w 10117"/>
                <a:gd name="connsiteY29" fmla="*/ 5204 h 10610"/>
                <a:gd name="connsiteX30" fmla="*/ 1105 w 10117"/>
                <a:gd name="connsiteY30" fmla="*/ 5262 h 10610"/>
                <a:gd name="connsiteX31" fmla="*/ 1017 w 10117"/>
                <a:gd name="connsiteY31" fmla="*/ 5319 h 10610"/>
                <a:gd name="connsiteX32" fmla="*/ 937 w 10117"/>
                <a:gd name="connsiteY32" fmla="*/ 5373 h 10610"/>
                <a:gd name="connsiteX33" fmla="*/ 850 w 10117"/>
                <a:gd name="connsiteY33" fmla="*/ 5429 h 10610"/>
                <a:gd name="connsiteX34" fmla="*/ 765 w 10117"/>
                <a:gd name="connsiteY34" fmla="*/ 5481 h 10610"/>
                <a:gd name="connsiteX35" fmla="*/ 670 w 10117"/>
                <a:gd name="connsiteY35" fmla="*/ 5534 h 10610"/>
                <a:gd name="connsiteX36" fmla="*/ 581 w 10117"/>
                <a:gd name="connsiteY36" fmla="*/ 5583 h 10610"/>
                <a:gd name="connsiteX37" fmla="*/ 488 w 10117"/>
                <a:gd name="connsiteY37" fmla="*/ 5633 h 10610"/>
                <a:gd name="connsiteX38" fmla="*/ 393 w 10117"/>
                <a:gd name="connsiteY38" fmla="*/ 5681 h 10610"/>
                <a:gd name="connsiteX39" fmla="*/ 295 w 10117"/>
                <a:gd name="connsiteY39" fmla="*/ 5725 h 10610"/>
                <a:gd name="connsiteX40" fmla="*/ 198 w 10117"/>
                <a:gd name="connsiteY40" fmla="*/ 5773 h 10610"/>
                <a:gd name="connsiteX41" fmla="*/ 103 w 10117"/>
                <a:gd name="connsiteY41" fmla="*/ 5816 h 10610"/>
                <a:gd name="connsiteX42" fmla="*/ 0 w 10117"/>
                <a:gd name="connsiteY42" fmla="*/ 5857 h 10610"/>
                <a:gd name="connsiteX43" fmla="*/ 210 w 10117"/>
                <a:gd name="connsiteY43" fmla="*/ 8550 h 10610"/>
                <a:gd name="connsiteX44" fmla="*/ 3301 w 10117"/>
                <a:gd name="connsiteY44" fmla="*/ 10610 h 10610"/>
                <a:gd name="connsiteX45" fmla="*/ 3606 w 10117"/>
                <a:gd name="connsiteY45" fmla="*/ 10485 h 10610"/>
                <a:gd name="connsiteX46" fmla="*/ 3848 w 10117"/>
                <a:gd name="connsiteY46" fmla="*/ 10386 h 10610"/>
                <a:gd name="connsiteX47" fmla="*/ 4084 w 10117"/>
                <a:gd name="connsiteY47" fmla="*/ 10287 h 10610"/>
                <a:gd name="connsiteX48" fmla="*/ 4317 w 10117"/>
                <a:gd name="connsiteY48" fmla="*/ 10183 h 10610"/>
                <a:gd name="connsiteX49" fmla="*/ 4549 w 10117"/>
                <a:gd name="connsiteY49" fmla="*/ 10074 h 10610"/>
                <a:gd name="connsiteX50" fmla="*/ 4767 w 10117"/>
                <a:gd name="connsiteY50" fmla="*/ 9967 h 10610"/>
                <a:gd name="connsiteX51" fmla="*/ 4988 w 10117"/>
                <a:gd name="connsiteY51" fmla="*/ 9849 h 10610"/>
                <a:gd name="connsiteX52" fmla="*/ 5209 w 10117"/>
                <a:gd name="connsiteY52" fmla="*/ 9736 h 10610"/>
                <a:gd name="connsiteX53" fmla="*/ 5419 w 10117"/>
                <a:gd name="connsiteY53" fmla="*/ 9615 h 10610"/>
                <a:gd name="connsiteX54" fmla="*/ 5635 w 10117"/>
                <a:gd name="connsiteY54" fmla="*/ 9491 h 10610"/>
                <a:gd name="connsiteX55" fmla="*/ 5839 w 10117"/>
                <a:gd name="connsiteY55" fmla="*/ 9362 h 10610"/>
                <a:gd name="connsiteX56" fmla="*/ 6043 w 10117"/>
                <a:gd name="connsiteY56" fmla="*/ 9235 h 10610"/>
                <a:gd name="connsiteX57" fmla="*/ 6239 w 10117"/>
                <a:gd name="connsiteY57" fmla="*/ 9105 h 10610"/>
                <a:gd name="connsiteX58" fmla="*/ 6438 w 10117"/>
                <a:gd name="connsiteY58" fmla="*/ 8967 h 10610"/>
                <a:gd name="connsiteX59" fmla="*/ 6629 w 10117"/>
                <a:gd name="connsiteY59" fmla="*/ 8825 h 10610"/>
                <a:gd name="connsiteX60" fmla="*/ 6814 w 10117"/>
                <a:gd name="connsiteY60" fmla="*/ 8689 h 10610"/>
                <a:gd name="connsiteX61" fmla="*/ 6997 w 10117"/>
                <a:gd name="connsiteY61" fmla="*/ 8544 h 10610"/>
                <a:gd name="connsiteX62" fmla="*/ 7173 w 10117"/>
                <a:gd name="connsiteY62" fmla="*/ 8396 h 10610"/>
                <a:gd name="connsiteX63" fmla="*/ 7349 w 10117"/>
                <a:gd name="connsiteY63" fmla="*/ 8248 h 10610"/>
                <a:gd name="connsiteX64" fmla="*/ 7518 w 10117"/>
                <a:gd name="connsiteY64" fmla="*/ 8097 h 10610"/>
                <a:gd name="connsiteX65" fmla="*/ 7686 w 10117"/>
                <a:gd name="connsiteY65" fmla="*/ 7940 h 10610"/>
                <a:gd name="connsiteX66" fmla="*/ 7842 w 10117"/>
                <a:gd name="connsiteY66" fmla="*/ 7782 h 10610"/>
                <a:gd name="connsiteX67" fmla="*/ 7995 w 10117"/>
                <a:gd name="connsiteY67" fmla="*/ 7623 h 10610"/>
                <a:gd name="connsiteX68" fmla="*/ 8150 w 10117"/>
                <a:gd name="connsiteY68" fmla="*/ 7463 h 10610"/>
                <a:gd name="connsiteX69" fmla="*/ 8293 w 10117"/>
                <a:gd name="connsiteY69" fmla="*/ 7296 h 10610"/>
                <a:gd name="connsiteX70" fmla="*/ 8433 w 10117"/>
                <a:gd name="connsiteY70" fmla="*/ 7132 h 10610"/>
                <a:gd name="connsiteX71" fmla="*/ 8569 w 10117"/>
                <a:gd name="connsiteY71" fmla="*/ 6962 h 10610"/>
                <a:gd name="connsiteX72" fmla="*/ 8695 w 10117"/>
                <a:gd name="connsiteY72" fmla="*/ 6788 h 10610"/>
                <a:gd name="connsiteX73" fmla="*/ 8819 w 10117"/>
                <a:gd name="connsiteY73" fmla="*/ 6614 h 10610"/>
                <a:gd name="connsiteX74" fmla="*/ 8945 w 10117"/>
                <a:gd name="connsiteY74" fmla="*/ 6440 h 10610"/>
                <a:gd name="connsiteX75" fmla="*/ 9063 w 10117"/>
                <a:gd name="connsiteY75" fmla="*/ 6262 h 10610"/>
                <a:gd name="connsiteX76" fmla="*/ 9167 w 10117"/>
                <a:gd name="connsiteY76" fmla="*/ 6084 h 10610"/>
                <a:gd name="connsiteX77" fmla="*/ 9274 w 10117"/>
                <a:gd name="connsiteY77" fmla="*/ 5902 h 10610"/>
                <a:gd name="connsiteX78" fmla="*/ 9369 w 10117"/>
                <a:gd name="connsiteY78" fmla="*/ 5716 h 10610"/>
                <a:gd name="connsiteX79" fmla="*/ 9465 w 10117"/>
                <a:gd name="connsiteY79" fmla="*/ 5533 h 10610"/>
                <a:gd name="connsiteX80" fmla="*/ 9549 w 10117"/>
                <a:gd name="connsiteY80" fmla="*/ 5344 h 10610"/>
                <a:gd name="connsiteX81" fmla="*/ 9630 w 10117"/>
                <a:gd name="connsiteY81" fmla="*/ 5153 h 10610"/>
                <a:gd name="connsiteX82" fmla="*/ 9704 w 10117"/>
                <a:gd name="connsiteY82" fmla="*/ 4961 h 10610"/>
                <a:gd name="connsiteX83" fmla="*/ 9777 w 10117"/>
                <a:gd name="connsiteY83" fmla="*/ 4771 h 10610"/>
                <a:gd name="connsiteX84" fmla="*/ 9839 w 10117"/>
                <a:gd name="connsiteY84" fmla="*/ 4578 h 10610"/>
                <a:gd name="connsiteX85" fmla="*/ 9898 w 10117"/>
                <a:gd name="connsiteY85" fmla="*/ 4381 h 10610"/>
                <a:gd name="connsiteX86" fmla="*/ 9635 w 10117"/>
                <a:gd name="connsiteY86" fmla="*/ 0 h 10610"/>
                <a:gd name="connsiteX87" fmla="*/ 6408 w 10117"/>
                <a:gd name="connsiteY87" fmla="*/ 1883 h 10610"/>
                <a:gd name="connsiteX88" fmla="*/ 2450 w 10117"/>
                <a:gd name="connsiteY88" fmla="*/ 1500 h 10610"/>
                <a:gd name="connsiteX0" fmla="*/ 2450 w 10117"/>
                <a:gd name="connsiteY0" fmla="*/ 1500 h 10610"/>
                <a:gd name="connsiteX1" fmla="*/ 2577 w 10117"/>
                <a:gd name="connsiteY1" fmla="*/ 3230 h 10610"/>
                <a:gd name="connsiteX2" fmla="*/ 2554 w 10117"/>
                <a:gd name="connsiteY2" fmla="*/ 3314 h 10610"/>
                <a:gd name="connsiteX3" fmla="*/ 2533 w 10117"/>
                <a:gd name="connsiteY3" fmla="*/ 3399 h 10610"/>
                <a:gd name="connsiteX4" fmla="*/ 2506 w 10117"/>
                <a:gd name="connsiteY4" fmla="*/ 3479 h 10610"/>
                <a:gd name="connsiteX5" fmla="*/ 2472 w 10117"/>
                <a:gd name="connsiteY5" fmla="*/ 3560 h 10610"/>
                <a:gd name="connsiteX6" fmla="*/ 2441 w 10117"/>
                <a:gd name="connsiteY6" fmla="*/ 3643 h 10610"/>
                <a:gd name="connsiteX7" fmla="*/ 2413 w 10117"/>
                <a:gd name="connsiteY7" fmla="*/ 3722 h 10610"/>
                <a:gd name="connsiteX8" fmla="*/ 2379 w 10117"/>
                <a:gd name="connsiteY8" fmla="*/ 3804 h 10610"/>
                <a:gd name="connsiteX9" fmla="*/ 2339 w 10117"/>
                <a:gd name="connsiteY9" fmla="*/ 3883 h 10610"/>
                <a:gd name="connsiteX10" fmla="*/ 2297 w 10117"/>
                <a:gd name="connsiteY10" fmla="*/ 3960 h 10610"/>
                <a:gd name="connsiteX11" fmla="*/ 2257 w 10117"/>
                <a:gd name="connsiteY11" fmla="*/ 4039 h 10610"/>
                <a:gd name="connsiteX12" fmla="*/ 2209 w 10117"/>
                <a:gd name="connsiteY12" fmla="*/ 4118 h 10610"/>
                <a:gd name="connsiteX13" fmla="*/ 2158 w 10117"/>
                <a:gd name="connsiteY13" fmla="*/ 4189 h 10610"/>
                <a:gd name="connsiteX14" fmla="*/ 2110 w 10117"/>
                <a:gd name="connsiteY14" fmla="*/ 4265 h 10610"/>
                <a:gd name="connsiteX15" fmla="*/ 2058 w 10117"/>
                <a:gd name="connsiteY15" fmla="*/ 4339 h 10610"/>
                <a:gd name="connsiteX16" fmla="*/ 2001 w 10117"/>
                <a:gd name="connsiteY16" fmla="*/ 4412 h 10610"/>
                <a:gd name="connsiteX17" fmla="*/ 1950 w 10117"/>
                <a:gd name="connsiteY17" fmla="*/ 4486 h 10610"/>
                <a:gd name="connsiteX18" fmla="*/ 1890 w 10117"/>
                <a:gd name="connsiteY18" fmla="*/ 4557 h 10610"/>
                <a:gd name="connsiteX19" fmla="*/ 1827 w 10117"/>
                <a:gd name="connsiteY19" fmla="*/ 4623 h 10610"/>
                <a:gd name="connsiteX20" fmla="*/ 1762 w 10117"/>
                <a:gd name="connsiteY20" fmla="*/ 4691 h 10610"/>
                <a:gd name="connsiteX21" fmla="*/ 1702 w 10117"/>
                <a:gd name="connsiteY21" fmla="*/ 4758 h 10610"/>
                <a:gd name="connsiteX22" fmla="*/ 1632 w 10117"/>
                <a:gd name="connsiteY22" fmla="*/ 4830 h 10610"/>
                <a:gd name="connsiteX23" fmla="*/ 1563 w 10117"/>
                <a:gd name="connsiteY23" fmla="*/ 4893 h 10610"/>
                <a:gd name="connsiteX24" fmla="*/ 1490 w 10117"/>
                <a:gd name="connsiteY24" fmla="*/ 4952 h 10610"/>
                <a:gd name="connsiteX25" fmla="*/ 1415 w 10117"/>
                <a:gd name="connsiteY25" fmla="*/ 5019 h 10610"/>
                <a:gd name="connsiteX26" fmla="*/ 1341 w 10117"/>
                <a:gd name="connsiteY26" fmla="*/ 5081 h 10610"/>
                <a:gd name="connsiteX27" fmla="*/ 1262 w 10117"/>
                <a:gd name="connsiteY27" fmla="*/ 5140 h 10610"/>
                <a:gd name="connsiteX28" fmla="*/ 1184 w 10117"/>
                <a:gd name="connsiteY28" fmla="*/ 5204 h 10610"/>
                <a:gd name="connsiteX29" fmla="*/ 1105 w 10117"/>
                <a:gd name="connsiteY29" fmla="*/ 5262 h 10610"/>
                <a:gd name="connsiteX30" fmla="*/ 1017 w 10117"/>
                <a:gd name="connsiteY30" fmla="*/ 5319 h 10610"/>
                <a:gd name="connsiteX31" fmla="*/ 937 w 10117"/>
                <a:gd name="connsiteY31" fmla="*/ 5373 h 10610"/>
                <a:gd name="connsiteX32" fmla="*/ 850 w 10117"/>
                <a:gd name="connsiteY32" fmla="*/ 5429 h 10610"/>
                <a:gd name="connsiteX33" fmla="*/ 765 w 10117"/>
                <a:gd name="connsiteY33" fmla="*/ 5481 h 10610"/>
                <a:gd name="connsiteX34" fmla="*/ 670 w 10117"/>
                <a:gd name="connsiteY34" fmla="*/ 5534 h 10610"/>
                <a:gd name="connsiteX35" fmla="*/ 581 w 10117"/>
                <a:gd name="connsiteY35" fmla="*/ 5583 h 10610"/>
                <a:gd name="connsiteX36" fmla="*/ 488 w 10117"/>
                <a:gd name="connsiteY36" fmla="*/ 5633 h 10610"/>
                <a:gd name="connsiteX37" fmla="*/ 393 w 10117"/>
                <a:gd name="connsiteY37" fmla="*/ 5681 h 10610"/>
                <a:gd name="connsiteX38" fmla="*/ 295 w 10117"/>
                <a:gd name="connsiteY38" fmla="*/ 5725 h 10610"/>
                <a:gd name="connsiteX39" fmla="*/ 198 w 10117"/>
                <a:gd name="connsiteY39" fmla="*/ 5773 h 10610"/>
                <a:gd name="connsiteX40" fmla="*/ 103 w 10117"/>
                <a:gd name="connsiteY40" fmla="*/ 5816 h 10610"/>
                <a:gd name="connsiteX41" fmla="*/ 0 w 10117"/>
                <a:gd name="connsiteY41" fmla="*/ 5857 h 10610"/>
                <a:gd name="connsiteX42" fmla="*/ 210 w 10117"/>
                <a:gd name="connsiteY42" fmla="*/ 8550 h 10610"/>
                <a:gd name="connsiteX43" fmla="*/ 3301 w 10117"/>
                <a:gd name="connsiteY43" fmla="*/ 10610 h 10610"/>
                <a:gd name="connsiteX44" fmla="*/ 3606 w 10117"/>
                <a:gd name="connsiteY44" fmla="*/ 10485 h 10610"/>
                <a:gd name="connsiteX45" fmla="*/ 3848 w 10117"/>
                <a:gd name="connsiteY45" fmla="*/ 10386 h 10610"/>
                <a:gd name="connsiteX46" fmla="*/ 4084 w 10117"/>
                <a:gd name="connsiteY46" fmla="*/ 10287 h 10610"/>
                <a:gd name="connsiteX47" fmla="*/ 4317 w 10117"/>
                <a:gd name="connsiteY47" fmla="*/ 10183 h 10610"/>
                <a:gd name="connsiteX48" fmla="*/ 4549 w 10117"/>
                <a:gd name="connsiteY48" fmla="*/ 10074 h 10610"/>
                <a:gd name="connsiteX49" fmla="*/ 4767 w 10117"/>
                <a:gd name="connsiteY49" fmla="*/ 9967 h 10610"/>
                <a:gd name="connsiteX50" fmla="*/ 4988 w 10117"/>
                <a:gd name="connsiteY50" fmla="*/ 9849 h 10610"/>
                <a:gd name="connsiteX51" fmla="*/ 5209 w 10117"/>
                <a:gd name="connsiteY51" fmla="*/ 9736 h 10610"/>
                <a:gd name="connsiteX52" fmla="*/ 5419 w 10117"/>
                <a:gd name="connsiteY52" fmla="*/ 9615 h 10610"/>
                <a:gd name="connsiteX53" fmla="*/ 5635 w 10117"/>
                <a:gd name="connsiteY53" fmla="*/ 9491 h 10610"/>
                <a:gd name="connsiteX54" fmla="*/ 5839 w 10117"/>
                <a:gd name="connsiteY54" fmla="*/ 9362 h 10610"/>
                <a:gd name="connsiteX55" fmla="*/ 6043 w 10117"/>
                <a:gd name="connsiteY55" fmla="*/ 9235 h 10610"/>
                <a:gd name="connsiteX56" fmla="*/ 6239 w 10117"/>
                <a:gd name="connsiteY56" fmla="*/ 9105 h 10610"/>
                <a:gd name="connsiteX57" fmla="*/ 6438 w 10117"/>
                <a:gd name="connsiteY57" fmla="*/ 8967 h 10610"/>
                <a:gd name="connsiteX58" fmla="*/ 6629 w 10117"/>
                <a:gd name="connsiteY58" fmla="*/ 8825 h 10610"/>
                <a:gd name="connsiteX59" fmla="*/ 6814 w 10117"/>
                <a:gd name="connsiteY59" fmla="*/ 8689 h 10610"/>
                <a:gd name="connsiteX60" fmla="*/ 6997 w 10117"/>
                <a:gd name="connsiteY60" fmla="*/ 8544 h 10610"/>
                <a:gd name="connsiteX61" fmla="*/ 7173 w 10117"/>
                <a:gd name="connsiteY61" fmla="*/ 8396 h 10610"/>
                <a:gd name="connsiteX62" fmla="*/ 7349 w 10117"/>
                <a:gd name="connsiteY62" fmla="*/ 8248 h 10610"/>
                <a:gd name="connsiteX63" fmla="*/ 7518 w 10117"/>
                <a:gd name="connsiteY63" fmla="*/ 8097 h 10610"/>
                <a:gd name="connsiteX64" fmla="*/ 7686 w 10117"/>
                <a:gd name="connsiteY64" fmla="*/ 7940 h 10610"/>
                <a:gd name="connsiteX65" fmla="*/ 7842 w 10117"/>
                <a:gd name="connsiteY65" fmla="*/ 7782 h 10610"/>
                <a:gd name="connsiteX66" fmla="*/ 7995 w 10117"/>
                <a:gd name="connsiteY66" fmla="*/ 7623 h 10610"/>
                <a:gd name="connsiteX67" fmla="*/ 8150 w 10117"/>
                <a:gd name="connsiteY67" fmla="*/ 7463 h 10610"/>
                <a:gd name="connsiteX68" fmla="*/ 8293 w 10117"/>
                <a:gd name="connsiteY68" fmla="*/ 7296 h 10610"/>
                <a:gd name="connsiteX69" fmla="*/ 8433 w 10117"/>
                <a:gd name="connsiteY69" fmla="*/ 7132 h 10610"/>
                <a:gd name="connsiteX70" fmla="*/ 8569 w 10117"/>
                <a:gd name="connsiteY70" fmla="*/ 6962 h 10610"/>
                <a:gd name="connsiteX71" fmla="*/ 8695 w 10117"/>
                <a:gd name="connsiteY71" fmla="*/ 6788 h 10610"/>
                <a:gd name="connsiteX72" fmla="*/ 8819 w 10117"/>
                <a:gd name="connsiteY72" fmla="*/ 6614 h 10610"/>
                <a:gd name="connsiteX73" fmla="*/ 8945 w 10117"/>
                <a:gd name="connsiteY73" fmla="*/ 6440 h 10610"/>
                <a:gd name="connsiteX74" fmla="*/ 9063 w 10117"/>
                <a:gd name="connsiteY74" fmla="*/ 6262 h 10610"/>
                <a:gd name="connsiteX75" fmla="*/ 9167 w 10117"/>
                <a:gd name="connsiteY75" fmla="*/ 6084 h 10610"/>
                <a:gd name="connsiteX76" fmla="*/ 9274 w 10117"/>
                <a:gd name="connsiteY76" fmla="*/ 5902 h 10610"/>
                <a:gd name="connsiteX77" fmla="*/ 9369 w 10117"/>
                <a:gd name="connsiteY77" fmla="*/ 5716 h 10610"/>
                <a:gd name="connsiteX78" fmla="*/ 9465 w 10117"/>
                <a:gd name="connsiteY78" fmla="*/ 5533 h 10610"/>
                <a:gd name="connsiteX79" fmla="*/ 9549 w 10117"/>
                <a:gd name="connsiteY79" fmla="*/ 5344 h 10610"/>
                <a:gd name="connsiteX80" fmla="*/ 9630 w 10117"/>
                <a:gd name="connsiteY80" fmla="*/ 5153 h 10610"/>
                <a:gd name="connsiteX81" fmla="*/ 9704 w 10117"/>
                <a:gd name="connsiteY81" fmla="*/ 4961 h 10610"/>
                <a:gd name="connsiteX82" fmla="*/ 9777 w 10117"/>
                <a:gd name="connsiteY82" fmla="*/ 4771 h 10610"/>
                <a:gd name="connsiteX83" fmla="*/ 9839 w 10117"/>
                <a:gd name="connsiteY83" fmla="*/ 4578 h 10610"/>
                <a:gd name="connsiteX84" fmla="*/ 9898 w 10117"/>
                <a:gd name="connsiteY84" fmla="*/ 4381 h 10610"/>
                <a:gd name="connsiteX85" fmla="*/ 9635 w 10117"/>
                <a:gd name="connsiteY85" fmla="*/ 0 h 10610"/>
                <a:gd name="connsiteX86" fmla="*/ 6408 w 10117"/>
                <a:gd name="connsiteY86" fmla="*/ 1883 h 10610"/>
                <a:gd name="connsiteX87" fmla="*/ 2450 w 10117"/>
                <a:gd name="connsiteY87" fmla="*/ 1500 h 10610"/>
                <a:gd name="connsiteX0" fmla="*/ 2450 w 10117"/>
                <a:gd name="connsiteY0" fmla="*/ 1500 h 10610"/>
                <a:gd name="connsiteX1" fmla="*/ 2554 w 10117"/>
                <a:gd name="connsiteY1" fmla="*/ 3314 h 10610"/>
                <a:gd name="connsiteX2" fmla="*/ 2533 w 10117"/>
                <a:gd name="connsiteY2" fmla="*/ 3399 h 10610"/>
                <a:gd name="connsiteX3" fmla="*/ 2506 w 10117"/>
                <a:gd name="connsiteY3" fmla="*/ 3479 h 10610"/>
                <a:gd name="connsiteX4" fmla="*/ 2472 w 10117"/>
                <a:gd name="connsiteY4" fmla="*/ 3560 h 10610"/>
                <a:gd name="connsiteX5" fmla="*/ 2441 w 10117"/>
                <a:gd name="connsiteY5" fmla="*/ 3643 h 10610"/>
                <a:gd name="connsiteX6" fmla="*/ 2413 w 10117"/>
                <a:gd name="connsiteY6" fmla="*/ 3722 h 10610"/>
                <a:gd name="connsiteX7" fmla="*/ 2379 w 10117"/>
                <a:gd name="connsiteY7" fmla="*/ 3804 h 10610"/>
                <a:gd name="connsiteX8" fmla="*/ 2339 w 10117"/>
                <a:gd name="connsiteY8" fmla="*/ 3883 h 10610"/>
                <a:gd name="connsiteX9" fmla="*/ 2297 w 10117"/>
                <a:gd name="connsiteY9" fmla="*/ 3960 h 10610"/>
                <a:gd name="connsiteX10" fmla="*/ 2257 w 10117"/>
                <a:gd name="connsiteY10" fmla="*/ 4039 h 10610"/>
                <a:gd name="connsiteX11" fmla="*/ 2209 w 10117"/>
                <a:gd name="connsiteY11" fmla="*/ 4118 h 10610"/>
                <a:gd name="connsiteX12" fmla="*/ 2158 w 10117"/>
                <a:gd name="connsiteY12" fmla="*/ 4189 h 10610"/>
                <a:gd name="connsiteX13" fmla="*/ 2110 w 10117"/>
                <a:gd name="connsiteY13" fmla="*/ 4265 h 10610"/>
                <a:gd name="connsiteX14" fmla="*/ 2058 w 10117"/>
                <a:gd name="connsiteY14" fmla="*/ 4339 h 10610"/>
                <a:gd name="connsiteX15" fmla="*/ 2001 w 10117"/>
                <a:gd name="connsiteY15" fmla="*/ 4412 h 10610"/>
                <a:gd name="connsiteX16" fmla="*/ 1950 w 10117"/>
                <a:gd name="connsiteY16" fmla="*/ 4486 h 10610"/>
                <a:gd name="connsiteX17" fmla="*/ 1890 w 10117"/>
                <a:gd name="connsiteY17" fmla="*/ 4557 h 10610"/>
                <a:gd name="connsiteX18" fmla="*/ 1827 w 10117"/>
                <a:gd name="connsiteY18" fmla="*/ 4623 h 10610"/>
                <a:gd name="connsiteX19" fmla="*/ 1762 w 10117"/>
                <a:gd name="connsiteY19" fmla="*/ 4691 h 10610"/>
                <a:gd name="connsiteX20" fmla="*/ 1702 w 10117"/>
                <a:gd name="connsiteY20" fmla="*/ 4758 h 10610"/>
                <a:gd name="connsiteX21" fmla="*/ 1632 w 10117"/>
                <a:gd name="connsiteY21" fmla="*/ 4830 h 10610"/>
                <a:gd name="connsiteX22" fmla="*/ 1563 w 10117"/>
                <a:gd name="connsiteY22" fmla="*/ 4893 h 10610"/>
                <a:gd name="connsiteX23" fmla="*/ 1490 w 10117"/>
                <a:gd name="connsiteY23" fmla="*/ 4952 h 10610"/>
                <a:gd name="connsiteX24" fmla="*/ 1415 w 10117"/>
                <a:gd name="connsiteY24" fmla="*/ 5019 h 10610"/>
                <a:gd name="connsiteX25" fmla="*/ 1341 w 10117"/>
                <a:gd name="connsiteY25" fmla="*/ 5081 h 10610"/>
                <a:gd name="connsiteX26" fmla="*/ 1262 w 10117"/>
                <a:gd name="connsiteY26" fmla="*/ 5140 h 10610"/>
                <a:gd name="connsiteX27" fmla="*/ 1184 w 10117"/>
                <a:gd name="connsiteY27" fmla="*/ 5204 h 10610"/>
                <a:gd name="connsiteX28" fmla="*/ 1105 w 10117"/>
                <a:gd name="connsiteY28" fmla="*/ 5262 h 10610"/>
                <a:gd name="connsiteX29" fmla="*/ 1017 w 10117"/>
                <a:gd name="connsiteY29" fmla="*/ 5319 h 10610"/>
                <a:gd name="connsiteX30" fmla="*/ 937 w 10117"/>
                <a:gd name="connsiteY30" fmla="*/ 5373 h 10610"/>
                <a:gd name="connsiteX31" fmla="*/ 850 w 10117"/>
                <a:gd name="connsiteY31" fmla="*/ 5429 h 10610"/>
                <a:gd name="connsiteX32" fmla="*/ 765 w 10117"/>
                <a:gd name="connsiteY32" fmla="*/ 5481 h 10610"/>
                <a:gd name="connsiteX33" fmla="*/ 670 w 10117"/>
                <a:gd name="connsiteY33" fmla="*/ 5534 h 10610"/>
                <a:gd name="connsiteX34" fmla="*/ 581 w 10117"/>
                <a:gd name="connsiteY34" fmla="*/ 5583 h 10610"/>
                <a:gd name="connsiteX35" fmla="*/ 488 w 10117"/>
                <a:gd name="connsiteY35" fmla="*/ 5633 h 10610"/>
                <a:gd name="connsiteX36" fmla="*/ 393 w 10117"/>
                <a:gd name="connsiteY36" fmla="*/ 5681 h 10610"/>
                <a:gd name="connsiteX37" fmla="*/ 295 w 10117"/>
                <a:gd name="connsiteY37" fmla="*/ 5725 h 10610"/>
                <a:gd name="connsiteX38" fmla="*/ 198 w 10117"/>
                <a:gd name="connsiteY38" fmla="*/ 5773 h 10610"/>
                <a:gd name="connsiteX39" fmla="*/ 103 w 10117"/>
                <a:gd name="connsiteY39" fmla="*/ 5816 h 10610"/>
                <a:gd name="connsiteX40" fmla="*/ 0 w 10117"/>
                <a:gd name="connsiteY40" fmla="*/ 5857 h 10610"/>
                <a:gd name="connsiteX41" fmla="*/ 210 w 10117"/>
                <a:gd name="connsiteY41" fmla="*/ 8550 h 10610"/>
                <a:gd name="connsiteX42" fmla="*/ 3301 w 10117"/>
                <a:gd name="connsiteY42" fmla="*/ 10610 h 10610"/>
                <a:gd name="connsiteX43" fmla="*/ 3606 w 10117"/>
                <a:gd name="connsiteY43" fmla="*/ 10485 h 10610"/>
                <a:gd name="connsiteX44" fmla="*/ 3848 w 10117"/>
                <a:gd name="connsiteY44" fmla="*/ 10386 h 10610"/>
                <a:gd name="connsiteX45" fmla="*/ 4084 w 10117"/>
                <a:gd name="connsiteY45" fmla="*/ 10287 h 10610"/>
                <a:gd name="connsiteX46" fmla="*/ 4317 w 10117"/>
                <a:gd name="connsiteY46" fmla="*/ 10183 h 10610"/>
                <a:gd name="connsiteX47" fmla="*/ 4549 w 10117"/>
                <a:gd name="connsiteY47" fmla="*/ 10074 h 10610"/>
                <a:gd name="connsiteX48" fmla="*/ 4767 w 10117"/>
                <a:gd name="connsiteY48" fmla="*/ 9967 h 10610"/>
                <a:gd name="connsiteX49" fmla="*/ 4988 w 10117"/>
                <a:gd name="connsiteY49" fmla="*/ 9849 h 10610"/>
                <a:gd name="connsiteX50" fmla="*/ 5209 w 10117"/>
                <a:gd name="connsiteY50" fmla="*/ 9736 h 10610"/>
                <a:gd name="connsiteX51" fmla="*/ 5419 w 10117"/>
                <a:gd name="connsiteY51" fmla="*/ 9615 h 10610"/>
                <a:gd name="connsiteX52" fmla="*/ 5635 w 10117"/>
                <a:gd name="connsiteY52" fmla="*/ 9491 h 10610"/>
                <a:gd name="connsiteX53" fmla="*/ 5839 w 10117"/>
                <a:gd name="connsiteY53" fmla="*/ 9362 h 10610"/>
                <a:gd name="connsiteX54" fmla="*/ 6043 w 10117"/>
                <a:gd name="connsiteY54" fmla="*/ 9235 h 10610"/>
                <a:gd name="connsiteX55" fmla="*/ 6239 w 10117"/>
                <a:gd name="connsiteY55" fmla="*/ 9105 h 10610"/>
                <a:gd name="connsiteX56" fmla="*/ 6438 w 10117"/>
                <a:gd name="connsiteY56" fmla="*/ 8967 h 10610"/>
                <a:gd name="connsiteX57" fmla="*/ 6629 w 10117"/>
                <a:gd name="connsiteY57" fmla="*/ 8825 h 10610"/>
                <a:gd name="connsiteX58" fmla="*/ 6814 w 10117"/>
                <a:gd name="connsiteY58" fmla="*/ 8689 h 10610"/>
                <a:gd name="connsiteX59" fmla="*/ 6997 w 10117"/>
                <a:gd name="connsiteY59" fmla="*/ 8544 h 10610"/>
                <a:gd name="connsiteX60" fmla="*/ 7173 w 10117"/>
                <a:gd name="connsiteY60" fmla="*/ 8396 h 10610"/>
                <a:gd name="connsiteX61" fmla="*/ 7349 w 10117"/>
                <a:gd name="connsiteY61" fmla="*/ 8248 h 10610"/>
                <a:gd name="connsiteX62" fmla="*/ 7518 w 10117"/>
                <a:gd name="connsiteY62" fmla="*/ 8097 h 10610"/>
                <a:gd name="connsiteX63" fmla="*/ 7686 w 10117"/>
                <a:gd name="connsiteY63" fmla="*/ 7940 h 10610"/>
                <a:gd name="connsiteX64" fmla="*/ 7842 w 10117"/>
                <a:gd name="connsiteY64" fmla="*/ 7782 h 10610"/>
                <a:gd name="connsiteX65" fmla="*/ 7995 w 10117"/>
                <a:gd name="connsiteY65" fmla="*/ 7623 h 10610"/>
                <a:gd name="connsiteX66" fmla="*/ 8150 w 10117"/>
                <a:gd name="connsiteY66" fmla="*/ 7463 h 10610"/>
                <a:gd name="connsiteX67" fmla="*/ 8293 w 10117"/>
                <a:gd name="connsiteY67" fmla="*/ 7296 h 10610"/>
                <a:gd name="connsiteX68" fmla="*/ 8433 w 10117"/>
                <a:gd name="connsiteY68" fmla="*/ 7132 h 10610"/>
                <a:gd name="connsiteX69" fmla="*/ 8569 w 10117"/>
                <a:gd name="connsiteY69" fmla="*/ 6962 h 10610"/>
                <a:gd name="connsiteX70" fmla="*/ 8695 w 10117"/>
                <a:gd name="connsiteY70" fmla="*/ 6788 h 10610"/>
                <a:gd name="connsiteX71" fmla="*/ 8819 w 10117"/>
                <a:gd name="connsiteY71" fmla="*/ 6614 h 10610"/>
                <a:gd name="connsiteX72" fmla="*/ 8945 w 10117"/>
                <a:gd name="connsiteY72" fmla="*/ 6440 h 10610"/>
                <a:gd name="connsiteX73" fmla="*/ 9063 w 10117"/>
                <a:gd name="connsiteY73" fmla="*/ 6262 h 10610"/>
                <a:gd name="connsiteX74" fmla="*/ 9167 w 10117"/>
                <a:gd name="connsiteY74" fmla="*/ 6084 h 10610"/>
                <a:gd name="connsiteX75" fmla="*/ 9274 w 10117"/>
                <a:gd name="connsiteY75" fmla="*/ 5902 h 10610"/>
                <a:gd name="connsiteX76" fmla="*/ 9369 w 10117"/>
                <a:gd name="connsiteY76" fmla="*/ 5716 h 10610"/>
                <a:gd name="connsiteX77" fmla="*/ 9465 w 10117"/>
                <a:gd name="connsiteY77" fmla="*/ 5533 h 10610"/>
                <a:gd name="connsiteX78" fmla="*/ 9549 w 10117"/>
                <a:gd name="connsiteY78" fmla="*/ 5344 h 10610"/>
                <a:gd name="connsiteX79" fmla="*/ 9630 w 10117"/>
                <a:gd name="connsiteY79" fmla="*/ 5153 h 10610"/>
                <a:gd name="connsiteX80" fmla="*/ 9704 w 10117"/>
                <a:gd name="connsiteY80" fmla="*/ 4961 h 10610"/>
                <a:gd name="connsiteX81" fmla="*/ 9777 w 10117"/>
                <a:gd name="connsiteY81" fmla="*/ 4771 h 10610"/>
                <a:gd name="connsiteX82" fmla="*/ 9839 w 10117"/>
                <a:gd name="connsiteY82" fmla="*/ 4578 h 10610"/>
                <a:gd name="connsiteX83" fmla="*/ 9898 w 10117"/>
                <a:gd name="connsiteY83" fmla="*/ 4381 h 10610"/>
                <a:gd name="connsiteX84" fmla="*/ 9635 w 10117"/>
                <a:gd name="connsiteY84" fmla="*/ 0 h 10610"/>
                <a:gd name="connsiteX85" fmla="*/ 6408 w 10117"/>
                <a:gd name="connsiteY85" fmla="*/ 1883 h 10610"/>
                <a:gd name="connsiteX86" fmla="*/ 2450 w 10117"/>
                <a:gd name="connsiteY86" fmla="*/ 1500 h 10610"/>
                <a:gd name="connsiteX0" fmla="*/ 2450 w 10117"/>
                <a:gd name="connsiteY0" fmla="*/ 1500 h 10610"/>
                <a:gd name="connsiteX1" fmla="*/ 2549 w 10117"/>
                <a:gd name="connsiteY1" fmla="*/ 3279 h 10610"/>
                <a:gd name="connsiteX2" fmla="*/ 2554 w 10117"/>
                <a:gd name="connsiteY2" fmla="*/ 3314 h 10610"/>
                <a:gd name="connsiteX3" fmla="*/ 2533 w 10117"/>
                <a:gd name="connsiteY3" fmla="*/ 3399 h 10610"/>
                <a:gd name="connsiteX4" fmla="*/ 2506 w 10117"/>
                <a:gd name="connsiteY4" fmla="*/ 3479 h 10610"/>
                <a:gd name="connsiteX5" fmla="*/ 2472 w 10117"/>
                <a:gd name="connsiteY5" fmla="*/ 3560 h 10610"/>
                <a:gd name="connsiteX6" fmla="*/ 2441 w 10117"/>
                <a:gd name="connsiteY6" fmla="*/ 3643 h 10610"/>
                <a:gd name="connsiteX7" fmla="*/ 2413 w 10117"/>
                <a:gd name="connsiteY7" fmla="*/ 3722 h 10610"/>
                <a:gd name="connsiteX8" fmla="*/ 2379 w 10117"/>
                <a:gd name="connsiteY8" fmla="*/ 3804 h 10610"/>
                <a:gd name="connsiteX9" fmla="*/ 2339 w 10117"/>
                <a:gd name="connsiteY9" fmla="*/ 3883 h 10610"/>
                <a:gd name="connsiteX10" fmla="*/ 2297 w 10117"/>
                <a:gd name="connsiteY10" fmla="*/ 3960 h 10610"/>
                <a:gd name="connsiteX11" fmla="*/ 2257 w 10117"/>
                <a:gd name="connsiteY11" fmla="*/ 4039 h 10610"/>
                <a:gd name="connsiteX12" fmla="*/ 2209 w 10117"/>
                <a:gd name="connsiteY12" fmla="*/ 4118 h 10610"/>
                <a:gd name="connsiteX13" fmla="*/ 2158 w 10117"/>
                <a:gd name="connsiteY13" fmla="*/ 4189 h 10610"/>
                <a:gd name="connsiteX14" fmla="*/ 2110 w 10117"/>
                <a:gd name="connsiteY14" fmla="*/ 4265 h 10610"/>
                <a:gd name="connsiteX15" fmla="*/ 2058 w 10117"/>
                <a:gd name="connsiteY15" fmla="*/ 4339 h 10610"/>
                <a:gd name="connsiteX16" fmla="*/ 2001 w 10117"/>
                <a:gd name="connsiteY16" fmla="*/ 4412 h 10610"/>
                <a:gd name="connsiteX17" fmla="*/ 1950 w 10117"/>
                <a:gd name="connsiteY17" fmla="*/ 4486 h 10610"/>
                <a:gd name="connsiteX18" fmla="*/ 1890 w 10117"/>
                <a:gd name="connsiteY18" fmla="*/ 4557 h 10610"/>
                <a:gd name="connsiteX19" fmla="*/ 1827 w 10117"/>
                <a:gd name="connsiteY19" fmla="*/ 4623 h 10610"/>
                <a:gd name="connsiteX20" fmla="*/ 1762 w 10117"/>
                <a:gd name="connsiteY20" fmla="*/ 4691 h 10610"/>
                <a:gd name="connsiteX21" fmla="*/ 1702 w 10117"/>
                <a:gd name="connsiteY21" fmla="*/ 4758 h 10610"/>
                <a:gd name="connsiteX22" fmla="*/ 1632 w 10117"/>
                <a:gd name="connsiteY22" fmla="*/ 4830 h 10610"/>
                <a:gd name="connsiteX23" fmla="*/ 1563 w 10117"/>
                <a:gd name="connsiteY23" fmla="*/ 4893 h 10610"/>
                <a:gd name="connsiteX24" fmla="*/ 1490 w 10117"/>
                <a:gd name="connsiteY24" fmla="*/ 4952 h 10610"/>
                <a:gd name="connsiteX25" fmla="*/ 1415 w 10117"/>
                <a:gd name="connsiteY25" fmla="*/ 5019 h 10610"/>
                <a:gd name="connsiteX26" fmla="*/ 1341 w 10117"/>
                <a:gd name="connsiteY26" fmla="*/ 5081 h 10610"/>
                <a:gd name="connsiteX27" fmla="*/ 1262 w 10117"/>
                <a:gd name="connsiteY27" fmla="*/ 5140 h 10610"/>
                <a:gd name="connsiteX28" fmla="*/ 1184 w 10117"/>
                <a:gd name="connsiteY28" fmla="*/ 5204 h 10610"/>
                <a:gd name="connsiteX29" fmla="*/ 1105 w 10117"/>
                <a:gd name="connsiteY29" fmla="*/ 5262 h 10610"/>
                <a:gd name="connsiteX30" fmla="*/ 1017 w 10117"/>
                <a:gd name="connsiteY30" fmla="*/ 5319 h 10610"/>
                <a:gd name="connsiteX31" fmla="*/ 937 w 10117"/>
                <a:gd name="connsiteY31" fmla="*/ 5373 h 10610"/>
                <a:gd name="connsiteX32" fmla="*/ 850 w 10117"/>
                <a:gd name="connsiteY32" fmla="*/ 5429 h 10610"/>
                <a:gd name="connsiteX33" fmla="*/ 765 w 10117"/>
                <a:gd name="connsiteY33" fmla="*/ 5481 h 10610"/>
                <a:gd name="connsiteX34" fmla="*/ 670 w 10117"/>
                <a:gd name="connsiteY34" fmla="*/ 5534 h 10610"/>
                <a:gd name="connsiteX35" fmla="*/ 581 w 10117"/>
                <a:gd name="connsiteY35" fmla="*/ 5583 h 10610"/>
                <a:gd name="connsiteX36" fmla="*/ 488 w 10117"/>
                <a:gd name="connsiteY36" fmla="*/ 5633 h 10610"/>
                <a:gd name="connsiteX37" fmla="*/ 393 w 10117"/>
                <a:gd name="connsiteY37" fmla="*/ 5681 h 10610"/>
                <a:gd name="connsiteX38" fmla="*/ 295 w 10117"/>
                <a:gd name="connsiteY38" fmla="*/ 5725 h 10610"/>
                <a:gd name="connsiteX39" fmla="*/ 198 w 10117"/>
                <a:gd name="connsiteY39" fmla="*/ 5773 h 10610"/>
                <a:gd name="connsiteX40" fmla="*/ 103 w 10117"/>
                <a:gd name="connsiteY40" fmla="*/ 5816 h 10610"/>
                <a:gd name="connsiteX41" fmla="*/ 0 w 10117"/>
                <a:gd name="connsiteY41" fmla="*/ 5857 h 10610"/>
                <a:gd name="connsiteX42" fmla="*/ 210 w 10117"/>
                <a:gd name="connsiteY42" fmla="*/ 8550 h 10610"/>
                <a:gd name="connsiteX43" fmla="*/ 3301 w 10117"/>
                <a:gd name="connsiteY43" fmla="*/ 10610 h 10610"/>
                <a:gd name="connsiteX44" fmla="*/ 3606 w 10117"/>
                <a:gd name="connsiteY44" fmla="*/ 10485 h 10610"/>
                <a:gd name="connsiteX45" fmla="*/ 3848 w 10117"/>
                <a:gd name="connsiteY45" fmla="*/ 10386 h 10610"/>
                <a:gd name="connsiteX46" fmla="*/ 4084 w 10117"/>
                <a:gd name="connsiteY46" fmla="*/ 10287 h 10610"/>
                <a:gd name="connsiteX47" fmla="*/ 4317 w 10117"/>
                <a:gd name="connsiteY47" fmla="*/ 10183 h 10610"/>
                <a:gd name="connsiteX48" fmla="*/ 4549 w 10117"/>
                <a:gd name="connsiteY48" fmla="*/ 10074 h 10610"/>
                <a:gd name="connsiteX49" fmla="*/ 4767 w 10117"/>
                <a:gd name="connsiteY49" fmla="*/ 9967 h 10610"/>
                <a:gd name="connsiteX50" fmla="*/ 4988 w 10117"/>
                <a:gd name="connsiteY50" fmla="*/ 9849 h 10610"/>
                <a:gd name="connsiteX51" fmla="*/ 5209 w 10117"/>
                <a:gd name="connsiteY51" fmla="*/ 9736 h 10610"/>
                <a:gd name="connsiteX52" fmla="*/ 5419 w 10117"/>
                <a:gd name="connsiteY52" fmla="*/ 9615 h 10610"/>
                <a:gd name="connsiteX53" fmla="*/ 5635 w 10117"/>
                <a:gd name="connsiteY53" fmla="*/ 9491 h 10610"/>
                <a:gd name="connsiteX54" fmla="*/ 5839 w 10117"/>
                <a:gd name="connsiteY54" fmla="*/ 9362 h 10610"/>
                <a:gd name="connsiteX55" fmla="*/ 6043 w 10117"/>
                <a:gd name="connsiteY55" fmla="*/ 9235 h 10610"/>
                <a:gd name="connsiteX56" fmla="*/ 6239 w 10117"/>
                <a:gd name="connsiteY56" fmla="*/ 9105 h 10610"/>
                <a:gd name="connsiteX57" fmla="*/ 6438 w 10117"/>
                <a:gd name="connsiteY57" fmla="*/ 8967 h 10610"/>
                <a:gd name="connsiteX58" fmla="*/ 6629 w 10117"/>
                <a:gd name="connsiteY58" fmla="*/ 8825 h 10610"/>
                <a:gd name="connsiteX59" fmla="*/ 6814 w 10117"/>
                <a:gd name="connsiteY59" fmla="*/ 8689 h 10610"/>
                <a:gd name="connsiteX60" fmla="*/ 6997 w 10117"/>
                <a:gd name="connsiteY60" fmla="*/ 8544 h 10610"/>
                <a:gd name="connsiteX61" fmla="*/ 7173 w 10117"/>
                <a:gd name="connsiteY61" fmla="*/ 8396 h 10610"/>
                <a:gd name="connsiteX62" fmla="*/ 7349 w 10117"/>
                <a:gd name="connsiteY62" fmla="*/ 8248 h 10610"/>
                <a:gd name="connsiteX63" fmla="*/ 7518 w 10117"/>
                <a:gd name="connsiteY63" fmla="*/ 8097 h 10610"/>
                <a:gd name="connsiteX64" fmla="*/ 7686 w 10117"/>
                <a:gd name="connsiteY64" fmla="*/ 7940 h 10610"/>
                <a:gd name="connsiteX65" fmla="*/ 7842 w 10117"/>
                <a:gd name="connsiteY65" fmla="*/ 7782 h 10610"/>
                <a:gd name="connsiteX66" fmla="*/ 7995 w 10117"/>
                <a:gd name="connsiteY66" fmla="*/ 7623 h 10610"/>
                <a:gd name="connsiteX67" fmla="*/ 8150 w 10117"/>
                <a:gd name="connsiteY67" fmla="*/ 7463 h 10610"/>
                <a:gd name="connsiteX68" fmla="*/ 8293 w 10117"/>
                <a:gd name="connsiteY68" fmla="*/ 7296 h 10610"/>
                <a:gd name="connsiteX69" fmla="*/ 8433 w 10117"/>
                <a:gd name="connsiteY69" fmla="*/ 7132 h 10610"/>
                <a:gd name="connsiteX70" fmla="*/ 8569 w 10117"/>
                <a:gd name="connsiteY70" fmla="*/ 6962 h 10610"/>
                <a:gd name="connsiteX71" fmla="*/ 8695 w 10117"/>
                <a:gd name="connsiteY71" fmla="*/ 6788 h 10610"/>
                <a:gd name="connsiteX72" fmla="*/ 8819 w 10117"/>
                <a:gd name="connsiteY72" fmla="*/ 6614 h 10610"/>
                <a:gd name="connsiteX73" fmla="*/ 8945 w 10117"/>
                <a:gd name="connsiteY73" fmla="*/ 6440 h 10610"/>
                <a:gd name="connsiteX74" fmla="*/ 9063 w 10117"/>
                <a:gd name="connsiteY74" fmla="*/ 6262 h 10610"/>
                <a:gd name="connsiteX75" fmla="*/ 9167 w 10117"/>
                <a:gd name="connsiteY75" fmla="*/ 6084 h 10610"/>
                <a:gd name="connsiteX76" fmla="*/ 9274 w 10117"/>
                <a:gd name="connsiteY76" fmla="*/ 5902 h 10610"/>
                <a:gd name="connsiteX77" fmla="*/ 9369 w 10117"/>
                <a:gd name="connsiteY77" fmla="*/ 5716 h 10610"/>
                <a:gd name="connsiteX78" fmla="*/ 9465 w 10117"/>
                <a:gd name="connsiteY78" fmla="*/ 5533 h 10610"/>
                <a:gd name="connsiteX79" fmla="*/ 9549 w 10117"/>
                <a:gd name="connsiteY79" fmla="*/ 5344 h 10610"/>
                <a:gd name="connsiteX80" fmla="*/ 9630 w 10117"/>
                <a:gd name="connsiteY80" fmla="*/ 5153 h 10610"/>
                <a:gd name="connsiteX81" fmla="*/ 9704 w 10117"/>
                <a:gd name="connsiteY81" fmla="*/ 4961 h 10610"/>
                <a:gd name="connsiteX82" fmla="*/ 9777 w 10117"/>
                <a:gd name="connsiteY82" fmla="*/ 4771 h 10610"/>
                <a:gd name="connsiteX83" fmla="*/ 9839 w 10117"/>
                <a:gd name="connsiteY83" fmla="*/ 4578 h 10610"/>
                <a:gd name="connsiteX84" fmla="*/ 9898 w 10117"/>
                <a:gd name="connsiteY84" fmla="*/ 4381 h 10610"/>
                <a:gd name="connsiteX85" fmla="*/ 9635 w 10117"/>
                <a:gd name="connsiteY85" fmla="*/ 0 h 10610"/>
                <a:gd name="connsiteX86" fmla="*/ 6408 w 10117"/>
                <a:gd name="connsiteY86" fmla="*/ 1883 h 10610"/>
                <a:gd name="connsiteX87" fmla="*/ 2450 w 10117"/>
                <a:gd name="connsiteY87" fmla="*/ 1500 h 10610"/>
                <a:gd name="connsiteX0" fmla="*/ 2450 w 10117"/>
                <a:gd name="connsiteY0" fmla="*/ 1500 h 10610"/>
                <a:gd name="connsiteX1" fmla="*/ 2549 w 10117"/>
                <a:gd name="connsiteY1" fmla="*/ 3279 h 10610"/>
                <a:gd name="connsiteX2" fmla="*/ 2533 w 10117"/>
                <a:gd name="connsiteY2" fmla="*/ 3399 h 10610"/>
                <a:gd name="connsiteX3" fmla="*/ 2506 w 10117"/>
                <a:gd name="connsiteY3" fmla="*/ 3479 h 10610"/>
                <a:gd name="connsiteX4" fmla="*/ 2472 w 10117"/>
                <a:gd name="connsiteY4" fmla="*/ 3560 h 10610"/>
                <a:gd name="connsiteX5" fmla="*/ 2441 w 10117"/>
                <a:gd name="connsiteY5" fmla="*/ 3643 h 10610"/>
                <a:gd name="connsiteX6" fmla="*/ 2413 w 10117"/>
                <a:gd name="connsiteY6" fmla="*/ 3722 h 10610"/>
                <a:gd name="connsiteX7" fmla="*/ 2379 w 10117"/>
                <a:gd name="connsiteY7" fmla="*/ 3804 h 10610"/>
                <a:gd name="connsiteX8" fmla="*/ 2339 w 10117"/>
                <a:gd name="connsiteY8" fmla="*/ 3883 h 10610"/>
                <a:gd name="connsiteX9" fmla="*/ 2297 w 10117"/>
                <a:gd name="connsiteY9" fmla="*/ 3960 h 10610"/>
                <a:gd name="connsiteX10" fmla="*/ 2257 w 10117"/>
                <a:gd name="connsiteY10" fmla="*/ 4039 h 10610"/>
                <a:gd name="connsiteX11" fmla="*/ 2209 w 10117"/>
                <a:gd name="connsiteY11" fmla="*/ 4118 h 10610"/>
                <a:gd name="connsiteX12" fmla="*/ 2158 w 10117"/>
                <a:gd name="connsiteY12" fmla="*/ 4189 h 10610"/>
                <a:gd name="connsiteX13" fmla="*/ 2110 w 10117"/>
                <a:gd name="connsiteY13" fmla="*/ 4265 h 10610"/>
                <a:gd name="connsiteX14" fmla="*/ 2058 w 10117"/>
                <a:gd name="connsiteY14" fmla="*/ 4339 h 10610"/>
                <a:gd name="connsiteX15" fmla="*/ 2001 w 10117"/>
                <a:gd name="connsiteY15" fmla="*/ 4412 h 10610"/>
                <a:gd name="connsiteX16" fmla="*/ 1950 w 10117"/>
                <a:gd name="connsiteY16" fmla="*/ 4486 h 10610"/>
                <a:gd name="connsiteX17" fmla="*/ 1890 w 10117"/>
                <a:gd name="connsiteY17" fmla="*/ 4557 h 10610"/>
                <a:gd name="connsiteX18" fmla="*/ 1827 w 10117"/>
                <a:gd name="connsiteY18" fmla="*/ 4623 h 10610"/>
                <a:gd name="connsiteX19" fmla="*/ 1762 w 10117"/>
                <a:gd name="connsiteY19" fmla="*/ 4691 h 10610"/>
                <a:gd name="connsiteX20" fmla="*/ 1702 w 10117"/>
                <a:gd name="connsiteY20" fmla="*/ 4758 h 10610"/>
                <a:gd name="connsiteX21" fmla="*/ 1632 w 10117"/>
                <a:gd name="connsiteY21" fmla="*/ 4830 h 10610"/>
                <a:gd name="connsiteX22" fmla="*/ 1563 w 10117"/>
                <a:gd name="connsiteY22" fmla="*/ 4893 h 10610"/>
                <a:gd name="connsiteX23" fmla="*/ 1490 w 10117"/>
                <a:gd name="connsiteY23" fmla="*/ 4952 h 10610"/>
                <a:gd name="connsiteX24" fmla="*/ 1415 w 10117"/>
                <a:gd name="connsiteY24" fmla="*/ 5019 h 10610"/>
                <a:gd name="connsiteX25" fmla="*/ 1341 w 10117"/>
                <a:gd name="connsiteY25" fmla="*/ 5081 h 10610"/>
                <a:gd name="connsiteX26" fmla="*/ 1262 w 10117"/>
                <a:gd name="connsiteY26" fmla="*/ 5140 h 10610"/>
                <a:gd name="connsiteX27" fmla="*/ 1184 w 10117"/>
                <a:gd name="connsiteY27" fmla="*/ 5204 h 10610"/>
                <a:gd name="connsiteX28" fmla="*/ 1105 w 10117"/>
                <a:gd name="connsiteY28" fmla="*/ 5262 h 10610"/>
                <a:gd name="connsiteX29" fmla="*/ 1017 w 10117"/>
                <a:gd name="connsiteY29" fmla="*/ 5319 h 10610"/>
                <a:gd name="connsiteX30" fmla="*/ 937 w 10117"/>
                <a:gd name="connsiteY30" fmla="*/ 5373 h 10610"/>
                <a:gd name="connsiteX31" fmla="*/ 850 w 10117"/>
                <a:gd name="connsiteY31" fmla="*/ 5429 h 10610"/>
                <a:gd name="connsiteX32" fmla="*/ 765 w 10117"/>
                <a:gd name="connsiteY32" fmla="*/ 5481 h 10610"/>
                <a:gd name="connsiteX33" fmla="*/ 670 w 10117"/>
                <a:gd name="connsiteY33" fmla="*/ 5534 h 10610"/>
                <a:gd name="connsiteX34" fmla="*/ 581 w 10117"/>
                <a:gd name="connsiteY34" fmla="*/ 5583 h 10610"/>
                <a:gd name="connsiteX35" fmla="*/ 488 w 10117"/>
                <a:gd name="connsiteY35" fmla="*/ 5633 h 10610"/>
                <a:gd name="connsiteX36" fmla="*/ 393 w 10117"/>
                <a:gd name="connsiteY36" fmla="*/ 5681 h 10610"/>
                <a:gd name="connsiteX37" fmla="*/ 295 w 10117"/>
                <a:gd name="connsiteY37" fmla="*/ 5725 h 10610"/>
                <a:gd name="connsiteX38" fmla="*/ 198 w 10117"/>
                <a:gd name="connsiteY38" fmla="*/ 5773 h 10610"/>
                <a:gd name="connsiteX39" fmla="*/ 103 w 10117"/>
                <a:gd name="connsiteY39" fmla="*/ 5816 h 10610"/>
                <a:gd name="connsiteX40" fmla="*/ 0 w 10117"/>
                <a:gd name="connsiteY40" fmla="*/ 5857 h 10610"/>
                <a:gd name="connsiteX41" fmla="*/ 210 w 10117"/>
                <a:gd name="connsiteY41" fmla="*/ 8550 h 10610"/>
                <a:gd name="connsiteX42" fmla="*/ 3301 w 10117"/>
                <a:gd name="connsiteY42" fmla="*/ 10610 h 10610"/>
                <a:gd name="connsiteX43" fmla="*/ 3606 w 10117"/>
                <a:gd name="connsiteY43" fmla="*/ 10485 h 10610"/>
                <a:gd name="connsiteX44" fmla="*/ 3848 w 10117"/>
                <a:gd name="connsiteY44" fmla="*/ 10386 h 10610"/>
                <a:gd name="connsiteX45" fmla="*/ 4084 w 10117"/>
                <a:gd name="connsiteY45" fmla="*/ 10287 h 10610"/>
                <a:gd name="connsiteX46" fmla="*/ 4317 w 10117"/>
                <a:gd name="connsiteY46" fmla="*/ 10183 h 10610"/>
                <a:gd name="connsiteX47" fmla="*/ 4549 w 10117"/>
                <a:gd name="connsiteY47" fmla="*/ 10074 h 10610"/>
                <a:gd name="connsiteX48" fmla="*/ 4767 w 10117"/>
                <a:gd name="connsiteY48" fmla="*/ 9967 h 10610"/>
                <a:gd name="connsiteX49" fmla="*/ 4988 w 10117"/>
                <a:gd name="connsiteY49" fmla="*/ 9849 h 10610"/>
                <a:gd name="connsiteX50" fmla="*/ 5209 w 10117"/>
                <a:gd name="connsiteY50" fmla="*/ 9736 h 10610"/>
                <a:gd name="connsiteX51" fmla="*/ 5419 w 10117"/>
                <a:gd name="connsiteY51" fmla="*/ 9615 h 10610"/>
                <a:gd name="connsiteX52" fmla="*/ 5635 w 10117"/>
                <a:gd name="connsiteY52" fmla="*/ 9491 h 10610"/>
                <a:gd name="connsiteX53" fmla="*/ 5839 w 10117"/>
                <a:gd name="connsiteY53" fmla="*/ 9362 h 10610"/>
                <a:gd name="connsiteX54" fmla="*/ 6043 w 10117"/>
                <a:gd name="connsiteY54" fmla="*/ 9235 h 10610"/>
                <a:gd name="connsiteX55" fmla="*/ 6239 w 10117"/>
                <a:gd name="connsiteY55" fmla="*/ 9105 h 10610"/>
                <a:gd name="connsiteX56" fmla="*/ 6438 w 10117"/>
                <a:gd name="connsiteY56" fmla="*/ 8967 h 10610"/>
                <a:gd name="connsiteX57" fmla="*/ 6629 w 10117"/>
                <a:gd name="connsiteY57" fmla="*/ 8825 h 10610"/>
                <a:gd name="connsiteX58" fmla="*/ 6814 w 10117"/>
                <a:gd name="connsiteY58" fmla="*/ 8689 h 10610"/>
                <a:gd name="connsiteX59" fmla="*/ 6997 w 10117"/>
                <a:gd name="connsiteY59" fmla="*/ 8544 h 10610"/>
                <a:gd name="connsiteX60" fmla="*/ 7173 w 10117"/>
                <a:gd name="connsiteY60" fmla="*/ 8396 h 10610"/>
                <a:gd name="connsiteX61" fmla="*/ 7349 w 10117"/>
                <a:gd name="connsiteY61" fmla="*/ 8248 h 10610"/>
                <a:gd name="connsiteX62" fmla="*/ 7518 w 10117"/>
                <a:gd name="connsiteY62" fmla="*/ 8097 h 10610"/>
                <a:gd name="connsiteX63" fmla="*/ 7686 w 10117"/>
                <a:gd name="connsiteY63" fmla="*/ 7940 h 10610"/>
                <a:gd name="connsiteX64" fmla="*/ 7842 w 10117"/>
                <a:gd name="connsiteY64" fmla="*/ 7782 h 10610"/>
                <a:gd name="connsiteX65" fmla="*/ 7995 w 10117"/>
                <a:gd name="connsiteY65" fmla="*/ 7623 h 10610"/>
                <a:gd name="connsiteX66" fmla="*/ 8150 w 10117"/>
                <a:gd name="connsiteY66" fmla="*/ 7463 h 10610"/>
                <a:gd name="connsiteX67" fmla="*/ 8293 w 10117"/>
                <a:gd name="connsiteY67" fmla="*/ 7296 h 10610"/>
                <a:gd name="connsiteX68" fmla="*/ 8433 w 10117"/>
                <a:gd name="connsiteY68" fmla="*/ 7132 h 10610"/>
                <a:gd name="connsiteX69" fmla="*/ 8569 w 10117"/>
                <a:gd name="connsiteY69" fmla="*/ 6962 h 10610"/>
                <a:gd name="connsiteX70" fmla="*/ 8695 w 10117"/>
                <a:gd name="connsiteY70" fmla="*/ 6788 h 10610"/>
                <a:gd name="connsiteX71" fmla="*/ 8819 w 10117"/>
                <a:gd name="connsiteY71" fmla="*/ 6614 h 10610"/>
                <a:gd name="connsiteX72" fmla="*/ 8945 w 10117"/>
                <a:gd name="connsiteY72" fmla="*/ 6440 h 10610"/>
                <a:gd name="connsiteX73" fmla="*/ 9063 w 10117"/>
                <a:gd name="connsiteY73" fmla="*/ 6262 h 10610"/>
                <a:gd name="connsiteX74" fmla="*/ 9167 w 10117"/>
                <a:gd name="connsiteY74" fmla="*/ 6084 h 10610"/>
                <a:gd name="connsiteX75" fmla="*/ 9274 w 10117"/>
                <a:gd name="connsiteY75" fmla="*/ 5902 h 10610"/>
                <a:gd name="connsiteX76" fmla="*/ 9369 w 10117"/>
                <a:gd name="connsiteY76" fmla="*/ 5716 h 10610"/>
                <a:gd name="connsiteX77" fmla="*/ 9465 w 10117"/>
                <a:gd name="connsiteY77" fmla="*/ 5533 h 10610"/>
                <a:gd name="connsiteX78" fmla="*/ 9549 w 10117"/>
                <a:gd name="connsiteY78" fmla="*/ 5344 h 10610"/>
                <a:gd name="connsiteX79" fmla="*/ 9630 w 10117"/>
                <a:gd name="connsiteY79" fmla="*/ 5153 h 10610"/>
                <a:gd name="connsiteX80" fmla="*/ 9704 w 10117"/>
                <a:gd name="connsiteY80" fmla="*/ 4961 h 10610"/>
                <a:gd name="connsiteX81" fmla="*/ 9777 w 10117"/>
                <a:gd name="connsiteY81" fmla="*/ 4771 h 10610"/>
                <a:gd name="connsiteX82" fmla="*/ 9839 w 10117"/>
                <a:gd name="connsiteY82" fmla="*/ 4578 h 10610"/>
                <a:gd name="connsiteX83" fmla="*/ 9898 w 10117"/>
                <a:gd name="connsiteY83" fmla="*/ 4381 h 10610"/>
                <a:gd name="connsiteX84" fmla="*/ 9635 w 10117"/>
                <a:gd name="connsiteY84" fmla="*/ 0 h 10610"/>
                <a:gd name="connsiteX85" fmla="*/ 6408 w 10117"/>
                <a:gd name="connsiteY85" fmla="*/ 1883 h 10610"/>
                <a:gd name="connsiteX86" fmla="*/ 2450 w 10117"/>
                <a:gd name="connsiteY86" fmla="*/ 1500 h 10610"/>
                <a:gd name="connsiteX0" fmla="*/ 2450 w 10117"/>
                <a:gd name="connsiteY0" fmla="*/ 1500 h 10610"/>
                <a:gd name="connsiteX1" fmla="*/ 2549 w 10117"/>
                <a:gd name="connsiteY1" fmla="*/ 3279 h 10610"/>
                <a:gd name="connsiteX2" fmla="*/ 2506 w 10117"/>
                <a:gd name="connsiteY2" fmla="*/ 3479 h 10610"/>
                <a:gd name="connsiteX3" fmla="*/ 2472 w 10117"/>
                <a:gd name="connsiteY3" fmla="*/ 3560 h 10610"/>
                <a:gd name="connsiteX4" fmla="*/ 2441 w 10117"/>
                <a:gd name="connsiteY4" fmla="*/ 3643 h 10610"/>
                <a:gd name="connsiteX5" fmla="*/ 2413 w 10117"/>
                <a:gd name="connsiteY5" fmla="*/ 3722 h 10610"/>
                <a:gd name="connsiteX6" fmla="*/ 2379 w 10117"/>
                <a:gd name="connsiteY6" fmla="*/ 3804 h 10610"/>
                <a:gd name="connsiteX7" fmla="*/ 2339 w 10117"/>
                <a:gd name="connsiteY7" fmla="*/ 3883 h 10610"/>
                <a:gd name="connsiteX8" fmla="*/ 2297 w 10117"/>
                <a:gd name="connsiteY8" fmla="*/ 3960 h 10610"/>
                <a:gd name="connsiteX9" fmla="*/ 2257 w 10117"/>
                <a:gd name="connsiteY9" fmla="*/ 4039 h 10610"/>
                <a:gd name="connsiteX10" fmla="*/ 2209 w 10117"/>
                <a:gd name="connsiteY10" fmla="*/ 4118 h 10610"/>
                <a:gd name="connsiteX11" fmla="*/ 2158 w 10117"/>
                <a:gd name="connsiteY11" fmla="*/ 4189 h 10610"/>
                <a:gd name="connsiteX12" fmla="*/ 2110 w 10117"/>
                <a:gd name="connsiteY12" fmla="*/ 4265 h 10610"/>
                <a:gd name="connsiteX13" fmla="*/ 2058 w 10117"/>
                <a:gd name="connsiteY13" fmla="*/ 4339 h 10610"/>
                <a:gd name="connsiteX14" fmla="*/ 2001 w 10117"/>
                <a:gd name="connsiteY14" fmla="*/ 4412 h 10610"/>
                <a:gd name="connsiteX15" fmla="*/ 1950 w 10117"/>
                <a:gd name="connsiteY15" fmla="*/ 4486 h 10610"/>
                <a:gd name="connsiteX16" fmla="*/ 1890 w 10117"/>
                <a:gd name="connsiteY16" fmla="*/ 4557 h 10610"/>
                <a:gd name="connsiteX17" fmla="*/ 1827 w 10117"/>
                <a:gd name="connsiteY17" fmla="*/ 4623 h 10610"/>
                <a:gd name="connsiteX18" fmla="*/ 1762 w 10117"/>
                <a:gd name="connsiteY18" fmla="*/ 4691 h 10610"/>
                <a:gd name="connsiteX19" fmla="*/ 1702 w 10117"/>
                <a:gd name="connsiteY19" fmla="*/ 4758 h 10610"/>
                <a:gd name="connsiteX20" fmla="*/ 1632 w 10117"/>
                <a:gd name="connsiteY20" fmla="*/ 4830 h 10610"/>
                <a:gd name="connsiteX21" fmla="*/ 1563 w 10117"/>
                <a:gd name="connsiteY21" fmla="*/ 4893 h 10610"/>
                <a:gd name="connsiteX22" fmla="*/ 1490 w 10117"/>
                <a:gd name="connsiteY22" fmla="*/ 4952 h 10610"/>
                <a:gd name="connsiteX23" fmla="*/ 1415 w 10117"/>
                <a:gd name="connsiteY23" fmla="*/ 5019 h 10610"/>
                <a:gd name="connsiteX24" fmla="*/ 1341 w 10117"/>
                <a:gd name="connsiteY24" fmla="*/ 5081 h 10610"/>
                <a:gd name="connsiteX25" fmla="*/ 1262 w 10117"/>
                <a:gd name="connsiteY25" fmla="*/ 5140 h 10610"/>
                <a:gd name="connsiteX26" fmla="*/ 1184 w 10117"/>
                <a:gd name="connsiteY26" fmla="*/ 5204 h 10610"/>
                <a:gd name="connsiteX27" fmla="*/ 1105 w 10117"/>
                <a:gd name="connsiteY27" fmla="*/ 5262 h 10610"/>
                <a:gd name="connsiteX28" fmla="*/ 1017 w 10117"/>
                <a:gd name="connsiteY28" fmla="*/ 5319 h 10610"/>
                <a:gd name="connsiteX29" fmla="*/ 937 w 10117"/>
                <a:gd name="connsiteY29" fmla="*/ 5373 h 10610"/>
                <a:gd name="connsiteX30" fmla="*/ 850 w 10117"/>
                <a:gd name="connsiteY30" fmla="*/ 5429 h 10610"/>
                <a:gd name="connsiteX31" fmla="*/ 765 w 10117"/>
                <a:gd name="connsiteY31" fmla="*/ 5481 h 10610"/>
                <a:gd name="connsiteX32" fmla="*/ 670 w 10117"/>
                <a:gd name="connsiteY32" fmla="*/ 5534 h 10610"/>
                <a:gd name="connsiteX33" fmla="*/ 581 w 10117"/>
                <a:gd name="connsiteY33" fmla="*/ 5583 h 10610"/>
                <a:gd name="connsiteX34" fmla="*/ 488 w 10117"/>
                <a:gd name="connsiteY34" fmla="*/ 5633 h 10610"/>
                <a:gd name="connsiteX35" fmla="*/ 393 w 10117"/>
                <a:gd name="connsiteY35" fmla="*/ 5681 h 10610"/>
                <a:gd name="connsiteX36" fmla="*/ 295 w 10117"/>
                <a:gd name="connsiteY36" fmla="*/ 5725 h 10610"/>
                <a:gd name="connsiteX37" fmla="*/ 198 w 10117"/>
                <a:gd name="connsiteY37" fmla="*/ 5773 h 10610"/>
                <a:gd name="connsiteX38" fmla="*/ 103 w 10117"/>
                <a:gd name="connsiteY38" fmla="*/ 5816 h 10610"/>
                <a:gd name="connsiteX39" fmla="*/ 0 w 10117"/>
                <a:gd name="connsiteY39" fmla="*/ 5857 h 10610"/>
                <a:gd name="connsiteX40" fmla="*/ 210 w 10117"/>
                <a:gd name="connsiteY40" fmla="*/ 8550 h 10610"/>
                <a:gd name="connsiteX41" fmla="*/ 3301 w 10117"/>
                <a:gd name="connsiteY41" fmla="*/ 10610 h 10610"/>
                <a:gd name="connsiteX42" fmla="*/ 3606 w 10117"/>
                <a:gd name="connsiteY42" fmla="*/ 10485 h 10610"/>
                <a:gd name="connsiteX43" fmla="*/ 3848 w 10117"/>
                <a:gd name="connsiteY43" fmla="*/ 10386 h 10610"/>
                <a:gd name="connsiteX44" fmla="*/ 4084 w 10117"/>
                <a:gd name="connsiteY44" fmla="*/ 10287 h 10610"/>
                <a:gd name="connsiteX45" fmla="*/ 4317 w 10117"/>
                <a:gd name="connsiteY45" fmla="*/ 10183 h 10610"/>
                <a:gd name="connsiteX46" fmla="*/ 4549 w 10117"/>
                <a:gd name="connsiteY46" fmla="*/ 10074 h 10610"/>
                <a:gd name="connsiteX47" fmla="*/ 4767 w 10117"/>
                <a:gd name="connsiteY47" fmla="*/ 9967 h 10610"/>
                <a:gd name="connsiteX48" fmla="*/ 4988 w 10117"/>
                <a:gd name="connsiteY48" fmla="*/ 9849 h 10610"/>
                <a:gd name="connsiteX49" fmla="*/ 5209 w 10117"/>
                <a:gd name="connsiteY49" fmla="*/ 9736 h 10610"/>
                <a:gd name="connsiteX50" fmla="*/ 5419 w 10117"/>
                <a:gd name="connsiteY50" fmla="*/ 9615 h 10610"/>
                <a:gd name="connsiteX51" fmla="*/ 5635 w 10117"/>
                <a:gd name="connsiteY51" fmla="*/ 9491 h 10610"/>
                <a:gd name="connsiteX52" fmla="*/ 5839 w 10117"/>
                <a:gd name="connsiteY52" fmla="*/ 9362 h 10610"/>
                <a:gd name="connsiteX53" fmla="*/ 6043 w 10117"/>
                <a:gd name="connsiteY53" fmla="*/ 9235 h 10610"/>
                <a:gd name="connsiteX54" fmla="*/ 6239 w 10117"/>
                <a:gd name="connsiteY54" fmla="*/ 9105 h 10610"/>
                <a:gd name="connsiteX55" fmla="*/ 6438 w 10117"/>
                <a:gd name="connsiteY55" fmla="*/ 8967 h 10610"/>
                <a:gd name="connsiteX56" fmla="*/ 6629 w 10117"/>
                <a:gd name="connsiteY56" fmla="*/ 8825 h 10610"/>
                <a:gd name="connsiteX57" fmla="*/ 6814 w 10117"/>
                <a:gd name="connsiteY57" fmla="*/ 8689 h 10610"/>
                <a:gd name="connsiteX58" fmla="*/ 6997 w 10117"/>
                <a:gd name="connsiteY58" fmla="*/ 8544 h 10610"/>
                <a:gd name="connsiteX59" fmla="*/ 7173 w 10117"/>
                <a:gd name="connsiteY59" fmla="*/ 8396 h 10610"/>
                <a:gd name="connsiteX60" fmla="*/ 7349 w 10117"/>
                <a:gd name="connsiteY60" fmla="*/ 8248 h 10610"/>
                <a:gd name="connsiteX61" fmla="*/ 7518 w 10117"/>
                <a:gd name="connsiteY61" fmla="*/ 8097 h 10610"/>
                <a:gd name="connsiteX62" fmla="*/ 7686 w 10117"/>
                <a:gd name="connsiteY62" fmla="*/ 7940 h 10610"/>
                <a:gd name="connsiteX63" fmla="*/ 7842 w 10117"/>
                <a:gd name="connsiteY63" fmla="*/ 7782 h 10610"/>
                <a:gd name="connsiteX64" fmla="*/ 7995 w 10117"/>
                <a:gd name="connsiteY64" fmla="*/ 7623 h 10610"/>
                <a:gd name="connsiteX65" fmla="*/ 8150 w 10117"/>
                <a:gd name="connsiteY65" fmla="*/ 7463 h 10610"/>
                <a:gd name="connsiteX66" fmla="*/ 8293 w 10117"/>
                <a:gd name="connsiteY66" fmla="*/ 7296 h 10610"/>
                <a:gd name="connsiteX67" fmla="*/ 8433 w 10117"/>
                <a:gd name="connsiteY67" fmla="*/ 7132 h 10610"/>
                <a:gd name="connsiteX68" fmla="*/ 8569 w 10117"/>
                <a:gd name="connsiteY68" fmla="*/ 6962 h 10610"/>
                <a:gd name="connsiteX69" fmla="*/ 8695 w 10117"/>
                <a:gd name="connsiteY69" fmla="*/ 6788 h 10610"/>
                <a:gd name="connsiteX70" fmla="*/ 8819 w 10117"/>
                <a:gd name="connsiteY70" fmla="*/ 6614 h 10610"/>
                <a:gd name="connsiteX71" fmla="*/ 8945 w 10117"/>
                <a:gd name="connsiteY71" fmla="*/ 6440 h 10610"/>
                <a:gd name="connsiteX72" fmla="*/ 9063 w 10117"/>
                <a:gd name="connsiteY72" fmla="*/ 6262 h 10610"/>
                <a:gd name="connsiteX73" fmla="*/ 9167 w 10117"/>
                <a:gd name="connsiteY73" fmla="*/ 6084 h 10610"/>
                <a:gd name="connsiteX74" fmla="*/ 9274 w 10117"/>
                <a:gd name="connsiteY74" fmla="*/ 5902 h 10610"/>
                <a:gd name="connsiteX75" fmla="*/ 9369 w 10117"/>
                <a:gd name="connsiteY75" fmla="*/ 5716 h 10610"/>
                <a:gd name="connsiteX76" fmla="*/ 9465 w 10117"/>
                <a:gd name="connsiteY76" fmla="*/ 5533 h 10610"/>
                <a:gd name="connsiteX77" fmla="*/ 9549 w 10117"/>
                <a:gd name="connsiteY77" fmla="*/ 5344 h 10610"/>
                <a:gd name="connsiteX78" fmla="*/ 9630 w 10117"/>
                <a:gd name="connsiteY78" fmla="*/ 5153 h 10610"/>
                <a:gd name="connsiteX79" fmla="*/ 9704 w 10117"/>
                <a:gd name="connsiteY79" fmla="*/ 4961 h 10610"/>
                <a:gd name="connsiteX80" fmla="*/ 9777 w 10117"/>
                <a:gd name="connsiteY80" fmla="*/ 4771 h 10610"/>
                <a:gd name="connsiteX81" fmla="*/ 9839 w 10117"/>
                <a:gd name="connsiteY81" fmla="*/ 4578 h 10610"/>
                <a:gd name="connsiteX82" fmla="*/ 9898 w 10117"/>
                <a:gd name="connsiteY82" fmla="*/ 4381 h 10610"/>
                <a:gd name="connsiteX83" fmla="*/ 9635 w 10117"/>
                <a:gd name="connsiteY83" fmla="*/ 0 h 10610"/>
                <a:gd name="connsiteX84" fmla="*/ 6408 w 10117"/>
                <a:gd name="connsiteY84" fmla="*/ 1883 h 10610"/>
                <a:gd name="connsiteX85" fmla="*/ 2450 w 10117"/>
                <a:gd name="connsiteY85" fmla="*/ 1500 h 10610"/>
                <a:gd name="connsiteX0" fmla="*/ 2450 w 10117"/>
                <a:gd name="connsiteY0" fmla="*/ 1500 h 10610"/>
                <a:gd name="connsiteX1" fmla="*/ 2549 w 10117"/>
                <a:gd name="connsiteY1" fmla="*/ 3279 h 10610"/>
                <a:gd name="connsiteX2" fmla="*/ 2472 w 10117"/>
                <a:gd name="connsiteY2" fmla="*/ 3560 h 10610"/>
                <a:gd name="connsiteX3" fmla="*/ 2441 w 10117"/>
                <a:gd name="connsiteY3" fmla="*/ 3643 h 10610"/>
                <a:gd name="connsiteX4" fmla="*/ 2413 w 10117"/>
                <a:gd name="connsiteY4" fmla="*/ 3722 h 10610"/>
                <a:gd name="connsiteX5" fmla="*/ 2379 w 10117"/>
                <a:gd name="connsiteY5" fmla="*/ 3804 h 10610"/>
                <a:gd name="connsiteX6" fmla="*/ 2339 w 10117"/>
                <a:gd name="connsiteY6" fmla="*/ 3883 h 10610"/>
                <a:gd name="connsiteX7" fmla="*/ 2297 w 10117"/>
                <a:gd name="connsiteY7" fmla="*/ 3960 h 10610"/>
                <a:gd name="connsiteX8" fmla="*/ 2257 w 10117"/>
                <a:gd name="connsiteY8" fmla="*/ 4039 h 10610"/>
                <a:gd name="connsiteX9" fmla="*/ 2209 w 10117"/>
                <a:gd name="connsiteY9" fmla="*/ 4118 h 10610"/>
                <a:gd name="connsiteX10" fmla="*/ 2158 w 10117"/>
                <a:gd name="connsiteY10" fmla="*/ 4189 h 10610"/>
                <a:gd name="connsiteX11" fmla="*/ 2110 w 10117"/>
                <a:gd name="connsiteY11" fmla="*/ 4265 h 10610"/>
                <a:gd name="connsiteX12" fmla="*/ 2058 w 10117"/>
                <a:gd name="connsiteY12" fmla="*/ 4339 h 10610"/>
                <a:gd name="connsiteX13" fmla="*/ 2001 w 10117"/>
                <a:gd name="connsiteY13" fmla="*/ 4412 h 10610"/>
                <a:gd name="connsiteX14" fmla="*/ 1950 w 10117"/>
                <a:gd name="connsiteY14" fmla="*/ 4486 h 10610"/>
                <a:gd name="connsiteX15" fmla="*/ 1890 w 10117"/>
                <a:gd name="connsiteY15" fmla="*/ 4557 h 10610"/>
                <a:gd name="connsiteX16" fmla="*/ 1827 w 10117"/>
                <a:gd name="connsiteY16" fmla="*/ 4623 h 10610"/>
                <a:gd name="connsiteX17" fmla="*/ 1762 w 10117"/>
                <a:gd name="connsiteY17" fmla="*/ 4691 h 10610"/>
                <a:gd name="connsiteX18" fmla="*/ 1702 w 10117"/>
                <a:gd name="connsiteY18" fmla="*/ 4758 h 10610"/>
                <a:gd name="connsiteX19" fmla="*/ 1632 w 10117"/>
                <a:gd name="connsiteY19" fmla="*/ 4830 h 10610"/>
                <a:gd name="connsiteX20" fmla="*/ 1563 w 10117"/>
                <a:gd name="connsiteY20" fmla="*/ 4893 h 10610"/>
                <a:gd name="connsiteX21" fmla="*/ 1490 w 10117"/>
                <a:gd name="connsiteY21" fmla="*/ 4952 h 10610"/>
                <a:gd name="connsiteX22" fmla="*/ 1415 w 10117"/>
                <a:gd name="connsiteY22" fmla="*/ 5019 h 10610"/>
                <a:gd name="connsiteX23" fmla="*/ 1341 w 10117"/>
                <a:gd name="connsiteY23" fmla="*/ 5081 h 10610"/>
                <a:gd name="connsiteX24" fmla="*/ 1262 w 10117"/>
                <a:gd name="connsiteY24" fmla="*/ 5140 h 10610"/>
                <a:gd name="connsiteX25" fmla="*/ 1184 w 10117"/>
                <a:gd name="connsiteY25" fmla="*/ 5204 h 10610"/>
                <a:gd name="connsiteX26" fmla="*/ 1105 w 10117"/>
                <a:gd name="connsiteY26" fmla="*/ 5262 h 10610"/>
                <a:gd name="connsiteX27" fmla="*/ 1017 w 10117"/>
                <a:gd name="connsiteY27" fmla="*/ 5319 h 10610"/>
                <a:gd name="connsiteX28" fmla="*/ 937 w 10117"/>
                <a:gd name="connsiteY28" fmla="*/ 5373 h 10610"/>
                <a:gd name="connsiteX29" fmla="*/ 850 w 10117"/>
                <a:gd name="connsiteY29" fmla="*/ 5429 h 10610"/>
                <a:gd name="connsiteX30" fmla="*/ 765 w 10117"/>
                <a:gd name="connsiteY30" fmla="*/ 5481 h 10610"/>
                <a:gd name="connsiteX31" fmla="*/ 670 w 10117"/>
                <a:gd name="connsiteY31" fmla="*/ 5534 h 10610"/>
                <a:gd name="connsiteX32" fmla="*/ 581 w 10117"/>
                <a:gd name="connsiteY32" fmla="*/ 5583 h 10610"/>
                <a:gd name="connsiteX33" fmla="*/ 488 w 10117"/>
                <a:gd name="connsiteY33" fmla="*/ 5633 h 10610"/>
                <a:gd name="connsiteX34" fmla="*/ 393 w 10117"/>
                <a:gd name="connsiteY34" fmla="*/ 5681 h 10610"/>
                <a:gd name="connsiteX35" fmla="*/ 295 w 10117"/>
                <a:gd name="connsiteY35" fmla="*/ 5725 h 10610"/>
                <a:gd name="connsiteX36" fmla="*/ 198 w 10117"/>
                <a:gd name="connsiteY36" fmla="*/ 5773 h 10610"/>
                <a:gd name="connsiteX37" fmla="*/ 103 w 10117"/>
                <a:gd name="connsiteY37" fmla="*/ 5816 h 10610"/>
                <a:gd name="connsiteX38" fmla="*/ 0 w 10117"/>
                <a:gd name="connsiteY38" fmla="*/ 5857 h 10610"/>
                <a:gd name="connsiteX39" fmla="*/ 210 w 10117"/>
                <a:gd name="connsiteY39" fmla="*/ 8550 h 10610"/>
                <a:gd name="connsiteX40" fmla="*/ 3301 w 10117"/>
                <a:gd name="connsiteY40" fmla="*/ 10610 h 10610"/>
                <a:gd name="connsiteX41" fmla="*/ 3606 w 10117"/>
                <a:gd name="connsiteY41" fmla="*/ 10485 h 10610"/>
                <a:gd name="connsiteX42" fmla="*/ 3848 w 10117"/>
                <a:gd name="connsiteY42" fmla="*/ 10386 h 10610"/>
                <a:gd name="connsiteX43" fmla="*/ 4084 w 10117"/>
                <a:gd name="connsiteY43" fmla="*/ 10287 h 10610"/>
                <a:gd name="connsiteX44" fmla="*/ 4317 w 10117"/>
                <a:gd name="connsiteY44" fmla="*/ 10183 h 10610"/>
                <a:gd name="connsiteX45" fmla="*/ 4549 w 10117"/>
                <a:gd name="connsiteY45" fmla="*/ 10074 h 10610"/>
                <a:gd name="connsiteX46" fmla="*/ 4767 w 10117"/>
                <a:gd name="connsiteY46" fmla="*/ 9967 h 10610"/>
                <a:gd name="connsiteX47" fmla="*/ 4988 w 10117"/>
                <a:gd name="connsiteY47" fmla="*/ 9849 h 10610"/>
                <a:gd name="connsiteX48" fmla="*/ 5209 w 10117"/>
                <a:gd name="connsiteY48" fmla="*/ 9736 h 10610"/>
                <a:gd name="connsiteX49" fmla="*/ 5419 w 10117"/>
                <a:gd name="connsiteY49" fmla="*/ 9615 h 10610"/>
                <a:gd name="connsiteX50" fmla="*/ 5635 w 10117"/>
                <a:gd name="connsiteY50" fmla="*/ 9491 h 10610"/>
                <a:gd name="connsiteX51" fmla="*/ 5839 w 10117"/>
                <a:gd name="connsiteY51" fmla="*/ 9362 h 10610"/>
                <a:gd name="connsiteX52" fmla="*/ 6043 w 10117"/>
                <a:gd name="connsiteY52" fmla="*/ 9235 h 10610"/>
                <a:gd name="connsiteX53" fmla="*/ 6239 w 10117"/>
                <a:gd name="connsiteY53" fmla="*/ 9105 h 10610"/>
                <a:gd name="connsiteX54" fmla="*/ 6438 w 10117"/>
                <a:gd name="connsiteY54" fmla="*/ 8967 h 10610"/>
                <a:gd name="connsiteX55" fmla="*/ 6629 w 10117"/>
                <a:gd name="connsiteY55" fmla="*/ 8825 h 10610"/>
                <a:gd name="connsiteX56" fmla="*/ 6814 w 10117"/>
                <a:gd name="connsiteY56" fmla="*/ 8689 h 10610"/>
                <a:gd name="connsiteX57" fmla="*/ 6997 w 10117"/>
                <a:gd name="connsiteY57" fmla="*/ 8544 h 10610"/>
                <a:gd name="connsiteX58" fmla="*/ 7173 w 10117"/>
                <a:gd name="connsiteY58" fmla="*/ 8396 h 10610"/>
                <a:gd name="connsiteX59" fmla="*/ 7349 w 10117"/>
                <a:gd name="connsiteY59" fmla="*/ 8248 h 10610"/>
                <a:gd name="connsiteX60" fmla="*/ 7518 w 10117"/>
                <a:gd name="connsiteY60" fmla="*/ 8097 h 10610"/>
                <a:gd name="connsiteX61" fmla="*/ 7686 w 10117"/>
                <a:gd name="connsiteY61" fmla="*/ 7940 h 10610"/>
                <a:gd name="connsiteX62" fmla="*/ 7842 w 10117"/>
                <a:gd name="connsiteY62" fmla="*/ 7782 h 10610"/>
                <a:gd name="connsiteX63" fmla="*/ 7995 w 10117"/>
                <a:gd name="connsiteY63" fmla="*/ 7623 h 10610"/>
                <a:gd name="connsiteX64" fmla="*/ 8150 w 10117"/>
                <a:gd name="connsiteY64" fmla="*/ 7463 h 10610"/>
                <a:gd name="connsiteX65" fmla="*/ 8293 w 10117"/>
                <a:gd name="connsiteY65" fmla="*/ 7296 h 10610"/>
                <a:gd name="connsiteX66" fmla="*/ 8433 w 10117"/>
                <a:gd name="connsiteY66" fmla="*/ 7132 h 10610"/>
                <a:gd name="connsiteX67" fmla="*/ 8569 w 10117"/>
                <a:gd name="connsiteY67" fmla="*/ 6962 h 10610"/>
                <a:gd name="connsiteX68" fmla="*/ 8695 w 10117"/>
                <a:gd name="connsiteY68" fmla="*/ 6788 h 10610"/>
                <a:gd name="connsiteX69" fmla="*/ 8819 w 10117"/>
                <a:gd name="connsiteY69" fmla="*/ 6614 h 10610"/>
                <a:gd name="connsiteX70" fmla="*/ 8945 w 10117"/>
                <a:gd name="connsiteY70" fmla="*/ 6440 h 10610"/>
                <a:gd name="connsiteX71" fmla="*/ 9063 w 10117"/>
                <a:gd name="connsiteY71" fmla="*/ 6262 h 10610"/>
                <a:gd name="connsiteX72" fmla="*/ 9167 w 10117"/>
                <a:gd name="connsiteY72" fmla="*/ 6084 h 10610"/>
                <a:gd name="connsiteX73" fmla="*/ 9274 w 10117"/>
                <a:gd name="connsiteY73" fmla="*/ 5902 h 10610"/>
                <a:gd name="connsiteX74" fmla="*/ 9369 w 10117"/>
                <a:gd name="connsiteY74" fmla="*/ 5716 h 10610"/>
                <a:gd name="connsiteX75" fmla="*/ 9465 w 10117"/>
                <a:gd name="connsiteY75" fmla="*/ 5533 h 10610"/>
                <a:gd name="connsiteX76" fmla="*/ 9549 w 10117"/>
                <a:gd name="connsiteY76" fmla="*/ 5344 h 10610"/>
                <a:gd name="connsiteX77" fmla="*/ 9630 w 10117"/>
                <a:gd name="connsiteY77" fmla="*/ 5153 h 10610"/>
                <a:gd name="connsiteX78" fmla="*/ 9704 w 10117"/>
                <a:gd name="connsiteY78" fmla="*/ 4961 h 10610"/>
                <a:gd name="connsiteX79" fmla="*/ 9777 w 10117"/>
                <a:gd name="connsiteY79" fmla="*/ 4771 h 10610"/>
                <a:gd name="connsiteX80" fmla="*/ 9839 w 10117"/>
                <a:gd name="connsiteY80" fmla="*/ 4578 h 10610"/>
                <a:gd name="connsiteX81" fmla="*/ 9898 w 10117"/>
                <a:gd name="connsiteY81" fmla="*/ 4381 h 10610"/>
                <a:gd name="connsiteX82" fmla="*/ 9635 w 10117"/>
                <a:gd name="connsiteY82" fmla="*/ 0 h 10610"/>
                <a:gd name="connsiteX83" fmla="*/ 6408 w 10117"/>
                <a:gd name="connsiteY83" fmla="*/ 1883 h 10610"/>
                <a:gd name="connsiteX84" fmla="*/ 2450 w 10117"/>
                <a:gd name="connsiteY84" fmla="*/ 1500 h 10610"/>
                <a:gd name="connsiteX0" fmla="*/ 2450 w 10117"/>
                <a:gd name="connsiteY0" fmla="*/ 1500 h 10610"/>
                <a:gd name="connsiteX1" fmla="*/ 2472 w 10117"/>
                <a:gd name="connsiteY1" fmla="*/ 3560 h 10610"/>
                <a:gd name="connsiteX2" fmla="*/ 2441 w 10117"/>
                <a:gd name="connsiteY2" fmla="*/ 3643 h 10610"/>
                <a:gd name="connsiteX3" fmla="*/ 2413 w 10117"/>
                <a:gd name="connsiteY3" fmla="*/ 3722 h 10610"/>
                <a:gd name="connsiteX4" fmla="*/ 2379 w 10117"/>
                <a:gd name="connsiteY4" fmla="*/ 3804 h 10610"/>
                <a:gd name="connsiteX5" fmla="*/ 2339 w 10117"/>
                <a:gd name="connsiteY5" fmla="*/ 3883 h 10610"/>
                <a:gd name="connsiteX6" fmla="*/ 2297 w 10117"/>
                <a:gd name="connsiteY6" fmla="*/ 3960 h 10610"/>
                <a:gd name="connsiteX7" fmla="*/ 2257 w 10117"/>
                <a:gd name="connsiteY7" fmla="*/ 4039 h 10610"/>
                <a:gd name="connsiteX8" fmla="*/ 2209 w 10117"/>
                <a:gd name="connsiteY8" fmla="*/ 4118 h 10610"/>
                <a:gd name="connsiteX9" fmla="*/ 2158 w 10117"/>
                <a:gd name="connsiteY9" fmla="*/ 4189 h 10610"/>
                <a:gd name="connsiteX10" fmla="*/ 2110 w 10117"/>
                <a:gd name="connsiteY10" fmla="*/ 4265 h 10610"/>
                <a:gd name="connsiteX11" fmla="*/ 2058 w 10117"/>
                <a:gd name="connsiteY11" fmla="*/ 4339 h 10610"/>
                <a:gd name="connsiteX12" fmla="*/ 2001 w 10117"/>
                <a:gd name="connsiteY12" fmla="*/ 4412 h 10610"/>
                <a:gd name="connsiteX13" fmla="*/ 1950 w 10117"/>
                <a:gd name="connsiteY13" fmla="*/ 4486 h 10610"/>
                <a:gd name="connsiteX14" fmla="*/ 1890 w 10117"/>
                <a:gd name="connsiteY14" fmla="*/ 4557 h 10610"/>
                <a:gd name="connsiteX15" fmla="*/ 1827 w 10117"/>
                <a:gd name="connsiteY15" fmla="*/ 4623 h 10610"/>
                <a:gd name="connsiteX16" fmla="*/ 1762 w 10117"/>
                <a:gd name="connsiteY16" fmla="*/ 4691 h 10610"/>
                <a:gd name="connsiteX17" fmla="*/ 1702 w 10117"/>
                <a:gd name="connsiteY17" fmla="*/ 4758 h 10610"/>
                <a:gd name="connsiteX18" fmla="*/ 1632 w 10117"/>
                <a:gd name="connsiteY18" fmla="*/ 4830 h 10610"/>
                <a:gd name="connsiteX19" fmla="*/ 1563 w 10117"/>
                <a:gd name="connsiteY19" fmla="*/ 4893 h 10610"/>
                <a:gd name="connsiteX20" fmla="*/ 1490 w 10117"/>
                <a:gd name="connsiteY20" fmla="*/ 4952 h 10610"/>
                <a:gd name="connsiteX21" fmla="*/ 1415 w 10117"/>
                <a:gd name="connsiteY21" fmla="*/ 5019 h 10610"/>
                <a:gd name="connsiteX22" fmla="*/ 1341 w 10117"/>
                <a:gd name="connsiteY22" fmla="*/ 5081 h 10610"/>
                <a:gd name="connsiteX23" fmla="*/ 1262 w 10117"/>
                <a:gd name="connsiteY23" fmla="*/ 5140 h 10610"/>
                <a:gd name="connsiteX24" fmla="*/ 1184 w 10117"/>
                <a:gd name="connsiteY24" fmla="*/ 5204 h 10610"/>
                <a:gd name="connsiteX25" fmla="*/ 1105 w 10117"/>
                <a:gd name="connsiteY25" fmla="*/ 5262 h 10610"/>
                <a:gd name="connsiteX26" fmla="*/ 1017 w 10117"/>
                <a:gd name="connsiteY26" fmla="*/ 5319 h 10610"/>
                <a:gd name="connsiteX27" fmla="*/ 937 w 10117"/>
                <a:gd name="connsiteY27" fmla="*/ 5373 h 10610"/>
                <a:gd name="connsiteX28" fmla="*/ 850 w 10117"/>
                <a:gd name="connsiteY28" fmla="*/ 5429 h 10610"/>
                <a:gd name="connsiteX29" fmla="*/ 765 w 10117"/>
                <a:gd name="connsiteY29" fmla="*/ 5481 h 10610"/>
                <a:gd name="connsiteX30" fmla="*/ 670 w 10117"/>
                <a:gd name="connsiteY30" fmla="*/ 5534 h 10610"/>
                <a:gd name="connsiteX31" fmla="*/ 581 w 10117"/>
                <a:gd name="connsiteY31" fmla="*/ 5583 h 10610"/>
                <a:gd name="connsiteX32" fmla="*/ 488 w 10117"/>
                <a:gd name="connsiteY32" fmla="*/ 5633 h 10610"/>
                <a:gd name="connsiteX33" fmla="*/ 393 w 10117"/>
                <a:gd name="connsiteY33" fmla="*/ 5681 h 10610"/>
                <a:gd name="connsiteX34" fmla="*/ 295 w 10117"/>
                <a:gd name="connsiteY34" fmla="*/ 5725 h 10610"/>
                <a:gd name="connsiteX35" fmla="*/ 198 w 10117"/>
                <a:gd name="connsiteY35" fmla="*/ 5773 h 10610"/>
                <a:gd name="connsiteX36" fmla="*/ 103 w 10117"/>
                <a:gd name="connsiteY36" fmla="*/ 5816 h 10610"/>
                <a:gd name="connsiteX37" fmla="*/ 0 w 10117"/>
                <a:gd name="connsiteY37" fmla="*/ 5857 h 10610"/>
                <a:gd name="connsiteX38" fmla="*/ 210 w 10117"/>
                <a:gd name="connsiteY38" fmla="*/ 8550 h 10610"/>
                <a:gd name="connsiteX39" fmla="*/ 3301 w 10117"/>
                <a:gd name="connsiteY39" fmla="*/ 10610 h 10610"/>
                <a:gd name="connsiteX40" fmla="*/ 3606 w 10117"/>
                <a:gd name="connsiteY40" fmla="*/ 10485 h 10610"/>
                <a:gd name="connsiteX41" fmla="*/ 3848 w 10117"/>
                <a:gd name="connsiteY41" fmla="*/ 10386 h 10610"/>
                <a:gd name="connsiteX42" fmla="*/ 4084 w 10117"/>
                <a:gd name="connsiteY42" fmla="*/ 10287 h 10610"/>
                <a:gd name="connsiteX43" fmla="*/ 4317 w 10117"/>
                <a:gd name="connsiteY43" fmla="*/ 10183 h 10610"/>
                <a:gd name="connsiteX44" fmla="*/ 4549 w 10117"/>
                <a:gd name="connsiteY44" fmla="*/ 10074 h 10610"/>
                <a:gd name="connsiteX45" fmla="*/ 4767 w 10117"/>
                <a:gd name="connsiteY45" fmla="*/ 9967 h 10610"/>
                <a:gd name="connsiteX46" fmla="*/ 4988 w 10117"/>
                <a:gd name="connsiteY46" fmla="*/ 9849 h 10610"/>
                <a:gd name="connsiteX47" fmla="*/ 5209 w 10117"/>
                <a:gd name="connsiteY47" fmla="*/ 9736 h 10610"/>
                <a:gd name="connsiteX48" fmla="*/ 5419 w 10117"/>
                <a:gd name="connsiteY48" fmla="*/ 9615 h 10610"/>
                <a:gd name="connsiteX49" fmla="*/ 5635 w 10117"/>
                <a:gd name="connsiteY49" fmla="*/ 9491 h 10610"/>
                <a:gd name="connsiteX50" fmla="*/ 5839 w 10117"/>
                <a:gd name="connsiteY50" fmla="*/ 9362 h 10610"/>
                <a:gd name="connsiteX51" fmla="*/ 6043 w 10117"/>
                <a:gd name="connsiteY51" fmla="*/ 9235 h 10610"/>
                <a:gd name="connsiteX52" fmla="*/ 6239 w 10117"/>
                <a:gd name="connsiteY52" fmla="*/ 9105 h 10610"/>
                <a:gd name="connsiteX53" fmla="*/ 6438 w 10117"/>
                <a:gd name="connsiteY53" fmla="*/ 8967 h 10610"/>
                <a:gd name="connsiteX54" fmla="*/ 6629 w 10117"/>
                <a:gd name="connsiteY54" fmla="*/ 8825 h 10610"/>
                <a:gd name="connsiteX55" fmla="*/ 6814 w 10117"/>
                <a:gd name="connsiteY55" fmla="*/ 8689 h 10610"/>
                <a:gd name="connsiteX56" fmla="*/ 6997 w 10117"/>
                <a:gd name="connsiteY56" fmla="*/ 8544 h 10610"/>
                <a:gd name="connsiteX57" fmla="*/ 7173 w 10117"/>
                <a:gd name="connsiteY57" fmla="*/ 8396 h 10610"/>
                <a:gd name="connsiteX58" fmla="*/ 7349 w 10117"/>
                <a:gd name="connsiteY58" fmla="*/ 8248 h 10610"/>
                <a:gd name="connsiteX59" fmla="*/ 7518 w 10117"/>
                <a:gd name="connsiteY59" fmla="*/ 8097 h 10610"/>
                <a:gd name="connsiteX60" fmla="*/ 7686 w 10117"/>
                <a:gd name="connsiteY60" fmla="*/ 7940 h 10610"/>
                <a:gd name="connsiteX61" fmla="*/ 7842 w 10117"/>
                <a:gd name="connsiteY61" fmla="*/ 7782 h 10610"/>
                <a:gd name="connsiteX62" fmla="*/ 7995 w 10117"/>
                <a:gd name="connsiteY62" fmla="*/ 7623 h 10610"/>
                <a:gd name="connsiteX63" fmla="*/ 8150 w 10117"/>
                <a:gd name="connsiteY63" fmla="*/ 7463 h 10610"/>
                <a:gd name="connsiteX64" fmla="*/ 8293 w 10117"/>
                <a:gd name="connsiteY64" fmla="*/ 7296 h 10610"/>
                <a:gd name="connsiteX65" fmla="*/ 8433 w 10117"/>
                <a:gd name="connsiteY65" fmla="*/ 7132 h 10610"/>
                <a:gd name="connsiteX66" fmla="*/ 8569 w 10117"/>
                <a:gd name="connsiteY66" fmla="*/ 6962 h 10610"/>
                <a:gd name="connsiteX67" fmla="*/ 8695 w 10117"/>
                <a:gd name="connsiteY67" fmla="*/ 6788 h 10610"/>
                <a:gd name="connsiteX68" fmla="*/ 8819 w 10117"/>
                <a:gd name="connsiteY68" fmla="*/ 6614 h 10610"/>
                <a:gd name="connsiteX69" fmla="*/ 8945 w 10117"/>
                <a:gd name="connsiteY69" fmla="*/ 6440 h 10610"/>
                <a:gd name="connsiteX70" fmla="*/ 9063 w 10117"/>
                <a:gd name="connsiteY70" fmla="*/ 6262 h 10610"/>
                <a:gd name="connsiteX71" fmla="*/ 9167 w 10117"/>
                <a:gd name="connsiteY71" fmla="*/ 6084 h 10610"/>
                <a:gd name="connsiteX72" fmla="*/ 9274 w 10117"/>
                <a:gd name="connsiteY72" fmla="*/ 5902 h 10610"/>
                <a:gd name="connsiteX73" fmla="*/ 9369 w 10117"/>
                <a:gd name="connsiteY73" fmla="*/ 5716 h 10610"/>
                <a:gd name="connsiteX74" fmla="*/ 9465 w 10117"/>
                <a:gd name="connsiteY74" fmla="*/ 5533 h 10610"/>
                <a:gd name="connsiteX75" fmla="*/ 9549 w 10117"/>
                <a:gd name="connsiteY75" fmla="*/ 5344 h 10610"/>
                <a:gd name="connsiteX76" fmla="*/ 9630 w 10117"/>
                <a:gd name="connsiteY76" fmla="*/ 5153 h 10610"/>
                <a:gd name="connsiteX77" fmla="*/ 9704 w 10117"/>
                <a:gd name="connsiteY77" fmla="*/ 4961 h 10610"/>
                <a:gd name="connsiteX78" fmla="*/ 9777 w 10117"/>
                <a:gd name="connsiteY78" fmla="*/ 4771 h 10610"/>
                <a:gd name="connsiteX79" fmla="*/ 9839 w 10117"/>
                <a:gd name="connsiteY79" fmla="*/ 4578 h 10610"/>
                <a:gd name="connsiteX80" fmla="*/ 9898 w 10117"/>
                <a:gd name="connsiteY80" fmla="*/ 4381 h 10610"/>
                <a:gd name="connsiteX81" fmla="*/ 9635 w 10117"/>
                <a:gd name="connsiteY81" fmla="*/ 0 h 10610"/>
                <a:gd name="connsiteX82" fmla="*/ 6408 w 10117"/>
                <a:gd name="connsiteY82" fmla="*/ 1883 h 10610"/>
                <a:gd name="connsiteX83" fmla="*/ 2450 w 10117"/>
                <a:gd name="connsiteY83" fmla="*/ 1500 h 10610"/>
                <a:gd name="connsiteX0" fmla="*/ 2450 w 10117"/>
                <a:gd name="connsiteY0" fmla="*/ 1500 h 10610"/>
                <a:gd name="connsiteX1" fmla="*/ 2441 w 10117"/>
                <a:gd name="connsiteY1" fmla="*/ 3643 h 10610"/>
                <a:gd name="connsiteX2" fmla="*/ 2413 w 10117"/>
                <a:gd name="connsiteY2" fmla="*/ 3722 h 10610"/>
                <a:gd name="connsiteX3" fmla="*/ 2379 w 10117"/>
                <a:gd name="connsiteY3" fmla="*/ 3804 h 10610"/>
                <a:gd name="connsiteX4" fmla="*/ 2339 w 10117"/>
                <a:gd name="connsiteY4" fmla="*/ 3883 h 10610"/>
                <a:gd name="connsiteX5" fmla="*/ 2297 w 10117"/>
                <a:gd name="connsiteY5" fmla="*/ 3960 h 10610"/>
                <a:gd name="connsiteX6" fmla="*/ 2257 w 10117"/>
                <a:gd name="connsiteY6" fmla="*/ 4039 h 10610"/>
                <a:gd name="connsiteX7" fmla="*/ 2209 w 10117"/>
                <a:gd name="connsiteY7" fmla="*/ 4118 h 10610"/>
                <a:gd name="connsiteX8" fmla="*/ 2158 w 10117"/>
                <a:gd name="connsiteY8" fmla="*/ 4189 h 10610"/>
                <a:gd name="connsiteX9" fmla="*/ 2110 w 10117"/>
                <a:gd name="connsiteY9" fmla="*/ 4265 h 10610"/>
                <a:gd name="connsiteX10" fmla="*/ 2058 w 10117"/>
                <a:gd name="connsiteY10" fmla="*/ 4339 h 10610"/>
                <a:gd name="connsiteX11" fmla="*/ 2001 w 10117"/>
                <a:gd name="connsiteY11" fmla="*/ 4412 h 10610"/>
                <a:gd name="connsiteX12" fmla="*/ 1950 w 10117"/>
                <a:gd name="connsiteY12" fmla="*/ 4486 h 10610"/>
                <a:gd name="connsiteX13" fmla="*/ 1890 w 10117"/>
                <a:gd name="connsiteY13" fmla="*/ 4557 h 10610"/>
                <a:gd name="connsiteX14" fmla="*/ 1827 w 10117"/>
                <a:gd name="connsiteY14" fmla="*/ 4623 h 10610"/>
                <a:gd name="connsiteX15" fmla="*/ 1762 w 10117"/>
                <a:gd name="connsiteY15" fmla="*/ 4691 h 10610"/>
                <a:gd name="connsiteX16" fmla="*/ 1702 w 10117"/>
                <a:gd name="connsiteY16" fmla="*/ 4758 h 10610"/>
                <a:gd name="connsiteX17" fmla="*/ 1632 w 10117"/>
                <a:gd name="connsiteY17" fmla="*/ 4830 h 10610"/>
                <a:gd name="connsiteX18" fmla="*/ 1563 w 10117"/>
                <a:gd name="connsiteY18" fmla="*/ 4893 h 10610"/>
                <a:gd name="connsiteX19" fmla="*/ 1490 w 10117"/>
                <a:gd name="connsiteY19" fmla="*/ 4952 h 10610"/>
                <a:gd name="connsiteX20" fmla="*/ 1415 w 10117"/>
                <a:gd name="connsiteY20" fmla="*/ 5019 h 10610"/>
                <a:gd name="connsiteX21" fmla="*/ 1341 w 10117"/>
                <a:gd name="connsiteY21" fmla="*/ 5081 h 10610"/>
                <a:gd name="connsiteX22" fmla="*/ 1262 w 10117"/>
                <a:gd name="connsiteY22" fmla="*/ 5140 h 10610"/>
                <a:gd name="connsiteX23" fmla="*/ 1184 w 10117"/>
                <a:gd name="connsiteY23" fmla="*/ 5204 h 10610"/>
                <a:gd name="connsiteX24" fmla="*/ 1105 w 10117"/>
                <a:gd name="connsiteY24" fmla="*/ 5262 h 10610"/>
                <a:gd name="connsiteX25" fmla="*/ 1017 w 10117"/>
                <a:gd name="connsiteY25" fmla="*/ 5319 h 10610"/>
                <a:gd name="connsiteX26" fmla="*/ 937 w 10117"/>
                <a:gd name="connsiteY26" fmla="*/ 5373 h 10610"/>
                <a:gd name="connsiteX27" fmla="*/ 850 w 10117"/>
                <a:gd name="connsiteY27" fmla="*/ 5429 h 10610"/>
                <a:gd name="connsiteX28" fmla="*/ 765 w 10117"/>
                <a:gd name="connsiteY28" fmla="*/ 5481 h 10610"/>
                <a:gd name="connsiteX29" fmla="*/ 670 w 10117"/>
                <a:gd name="connsiteY29" fmla="*/ 5534 h 10610"/>
                <a:gd name="connsiteX30" fmla="*/ 581 w 10117"/>
                <a:gd name="connsiteY30" fmla="*/ 5583 h 10610"/>
                <a:gd name="connsiteX31" fmla="*/ 488 w 10117"/>
                <a:gd name="connsiteY31" fmla="*/ 5633 h 10610"/>
                <a:gd name="connsiteX32" fmla="*/ 393 w 10117"/>
                <a:gd name="connsiteY32" fmla="*/ 5681 h 10610"/>
                <a:gd name="connsiteX33" fmla="*/ 295 w 10117"/>
                <a:gd name="connsiteY33" fmla="*/ 5725 h 10610"/>
                <a:gd name="connsiteX34" fmla="*/ 198 w 10117"/>
                <a:gd name="connsiteY34" fmla="*/ 5773 h 10610"/>
                <a:gd name="connsiteX35" fmla="*/ 103 w 10117"/>
                <a:gd name="connsiteY35" fmla="*/ 5816 h 10610"/>
                <a:gd name="connsiteX36" fmla="*/ 0 w 10117"/>
                <a:gd name="connsiteY36" fmla="*/ 5857 h 10610"/>
                <a:gd name="connsiteX37" fmla="*/ 210 w 10117"/>
                <a:gd name="connsiteY37" fmla="*/ 8550 h 10610"/>
                <a:gd name="connsiteX38" fmla="*/ 3301 w 10117"/>
                <a:gd name="connsiteY38" fmla="*/ 10610 h 10610"/>
                <a:gd name="connsiteX39" fmla="*/ 3606 w 10117"/>
                <a:gd name="connsiteY39" fmla="*/ 10485 h 10610"/>
                <a:gd name="connsiteX40" fmla="*/ 3848 w 10117"/>
                <a:gd name="connsiteY40" fmla="*/ 10386 h 10610"/>
                <a:gd name="connsiteX41" fmla="*/ 4084 w 10117"/>
                <a:gd name="connsiteY41" fmla="*/ 10287 h 10610"/>
                <a:gd name="connsiteX42" fmla="*/ 4317 w 10117"/>
                <a:gd name="connsiteY42" fmla="*/ 10183 h 10610"/>
                <a:gd name="connsiteX43" fmla="*/ 4549 w 10117"/>
                <a:gd name="connsiteY43" fmla="*/ 10074 h 10610"/>
                <a:gd name="connsiteX44" fmla="*/ 4767 w 10117"/>
                <a:gd name="connsiteY44" fmla="*/ 9967 h 10610"/>
                <a:gd name="connsiteX45" fmla="*/ 4988 w 10117"/>
                <a:gd name="connsiteY45" fmla="*/ 9849 h 10610"/>
                <a:gd name="connsiteX46" fmla="*/ 5209 w 10117"/>
                <a:gd name="connsiteY46" fmla="*/ 9736 h 10610"/>
                <a:gd name="connsiteX47" fmla="*/ 5419 w 10117"/>
                <a:gd name="connsiteY47" fmla="*/ 9615 h 10610"/>
                <a:gd name="connsiteX48" fmla="*/ 5635 w 10117"/>
                <a:gd name="connsiteY48" fmla="*/ 9491 h 10610"/>
                <a:gd name="connsiteX49" fmla="*/ 5839 w 10117"/>
                <a:gd name="connsiteY49" fmla="*/ 9362 h 10610"/>
                <a:gd name="connsiteX50" fmla="*/ 6043 w 10117"/>
                <a:gd name="connsiteY50" fmla="*/ 9235 h 10610"/>
                <a:gd name="connsiteX51" fmla="*/ 6239 w 10117"/>
                <a:gd name="connsiteY51" fmla="*/ 9105 h 10610"/>
                <a:gd name="connsiteX52" fmla="*/ 6438 w 10117"/>
                <a:gd name="connsiteY52" fmla="*/ 8967 h 10610"/>
                <a:gd name="connsiteX53" fmla="*/ 6629 w 10117"/>
                <a:gd name="connsiteY53" fmla="*/ 8825 h 10610"/>
                <a:gd name="connsiteX54" fmla="*/ 6814 w 10117"/>
                <a:gd name="connsiteY54" fmla="*/ 8689 h 10610"/>
                <a:gd name="connsiteX55" fmla="*/ 6997 w 10117"/>
                <a:gd name="connsiteY55" fmla="*/ 8544 h 10610"/>
                <a:gd name="connsiteX56" fmla="*/ 7173 w 10117"/>
                <a:gd name="connsiteY56" fmla="*/ 8396 h 10610"/>
                <a:gd name="connsiteX57" fmla="*/ 7349 w 10117"/>
                <a:gd name="connsiteY57" fmla="*/ 8248 h 10610"/>
                <a:gd name="connsiteX58" fmla="*/ 7518 w 10117"/>
                <a:gd name="connsiteY58" fmla="*/ 8097 h 10610"/>
                <a:gd name="connsiteX59" fmla="*/ 7686 w 10117"/>
                <a:gd name="connsiteY59" fmla="*/ 7940 h 10610"/>
                <a:gd name="connsiteX60" fmla="*/ 7842 w 10117"/>
                <a:gd name="connsiteY60" fmla="*/ 7782 h 10610"/>
                <a:gd name="connsiteX61" fmla="*/ 7995 w 10117"/>
                <a:gd name="connsiteY61" fmla="*/ 7623 h 10610"/>
                <a:gd name="connsiteX62" fmla="*/ 8150 w 10117"/>
                <a:gd name="connsiteY62" fmla="*/ 7463 h 10610"/>
                <a:gd name="connsiteX63" fmla="*/ 8293 w 10117"/>
                <a:gd name="connsiteY63" fmla="*/ 7296 h 10610"/>
                <a:gd name="connsiteX64" fmla="*/ 8433 w 10117"/>
                <a:gd name="connsiteY64" fmla="*/ 7132 h 10610"/>
                <a:gd name="connsiteX65" fmla="*/ 8569 w 10117"/>
                <a:gd name="connsiteY65" fmla="*/ 6962 h 10610"/>
                <a:gd name="connsiteX66" fmla="*/ 8695 w 10117"/>
                <a:gd name="connsiteY66" fmla="*/ 6788 h 10610"/>
                <a:gd name="connsiteX67" fmla="*/ 8819 w 10117"/>
                <a:gd name="connsiteY67" fmla="*/ 6614 h 10610"/>
                <a:gd name="connsiteX68" fmla="*/ 8945 w 10117"/>
                <a:gd name="connsiteY68" fmla="*/ 6440 h 10610"/>
                <a:gd name="connsiteX69" fmla="*/ 9063 w 10117"/>
                <a:gd name="connsiteY69" fmla="*/ 6262 h 10610"/>
                <a:gd name="connsiteX70" fmla="*/ 9167 w 10117"/>
                <a:gd name="connsiteY70" fmla="*/ 6084 h 10610"/>
                <a:gd name="connsiteX71" fmla="*/ 9274 w 10117"/>
                <a:gd name="connsiteY71" fmla="*/ 5902 h 10610"/>
                <a:gd name="connsiteX72" fmla="*/ 9369 w 10117"/>
                <a:gd name="connsiteY72" fmla="*/ 5716 h 10610"/>
                <a:gd name="connsiteX73" fmla="*/ 9465 w 10117"/>
                <a:gd name="connsiteY73" fmla="*/ 5533 h 10610"/>
                <a:gd name="connsiteX74" fmla="*/ 9549 w 10117"/>
                <a:gd name="connsiteY74" fmla="*/ 5344 h 10610"/>
                <a:gd name="connsiteX75" fmla="*/ 9630 w 10117"/>
                <a:gd name="connsiteY75" fmla="*/ 5153 h 10610"/>
                <a:gd name="connsiteX76" fmla="*/ 9704 w 10117"/>
                <a:gd name="connsiteY76" fmla="*/ 4961 h 10610"/>
                <a:gd name="connsiteX77" fmla="*/ 9777 w 10117"/>
                <a:gd name="connsiteY77" fmla="*/ 4771 h 10610"/>
                <a:gd name="connsiteX78" fmla="*/ 9839 w 10117"/>
                <a:gd name="connsiteY78" fmla="*/ 4578 h 10610"/>
                <a:gd name="connsiteX79" fmla="*/ 9898 w 10117"/>
                <a:gd name="connsiteY79" fmla="*/ 4381 h 10610"/>
                <a:gd name="connsiteX80" fmla="*/ 9635 w 10117"/>
                <a:gd name="connsiteY80" fmla="*/ 0 h 10610"/>
                <a:gd name="connsiteX81" fmla="*/ 6408 w 10117"/>
                <a:gd name="connsiteY81" fmla="*/ 1883 h 10610"/>
                <a:gd name="connsiteX82" fmla="*/ 2450 w 10117"/>
                <a:gd name="connsiteY82" fmla="*/ 1500 h 10610"/>
                <a:gd name="connsiteX0" fmla="*/ 2450 w 10117"/>
                <a:gd name="connsiteY0" fmla="*/ 1500 h 10610"/>
                <a:gd name="connsiteX1" fmla="*/ 2413 w 10117"/>
                <a:gd name="connsiteY1" fmla="*/ 3722 h 10610"/>
                <a:gd name="connsiteX2" fmla="*/ 2379 w 10117"/>
                <a:gd name="connsiteY2" fmla="*/ 3804 h 10610"/>
                <a:gd name="connsiteX3" fmla="*/ 2339 w 10117"/>
                <a:gd name="connsiteY3" fmla="*/ 3883 h 10610"/>
                <a:gd name="connsiteX4" fmla="*/ 2297 w 10117"/>
                <a:gd name="connsiteY4" fmla="*/ 3960 h 10610"/>
                <a:gd name="connsiteX5" fmla="*/ 2257 w 10117"/>
                <a:gd name="connsiteY5" fmla="*/ 4039 h 10610"/>
                <a:gd name="connsiteX6" fmla="*/ 2209 w 10117"/>
                <a:gd name="connsiteY6" fmla="*/ 4118 h 10610"/>
                <a:gd name="connsiteX7" fmla="*/ 2158 w 10117"/>
                <a:gd name="connsiteY7" fmla="*/ 4189 h 10610"/>
                <a:gd name="connsiteX8" fmla="*/ 2110 w 10117"/>
                <a:gd name="connsiteY8" fmla="*/ 4265 h 10610"/>
                <a:gd name="connsiteX9" fmla="*/ 2058 w 10117"/>
                <a:gd name="connsiteY9" fmla="*/ 4339 h 10610"/>
                <a:gd name="connsiteX10" fmla="*/ 2001 w 10117"/>
                <a:gd name="connsiteY10" fmla="*/ 4412 h 10610"/>
                <a:gd name="connsiteX11" fmla="*/ 1950 w 10117"/>
                <a:gd name="connsiteY11" fmla="*/ 4486 h 10610"/>
                <a:gd name="connsiteX12" fmla="*/ 1890 w 10117"/>
                <a:gd name="connsiteY12" fmla="*/ 4557 h 10610"/>
                <a:gd name="connsiteX13" fmla="*/ 1827 w 10117"/>
                <a:gd name="connsiteY13" fmla="*/ 4623 h 10610"/>
                <a:gd name="connsiteX14" fmla="*/ 1762 w 10117"/>
                <a:gd name="connsiteY14" fmla="*/ 4691 h 10610"/>
                <a:gd name="connsiteX15" fmla="*/ 1702 w 10117"/>
                <a:gd name="connsiteY15" fmla="*/ 4758 h 10610"/>
                <a:gd name="connsiteX16" fmla="*/ 1632 w 10117"/>
                <a:gd name="connsiteY16" fmla="*/ 4830 h 10610"/>
                <a:gd name="connsiteX17" fmla="*/ 1563 w 10117"/>
                <a:gd name="connsiteY17" fmla="*/ 4893 h 10610"/>
                <a:gd name="connsiteX18" fmla="*/ 1490 w 10117"/>
                <a:gd name="connsiteY18" fmla="*/ 4952 h 10610"/>
                <a:gd name="connsiteX19" fmla="*/ 1415 w 10117"/>
                <a:gd name="connsiteY19" fmla="*/ 5019 h 10610"/>
                <a:gd name="connsiteX20" fmla="*/ 1341 w 10117"/>
                <a:gd name="connsiteY20" fmla="*/ 5081 h 10610"/>
                <a:gd name="connsiteX21" fmla="*/ 1262 w 10117"/>
                <a:gd name="connsiteY21" fmla="*/ 5140 h 10610"/>
                <a:gd name="connsiteX22" fmla="*/ 1184 w 10117"/>
                <a:gd name="connsiteY22" fmla="*/ 5204 h 10610"/>
                <a:gd name="connsiteX23" fmla="*/ 1105 w 10117"/>
                <a:gd name="connsiteY23" fmla="*/ 5262 h 10610"/>
                <a:gd name="connsiteX24" fmla="*/ 1017 w 10117"/>
                <a:gd name="connsiteY24" fmla="*/ 5319 h 10610"/>
                <a:gd name="connsiteX25" fmla="*/ 937 w 10117"/>
                <a:gd name="connsiteY25" fmla="*/ 5373 h 10610"/>
                <a:gd name="connsiteX26" fmla="*/ 850 w 10117"/>
                <a:gd name="connsiteY26" fmla="*/ 5429 h 10610"/>
                <a:gd name="connsiteX27" fmla="*/ 765 w 10117"/>
                <a:gd name="connsiteY27" fmla="*/ 5481 h 10610"/>
                <a:gd name="connsiteX28" fmla="*/ 670 w 10117"/>
                <a:gd name="connsiteY28" fmla="*/ 5534 h 10610"/>
                <a:gd name="connsiteX29" fmla="*/ 581 w 10117"/>
                <a:gd name="connsiteY29" fmla="*/ 5583 h 10610"/>
                <a:gd name="connsiteX30" fmla="*/ 488 w 10117"/>
                <a:gd name="connsiteY30" fmla="*/ 5633 h 10610"/>
                <a:gd name="connsiteX31" fmla="*/ 393 w 10117"/>
                <a:gd name="connsiteY31" fmla="*/ 5681 h 10610"/>
                <a:gd name="connsiteX32" fmla="*/ 295 w 10117"/>
                <a:gd name="connsiteY32" fmla="*/ 5725 h 10610"/>
                <a:gd name="connsiteX33" fmla="*/ 198 w 10117"/>
                <a:gd name="connsiteY33" fmla="*/ 5773 h 10610"/>
                <a:gd name="connsiteX34" fmla="*/ 103 w 10117"/>
                <a:gd name="connsiteY34" fmla="*/ 5816 h 10610"/>
                <a:gd name="connsiteX35" fmla="*/ 0 w 10117"/>
                <a:gd name="connsiteY35" fmla="*/ 5857 h 10610"/>
                <a:gd name="connsiteX36" fmla="*/ 210 w 10117"/>
                <a:gd name="connsiteY36" fmla="*/ 8550 h 10610"/>
                <a:gd name="connsiteX37" fmla="*/ 3301 w 10117"/>
                <a:gd name="connsiteY37" fmla="*/ 10610 h 10610"/>
                <a:gd name="connsiteX38" fmla="*/ 3606 w 10117"/>
                <a:gd name="connsiteY38" fmla="*/ 10485 h 10610"/>
                <a:gd name="connsiteX39" fmla="*/ 3848 w 10117"/>
                <a:gd name="connsiteY39" fmla="*/ 10386 h 10610"/>
                <a:gd name="connsiteX40" fmla="*/ 4084 w 10117"/>
                <a:gd name="connsiteY40" fmla="*/ 10287 h 10610"/>
                <a:gd name="connsiteX41" fmla="*/ 4317 w 10117"/>
                <a:gd name="connsiteY41" fmla="*/ 10183 h 10610"/>
                <a:gd name="connsiteX42" fmla="*/ 4549 w 10117"/>
                <a:gd name="connsiteY42" fmla="*/ 10074 h 10610"/>
                <a:gd name="connsiteX43" fmla="*/ 4767 w 10117"/>
                <a:gd name="connsiteY43" fmla="*/ 9967 h 10610"/>
                <a:gd name="connsiteX44" fmla="*/ 4988 w 10117"/>
                <a:gd name="connsiteY44" fmla="*/ 9849 h 10610"/>
                <a:gd name="connsiteX45" fmla="*/ 5209 w 10117"/>
                <a:gd name="connsiteY45" fmla="*/ 9736 h 10610"/>
                <a:gd name="connsiteX46" fmla="*/ 5419 w 10117"/>
                <a:gd name="connsiteY46" fmla="*/ 9615 h 10610"/>
                <a:gd name="connsiteX47" fmla="*/ 5635 w 10117"/>
                <a:gd name="connsiteY47" fmla="*/ 9491 h 10610"/>
                <a:gd name="connsiteX48" fmla="*/ 5839 w 10117"/>
                <a:gd name="connsiteY48" fmla="*/ 9362 h 10610"/>
                <a:gd name="connsiteX49" fmla="*/ 6043 w 10117"/>
                <a:gd name="connsiteY49" fmla="*/ 9235 h 10610"/>
                <a:gd name="connsiteX50" fmla="*/ 6239 w 10117"/>
                <a:gd name="connsiteY50" fmla="*/ 9105 h 10610"/>
                <a:gd name="connsiteX51" fmla="*/ 6438 w 10117"/>
                <a:gd name="connsiteY51" fmla="*/ 8967 h 10610"/>
                <a:gd name="connsiteX52" fmla="*/ 6629 w 10117"/>
                <a:gd name="connsiteY52" fmla="*/ 8825 h 10610"/>
                <a:gd name="connsiteX53" fmla="*/ 6814 w 10117"/>
                <a:gd name="connsiteY53" fmla="*/ 8689 h 10610"/>
                <a:gd name="connsiteX54" fmla="*/ 6997 w 10117"/>
                <a:gd name="connsiteY54" fmla="*/ 8544 h 10610"/>
                <a:gd name="connsiteX55" fmla="*/ 7173 w 10117"/>
                <a:gd name="connsiteY55" fmla="*/ 8396 h 10610"/>
                <a:gd name="connsiteX56" fmla="*/ 7349 w 10117"/>
                <a:gd name="connsiteY56" fmla="*/ 8248 h 10610"/>
                <a:gd name="connsiteX57" fmla="*/ 7518 w 10117"/>
                <a:gd name="connsiteY57" fmla="*/ 8097 h 10610"/>
                <a:gd name="connsiteX58" fmla="*/ 7686 w 10117"/>
                <a:gd name="connsiteY58" fmla="*/ 7940 h 10610"/>
                <a:gd name="connsiteX59" fmla="*/ 7842 w 10117"/>
                <a:gd name="connsiteY59" fmla="*/ 7782 h 10610"/>
                <a:gd name="connsiteX60" fmla="*/ 7995 w 10117"/>
                <a:gd name="connsiteY60" fmla="*/ 7623 h 10610"/>
                <a:gd name="connsiteX61" fmla="*/ 8150 w 10117"/>
                <a:gd name="connsiteY61" fmla="*/ 7463 h 10610"/>
                <a:gd name="connsiteX62" fmla="*/ 8293 w 10117"/>
                <a:gd name="connsiteY62" fmla="*/ 7296 h 10610"/>
                <a:gd name="connsiteX63" fmla="*/ 8433 w 10117"/>
                <a:gd name="connsiteY63" fmla="*/ 7132 h 10610"/>
                <a:gd name="connsiteX64" fmla="*/ 8569 w 10117"/>
                <a:gd name="connsiteY64" fmla="*/ 6962 h 10610"/>
                <a:gd name="connsiteX65" fmla="*/ 8695 w 10117"/>
                <a:gd name="connsiteY65" fmla="*/ 6788 h 10610"/>
                <a:gd name="connsiteX66" fmla="*/ 8819 w 10117"/>
                <a:gd name="connsiteY66" fmla="*/ 6614 h 10610"/>
                <a:gd name="connsiteX67" fmla="*/ 8945 w 10117"/>
                <a:gd name="connsiteY67" fmla="*/ 6440 h 10610"/>
                <a:gd name="connsiteX68" fmla="*/ 9063 w 10117"/>
                <a:gd name="connsiteY68" fmla="*/ 6262 h 10610"/>
                <a:gd name="connsiteX69" fmla="*/ 9167 w 10117"/>
                <a:gd name="connsiteY69" fmla="*/ 6084 h 10610"/>
                <a:gd name="connsiteX70" fmla="*/ 9274 w 10117"/>
                <a:gd name="connsiteY70" fmla="*/ 5902 h 10610"/>
                <a:gd name="connsiteX71" fmla="*/ 9369 w 10117"/>
                <a:gd name="connsiteY71" fmla="*/ 5716 h 10610"/>
                <a:gd name="connsiteX72" fmla="*/ 9465 w 10117"/>
                <a:gd name="connsiteY72" fmla="*/ 5533 h 10610"/>
                <a:gd name="connsiteX73" fmla="*/ 9549 w 10117"/>
                <a:gd name="connsiteY73" fmla="*/ 5344 h 10610"/>
                <a:gd name="connsiteX74" fmla="*/ 9630 w 10117"/>
                <a:gd name="connsiteY74" fmla="*/ 5153 h 10610"/>
                <a:gd name="connsiteX75" fmla="*/ 9704 w 10117"/>
                <a:gd name="connsiteY75" fmla="*/ 4961 h 10610"/>
                <a:gd name="connsiteX76" fmla="*/ 9777 w 10117"/>
                <a:gd name="connsiteY76" fmla="*/ 4771 h 10610"/>
                <a:gd name="connsiteX77" fmla="*/ 9839 w 10117"/>
                <a:gd name="connsiteY77" fmla="*/ 4578 h 10610"/>
                <a:gd name="connsiteX78" fmla="*/ 9898 w 10117"/>
                <a:gd name="connsiteY78" fmla="*/ 4381 h 10610"/>
                <a:gd name="connsiteX79" fmla="*/ 9635 w 10117"/>
                <a:gd name="connsiteY79" fmla="*/ 0 h 10610"/>
                <a:gd name="connsiteX80" fmla="*/ 6408 w 10117"/>
                <a:gd name="connsiteY80" fmla="*/ 1883 h 10610"/>
                <a:gd name="connsiteX81" fmla="*/ 2450 w 10117"/>
                <a:gd name="connsiteY81" fmla="*/ 1500 h 10610"/>
                <a:gd name="connsiteX0" fmla="*/ 2450 w 10117"/>
                <a:gd name="connsiteY0" fmla="*/ 1500 h 10610"/>
                <a:gd name="connsiteX1" fmla="*/ 2379 w 10117"/>
                <a:gd name="connsiteY1" fmla="*/ 3804 h 10610"/>
                <a:gd name="connsiteX2" fmla="*/ 2339 w 10117"/>
                <a:gd name="connsiteY2" fmla="*/ 3883 h 10610"/>
                <a:gd name="connsiteX3" fmla="*/ 2297 w 10117"/>
                <a:gd name="connsiteY3" fmla="*/ 3960 h 10610"/>
                <a:gd name="connsiteX4" fmla="*/ 2257 w 10117"/>
                <a:gd name="connsiteY4" fmla="*/ 4039 h 10610"/>
                <a:gd name="connsiteX5" fmla="*/ 2209 w 10117"/>
                <a:gd name="connsiteY5" fmla="*/ 4118 h 10610"/>
                <a:gd name="connsiteX6" fmla="*/ 2158 w 10117"/>
                <a:gd name="connsiteY6" fmla="*/ 4189 h 10610"/>
                <a:gd name="connsiteX7" fmla="*/ 2110 w 10117"/>
                <a:gd name="connsiteY7" fmla="*/ 4265 h 10610"/>
                <a:gd name="connsiteX8" fmla="*/ 2058 w 10117"/>
                <a:gd name="connsiteY8" fmla="*/ 4339 h 10610"/>
                <a:gd name="connsiteX9" fmla="*/ 2001 w 10117"/>
                <a:gd name="connsiteY9" fmla="*/ 4412 h 10610"/>
                <a:gd name="connsiteX10" fmla="*/ 1950 w 10117"/>
                <a:gd name="connsiteY10" fmla="*/ 4486 h 10610"/>
                <a:gd name="connsiteX11" fmla="*/ 1890 w 10117"/>
                <a:gd name="connsiteY11" fmla="*/ 4557 h 10610"/>
                <a:gd name="connsiteX12" fmla="*/ 1827 w 10117"/>
                <a:gd name="connsiteY12" fmla="*/ 4623 h 10610"/>
                <a:gd name="connsiteX13" fmla="*/ 1762 w 10117"/>
                <a:gd name="connsiteY13" fmla="*/ 4691 h 10610"/>
                <a:gd name="connsiteX14" fmla="*/ 1702 w 10117"/>
                <a:gd name="connsiteY14" fmla="*/ 4758 h 10610"/>
                <a:gd name="connsiteX15" fmla="*/ 1632 w 10117"/>
                <a:gd name="connsiteY15" fmla="*/ 4830 h 10610"/>
                <a:gd name="connsiteX16" fmla="*/ 1563 w 10117"/>
                <a:gd name="connsiteY16" fmla="*/ 4893 h 10610"/>
                <a:gd name="connsiteX17" fmla="*/ 1490 w 10117"/>
                <a:gd name="connsiteY17" fmla="*/ 4952 h 10610"/>
                <a:gd name="connsiteX18" fmla="*/ 1415 w 10117"/>
                <a:gd name="connsiteY18" fmla="*/ 5019 h 10610"/>
                <a:gd name="connsiteX19" fmla="*/ 1341 w 10117"/>
                <a:gd name="connsiteY19" fmla="*/ 5081 h 10610"/>
                <a:gd name="connsiteX20" fmla="*/ 1262 w 10117"/>
                <a:gd name="connsiteY20" fmla="*/ 5140 h 10610"/>
                <a:gd name="connsiteX21" fmla="*/ 1184 w 10117"/>
                <a:gd name="connsiteY21" fmla="*/ 5204 h 10610"/>
                <a:gd name="connsiteX22" fmla="*/ 1105 w 10117"/>
                <a:gd name="connsiteY22" fmla="*/ 5262 h 10610"/>
                <a:gd name="connsiteX23" fmla="*/ 1017 w 10117"/>
                <a:gd name="connsiteY23" fmla="*/ 5319 h 10610"/>
                <a:gd name="connsiteX24" fmla="*/ 937 w 10117"/>
                <a:gd name="connsiteY24" fmla="*/ 5373 h 10610"/>
                <a:gd name="connsiteX25" fmla="*/ 850 w 10117"/>
                <a:gd name="connsiteY25" fmla="*/ 5429 h 10610"/>
                <a:gd name="connsiteX26" fmla="*/ 765 w 10117"/>
                <a:gd name="connsiteY26" fmla="*/ 5481 h 10610"/>
                <a:gd name="connsiteX27" fmla="*/ 670 w 10117"/>
                <a:gd name="connsiteY27" fmla="*/ 5534 h 10610"/>
                <a:gd name="connsiteX28" fmla="*/ 581 w 10117"/>
                <a:gd name="connsiteY28" fmla="*/ 5583 h 10610"/>
                <a:gd name="connsiteX29" fmla="*/ 488 w 10117"/>
                <a:gd name="connsiteY29" fmla="*/ 5633 h 10610"/>
                <a:gd name="connsiteX30" fmla="*/ 393 w 10117"/>
                <a:gd name="connsiteY30" fmla="*/ 5681 h 10610"/>
                <a:gd name="connsiteX31" fmla="*/ 295 w 10117"/>
                <a:gd name="connsiteY31" fmla="*/ 5725 h 10610"/>
                <a:gd name="connsiteX32" fmla="*/ 198 w 10117"/>
                <a:gd name="connsiteY32" fmla="*/ 5773 h 10610"/>
                <a:gd name="connsiteX33" fmla="*/ 103 w 10117"/>
                <a:gd name="connsiteY33" fmla="*/ 5816 h 10610"/>
                <a:gd name="connsiteX34" fmla="*/ 0 w 10117"/>
                <a:gd name="connsiteY34" fmla="*/ 5857 h 10610"/>
                <a:gd name="connsiteX35" fmla="*/ 210 w 10117"/>
                <a:gd name="connsiteY35" fmla="*/ 8550 h 10610"/>
                <a:gd name="connsiteX36" fmla="*/ 3301 w 10117"/>
                <a:gd name="connsiteY36" fmla="*/ 10610 h 10610"/>
                <a:gd name="connsiteX37" fmla="*/ 3606 w 10117"/>
                <a:gd name="connsiteY37" fmla="*/ 10485 h 10610"/>
                <a:gd name="connsiteX38" fmla="*/ 3848 w 10117"/>
                <a:gd name="connsiteY38" fmla="*/ 10386 h 10610"/>
                <a:gd name="connsiteX39" fmla="*/ 4084 w 10117"/>
                <a:gd name="connsiteY39" fmla="*/ 10287 h 10610"/>
                <a:gd name="connsiteX40" fmla="*/ 4317 w 10117"/>
                <a:gd name="connsiteY40" fmla="*/ 10183 h 10610"/>
                <a:gd name="connsiteX41" fmla="*/ 4549 w 10117"/>
                <a:gd name="connsiteY41" fmla="*/ 10074 h 10610"/>
                <a:gd name="connsiteX42" fmla="*/ 4767 w 10117"/>
                <a:gd name="connsiteY42" fmla="*/ 9967 h 10610"/>
                <a:gd name="connsiteX43" fmla="*/ 4988 w 10117"/>
                <a:gd name="connsiteY43" fmla="*/ 9849 h 10610"/>
                <a:gd name="connsiteX44" fmla="*/ 5209 w 10117"/>
                <a:gd name="connsiteY44" fmla="*/ 9736 h 10610"/>
                <a:gd name="connsiteX45" fmla="*/ 5419 w 10117"/>
                <a:gd name="connsiteY45" fmla="*/ 9615 h 10610"/>
                <a:gd name="connsiteX46" fmla="*/ 5635 w 10117"/>
                <a:gd name="connsiteY46" fmla="*/ 9491 h 10610"/>
                <a:gd name="connsiteX47" fmla="*/ 5839 w 10117"/>
                <a:gd name="connsiteY47" fmla="*/ 9362 h 10610"/>
                <a:gd name="connsiteX48" fmla="*/ 6043 w 10117"/>
                <a:gd name="connsiteY48" fmla="*/ 9235 h 10610"/>
                <a:gd name="connsiteX49" fmla="*/ 6239 w 10117"/>
                <a:gd name="connsiteY49" fmla="*/ 9105 h 10610"/>
                <a:gd name="connsiteX50" fmla="*/ 6438 w 10117"/>
                <a:gd name="connsiteY50" fmla="*/ 8967 h 10610"/>
                <a:gd name="connsiteX51" fmla="*/ 6629 w 10117"/>
                <a:gd name="connsiteY51" fmla="*/ 8825 h 10610"/>
                <a:gd name="connsiteX52" fmla="*/ 6814 w 10117"/>
                <a:gd name="connsiteY52" fmla="*/ 8689 h 10610"/>
                <a:gd name="connsiteX53" fmla="*/ 6997 w 10117"/>
                <a:gd name="connsiteY53" fmla="*/ 8544 h 10610"/>
                <a:gd name="connsiteX54" fmla="*/ 7173 w 10117"/>
                <a:gd name="connsiteY54" fmla="*/ 8396 h 10610"/>
                <a:gd name="connsiteX55" fmla="*/ 7349 w 10117"/>
                <a:gd name="connsiteY55" fmla="*/ 8248 h 10610"/>
                <a:gd name="connsiteX56" fmla="*/ 7518 w 10117"/>
                <a:gd name="connsiteY56" fmla="*/ 8097 h 10610"/>
                <a:gd name="connsiteX57" fmla="*/ 7686 w 10117"/>
                <a:gd name="connsiteY57" fmla="*/ 7940 h 10610"/>
                <a:gd name="connsiteX58" fmla="*/ 7842 w 10117"/>
                <a:gd name="connsiteY58" fmla="*/ 7782 h 10610"/>
                <a:gd name="connsiteX59" fmla="*/ 7995 w 10117"/>
                <a:gd name="connsiteY59" fmla="*/ 7623 h 10610"/>
                <a:gd name="connsiteX60" fmla="*/ 8150 w 10117"/>
                <a:gd name="connsiteY60" fmla="*/ 7463 h 10610"/>
                <a:gd name="connsiteX61" fmla="*/ 8293 w 10117"/>
                <a:gd name="connsiteY61" fmla="*/ 7296 h 10610"/>
                <a:gd name="connsiteX62" fmla="*/ 8433 w 10117"/>
                <a:gd name="connsiteY62" fmla="*/ 7132 h 10610"/>
                <a:gd name="connsiteX63" fmla="*/ 8569 w 10117"/>
                <a:gd name="connsiteY63" fmla="*/ 6962 h 10610"/>
                <a:gd name="connsiteX64" fmla="*/ 8695 w 10117"/>
                <a:gd name="connsiteY64" fmla="*/ 6788 h 10610"/>
                <a:gd name="connsiteX65" fmla="*/ 8819 w 10117"/>
                <a:gd name="connsiteY65" fmla="*/ 6614 h 10610"/>
                <a:gd name="connsiteX66" fmla="*/ 8945 w 10117"/>
                <a:gd name="connsiteY66" fmla="*/ 6440 h 10610"/>
                <a:gd name="connsiteX67" fmla="*/ 9063 w 10117"/>
                <a:gd name="connsiteY67" fmla="*/ 6262 h 10610"/>
                <a:gd name="connsiteX68" fmla="*/ 9167 w 10117"/>
                <a:gd name="connsiteY68" fmla="*/ 6084 h 10610"/>
                <a:gd name="connsiteX69" fmla="*/ 9274 w 10117"/>
                <a:gd name="connsiteY69" fmla="*/ 5902 h 10610"/>
                <a:gd name="connsiteX70" fmla="*/ 9369 w 10117"/>
                <a:gd name="connsiteY70" fmla="*/ 5716 h 10610"/>
                <a:gd name="connsiteX71" fmla="*/ 9465 w 10117"/>
                <a:gd name="connsiteY71" fmla="*/ 5533 h 10610"/>
                <a:gd name="connsiteX72" fmla="*/ 9549 w 10117"/>
                <a:gd name="connsiteY72" fmla="*/ 5344 h 10610"/>
                <a:gd name="connsiteX73" fmla="*/ 9630 w 10117"/>
                <a:gd name="connsiteY73" fmla="*/ 5153 h 10610"/>
                <a:gd name="connsiteX74" fmla="*/ 9704 w 10117"/>
                <a:gd name="connsiteY74" fmla="*/ 4961 h 10610"/>
                <a:gd name="connsiteX75" fmla="*/ 9777 w 10117"/>
                <a:gd name="connsiteY75" fmla="*/ 4771 h 10610"/>
                <a:gd name="connsiteX76" fmla="*/ 9839 w 10117"/>
                <a:gd name="connsiteY76" fmla="*/ 4578 h 10610"/>
                <a:gd name="connsiteX77" fmla="*/ 9898 w 10117"/>
                <a:gd name="connsiteY77" fmla="*/ 4381 h 10610"/>
                <a:gd name="connsiteX78" fmla="*/ 9635 w 10117"/>
                <a:gd name="connsiteY78" fmla="*/ 0 h 10610"/>
                <a:gd name="connsiteX79" fmla="*/ 6408 w 10117"/>
                <a:gd name="connsiteY79" fmla="*/ 1883 h 10610"/>
                <a:gd name="connsiteX80" fmla="*/ 2450 w 10117"/>
                <a:gd name="connsiteY80" fmla="*/ 1500 h 10610"/>
                <a:gd name="connsiteX0" fmla="*/ 2450 w 10117"/>
                <a:gd name="connsiteY0" fmla="*/ 1500 h 10610"/>
                <a:gd name="connsiteX1" fmla="*/ 2339 w 10117"/>
                <a:gd name="connsiteY1" fmla="*/ 3883 h 10610"/>
                <a:gd name="connsiteX2" fmla="*/ 2297 w 10117"/>
                <a:gd name="connsiteY2" fmla="*/ 3960 h 10610"/>
                <a:gd name="connsiteX3" fmla="*/ 2257 w 10117"/>
                <a:gd name="connsiteY3" fmla="*/ 4039 h 10610"/>
                <a:gd name="connsiteX4" fmla="*/ 2209 w 10117"/>
                <a:gd name="connsiteY4" fmla="*/ 4118 h 10610"/>
                <a:gd name="connsiteX5" fmla="*/ 2158 w 10117"/>
                <a:gd name="connsiteY5" fmla="*/ 4189 h 10610"/>
                <a:gd name="connsiteX6" fmla="*/ 2110 w 10117"/>
                <a:gd name="connsiteY6" fmla="*/ 4265 h 10610"/>
                <a:gd name="connsiteX7" fmla="*/ 2058 w 10117"/>
                <a:gd name="connsiteY7" fmla="*/ 4339 h 10610"/>
                <a:gd name="connsiteX8" fmla="*/ 2001 w 10117"/>
                <a:gd name="connsiteY8" fmla="*/ 4412 h 10610"/>
                <a:gd name="connsiteX9" fmla="*/ 1950 w 10117"/>
                <a:gd name="connsiteY9" fmla="*/ 4486 h 10610"/>
                <a:gd name="connsiteX10" fmla="*/ 1890 w 10117"/>
                <a:gd name="connsiteY10" fmla="*/ 4557 h 10610"/>
                <a:gd name="connsiteX11" fmla="*/ 1827 w 10117"/>
                <a:gd name="connsiteY11" fmla="*/ 4623 h 10610"/>
                <a:gd name="connsiteX12" fmla="*/ 1762 w 10117"/>
                <a:gd name="connsiteY12" fmla="*/ 4691 h 10610"/>
                <a:gd name="connsiteX13" fmla="*/ 1702 w 10117"/>
                <a:gd name="connsiteY13" fmla="*/ 4758 h 10610"/>
                <a:gd name="connsiteX14" fmla="*/ 1632 w 10117"/>
                <a:gd name="connsiteY14" fmla="*/ 4830 h 10610"/>
                <a:gd name="connsiteX15" fmla="*/ 1563 w 10117"/>
                <a:gd name="connsiteY15" fmla="*/ 4893 h 10610"/>
                <a:gd name="connsiteX16" fmla="*/ 1490 w 10117"/>
                <a:gd name="connsiteY16" fmla="*/ 4952 h 10610"/>
                <a:gd name="connsiteX17" fmla="*/ 1415 w 10117"/>
                <a:gd name="connsiteY17" fmla="*/ 5019 h 10610"/>
                <a:gd name="connsiteX18" fmla="*/ 1341 w 10117"/>
                <a:gd name="connsiteY18" fmla="*/ 5081 h 10610"/>
                <a:gd name="connsiteX19" fmla="*/ 1262 w 10117"/>
                <a:gd name="connsiteY19" fmla="*/ 5140 h 10610"/>
                <a:gd name="connsiteX20" fmla="*/ 1184 w 10117"/>
                <a:gd name="connsiteY20" fmla="*/ 5204 h 10610"/>
                <a:gd name="connsiteX21" fmla="*/ 1105 w 10117"/>
                <a:gd name="connsiteY21" fmla="*/ 5262 h 10610"/>
                <a:gd name="connsiteX22" fmla="*/ 1017 w 10117"/>
                <a:gd name="connsiteY22" fmla="*/ 5319 h 10610"/>
                <a:gd name="connsiteX23" fmla="*/ 937 w 10117"/>
                <a:gd name="connsiteY23" fmla="*/ 5373 h 10610"/>
                <a:gd name="connsiteX24" fmla="*/ 850 w 10117"/>
                <a:gd name="connsiteY24" fmla="*/ 5429 h 10610"/>
                <a:gd name="connsiteX25" fmla="*/ 765 w 10117"/>
                <a:gd name="connsiteY25" fmla="*/ 5481 h 10610"/>
                <a:gd name="connsiteX26" fmla="*/ 670 w 10117"/>
                <a:gd name="connsiteY26" fmla="*/ 5534 h 10610"/>
                <a:gd name="connsiteX27" fmla="*/ 581 w 10117"/>
                <a:gd name="connsiteY27" fmla="*/ 5583 h 10610"/>
                <a:gd name="connsiteX28" fmla="*/ 488 w 10117"/>
                <a:gd name="connsiteY28" fmla="*/ 5633 h 10610"/>
                <a:gd name="connsiteX29" fmla="*/ 393 w 10117"/>
                <a:gd name="connsiteY29" fmla="*/ 5681 h 10610"/>
                <a:gd name="connsiteX30" fmla="*/ 295 w 10117"/>
                <a:gd name="connsiteY30" fmla="*/ 5725 h 10610"/>
                <a:gd name="connsiteX31" fmla="*/ 198 w 10117"/>
                <a:gd name="connsiteY31" fmla="*/ 5773 h 10610"/>
                <a:gd name="connsiteX32" fmla="*/ 103 w 10117"/>
                <a:gd name="connsiteY32" fmla="*/ 5816 h 10610"/>
                <a:gd name="connsiteX33" fmla="*/ 0 w 10117"/>
                <a:gd name="connsiteY33" fmla="*/ 5857 h 10610"/>
                <a:gd name="connsiteX34" fmla="*/ 210 w 10117"/>
                <a:gd name="connsiteY34" fmla="*/ 8550 h 10610"/>
                <a:gd name="connsiteX35" fmla="*/ 3301 w 10117"/>
                <a:gd name="connsiteY35" fmla="*/ 10610 h 10610"/>
                <a:gd name="connsiteX36" fmla="*/ 3606 w 10117"/>
                <a:gd name="connsiteY36" fmla="*/ 10485 h 10610"/>
                <a:gd name="connsiteX37" fmla="*/ 3848 w 10117"/>
                <a:gd name="connsiteY37" fmla="*/ 10386 h 10610"/>
                <a:gd name="connsiteX38" fmla="*/ 4084 w 10117"/>
                <a:gd name="connsiteY38" fmla="*/ 10287 h 10610"/>
                <a:gd name="connsiteX39" fmla="*/ 4317 w 10117"/>
                <a:gd name="connsiteY39" fmla="*/ 10183 h 10610"/>
                <a:gd name="connsiteX40" fmla="*/ 4549 w 10117"/>
                <a:gd name="connsiteY40" fmla="*/ 10074 h 10610"/>
                <a:gd name="connsiteX41" fmla="*/ 4767 w 10117"/>
                <a:gd name="connsiteY41" fmla="*/ 9967 h 10610"/>
                <a:gd name="connsiteX42" fmla="*/ 4988 w 10117"/>
                <a:gd name="connsiteY42" fmla="*/ 9849 h 10610"/>
                <a:gd name="connsiteX43" fmla="*/ 5209 w 10117"/>
                <a:gd name="connsiteY43" fmla="*/ 9736 h 10610"/>
                <a:gd name="connsiteX44" fmla="*/ 5419 w 10117"/>
                <a:gd name="connsiteY44" fmla="*/ 9615 h 10610"/>
                <a:gd name="connsiteX45" fmla="*/ 5635 w 10117"/>
                <a:gd name="connsiteY45" fmla="*/ 9491 h 10610"/>
                <a:gd name="connsiteX46" fmla="*/ 5839 w 10117"/>
                <a:gd name="connsiteY46" fmla="*/ 9362 h 10610"/>
                <a:gd name="connsiteX47" fmla="*/ 6043 w 10117"/>
                <a:gd name="connsiteY47" fmla="*/ 9235 h 10610"/>
                <a:gd name="connsiteX48" fmla="*/ 6239 w 10117"/>
                <a:gd name="connsiteY48" fmla="*/ 9105 h 10610"/>
                <a:gd name="connsiteX49" fmla="*/ 6438 w 10117"/>
                <a:gd name="connsiteY49" fmla="*/ 8967 h 10610"/>
                <a:gd name="connsiteX50" fmla="*/ 6629 w 10117"/>
                <a:gd name="connsiteY50" fmla="*/ 8825 h 10610"/>
                <a:gd name="connsiteX51" fmla="*/ 6814 w 10117"/>
                <a:gd name="connsiteY51" fmla="*/ 8689 h 10610"/>
                <a:gd name="connsiteX52" fmla="*/ 6997 w 10117"/>
                <a:gd name="connsiteY52" fmla="*/ 8544 h 10610"/>
                <a:gd name="connsiteX53" fmla="*/ 7173 w 10117"/>
                <a:gd name="connsiteY53" fmla="*/ 8396 h 10610"/>
                <a:gd name="connsiteX54" fmla="*/ 7349 w 10117"/>
                <a:gd name="connsiteY54" fmla="*/ 8248 h 10610"/>
                <a:gd name="connsiteX55" fmla="*/ 7518 w 10117"/>
                <a:gd name="connsiteY55" fmla="*/ 8097 h 10610"/>
                <a:gd name="connsiteX56" fmla="*/ 7686 w 10117"/>
                <a:gd name="connsiteY56" fmla="*/ 7940 h 10610"/>
                <a:gd name="connsiteX57" fmla="*/ 7842 w 10117"/>
                <a:gd name="connsiteY57" fmla="*/ 7782 h 10610"/>
                <a:gd name="connsiteX58" fmla="*/ 7995 w 10117"/>
                <a:gd name="connsiteY58" fmla="*/ 7623 h 10610"/>
                <a:gd name="connsiteX59" fmla="*/ 8150 w 10117"/>
                <a:gd name="connsiteY59" fmla="*/ 7463 h 10610"/>
                <a:gd name="connsiteX60" fmla="*/ 8293 w 10117"/>
                <a:gd name="connsiteY60" fmla="*/ 7296 h 10610"/>
                <a:gd name="connsiteX61" fmla="*/ 8433 w 10117"/>
                <a:gd name="connsiteY61" fmla="*/ 7132 h 10610"/>
                <a:gd name="connsiteX62" fmla="*/ 8569 w 10117"/>
                <a:gd name="connsiteY62" fmla="*/ 6962 h 10610"/>
                <a:gd name="connsiteX63" fmla="*/ 8695 w 10117"/>
                <a:gd name="connsiteY63" fmla="*/ 6788 h 10610"/>
                <a:gd name="connsiteX64" fmla="*/ 8819 w 10117"/>
                <a:gd name="connsiteY64" fmla="*/ 6614 h 10610"/>
                <a:gd name="connsiteX65" fmla="*/ 8945 w 10117"/>
                <a:gd name="connsiteY65" fmla="*/ 6440 h 10610"/>
                <a:gd name="connsiteX66" fmla="*/ 9063 w 10117"/>
                <a:gd name="connsiteY66" fmla="*/ 6262 h 10610"/>
                <a:gd name="connsiteX67" fmla="*/ 9167 w 10117"/>
                <a:gd name="connsiteY67" fmla="*/ 6084 h 10610"/>
                <a:gd name="connsiteX68" fmla="*/ 9274 w 10117"/>
                <a:gd name="connsiteY68" fmla="*/ 5902 h 10610"/>
                <a:gd name="connsiteX69" fmla="*/ 9369 w 10117"/>
                <a:gd name="connsiteY69" fmla="*/ 5716 h 10610"/>
                <a:gd name="connsiteX70" fmla="*/ 9465 w 10117"/>
                <a:gd name="connsiteY70" fmla="*/ 5533 h 10610"/>
                <a:gd name="connsiteX71" fmla="*/ 9549 w 10117"/>
                <a:gd name="connsiteY71" fmla="*/ 5344 h 10610"/>
                <a:gd name="connsiteX72" fmla="*/ 9630 w 10117"/>
                <a:gd name="connsiteY72" fmla="*/ 5153 h 10610"/>
                <a:gd name="connsiteX73" fmla="*/ 9704 w 10117"/>
                <a:gd name="connsiteY73" fmla="*/ 4961 h 10610"/>
                <a:gd name="connsiteX74" fmla="*/ 9777 w 10117"/>
                <a:gd name="connsiteY74" fmla="*/ 4771 h 10610"/>
                <a:gd name="connsiteX75" fmla="*/ 9839 w 10117"/>
                <a:gd name="connsiteY75" fmla="*/ 4578 h 10610"/>
                <a:gd name="connsiteX76" fmla="*/ 9898 w 10117"/>
                <a:gd name="connsiteY76" fmla="*/ 4381 h 10610"/>
                <a:gd name="connsiteX77" fmla="*/ 9635 w 10117"/>
                <a:gd name="connsiteY77" fmla="*/ 0 h 10610"/>
                <a:gd name="connsiteX78" fmla="*/ 6408 w 10117"/>
                <a:gd name="connsiteY78" fmla="*/ 1883 h 10610"/>
                <a:gd name="connsiteX79" fmla="*/ 2450 w 10117"/>
                <a:gd name="connsiteY79" fmla="*/ 1500 h 10610"/>
                <a:gd name="connsiteX0" fmla="*/ 2450 w 10117"/>
                <a:gd name="connsiteY0" fmla="*/ 1500 h 10610"/>
                <a:gd name="connsiteX1" fmla="*/ 2297 w 10117"/>
                <a:gd name="connsiteY1" fmla="*/ 3960 h 10610"/>
                <a:gd name="connsiteX2" fmla="*/ 2257 w 10117"/>
                <a:gd name="connsiteY2" fmla="*/ 4039 h 10610"/>
                <a:gd name="connsiteX3" fmla="*/ 2209 w 10117"/>
                <a:gd name="connsiteY3" fmla="*/ 4118 h 10610"/>
                <a:gd name="connsiteX4" fmla="*/ 2158 w 10117"/>
                <a:gd name="connsiteY4" fmla="*/ 4189 h 10610"/>
                <a:gd name="connsiteX5" fmla="*/ 2110 w 10117"/>
                <a:gd name="connsiteY5" fmla="*/ 4265 h 10610"/>
                <a:gd name="connsiteX6" fmla="*/ 2058 w 10117"/>
                <a:gd name="connsiteY6" fmla="*/ 4339 h 10610"/>
                <a:gd name="connsiteX7" fmla="*/ 2001 w 10117"/>
                <a:gd name="connsiteY7" fmla="*/ 4412 h 10610"/>
                <a:gd name="connsiteX8" fmla="*/ 1950 w 10117"/>
                <a:gd name="connsiteY8" fmla="*/ 4486 h 10610"/>
                <a:gd name="connsiteX9" fmla="*/ 1890 w 10117"/>
                <a:gd name="connsiteY9" fmla="*/ 4557 h 10610"/>
                <a:gd name="connsiteX10" fmla="*/ 1827 w 10117"/>
                <a:gd name="connsiteY10" fmla="*/ 4623 h 10610"/>
                <a:gd name="connsiteX11" fmla="*/ 1762 w 10117"/>
                <a:gd name="connsiteY11" fmla="*/ 4691 h 10610"/>
                <a:gd name="connsiteX12" fmla="*/ 1702 w 10117"/>
                <a:gd name="connsiteY12" fmla="*/ 4758 h 10610"/>
                <a:gd name="connsiteX13" fmla="*/ 1632 w 10117"/>
                <a:gd name="connsiteY13" fmla="*/ 4830 h 10610"/>
                <a:gd name="connsiteX14" fmla="*/ 1563 w 10117"/>
                <a:gd name="connsiteY14" fmla="*/ 4893 h 10610"/>
                <a:gd name="connsiteX15" fmla="*/ 1490 w 10117"/>
                <a:gd name="connsiteY15" fmla="*/ 4952 h 10610"/>
                <a:gd name="connsiteX16" fmla="*/ 1415 w 10117"/>
                <a:gd name="connsiteY16" fmla="*/ 5019 h 10610"/>
                <a:gd name="connsiteX17" fmla="*/ 1341 w 10117"/>
                <a:gd name="connsiteY17" fmla="*/ 5081 h 10610"/>
                <a:gd name="connsiteX18" fmla="*/ 1262 w 10117"/>
                <a:gd name="connsiteY18" fmla="*/ 5140 h 10610"/>
                <a:gd name="connsiteX19" fmla="*/ 1184 w 10117"/>
                <a:gd name="connsiteY19" fmla="*/ 5204 h 10610"/>
                <a:gd name="connsiteX20" fmla="*/ 1105 w 10117"/>
                <a:gd name="connsiteY20" fmla="*/ 5262 h 10610"/>
                <a:gd name="connsiteX21" fmla="*/ 1017 w 10117"/>
                <a:gd name="connsiteY21" fmla="*/ 5319 h 10610"/>
                <a:gd name="connsiteX22" fmla="*/ 937 w 10117"/>
                <a:gd name="connsiteY22" fmla="*/ 5373 h 10610"/>
                <a:gd name="connsiteX23" fmla="*/ 850 w 10117"/>
                <a:gd name="connsiteY23" fmla="*/ 5429 h 10610"/>
                <a:gd name="connsiteX24" fmla="*/ 765 w 10117"/>
                <a:gd name="connsiteY24" fmla="*/ 5481 h 10610"/>
                <a:gd name="connsiteX25" fmla="*/ 670 w 10117"/>
                <a:gd name="connsiteY25" fmla="*/ 5534 h 10610"/>
                <a:gd name="connsiteX26" fmla="*/ 581 w 10117"/>
                <a:gd name="connsiteY26" fmla="*/ 5583 h 10610"/>
                <a:gd name="connsiteX27" fmla="*/ 488 w 10117"/>
                <a:gd name="connsiteY27" fmla="*/ 5633 h 10610"/>
                <a:gd name="connsiteX28" fmla="*/ 393 w 10117"/>
                <a:gd name="connsiteY28" fmla="*/ 5681 h 10610"/>
                <a:gd name="connsiteX29" fmla="*/ 295 w 10117"/>
                <a:gd name="connsiteY29" fmla="*/ 5725 h 10610"/>
                <a:gd name="connsiteX30" fmla="*/ 198 w 10117"/>
                <a:gd name="connsiteY30" fmla="*/ 5773 h 10610"/>
                <a:gd name="connsiteX31" fmla="*/ 103 w 10117"/>
                <a:gd name="connsiteY31" fmla="*/ 5816 h 10610"/>
                <a:gd name="connsiteX32" fmla="*/ 0 w 10117"/>
                <a:gd name="connsiteY32" fmla="*/ 5857 h 10610"/>
                <a:gd name="connsiteX33" fmla="*/ 210 w 10117"/>
                <a:gd name="connsiteY33" fmla="*/ 8550 h 10610"/>
                <a:gd name="connsiteX34" fmla="*/ 3301 w 10117"/>
                <a:gd name="connsiteY34" fmla="*/ 10610 h 10610"/>
                <a:gd name="connsiteX35" fmla="*/ 3606 w 10117"/>
                <a:gd name="connsiteY35" fmla="*/ 10485 h 10610"/>
                <a:gd name="connsiteX36" fmla="*/ 3848 w 10117"/>
                <a:gd name="connsiteY36" fmla="*/ 10386 h 10610"/>
                <a:gd name="connsiteX37" fmla="*/ 4084 w 10117"/>
                <a:gd name="connsiteY37" fmla="*/ 10287 h 10610"/>
                <a:gd name="connsiteX38" fmla="*/ 4317 w 10117"/>
                <a:gd name="connsiteY38" fmla="*/ 10183 h 10610"/>
                <a:gd name="connsiteX39" fmla="*/ 4549 w 10117"/>
                <a:gd name="connsiteY39" fmla="*/ 10074 h 10610"/>
                <a:gd name="connsiteX40" fmla="*/ 4767 w 10117"/>
                <a:gd name="connsiteY40" fmla="*/ 9967 h 10610"/>
                <a:gd name="connsiteX41" fmla="*/ 4988 w 10117"/>
                <a:gd name="connsiteY41" fmla="*/ 9849 h 10610"/>
                <a:gd name="connsiteX42" fmla="*/ 5209 w 10117"/>
                <a:gd name="connsiteY42" fmla="*/ 9736 h 10610"/>
                <a:gd name="connsiteX43" fmla="*/ 5419 w 10117"/>
                <a:gd name="connsiteY43" fmla="*/ 9615 h 10610"/>
                <a:gd name="connsiteX44" fmla="*/ 5635 w 10117"/>
                <a:gd name="connsiteY44" fmla="*/ 9491 h 10610"/>
                <a:gd name="connsiteX45" fmla="*/ 5839 w 10117"/>
                <a:gd name="connsiteY45" fmla="*/ 9362 h 10610"/>
                <a:gd name="connsiteX46" fmla="*/ 6043 w 10117"/>
                <a:gd name="connsiteY46" fmla="*/ 9235 h 10610"/>
                <a:gd name="connsiteX47" fmla="*/ 6239 w 10117"/>
                <a:gd name="connsiteY47" fmla="*/ 9105 h 10610"/>
                <a:gd name="connsiteX48" fmla="*/ 6438 w 10117"/>
                <a:gd name="connsiteY48" fmla="*/ 8967 h 10610"/>
                <a:gd name="connsiteX49" fmla="*/ 6629 w 10117"/>
                <a:gd name="connsiteY49" fmla="*/ 8825 h 10610"/>
                <a:gd name="connsiteX50" fmla="*/ 6814 w 10117"/>
                <a:gd name="connsiteY50" fmla="*/ 8689 h 10610"/>
                <a:gd name="connsiteX51" fmla="*/ 6997 w 10117"/>
                <a:gd name="connsiteY51" fmla="*/ 8544 h 10610"/>
                <a:gd name="connsiteX52" fmla="*/ 7173 w 10117"/>
                <a:gd name="connsiteY52" fmla="*/ 8396 h 10610"/>
                <a:gd name="connsiteX53" fmla="*/ 7349 w 10117"/>
                <a:gd name="connsiteY53" fmla="*/ 8248 h 10610"/>
                <a:gd name="connsiteX54" fmla="*/ 7518 w 10117"/>
                <a:gd name="connsiteY54" fmla="*/ 8097 h 10610"/>
                <a:gd name="connsiteX55" fmla="*/ 7686 w 10117"/>
                <a:gd name="connsiteY55" fmla="*/ 7940 h 10610"/>
                <a:gd name="connsiteX56" fmla="*/ 7842 w 10117"/>
                <a:gd name="connsiteY56" fmla="*/ 7782 h 10610"/>
                <a:gd name="connsiteX57" fmla="*/ 7995 w 10117"/>
                <a:gd name="connsiteY57" fmla="*/ 7623 h 10610"/>
                <a:gd name="connsiteX58" fmla="*/ 8150 w 10117"/>
                <a:gd name="connsiteY58" fmla="*/ 7463 h 10610"/>
                <a:gd name="connsiteX59" fmla="*/ 8293 w 10117"/>
                <a:gd name="connsiteY59" fmla="*/ 7296 h 10610"/>
                <a:gd name="connsiteX60" fmla="*/ 8433 w 10117"/>
                <a:gd name="connsiteY60" fmla="*/ 7132 h 10610"/>
                <a:gd name="connsiteX61" fmla="*/ 8569 w 10117"/>
                <a:gd name="connsiteY61" fmla="*/ 6962 h 10610"/>
                <a:gd name="connsiteX62" fmla="*/ 8695 w 10117"/>
                <a:gd name="connsiteY62" fmla="*/ 6788 h 10610"/>
                <a:gd name="connsiteX63" fmla="*/ 8819 w 10117"/>
                <a:gd name="connsiteY63" fmla="*/ 6614 h 10610"/>
                <a:gd name="connsiteX64" fmla="*/ 8945 w 10117"/>
                <a:gd name="connsiteY64" fmla="*/ 6440 h 10610"/>
                <a:gd name="connsiteX65" fmla="*/ 9063 w 10117"/>
                <a:gd name="connsiteY65" fmla="*/ 6262 h 10610"/>
                <a:gd name="connsiteX66" fmla="*/ 9167 w 10117"/>
                <a:gd name="connsiteY66" fmla="*/ 6084 h 10610"/>
                <a:gd name="connsiteX67" fmla="*/ 9274 w 10117"/>
                <a:gd name="connsiteY67" fmla="*/ 5902 h 10610"/>
                <a:gd name="connsiteX68" fmla="*/ 9369 w 10117"/>
                <a:gd name="connsiteY68" fmla="*/ 5716 h 10610"/>
                <a:gd name="connsiteX69" fmla="*/ 9465 w 10117"/>
                <a:gd name="connsiteY69" fmla="*/ 5533 h 10610"/>
                <a:gd name="connsiteX70" fmla="*/ 9549 w 10117"/>
                <a:gd name="connsiteY70" fmla="*/ 5344 h 10610"/>
                <a:gd name="connsiteX71" fmla="*/ 9630 w 10117"/>
                <a:gd name="connsiteY71" fmla="*/ 5153 h 10610"/>
                <a:gd name="connsiteX72" fmla="*/ 9704 w 10117"/>
                <a:gd name="connsiteY72" fmla="*/ 4961 h 10610"/>
                <a:gd name="connsiteX73" fmla="*/ 9777 w 10117"/>
                <a:gd name="connsiteY73" fmla="*/ 4771 h 10610"/>
                <a:gd name="connsiteX74" fmla="*/ 9839 w 10117"/>
                <a:gd name="connsiteY74" fmla="*/ 4578 h 10610"/>
                <a:gd name="connsiteX75" fmla="*/ 9898 w 10117"/>
                <a:gd name="connsiteY75" fmla="*/ 4381 h 10610"/>
                <a:gd name="connsiteX76" fmla="*/ 9635 w 10117"/>
                <a:gd name="connsiteY76" fmla="*/ 0 h 10610"/>
                <a:gd name="connsiteX77" fmla="*/ 6408 w 10117"/>
                <a:gd name="connsiteY77" fmla="*/ 1883 h 10610"/>
                <a:gd name="connsiteX78" fmla="*/ 2450 w 10117"/>
                <a:gd name="connsiteY78" fmla="*/ 1500 h 10610"/>
                <a:gd name="connsiteX0" fmla="*/ 2450 w 10117"/>
                <a:gd name="connsiteY0" fmla="*/ 1500 h 10610"/>
                <a:gd name="connsiteX1" fmla="*/ 2257 w 10117"/>
                <a:gd name="connsiteY1" fmla="*/ 4039 h 10610"/>
                <a:gd name="connsiteX2" fmla="*/ 2209 w 10117"/>
                <a:gd name="connsiteY2" fmla="*/ 4118 h 10610"/>
                <a:gd name="connsiteX3" fmla="*/ 2158 w 10117"/>
                <a:gd name="connsiteY3" fmla="*/ 4189 h 10610"/>
                <a:gd name="connsiteX4" fmla="*/ 2110 w 10117"/>
                <a:gd name="connsiteY4" fmla="*/ 4265 h 10610"/>
                <a:gd name="connsiteX5" fmla="*/ 2058 w 10117"/>
                <a:gd name="connsiteY5" fmla="*/ 4339 h 10610"/>
                <a:gd name="connsiteX6" fmla="*/ 2001 w 10117"/>
                <a:gd name="connsiteY6" fmla="*/ 4412 h 10610"/>
                <a:gd name="connsiteX7" fmla="*/ 1950 w 10117"/>
                <a:gd name="connsiteY7" fmla="*/ 4486 h 10610"/>
                <a:gd name="connsiteX8" fmla="*/ 1890 w 10117"/>
                <a:gd name="connsiteY8" fmla="*/ 4557 h 10610"/>
                <a:gd name="connsiteX9" fmla="*/ 1827 w 10117"/>
                <a:gd name="connsiteY9" fmla="*/ 4623 h 10610"/>
                <a:gd name="connsiteX10" fmla="*/ 1762 w 10117"/>
                <a:gd name="connsiteY10" fmla="*/ 4691 h 10610"/>
                <a:gd name="connsiteX11" fmla="*/ 1702 w 10117"/>
                <a:gd name="connsiteY11" fmla="*/ 4758 h 10610"/>
                <a:gd name="connsiteX12" fmla="*/ 1632 w 10117"/>
                <a:gd name="connsiteY12" fmla="*/ 4830 h 10610"/>
                <a:gd name="connsiteX13" fmla="*/ 1563 w 10117"/>
                <a:gd name="connsiteY13" fmla="*/ 4893 h 10610"/>
                <a:gd name="connsiteX14" fmla="*/ 1490 w 10117"/>
                <a:gd name="connsiteY14" fmla="*/ 4952 h 10610"/>
                <a:gd name="connsiteX15" fmla="*/ 1415 w 10117"/>
                <a:gd name="connsiteY15" fmla="*/ 5019 h 10610"/>
                <a:gd name="connsiteX16" fmla="*/ 1341 w 10117"/>
                <a:gd name="connsiteY16" fmla="*/ 5081 h 10610"/>
                <a:gd name="connsiteX17" fmla="*/ 1262 w 10117"/>
                <a:gd name="connsiteY17" fmla="*/ 5140 h 10610"/>
                <a:gd name="connsiteX18" fmla="*/ 1184 w 10117"/>
                <a:gd name="connsiteY18" fmla="*/ 5204 h 10610"/>
                <a:gd name="connsiteX19" fmla="*/ 1105 w 10117"/>
                <a:gd name="connsiteY19" fmla="*/ 5262 h 10610"/>
                <a:gd name="connsiteX20" fmla="*/ 1017 w 10117"/>
                <a:gd name="connsiteY20" fmla="*/ 5319 h 10610"/>
                <a:gd name="connsiteX21" fmla="*/ 937 w 10117"/>
                <a:gd name="connsiteY21" fmla="*/ 5373 h 10610"/>
                <a:gd name="connsiteX22" fmla="*/ 850 w 10117"/>
                <a:gd name="connsiteY22" fmla="*/ 5429 h 10610"/>
                <a:gd name="connsiteX23" fmla="*/ 765 w 10117"/>
                <a:gd name="connsiteY23" fmla="*/ 5481 h 10610"/>
                <a:gd name="connsiteX24" fmla="*/ 670 w 10117"/>
                <a:gd name="connsiteY24" fmla="*/ 5534 h 10610"/>
                <a:gd name="connsiteX25" fmla="*/ 581 w 10117"/>
                <a:gd name="connsiteY25" fmla="*/ 5583 h 10610"/>
                <a:gd name="connsiteX26" fmla="*/ 488 w 10117"/>
                <a:gd name="connsiteY26" fmla="*/ 5633 h 10610"/>
                <a:gd name="connsiteX27" fmla="*/ 393 w 10117"/>
                <a:gd name="connsiteY27" fmla="*/ 5681 h 10610"/>
                <a:gd name="connsiteX28" fmla="*/ 295 w 10117"/>
                <a:gd name="connsiteY28" fmla="*/ 5725 h 10610"/>
                <a:gd name="connsiteX29" fmla="*/ 198 w 10117"/>
                <a:gd name="connsiteY29" fmla="*/ 5773 h 10610"/>
                <a:gd name="connsiteX30" fmla="*/ 103 w 10117"/>
                <a:gd name="connsiteY30" fmla="*/ 5816 h 10610"/>
                <a:gd name="connsiteX31" fmla="*/ 0 w 10117"/>
                <a:gd name="connsiteY31" fmla="*/ 5857 h 10610"/>
                <a:gd name="connsiteX32" fmla="*/ 210 w 10117"/>
                <a:gd name="connsiteY32" fmla="*/ 8550 h 10610"/>
                <a:gd name="connsiteX33" fmla="*/ 3301 w 10117"/>
                <a:gd name="connsiteY33" fmla="*/ 10610 h 10610"/>
                <a:gd name="connsiteX34" fmla="*/ 3606 w 10117"/>
                <a:gd name="connsiteY34" fmla="*/ 10485 h 10610"/>
                <a:gd name="connsiteX35" fmla="*/ 3848 w 10117"/>
                <a:gd name="connsiteY35" fmla="*/ 10386 h 10610"/>
                <a:gd name="connsiteX36" fmla="*/ 4084 w 10117"/>
                <a:gd name="connsiteY36" fmla="*/ 10287 h 10610"/>
                <a:gd name="connsiteX37" fmla="*/ 4317 w 10117"/>
                <a:gd name="connsiteY37" fmla="*/ 10183 h 10610"/>
                <a:gd name="connsiteX38" fmla="*/ 4549 w 10117"/>
                <a:gd name="connsiteY38" fmla="*/ 10074 h 10610"/>
                <a:gd name="connsiteX39" fmla="*/ 4767 w 10117"/>
                <a:gd name="connsiteY39" fmla="*/ 9967 h 10610"/>
                <a:gd name="connsiteX40" fmla="*/ 4988 w 10117"/>
                <a:gd name="connsiteY40" fmla="*/ 9849 h 10610"/>
                <a:gd name="connsiteX41" fmla="*/ 5209 w 10117"/>
                <a:gd name="connsiteY41" fmla="*/ 9736 h 10610"/>
                <a:gd name="connsiteX42" fmla="*/ 5419 w 10117"/>
                <a:gd name="connsiteY42" fmla="*/ 9615 h 10610"/>
                <a:gd name="connsiteX43" fmla="*/ 5635 w 10117"/>
                <a:gd name="connsiteY43" fmla="*/ 9491 h 10610"/>
                <a:gd name="connsiteX44" fmla="*/ 5839 w 10117"/>
                <a:gd name="connsiteY44" fmla="*/ 9362 h 10610"/>
                <a:gd name="connsiteX45" fmla="*/ 6043 w 10117"/>
                <a:gd name="connsiteY45" fmla="*/ 9235 h 10610"/>
                <a:gd name="connsiteX46" fmla="*/ 6239 w 10117"/>
                <a:gd name="connsiteY46" fmla="*/ 9105 h 10610"/>
                <a:gd name="connsiteX47" fmla="*/ 6438 w 10117"/>
                <a:gd name="connsiteY47" fmla="*/ 8967 h 10610"/>
                <a:gd name="connsiteX48" fmla="*/ 6629 w 10117"/>
                <a:gd name="connsiteY48" fmla="*/ 8825 h 10610"/>
                <a:gd name="connsiteX49" fmla="*/ 6814 w 10117"/>
                <a:gd name="connsiteY49" fmla="*/ 8689 h 10610"/>
                <a:gd name="connsiteX50" fmla="*/ 6997 w 10117"/>
                <a:gd name="connsiteY50" fmla="*/ 8544 h 10610"/>
                <a:gd name="connsiteX51" fmla="*/ 7173 w 10117"/>
                <a:gd name="connsiteY51" fmla="*/ 8396 h 10610"/>
                <a:gd name="connsiteX52" fmla="*/ 7349 w 10117"/>
                <a:gd name="connsiteY52" fmla="*/ 8248 h 10610"/>
                <a:gd name="connsiteX53" fmla="*/ 7518 w 10117"/>
                <a:gd name="connsiteY53" fmla="*/ 8097 h 10610"/>
                <a:gd name="connsiteX54" fmla="*/ 7686 w 10117"/>
                <a:gd name="connsiteY54" fmla="*/ 7940 h 10610"/>
                <a:gd name="connsiteX55" fmla="*/ 7842 w 10117"/>
                <a:gd name="connsiteY55" fmla="*/ 7782 h 10610"/>
                <a:gd name="connsiteX56" fmla="*/ 7995 w 10117"/>
                <a:gd name="connsiteY56" fmla="*/ 7623 h 10610"/>
                <a:gd name="connsiteX57" fmla="*/ 8150 w 10117"/>
                <a:gd name="connsiteY57" fmla="*/ 7463 h 10610"/>
                <a:gd name="connsiteX58" fmla="*/ 8293 w 10117"/>
                <a:gd name="connsiteY58" fmla="*/ 7296 h 10610"/>
                <a:gd name="connsiteX59" fmla="*/ 8433 w 10117"/>
                <a:gd name="connsiteY59" fmla="*/ 7132 h 10610"/>
                <a:gd name="connsiteX60" fmla="*/ 8569 w 10117"/>
                <a:gd name="connsiteY60" fmla="*/ 6962 h 10610"/>
                <a:gd name="connsiteX61" fmla="*/ 8695 w 10117"/>
                <a:gd name="connsiteY61" fmla="*/ 6788 h 10610"/>
                <a:gd name="connsiteX62" fmla="*/ 8819 w 10117"/>
                <a:gd name="connsiteY62" fmla="*/ 6614 h 10610"/>
                <a:gd name="connsiteX63" fmla="*/ 8945 w 10117"/>
                <a:gd name="connsiteY63" fmla="*/ 6440 h 10610"/>
                <a:gd name="connsiteX64" fmla="*/ 9063 w 10117"/>
                <a:gd name="connsiteY64" fmla="*/ 6262 h 10610"/>
                <a:gd name="connsiteX65" fmla="*/ 9167 w 10117"/>
                <a:gd name="connsiteY65" fmla="*/ 6084 h 10610"/>
                <a:gd name="connsiteX66" fmla="*/ 9274 w 10117"/>
                <a:gd name="connsiteY66" fmla="*/ 5902 h 10610"/>
                <a:gd name="connsiteX67" fmla="*/ 9369 w 10117"/>
                <a:gd name="connsiteY67" fmla="*/ 5716 h 10610"/>
                <a:gd name="connsiteX68" fmla="*/ 9465 w 10117"/>
                <a:gd name="connsiteY68" fmla="*/ 5533 h 10610"/>
                <a:gd name="connsiteX69" fmla="*/ 9549 w 10117"/>
                <a:gd name="connsiteY69" fmla="*/ 5344 h 10610"/>
                <a:gd name="connsiteX70" fmla="*/ 9630 w 10117"/>
                <a:gd name="connsiteY70" fmla="*/ 5153 h 10610"/>
                <a:gd name="connsiteX71" fmla="*/ 9704 w 10117"/>
                <a:gd name="connsiteY71" fmla="*/ 4961 h 10610"/>
                <a:gd name="connsiteX72" fmla="*/ 9777 w 10117"/>
                <a:gd name="connsiteY72" fmla="*/ 4771 h 10610"/>
                <a:gd name="connsiteX73" fmla="*/ 9839 w 10117"/>
                <a:gd name="connsiteY73" fmla="*/ 4578 h 10610"/>
                <a:gd name="connsiteX74" fmla="*/ 9898 w 10117"/>
                <a:gd name="connsiteY74" fmla="*/ 4381 h 10610"/>
                <a:gd name="connsiteX75" fmla="*/ 9635 w 10117"/>
                <a:gd name="connsiteY75" fmla="*/ 0 h 10610"/>
                <a:gd name="connsiteX76" fmla="*/ 6408 w 10117"/>
                <a:gd name="connsiteY76" fmla="*/ 1883 h 10610"/>
                <a:gd name="connsiteX77" fmla="*/ 2450 w 10117"/>
                <a:gd name="connsiteY77" fmla="*/ 1500 h 10610"/>
                <a:gd name="connsiteX0" fmla="*/ 2450 w 10117"/>
                <a:gd name="connsiteY0" fmla="*/ 1500 h 10610"/>
                <a:gd name="connsiteX1" fmla="*/ 2209 w 10117"/>
                <a:gd name="connsiteY1" fmla="*/ 4118 h 10610"/>
                <a:gd name="connsiteX2" fmla="*/ 2158 w 10117"/>
                <a:gd name="connsiteY2" fmla="*/ 4189 h 10610"/>
                <a:gd name="connsiteX3" fmla="*/ 2110 w 10117"/>
                <a:gd name="connsiteY3" fmla="*/ 4265 h 10610"/>
                <a:gd name="connsiteX4" fmla="*/ 2058 w 10117"/>
                <a:gd name="connsiteY4" fmla="*/ 4339 h 10610"/>
                <a:gd name="connsiteX5" fmla="*/ 2001 w 10117"/>
                <a:gd name="connsiteY5" fmla="*/ 4412 h 10610"/>
                <a:gd name="connsiteX6" fmla="*/ 1950 w 10117"/>
                <a:gd name="connsiteY6" fmla="*/ 4486 h 10610"/>
                <a:gd name="connsiteX7" fmla="*/ 1890 w 10117"/>
                <a:gd name="connsiteY7" fmla="*/ 4557 h 10610"/>
                <a:gd name="connsiteX8" fmla="*/ 1827 w 10117"/>
                <a:gd name="connsiteY8" fmla="*/ 4623 h 10610"/>
                <a:gd name="connsiteX9" fmla="*/ 1762 w 10117"/>
                <a:gd name="connsiteY9" fmla="*/ 4691 h 10610"/>
                <a:gd name="connsiteX10" fmla="*/ 1702 w 10117"/>
                <a:gd name="connsiteY10" fmla="*/ 4758 h 10610"/>
                <a:gd name="connsiteX11" fmla="*/ 1632 w 10117"/>
                <a:gd name="connsiteY11" fmla="*/ 4830 h 10610"/>
                <a:gd name="connsiteX12" fmla="*/ 1563 w 10117"/>
                <a:gd name="connsiteY12" fmla="*/ 4893 h 10610"/>
                <a:gd name="connsiteX13" fmla="*/ 1490 w 10117"/>
                <a:gd name="connsiteY13" fmla="*/ 4952 h 10610"/>
                <a:gd name="connsiteX14" fmla="*/ 1415 w 10117"/>
                <a:gd name="connsiteY14" fmla="*/ 5019 h 10610"/>
                <a:gd name="connsiteX15" fmla="*/ 1341 w 10117"/>
                <a:gd name="connsiteY15" fmla="*/ 5081 h 10610"/>
                <a:gd name="connsiteX16" fmla="*/ 1262 w 10117"/>
                <a:gd name="connsiteY16" fmla="*/ 5140 h 10610"/>
                <a:gd name="connsiteX17" fmla="*/ 1184 w 10117"/>
                <a:gd name="connsiteY17" fmla="*/ 5204 h 10610"/>
                <a:gd name="connsiteX18" fmla="*/ 1105 w 10117"/>
                <a:gd name="connsiteY18" fmla="*/ 5262 h 10610"/>
                <a:gd name="connsiteX19" fmla="*/ 1017 w 10117"/>
                <a:gd name="connsiteY19" fmla="*/ 5319 h 10610"/>
                <a:gd name="connsiteX20" fmla="*/ 937 w 10117"/>
                <a:gd name="connsiteY20" fmla="*/ 5373 h 10610"/>
                <a:gd name="connsiteX21" fmla="*/ 850 w 10117"/>
                <a:gd name="connsiteY21" fmla="*/ 5429 h 10610"/>
                <a:gd name="connsiteX22" fmla="*/ 765 w 10117"/>
                <a:gd name="connsiteY22" fmla="*/ 5481 h 10610"/>
                <a:gd name="connsiteX23" fmla="*/ 670 w 10117"/>
                <a:gd name="connsiteY23" fmla="*/ 5534 h 10610"/>
                <a:gd name="connsiteX24" fmla="*/ 581 w 10117"/>
                <a:gd name="connsiteY24" fmla="*/ 5583 h 10610"/>
                <a:gd name="connsiteX25" fmla="*/ 488 w 10117"/>
                <a:gd name="connsiteY25" fmla="*/ 5633 h 10610"/>
                <a:gd name="connsiteX26" fmla="*/ 393 w 10117"/>
                <a:gd name="connsiteY26" fmla="*/ 5681 h 10610"/>
                <a:gd name="connsiteX27" fmla="*/ 295 w 10117"/>
                <a:gd name="connsiteY27" fmla="*/ 5725 h 10610"/>
                <a:gd name="connsiteX28" fmla="*/ 198 w 10117"/>
                <a:gd name="connsiteY28" fmla="*/ 5773 h 10610"/>
                <a:gd name="connsiteX29" fmla="*/ 103 w 10117"/>
                <a:gd name="connsiteY29" fmla="*/ 5816 h 10610"/>
                <a:gd name="connsiteX30" fmla="*/ 0 w 10117"/>
                <a:gd name="connsiteY30" fmla="*/ 5857 h 10610"/>
                <a:gd name="connsiteX31" fmla="*/ 210 w 10117"/>
                <a:gd name="connsiteY31" fmla="*/ 8550 h 10610"/>
                <a:gd name="connsiteX32" fmla="*/ 3301 w 10117"/>
                <a:gd name="connsiteY32" fmla="*/ 10610 h 10610"/>
                <a:gd name="connsiteX33" fmla="*/ 3606 w 10117"/>
                <a:gd name="connsiteY33" fmla="*/ 10485 h 10610"/>
                <a:gd name="connsiteX34" fmla="*/ 3848 w 10117"/>
                <a:gd name="connsiteY34" fmla="*/ 10386 h 10610"/>
                <a:gd name="connsiteX35" fmla="*/ 4084 w 10117"/>
                <a:gd name="connsiteY35" fmla="*/ 10287 h 10610"/>
                <a:gd name="connsiteX36" fmla="*/ 4317 w 10117"/>
                <a:gd name="connsiteY36" fmla="*/ 10183 h 10610"/>
                <a:gd name="connsiteX37" fmla="*/ 4549 w 10117"/>
                <a:gd name="connsiteY37" fmla="*/ 10074 h 10610"/>
                <a:gd name="connsiteX38" fmla="*/ 4767 w 10117"/>
                <a:gd name="connsiteY38" fmla="*/ 9967 h 10610"/>
                <a:gd name="connsiteX39" fmla="*/ 4988 w 10117"/>
                <a:gd name="connsiteY39" fmla="*/ 9849 h 10610"/>
                <a:gd name="connsiteX40" fmla="*/ 5209 w 10117"/>
                <a:gd name="connsiteY40" fmla="*/ 9736 h 10610"/>
                <a:gd name="connsiteX41" fmla="*/ 5419 w 10117"/>
                <a:gd name="connsiteY41" fmla="*/ 9615 h 10610"/>
                <a:gd name="connsiteX42" fmla="*/ 5635 w 10117"/>
                <a:gd name="connsiteY42" fmla="*/ 9491 h 10610"/>
                <a:gd name="connsiteX43" fmla="*/ 5839 w 10117"/>
                <a:gd name="connsiteY43" fmla="*/ 9362 h 10610"/>
                <a:gd name="connsiteX44" fmla="*/ 6043 w 10117"/>
                <a:gd name="connsiteY44" fmla="*/ 9235 h 10610"/>
                <a:gd name="connsiteX45" fmla="*/ 6239 w 10117"/>
                <a:gd name="connsiteY45" fmla="*/ 9105 h 10610"/>
                <a:gd name="connsiteX46" fmla="*/ 6438 w 10117"/>
                <a:gd name="connsiteY46" fmla="*/ 8967 h 10610"/>
                <a:gd name="connsiteX47" fmla="*/ 6629 w 10117"/>
                <a:gd name="connsiteY47" fmla="*/ 8825 h 10610"/>
                <a:gd name="connsiteX48" fmla="*/ 6814 w 10117"/>
                <a:gd name="connsiteY48" fmla="*/ 8689 h 10610"/>
                <a:gd name="connsiteX49" fmla="*/ 6997 w 10117"/>
                <a:gd name="connsiteY49" fmla="*/ 8544 h 10610"/>
                <a:gd name="connsiteX50" fmla="*/ 7173 w 10117"/>
                <a:gd name="connsiteY50" fmla="*/ 8396 h 10610"/>
                <a:gd name="connsiteX51" fmla="*/ 7349 w 10117"/>
                <a:gd name="connsiteY51" fmla="*/ 8248 h 10610"/>
                <a:gd name="connsiteX52" fmla="*/ 7518 w 10117"/>
                <a:gd name="connsiteY52" fmla="*/ 8097 h 10610"/>
                <a:gd name="connsiteX53" fmla="*/ 7686 w 10117"/>
                <a:gd name="connsiteY53" fmla="*/ 7940 h 10610"/>
                <a:gd name="connsiteX54" fmla="*/ 7842 w 10117"/>
                <a:gd name="connsiteY54" fmla="*/ 7782 h 10610"/>
                <a:gd name="connsiteX55" fmla="*/ 7995 w 10117"/>
                <a:gd name="connsiteY55" fmla="*/ 7623 h 10610"/>
                <a:gd name="connsiteX56" fmla="*/ 8150 w 10117"/>
                <a:gd name="connsiteY56" fmla="*/ 7463 h 10610"/>
                <a:gd name="connsiteX57" fmla="*/ 8293 w 10117"/>
                <a:gd name="connsiteY57" fmla="*/ 7296 h 10610"/>
                <a:gd name="connsiteX58" fmla="*/ 8433 w 10117"/>
                <a:gd name="connsiteY58" fmla="*/ 7132 h 10610"/>
                <a:gd name="connsiteX59" fmla="*/ 8569 w 10117"/>
                <a:gd name="connsiteY59" fmla="*/ 6962 h 10610"/>
                <a:gd name="connsiteX60" fmla="*/ 8695 w 10117"/>
                <a:gd name="connsiteY60" fmla="*/ 6788 h 10610"/>
                <a:gd name="connsiteX61" fmla="*/ 8819 w 10117"/>
                <a:gd name="connsiteY61" fmla="*/ 6614 h 10610"/>
                <a:gd name="connsiteX62" fmla="*/ 8945 w 10117"/>
                <a:gd name="connsiteY62" fmla="*/ 6440 h 10610"/>
                <a:gd name="connsiteX63" fmla="*/ 9063 w 10117"/>
                <a:gd name="connsiteY63" fmla="*/ 6262 h 10610"/>
                <a:gd name="connsiteX64" fmla="*/ 9167 w 10117"/>
                <a:gd name="connsiteY64" fmla="*/ 6084 h 10610"/>
                <a:gd name="connsiteX65" fmla="*/ 9274 w 10117"/>
                <a:gd name="connsiteY65" fmla="*/ 5902 h 10610"/>
                <a:gd name="connsiteX66" fmla="*/ 9369 w 10117"/>
                <a:gd name="connsiteY66" fmla="*/ 5716 h 10610"/>
                <a:gd name="connsiteX67" fmla="*/ 9465 w 10117"/>
                <a:gd name="connsiteY67" fmla="*/ 5533 h 10610"/>
                <a:gd name="connsiteX68" fmla="*/ 9549 w 10117"/>
                <a:gd name="connsiteY68" fmla="*/ 5344 h 10610"/>
                <a:gd name="connsiteX69" fmla="*/ 9630 w 10117"/>
                <a:gd name="connsiteY69" fmla="*/ 5153 h 10610"/>
                <a:gd name="connsiteX70" fmla="*/ 9704 w 10117"/>
                <a:gd name="connsiteY70" fmla="*/ 4961 h 10610"/>
                <a:gd name="connsiteX71" fmla="*/ 9777 w 10117"/>
                <a:gd name="connsiteY71" fmla="*/ 4771 h 10610"/>
                <a:gd name="connsiteX72" fmla="*/ 9839 w 10117"/>
                <a:gd name="connsiteY72" fmla="*/ 4578 h 10610"/>
                <a:gd name="connsiteX73" fmla="*/ 9898 w 10117"/>
                <a:gd name="connsiteY73" fmla="*/ 4381 h 10610"/>
                <a:gd name="connsiteX74" fmla="*/ 9635 w 10117"/>
                <a:gd name="connsiteY74" fmla="*/ 0 h 10610"/>
                <a:gd name="connsiteX75" fmla="*/ 6408 w 10117"/>
                <a:gd name="connsiteY75" fmla="*/ 1883 h 10610"/>
                <a:gd name="connsiteX76" fmla="*/ 2450 w 10117"/>
                <a:gd name="connsiteY76" fmla="*/ 1500 h 10610"/>
                <a:gd name="connsiteX0" fmla="*/ 2450 w 10117"/>
                <a:gd name="connsiteY0" fmla="*/ 1500 h 10610"/>
                <a:gd name="connsiteX1" fmla="*/ 2158 w 10117"/>
                <a:gd name="connsiteY1" fmla="*/ 4189 h 10610"/>
                <a:gd name="connsiteX2" fmla="*/ 2110 w 10117"/>
                <a:gd name="connsiteY2" fmla="*/ 4265 h 10610"/>
                <a:gd name="connsiteX3" fmla="*/ 2058 w 10117"/>
                <a:gd name="connsiteY3" fmla="*/ 4339 h 10610"/>
                <a:gd name="connsiteX4" fmla="*/ 2001 w 10117"/>
                <a:gd name="connsiteY4" fmla="*/ 4412 h 10610"/>
                <a:gd name="connsiteX5" fmla="*/ 1950 w 10117"/>
                <a:gd name="connsiteY5" fmla="*/ 4486 h 10610"/>
                <a:gd name="connsiteX6" fmla="*/ 1890 w 10117"/>
                <a:gd name="connsiteY6" fmla="*/ 4557 h 10610"/>
                <a:gd name="connsiteX7" fmla="*/ 1827 w 10117"/>
                <a:gd name="connsiteY7" fmla="*/ 4623 h 10610"/>
                <a:gd name="connsiteX8" fmla="*/ 1762 w 10117"/>
                <a:gd name="connsiteY8" fmla="*/ 4691 h 10610"/>
                <a:gd name="connsiteX9" fmla="*/ 1702 w 10117"/>
                <a:gd name="connsiteY9" fmla="*/ 4758 h 10610"/>
                <a:gd name="connsiteX10" fmla="*/ 1632 w 10117"/>
                <a:gd name="connsiteY10" fmla="*/ 4830 h 10610"/>
                <a:gd name="connsiteX11" fmla="*/ 1563 w 10117"/>
                <a:gd name="connsiteY11" fmla="*/ 4893 h 10610"/>
                <a:gd name="connsiteX12" fmla="*/ 1490 w 10117"/>
                <a:gd name="connsiteY12" fmla="*/ 4952 h 10610"/>
                <a:gd name="connsiteX13" fmla="*/ 1415 w 10117"/>
                <a:gd name="connsiteY13" fmla="*/ 5019 h 10610"/>
                <a:gd name="connsiteX14" fmla="*/ 1341 w 10117"/>
                <a:gd name="connsiteY14" fmla="*/ 5081 h 10610"/>
                <a:gd name="connsiteX15" fmla="*/ 1262 w 10117"/>
                <a:gd name="connsiteY15" fmla="*/ 5140 h 10610"/>
                <a:gd name="connsiteX16" fmla="*/ 1184 w 10117"/>
                <a:gd name="connsiteY16" fmla="*/ 5204 h 10610"/>
                <a:gd name="connsiteX17" fmla="*/ 1105 w 10117"/>
                <a:gd name="connsiteY17" fmla="*/ 5262 h 10610"/>
                <a:gd name="connsiteX18" fmla="*/ 1017 w 10117"/>
                <a:gd name="connsiteY18" fmla="*/ 5319 h 10610"/>
                <a:gd name="connsiteX19" fmla="*/ 937 w 10117"/>
                <a:gd name="connsiteY19" fmla="*/ 5373 h 10610"/>
                <a:gd name="connsiteX20" fmla="*/ 850 w 10117"/>
                <a:gd name="connsiteY20" fmla="*/ 5429 h 10610"/>
                <a:gd name="connsiteX21" fmla="*/ 765 w 10117"/>
                <a:gd name="connsiteY21" fmla="*/ 5481 h 10610"/>
                <a:gd name="connsiteX22" fmla="*/ 670 w 10117"/>
                <a:gd name="connsiteY22" fmla="*/ 5534 h 10610"/>
                <a:gd name="connsiteX23" fmla="*/ 581 w 10117"/>
                <a:gd name="connsiteY23" fmla="*/ 5583 h 10610"/>
                <a:gd name="connsiteX24" fmla="*/ 488 w 10117"/>
                <a:gd name="connsiteY24" fmla="*/ 5633 h 10610"/>
                <a:gd name="connsiteX25" fmla="*/ 393 w 10117"/>
                <a:gd name="connsiteY25" fmla="*/ 5681 h 10610"/>
                <a:gd name="connsiteX26" fmla="*/ 295 w 10117"/>
                <a:gd name="connsiteY26" fmla="*/ 5725 h 10610"/>
                <a:gd name="connsiteX27" fmla="*/ 198 w 10117"/>
                <a:gd name="connsiteY27" fmla="*/ 5773 h 10610"/>
                <a:gd name="connsiteX28" fmla="*/ 103 w 10117"/>
                <a:gd name="connsiteY28" fmla="*/ 5816 h 10610"/>
                <a:gd name="connsiteX29" fmla="*/ 0 w 10117"/>
                <a:gd name="connsiteY29" fmla="*/ 5857 h 10610"/>
                <a:gd name="connsiteX30" fmla="*/ 210 w 10117"/>
                <a:gd name="connsiteY30" fmla="*/ 8550 h 10610"/>
                <a:gd name="connsiteX31" fmla="*/ 3301 w 10117"/>
                <a:gd name="connsiteY31" fmla="*/ 10610 h 10610"/>
                <a:gd name="connsiteX32" fmla="*/ 3606 w 10117"/>
                <a:gd name="connsiteY32" fmla="*/ 10485 h 10610"/>
                <a:gd name="connsiteX33" fmla="*/ 3848 w 10117"/>
                <a:gd name="connsiteY33" fmla="*/ 10386 h 10610"/>
                <a:gd name="connsiteX34" fmla="*/ 4084 w 10117"/>
                <a:gd name="connsiteY34" fmla="*/ 10287 h 10610"/>
                <a:gd name="connsiteX35" fmla="*/ 4317 w 10117"/>
                <a:gd name="connsiteY35" fmla="*/ 10183 h 10610"/>
                <a:gd name="connsiteX36" fmla="*/ 4549 w 10117"/>
                <a:gd name="connsiteY36" fmla="*/ 10074 h 10610"/>
                <a:gd name="connsiteX37" fmla="*/ 4767 w 10117"/>
                <a:gd name="connsiteY37" fmla="*/ 9967 h 10610"/>
                <a:gd name="connsiteX38" fmla="*/ 4988 w 10117"/>
                <a:gd name="connsiteY38" fmla="*/ 9849 h 10610"/>
                <a:gd name="connsiteX39" fmla="*/ 5209 w 10117"/>
                <a:gd name="connsiteY39" fmla="*/ 9736 h 10610"/>
                <a:gd name="connsiteX40" fmla="*/ 5419 w 10117"/>
                <a:gd name="connsiteY40" fmla="*/ 9615 h 10610"/>
                <a:gd name="connsiteX41" fmla="*/ 5635 w 10117"/>
                <a:gd name="connsiteY41" fmla="*/ 9491 h 10610"/>
                <a:gd name="connsiteX42" fmla="*/ 5839 w 10117"/>
                <a:gd name="connsiteY42" fmla="*/ 9362 h 10610"/>
                <a:gd name="connsiteX43" fmla="*/ 6043 w 10117"/>
                <a:gd name="connsiteY43" fmla="*/ 9235 h 10610"/>
                <a:gd name="connsiteX44" fmla="*/ 6239 w 10117"/>
                <a:gd name="connsiteY44" fmla="*/ 9105 h 10610"/>
                <a:gd name="connsiteX45" fmla="*/ 6438 w 10117"/>
                <a:gd name="connsiteY45" fmla="*/ 8967 h 10610"/>
                <a:gd name="connsiteX46" fmla="*/ 6629 w 10117"/>
                <a:gd name="connsiteY46" fmla="*/ 8825 h 10610"/>
                <a:gd name="connsiteX47" fmla="*/ 6814 w 10117"/>
                <a:gd name="connsiteY47" fmla="*/ 8689 h 10610"/>
                <a:gd name="connsiteX48" fmla="*/ 6997 w 10117"/>
                <a:gd name="connsiteY48" fmla="*/ 8544 h 10610"/>
                <a:gd name="connsiteX49" fmla="*/ 7173 w 10117"/>
                <a:gd name="connsiteY49" fmla="*/ 8396 h 10610"/>
                <a:gd name="connsiteX50" fmla="*/ 7349 w 10117"/>
                <a:gd name="connsiteY50" fmla="*/ 8248 h 10610"/>
                <a:gd name="connsiteX51" fmla="*/ 7518 w 10117"/>
                <a:gd name="connsiteY51" fmla="*/ 8097 h 10610"/>
                <a:gd name="connsiteX52" fmla="*/ 7686 w 10117"/>
                <a:gd name="connsiteY52" fmla="*/ 7940 h 10610"/>
                <a:gd name="connsiteX53" fmla="*/ 7842 w 10117"/>
                <a:gd name="connsiteY53" fmla="*/ 7782 h 10610"/>
                <a:gd name="connsiteX54" fmla="*/ 7995 w 10117"/>
                <a:gd name="connsiteY54" fmla="*/ 7623 h 10610"/>
                <a:gd name="connsiteX55" fmla="*/ 8150 w 10117"/>
                <a:gd name="connsiteY55" fmla="*/ 7463 h 10610"/>
                <a:gd name="connsiteX56" fmla="*/ 8293 w 10117"/>
                <a:gd name="connsiteY56" fmla="*/ 7296 h 10610"/>
                <a:gd name="connsiteX57" fmla="*/ 8433 w 10117"/>
                <a:gd name="connsiteY57" fmla="*/ 7132 h 10610"/>
                <a:gd name="connsiteX58" fmla="*/ 8569 w 10117"/>
                <a:gd name="connsiteY58" fmla="*/ 6962 h 10610"/>
                <a:gd name="connsiteX59" fmla="*/ 8695 w 10117"/>
                <a:gd name="connsiteY59" fmla="*/ 6788 h 10610"/>
                <a:gd name="connsiteX60" fmla="*/ 8819 w 10117"/>
                <a:gd name="connsiteY60" fmla="*/ 6614 h 10610"/>
                <a:gd name="connsiteX61" fmla="*/ 8945 w 10117"/>
                <a:gd name="connsiteY61" fmla="*/ 6440 h 10610"/>
                <a:gd name="connsiteX62" fmla="*/ 9063 w 10117"/>
                <a:gd name="connsiteY62" fmla="*/ 6262 h 10610"/>
                <a:gd name="connsiteX63" fmla="*/ 9167 w 10117"/>
                <a:gd name="connsiteY63" fmla="*/ 6084 h 10610"/>
                <a:gd name="connsiteX64" fmla="*/ 9274 w 10117"/>
                <a:gd name="connsiteY64" fmla="*/ 5902 h 10610"/>
                <a:gd name="connsiteX65" fmla="*/ 9369 w 10117"/>
                <a:gd name="connsiteY65" fmla="*/ 5716 h 10610"/>
                <a:gd name="connsiteX66" fmla="*/ 9465 w 10117"/>
                <a:gd name="connsiteY66" fmla="*/ 5533 h 10610"/>
                <a:gd name="connsiteX67" fmla="*/ 9549 w 10117"/>
                <a:gd name="connsiteY67" fmla="*/ 5344 h 10610"/>
                <a:gd name="connsiteX68" fmla="*/ 9630 w 10117"/>
                <a:gd name="connsiteY68" fmla="*/ 5153 h 10610"/>
                <a:gd name="connsiteX69" fmla="*/ 9704 w 10117"/>
                <a:gd name="connsiteY69" fmla="*/ 4961 h 10610"/>
                <a:gd name="connsiteX70" fmla="*/ 9777 w 10117"/>
                <a:gd name="connsiteY70" fmla="*/ 4771 h 10610"/>
                <a:gd name="connsiteX71" fmla="*/ 9839 w 10117"/>
                <a:gd name="connsiteY71" fmla="*/ 4578 h 10610"/>
                <a:gd name="connsiteX72" fmla="*/ 9898 w 10117"/>
                <a:gd name="connsiteY72" fmla="*/ 4381 h 10610"/>
                <a:gd name="connsiteX73" fmla="*/ 9635 w 10117"/>
                <a:gd name="connsiteY73" fmla="*/ 0 h 10610"/>
                <a:gd name="connsiteX74" fmla="*/ 6408 w 10117"/>
                <a:gd name="connsiteY74" fmla="*/ 1883 h 10610"/>
                <a:gd name="connsiteX75" fmla="*/ 2450 w 10117"/>
                <a:gd name="connsiteY75" fmla="*/ 1500 h 10610"/>
                <a:gd name="connsiteX0" fmla="*/ 2450 w 10117"/>
                <a:gd name="connsiteY0" fmla="*/ 1500 h 10610"/>
                <a:gd name="connsiteX1" fmla="*/ 2110 w 10117"/>
                <a:gd name="connsiteY1" fmla="*/ 4265 h 10610"/>
                <a:gd name="connsiteX2" fmla="*/ 2058 w 10117"/>
                <a:gd name="connsiteY2" fmla="*/ 4339 h 10610"/>
                <a:gd name="connsiteX3" fmla="*/ 2001 w 10117"/>
                <a:gd name="connsiteY3" fmla="*/ 4412 h 10610"/>
                <a:gd name="connsiteX4" fmla="*/ 1950 w 10117"/>
                <a:gd name="connsiteY4" fmla="*/ 4486 h 10610"/>
                <a:gd name="connsiteX5" fmla="*/ 1890 w 10117"/>
                <a:gd name="connsiteY5" fmla="*/ 4557 h 10610"/>
                <a:gd name="connsiteX6" fmla="*/ 1827 w 10117"/>
                <a:gd name="connsiteY6" fmla="*/ 4623 h 10610"/>
                <a:gd name="connsiteX7" fmla="*/ 1762 w 10117"/>
                <a:gd name="connsiteY7" fmla="*/ 4691 h 10610"/>
                <a:gd name="connsiteX8" fmla="*/ 1702 w 10117"/>
                <a:gd name="connsiteY8" fmla="*/ 4758 h 10610"/>
                <a:gd name="connsiteX9" fmla="*/ 1632 w 10117"/>
                <a:gd name="connsiteY9" fmla="*/ 4830 h 10610"/>
                <a:gd name="connsiteX10" fmla="*/ 1563 w 10117"/>
                <a:gd name="connsiteY10" fmla="*/ 4893 h 10610"/>
                <a:gd name="connsiteX11" fmla="*/ 1490 w 10117"/>
                <a:gd name="connsiteY11" fmla="*/ 4952 h 10610"/>
                <a:gd name="connsiteX12" fmla="*/ 1415 w 10117"/>
                <a:gd name="connsiteY12" fmla="*/ 5019 h 10610"/>
                <a:gd name="connsiteX13" fmla="*/ 1341 w 10117"/>
                <a:gd name="connsiteY13" fmla="*/ 5081 h 10610"/>
                <a:gd name="connsiteX14" fmla="*/ 1262 w 10117"/>
                <a:gd name="connsiteY14" fmla="*/ 5140 h 10610"/>
                <a:gd name="connsiteX15" fmla="*/ 1184 w 10117"/>
                <a:gd name="connsiteY15" fmla="*/ 5204 h 10610"/>
                <a:gd name="connsiteX16" fmla="*/ 1105 w 10117"/>
                <a:gd name="connsiteY16" fmla="*/ 5262 h 10610"/>
                <a:gd name="connsiteX17" fmla="*/ 1017 w 10117"/>
                <a:gd name="connsiteY17" fmla="*/ 5319 h 10610"/>
                <a:gd name="connsiteX18" fmla="*/ 937 w 10117"/>
                <a:gd name="connsiteY18" fmla="*/ 5373 h 10610"/>
                <a:gd name="connsiteX19" fmla="*/ 850 w 10117"/>
                <a:gd name="connsiteY19" fmla="*/ 5429 h 10610"/>
                <a:gd name="connsiteX20" fmla="*/ 765 w 10117"/>
                <a:gd name="connsiteY20" fmla="*/ 5481 h 10610"/>
                <a:gd name="connsiteX21" fmla="*/ 670 w 10117"/>
                <a:gd name="connsiteY21" fmla="*/ 5534 h 10610"/>
                <a:gd name="connsiteX22" fmla="*/ 581 w 10117"/>
                <a:gd name="connsiteY22" fmla="*/ 5583 h 10610"/>
                <a:gd name="connsiteX23" fmla="*/ 488 w 10117"/>
                <a:gd name="connsiteY23" fmla="*/ 5633 h 10610"/>
                <a:gd name="connsiteX24" fmla="*/ 393 w 10117"/>
                <a:gd name="connsiteY24" fmla="*/ 5681 h 10610"/>
                <a:gd name="connsiteX25" fmla="*/ 295 w 10117"/>
                <a:gd name="connsiteY25" fmla="*/ 5725 h 10610"/>
                <a:gd name="connsiteX26" fmla="*/ 198 w 10117"/>
                <a:gd name="connsiteY26" fmla="*/ 5773 h 10610"/>
                <a:gd name="connsiteX27" fmla="*/ 103 w 10117"/>
                <a:gd name="connsiteY27" fmla="*/ 5816 h 10610"/>
                <a:gd name="connsiteX28" fmla="*/ 0 w 10117"/>
                <a:gd name="connsiteY28" fmla="*/ 5857 h 10610"/>
                <a:gd name="connsiteX29" fmla="*/ 210 w 10117"/>
                <a:gd name="connsiteY29" fmla="*/ 8550 h 10610"/>
                <a:gd name="connsiteX30" fmla="*/ 3301 w 10117"/>
                <a:gd name="connsiteY30" fmla="*/ 10610 h 10610"/>
                <a:gd name="connsiteX31" fmla="*/ 3606 w 10117"/>
                <a:gd name="connsiteY31" fmla="*/ 10485 h 10610"/>
                <a:gd name="connsiteX32" fmla="*/ 3848 w 10117"/>
                <a:gd name="connsiteY32" fmla="*/ 10386 h 10610"/>
                <a:gd name="connsiteX33" fmla="*/ 4084 w 10117"/>
                <a:gd name="connsiteY33" fmla="*/ 10287 h 10610"/>
                <a:gd name="connsiteX34" fmla="*/ 4317 w 10117"/>
                <a:gd name="connsiteY34" fmla="*/ 10183 h 10610"/>
                <a:gd name="connsiteX35" fmla="*/ 4549 w 10117"/>
                <a:gd name="connsiteY35" fmla="*/ 10074 h 10610"/>
                <a:gd name="connsiteX36" fmla="*/ 4767 w 10117"/>
                <a:gd name="connsiteY36" fmla="*/ 9967 h 10610"/>
                <a:gd name="connsiteX37" fmla="*/ 4988 w 10117"/>
                <a:gd name="connsiteY37" fmla="*/ 9849 h 10610"/>
                <a:gd name="connsiteX38" fmla="*/ 5209 w 10117"/>
                <a:gd name="connsiteY38" fmla="*/ 9736 h 10610"/>
                <a:gd name="connsiteX39" fmla="*/ 5419 w 10117"/>
                <a:gd name="connsiteY39" fmla="*/ 9615 h 10610"/>
                <a:gd name="connsiteX40" fmla="*/ 5635 w 10117"/>
                <a:gd name="connsiteY40" fmla="*/ 9491 h 10610"/>
                <a:gd name="connsiteX41" fmla="*/ 5839 w 10117"/>
                <a:gd name="connsiteY41" fmla="*/ 9362 h 10610"/>
                <a:gd name="connsiteX42" fmla="*/ 6043 w 10117"/>
                <a:gd name="connsiteY42" fmla="*/ 9235 h 10610"/>
                <a:gd name="connsiteX43" fmla="*/ 6239 w 10117"/>
                <a:gd name="connsiteY43" fmla="*/ 9105 h 10610"/>
                <a:gd name="connsiteX44" fmla="*/ 6438 w 10117"/>
                <a:gd name="connsiteY44" fmla="*/ 8967 h 10610"/>
                <a:gd name="connsiteX45" fmla="*/ 6629 w 10117"/>
                <a:gd name="connsiteY45" fmla="*/ 8825 h 10610"/>
                <a:gd name="connsiteX46" fmla="*/ 6814 w 10117"/>
                <a:gd name="connsiteY46" fmla="*/ 8689 h 10610"/>
                <a:gd name="connsiteX47" fmla="*/ 6997 w 10117"/>
                <a:gd name="connsiteY47" fmla="*/ 8544 h 10610"/>
                <a:gd name="connsiteX48" fmla="*/ 7173 w 10117"/>
                <a:gd name="connsiteY48" fmla="*/ 8396 h 10610"/>
                <a:gd name="connsiteX49" fmla="*/ 7349 w 10117"/>
                <a:gd name="connsiteY49" fmla="*/ 8248 h 10610"/>
                <a:gd name="connsiteX50" fmla="*/ 7518 w 10117"/>
                <a:gd name="connsiteY50" fmla="*/ 8097 h 10610"/>
                <a:gd name="connsiteX51" fmla="*/ 7686 w 10117"/>
                <a:gd name="connsiteY51" fmla="*/ 7940 h 10610"/>
                <a:gd name="connsiteX52" fmla="*/ 7842 w 10117"/>
                <a:gd name="connsiteY52" fmla="*/ 7782 h 10610"/>
                <a:gd name="connsiteX53" fmla="*/ 7995 w 10117"/>
                <a:gd name="connsiteY53" fmla="*/ 7623 h 10610"/>
                <a:gd name="connsiteX54" fmla="*/ 8150 w 10117"/>
                <a:gd name="connsiteY54" fmla="*/ 7463 h 10610"/>
                <a:gd name="connsiteX55" fmla="*/ 8293 w 10117"/>
                <a:gd name="connsiteY55" fmla="*/ 7296 h 10610"/>
                <a:gd name="connsiteX56" fmla="*/ 8433 w 10117"/>
                <a:gd name="connsiteY56" fmla="*/ 7132 h 10610"/>
                <a:gd name="connsiteX57" fmla="*/ 8569 w 10117"/>
                <a:gd name="connsiteY57" fmla="*/ 6962 h 10610"/>
                <a:gd name="connsiteX58" fmla="*/ 8695 w 10117"/>
                <a:gd name="connsiteY58" fmla="*/ 6788 h 10610"/>
                <a:gd name="connsiteX59" fmla="*/ 8819 w 10117"/>
                <a:gd name="connsiteY59" fmla="*/ 6614 h 10610"/>
                <a:gd name="connsiteX60" fmla="*/ 8945 w 10117"/>
                <a:gd name="connsiteY60" fmla="*/ 6440 h 10610"/>
                <a:gd name="connsiteX61" fmla="*/ 9063 w 10117"/>
                <a:gd name="connsiteY61" fmla="*/ 6262 h 10610"/>
                <a:gd name="connsiteX62" fmla="*/ 9167 w 10117"/>
                <a:gd name="connsiteY62" fmla="*/ 6084 h 10610"/>
                <a:gd name="connsiteX63" fmla="*/ 9274 w 10117"/>
                <a:gd name="connsiteY63" fmla="*/ 5902 h 10610"/>
                <a:gd name="connsiteX64" fmla="*/ 9369 w 10117"/>
                <a:gd name="connsiteY64" fmla="*/ 5716 h 10610"/>
                <a:gd name="connsiteX65" fmla="*/ 9465 w 10117"/>
                <a:gd name="connsiteY65" fmla="*/ 5533 h 10610"/>
                <a:gd name="connsiteX66" fmla="*/ 9549 w 10117"/>
                <a:gd name="connsiteY66" fmla="*/ 5344 h 10610"/>
                <a:gd name="connsiteX67" fmla="*/ 9630 w 10117"/>
                <a:gd name="connsiteY67" fmla="*/ 5153 h 10610"/>
                <a:gd name="connsiteX68" fmla="*/ 9704 w 10117"/>
                <a:gd name="connsiteY68" fmla="*/ 4961 h 10610"/>
                <a:gd name="connsiteX69" fmla="*/ 9777 w 10117"/>
                <a:gd name="connsiteY69" fmla="*/ 4771 h 10610"/>
                <a:gd name="connsiteX70" fmla="*/ 9839 w 10117"/>
                <a:gd name="connsiteY70" fmla="*/ 4578 h 10610"/>
                <a:gd name="connsiteX71" fmla="*/ 9898 w 10117"/>
                <a:gd name="connsiteY71" fmla="*/ 4381 h 10610"/>
                <a:gd name="connsiteX72" fmla="*/ 9635 w 10117"/>
                <a:gd name="connsiteY72" fmla="*/ 0 h 10610"/>
                <a:gd name="connsiteX73" fmla="*/ 6408 w 10117"/>
                <a:gd name="connsiteY73" fmla="*/ 1883 h 10610"/>
                <a:gd name="connsiteX74" fmla="*/ 2450 w 10117"/>
                <a:gd name="connsiteY74" fmla="*/ 1500 h 10610"/>
                <a:gd name="connsiteX0" fmla="*/ 2450 w 10117"/>
                <a:gd name="connsiteY0" fmla="*/ 1500 h 10610"/>
                <a:gd name="connsiteX1" fmla="*/ 2058 w 10117"/>
                <a:gd name="connsiteY1" fmla="*/ 4339 h 10610"/>
                <a:gd name="connsiteX2" fmla="*/ 2001 w 10117"/>
                <a:gd name="connsiteY2" fmla="*/ 4412 h 10610"/>
                <a:gd name="connsiteX3" fmla="*/ 1950 w 10117"/>
                <a:gd name="connsiteY3" fmla="*/ 4486 h 10610"/>
                <a:gd name="connsiteX4" fmla="*/ 1890 w 10117"/>
                <a:gd name="connsiteY4" fmla="*/ 4557 h 10610"/>
                <a:gd name="connsiteX5" fmla="*/ 1827 w 10117"/>
                <a:gd name="connsiteY5" fmla="*/ 4623 h 10610"/>
                <a:gd name="connsiteX6" fmla="*/ 1762 w 10117"/>
                <a:gd name="connsiteY6" fmla="*/ 4691 h 10610"/>
                <a:gd name="connsiteX7" fmla="*/ 1702 w 10117"/>
                <a:gd name="connsiteY7" fmla="*/ 4758 h 10610"/>
                <a:gd name="connsiteX8" fmla="*/ 1632 w 10117"/>
                <a:gd name="connsiteY8" fmla="*/ 4830 h 10610"/>
                <a:gd name="connsiteX9" fmla="*/ 1563 w 10117"/>
                <a:gd name="connsiteY9" fmla="*/ 4893 h 10610"/>
                <a:gd name="connsiteX10" fmla="*/ 1490 w 10117"/>
                <a:gd name="connsiteY10" fmla="*/ 4952 h 10610"/>
                <a:gd name="connsiteX11" fmla="*/ 1415 w 10117"/>
                <a:gd name="connsiteY11" fmla="*/ 5019 h 10610"/>
                <a:gd name="connsiteX12" fmla="*/ 1341 w 10117"/>
                <a:gd name="connsiteY12" fmla="*/ 5081 h 10610"/>
                <a:gd name="connsiteX13" fmla="*/ 1262 w 10117"/>
                <a:gd name="connsiteY13" fmla="*/ 5140 h 10610"/>
                <a:gd name="connsiteX14" fmla="*/ 1184 w 10117"/>
                <a:gd name="connsiteY14" fmla="*/ 5204 h 10610"/>
                <a:gd name="connsiteX15" fmla="*/ 1105 w 10117"/>
                <a:gd name="connsiteY15" fmla="*/ 5262 h 10610"/>
                <a:gd name="connsiteX16" fmla="*/ 1017 w 10117"/>
                <a:gd name="connsiteY16" fmla="*/ 5319 h 10610"/>
                <a:gd name="connsiteX17" fmla="*/ 937 w 10117"/>
                <a:gd name="connsiteY17" fmla="*/ 5373 h 10610"/>
                <a:gd name="connsiteX18" fmla="*/ 850 w 10117"/>
                <a:gd name="connsiteY18" fmla="*/ 5429 h 10610"/>
                <a:gd name="connsiteX19" fmla="*/ 765 w 10117"/>
                <a:gd name="connsiteY19" fmla="*/ 5481 h 10610"/>
                <a:gd name="connsiteX20" fmla="*/ 670 w 10117"/>
                <a:gd name="connsiteY20" fmla="*/ 5534 h 10610"/>
                <a:gd name="connsiteX21" fmla="*/ 581 w 10117"/>
                <a:gd name="connsiteY21" fmla="*/ 5583 h 10610"/>
                <a:gd name="connsiteX22" fmla="*/ 488 w 10117"/>
                <a:gd name="connsiteY22" fmla="*/ 5633 h 10610"/>
                <a:gd name="connsiteX23" fmla="*/ 393 w 10117"/>
                <a:gd name="connsiteY23" fmla="*/ 5681 h 10610"/>
                <a:gd name="connsiteX24" fmla="*/ 295 w 10117"/>
                <a:gd name="connsiteY24" fmla="*/ 5725 h 10610"/>
                <a:gd name="connsiteX25" fmla="*/ 198 w 10117"/>
                <a:gd name="connsiteY25" fmla="*/ 5773 h 10610"/>
                <a:gd name="connsiteX26" fmla="*/ 103 w 10117"/>
                <a:gd name="connsiteY26" fmla="*/ 5816 h 10610"/>
                <a:gd name="connsiteX27" fmla="*/ 0 w 10117"/>
                <a:gd name="connsiteY27" fmla="*/ 5857 h 10610"/>
                <a:gd name="connsiteX28" fmla="*/ 210 w 10117"/>
                <a:gd name="connsiteY28" fmla="*/ 8550 h 10610"/>
                <a:gd name="connsiteX29" fmla="*/ 3301 w 10117"/>
                <a:gd name="connsiteY29" fmla="*/ 10610 h 10610"/>
                <a:gd name="connsiteX30" fmla="*/ 3606 w 10117"/>
                <a:gd name="connsiteY30" fmla="*/ 10485 h 10610"/>
                <a:gd name="connsiteX31" fmla="*/ 3848 w 10117"/>
                <a:gd name="connsiteY31" fmla="*/ 10386 h 10610"/>
                <a:gd name="connsiteX32" fmla="*/ 4084 w 10117"/>
                <a:gd name="connsiteY32" fmla="*/ 10287 h 10610"/>
                <a:gd name="connsiteX33" fmla="*/ 4317 w 10117"/>
                <a:gd name="connsiteY33" fmla="*/ 10183 h 10610"/>
                <a:gd name="connsiteX34" fmla="*/ 4549 w 10117"/>
                <a:gd name="connsiteY34" fmla="*/ 10074 h 10610"/>
                <a:gd name="connsiteX35" fmla="*/ 4767 w 10117"/>
                <a:gd name="connsiteY35" fmla="*/ 9967 h 10610"/>
                <a:gd name="connsiteX36" fmla="*/ 4988 w 10117"/>
                <a:gd name="connsiteY36" fmla="*/ 9849 h 10610"/>
                <a:gd name="connsiteX37" fmla="*/ 5209 w 10117"/>
                <a:gd name="connsiteY37" fmla="*/ 9736 h 10610"/>
                <a:gd name="connsiteX38" fmla="*/ 5419 w 10117"/>
                <a:gd name="connsiteY38" fmla="*/ 9615 h 10610"/>
                <a:gd name="connsiteX39" fmla="*/ 5635 w 10117"/>
                <a:gd name="connsiteY39" fmla="*/ 9491 h 10610"/>
                <a:gd name="connsiteX40" fmla="*/ 5839 w 10117"/>
                <a:gd name="connsiteY40" fmla="*/ 9362 h 10610"/>
                <a:gd name="connsiteX41" fmla="*/ 6043 w 10117"/>
                <a:gd name="connsiteY41" fmla="*/ 9235 h 10610"/>
                <a:gd name="connsiteX42" fmla="*/ 6239 w 10117"/>
                <a:gd name="connsiteY42" fmla="*/ 9105 h 10610"/>
                <a:gd name="connsiteX43" fmla="*/ 6438 w 10117"/>
                <a:gd name="connsiteY43" fmla="*/ 8967 h 10610"/>
                <a:gd name="connsiteX44" fmla="*/ 6629 w 10117"/>
                <a:gd name="connsiteY44" fmla="*/ 8825 h 10610"/>
                <a:gd name="connsiteX45" fmla="*/ 6814 w 10117"/>
                <a:gd name="connsiteY45" fmla="*/ 8689 h 10610"/>
                <a:gd name="connsiteX46" fmla="*/ 6997 w 10117"/>
                <a:gd name="connsiteY46" fmla="*/ 8544 h 10610"/>
                <a:gd name="connsiteX47" fmla="*/ 7173 w 10117"/>
                <a:gd name="connsiteY47" fmla="*/ 8396 h 10610"/>
                <a:gd name="connsiteX48" fmla="*/ 7349 w 10117"/>
                <a:gd name="connsiteY48" fmla="*/ 8248 h 10610"/>
                <a:gd name="connsiteX49" fmla="*/ 7518 w 10117"/>
                <a:gd name="connsiteY49" fmla="*/ 8097 h 10610"/>
                <a:gd name="connsiteX50" fmla="*/ 7686 w 10117"/>
                <a:gd name="connsiteY50" fmla="*/ 7940 h 10610"/>
                <a:gd name="connsiteX51" fmla="*/ 7842 w 10117"/>
                <a:gd name="connsiteY51" fmla="*/ 7782 h 10610"/>
                <a:gd name="connsiteX52" fmla="*/ 7995 w 10117"/>
                <a:gd name="connsiteY52" fmla="*/ 7623 h 10610"/>
                <a:gd name="connsiteX53" fmla="*/ 8150 w 10117"/>
                <a:gd name="connsiteY53" fmla="*/ 7463 h 10610"/>
                <a:gd name="connsiteX54" fmla="*/ 8293 w 10117"/>
                <a:gd name="connsiteY54" fmla="*/ 7296 h 10610"/>
                <a:gd name="connsiteX55" fmla="*/ 8433 w 10117"/>
                <a:gd name="connsiteY55" fmla="*/ 7132 h 10610"/>
                <a:gd name="connsiteX56" fmla="*/ 8569 w 10117"/>
                <a:gd name="connsiteY56" fmla="*/ 6962 h 10610"/>
                <a:gd name="connsiteX57" fmla="*/ 8695 w 10117"/>
                <a:gd name="connsiteY57" fmla="*/ 6788 h 10610"/>
                <a:gd name="connsiteX58" fmla="*/ 8819 w 10117"/>
                <a:gd name="connsiteY58" fmla="*/ 6614 h 10610"/>
                <a:gd name="connsiteX59" fmla="*/ 8945 w 10117"/>
                <a:gd name="connsiteY59" fmla="*/ 6440 h 10610"/>
                <a:gd name="connsiteX60" fmla="*/ 9063 w 10117"/>
                <a:gd name="connsiteY60" fmla="*/ 6262 h 10610"/>
                <a:gd name="connsiteX61" fmla="*/ 9167 w 10117"/>
                <a:gd name="connsiteY61" fmla="*/ 6084 h 10610"/>
                <a:gd name="connsiteX62" fmla="*/ 9274 w 10117"/>
                <a:gd name="connsiteY62" fmla="*/ 5902 h 10610"/>
                <a:gd name="connsiteX63" fmla="*/ 9369 w 10117"/>
                <a:gd name="connsiteY63" fmla="*/ 5716 h 10610"/>
                <a:gd name="connsiteX64" fmla="*/ 9465 w 10117"/>
                <a:gd name="connsiteY64" fmla="*/ 5533 h 10610"/>
                <a:gd name="connsiteX65" fmla="*/ 9549 w 10117"/>
                <a:gd name="connsiteY65" fmla="*/ 5344 h 10610"/>
                <a:gd name="connsiteX66" fmla="*/ 9630 w 10117"/>
                <a:gd name="connsiteY66" fmla="*/ 5153 h 10610"/>
                <a:gd name="connsiteX67" fmla="*/ 9704 w 10117"/>
                <a:gd name="connsiteY67" fmla="*/ 4961 h 10610"/>
                <a:gd name="connsiteX68" fmla="*/ 9777 w 10117"/>
                <a:gd name="connsiteY68" fmla="*/ 4771 h 10610"/>
                <a:gd name="connsiteX69" fmla="*/ 9839 w 10117"/>
                <a:gd name="connsiteY69" fmla="*/ 4578 h 10610"/>
                <a:gd name="connsiteX70" fmla="*/ 9898 w 10117"/>
                <a:gd name="connsiteY70" fmla="*/ 4381 h 10610"/>
                <a:gd name="connsiteX71" fmla="*/ 9635 w 10117"/>
                <a:gd name="connsiteY71" fmla="*/ 0 h 10610"/>
                <a:gd name="connsiteX72" fmla="*/ 6408 w 10117"/>
                <a:gd name="connsiteY72" fmla="*/ 1883 h 10610"/>
                <a:gd name="connsiteX73" fmla="*/ 2450 w 10117"/>
                <a:gd name="connsiteY73" fmla="*/ 1500 h 10610"/>
                <a:gd name="connsiteX0" fmla="*/ 2450 w 10117"/>
                <a:gd name="connsiteY0" fmla="*/ 1500 h 10610"/>
                <a:gd name="connsiteX1" fmla="*/ 2001 w 10117"/>
                <a:gd name="connsiteY1" fmla="*/ 4412 h 10610"/>
                <a:gd name="connsiteX2" fmla="*/ 1950 w 10117"/>
                <a:gd name="connsiteY2" fmla="*/ 4486 h 10610"/>
                <a:gd name="connsiteX3" fmla="*/ 1890 w 10117"/>
                <a:gd name="connsiteY3" fmla="*/ 4557 h 10610"/>
                <a:gd name="connsiteX4" fmla="*/ 1827 w 10117"/>
                <a:gd name="connsiteY4" fmla="*/ 4623 h 10610"/>
                <a:gd name="connsiteX5" fmla="*/ 1762 w 10117"/>
                <a:gd name="connsiteY5" fmla="*/ 4691 h 10610"/>
                <a:gd name="connsiteX6" fmla="*/ 1702 w 10117"/>
                <a:gd name="connsiteY6" fmla="*/ 4758 h 10610"/>
                <a:gd name="connsiteX7" fmla="*/ 1632 w 10117"/>
                <a:gd name="connsiteY7" fmla="*/ 4830 h 10610"/>
                <a:gd name="connsiteX8" fmla="*/ 1563 w 10117"/>
                <a:gd name="connsiteY8" fmla="*/ 4893 h 10610"/>
                <a:gd name="connsiteX9" fmla="*/ 1490 w 10117"/>
                <a:gd name="connsiteY9" fmla="*/ 4952 h 10610"/>
                <a:gd name="connsiteX10" fmla="*/ 1415 w 10117"/>
                <a:gd name="connsiteY10" fmla="*/ 5019 h 10610"/>
                <a:gd name="connsiteX11" fmla="*/ 1341 w 10117"/>
                <a:gd name="connsiteY11" fmla="*/ 5081 h 10610"/>
                <a:gd name="connsiteX12" fmla="*/ 1262 w 10117"/>
                <a:gd name="connsiteY12" fmla="*/ 5140 h 10610"/>
                <a:gd name="connsiteX13" fmla="*/ 1184 w 10117"/>
                <a:gd name="connsiteY13" fmla="*/ 5204 h 10610"/>
                <a:gd name="connsiteX14" fmla="*/ 1105 w 10117"/>
                <a:gd name="connsiteY14" fmla="*/ 5262 h 10610"/>
                <a:gd name="connsiteX15" fmla="*/ 1017 w 10117"/>
                <a:gd name="connsiteY15" fmla="*/ 5319 h 10610"/>
                <a:gd name="connsiteX16" fmla="*/ 937 w 10117"/>
                <a:gd name="connsiteY16" fmla="*/ 5373 h 10610"/>
                <a:gd name="connsiteX17" fmla="*/ 850 w 10117"/>
                <a:gd name="connsiteY17" fmla="*/ 5429 h 10610"/>
                <a:gd name="connsiteX18" fmla="*/ 765 w 10117"/>
                <a:gd name="connsiteY18" fmla="*/ 5481 h 10610"/>
                <a:gd name="connsiteX19" fmla="*/ 670 w 10117"/>
                <a:gd name="connsiteY19" fmla="*/ 5534 h 10610"/>
                <a:gd name="connsiteX20" fmla="*/ 581 w 10117"/>
                <a:gd name="connsiteY20" fmla="*/ 5583 h 10610"/>
                <a:gd name="connsiteX21" fmla="*/ 488 w 10117"/>
                <a:gd name="connsiteY21" fmla="*/ 5633 h 10610"/>
                <a:gd name="connsiteX22" fmla="*/ 393 w 10117"/>
                <a:gd name="connsiteY22" fmla="*/ 5681 h 10610"/>
                <a:gd name="connsiteX23" fmla="*/ 295 w 10117"/>
                <a:gd name="connsiteY23" fmla="*/ 5725 h 10610"/>
                <a:gd name="connsiteX24" fmla="*/ 198 w 10117"/>
                <a:gd name="connsiteY24" fmla="*/ 5773 h 10610"/>
                <a:gd name="connsiteX25" fmla="*/ 103 w 10117"/>
                <a:gd name="connsiteY25" fmla="*/ 5816 h 10610"/>
                <a:gd name="connsiteX26" fmla="*/ 0 w 10117"/>
                <a:gd name="connsiteY26" fmla="*/ 5857 h 10610"/>
                <a:gd name="connsiteX27" fmla="*/ 210 w 10117"/>
                <a:gd name="connsiteY27" fmla="*/ 8550 h 10610"/>
                <a:gd name="connsiteX28" fmla="*/ 3301 w 10117"/>
                <a:gd name="connsiteY28" fmla="*/ 10610 h 10610"/>
                <a:gd name="connsiteX29" fmla="*/ 3606 w 10117"/>
                <a:gd name="connsiteY29" fmla="*/ 10485 h 10610"/>
                <a:gd name="connsiteX30" fmla="*/ 3848 w 10117"/>
                <a:gd name="connsiteY30" fmla="*/ 10386 h 10610"/>
                <a:gd name="connsiteX31" fmla="*/ 4084 w 10117"/>
                <a:gd name="connsiteY31" fmla="*/ 10287 h 10610"/>
                <a:gd name="connsiteX32" fmla="*/ 4317 w 10117"/>
                <a:gd name="connsiteY32" fmla="*/ 10183 h 10610"/>
                <a:gd name="connsiteX33" fmla="*/ 4549 w 10117"/>
                <a:gd name="connsiteY33" fmla="*/ 10074 h 10610"/>
                <a:gd name="connsiteX34" fmla="*/ 4767 w 10117"/>
                <a:gd name="connsiteY34" fmla="*/ 9967 h 10610"/>
                <a:gd name="connsiteX35" fmla="*/ 4988 w 10117"/>
                <a:gd name="connsiteY35" fmla="*/ 9849 h 10610"/>
                <a:gd name="connsiteX36" fmla="*/ 5209 w 10117"/>
                <a:gd name="connsiteY36" fmla="*/ 9736 h 10610"/>
                <a:gd name="connsiteX37" fmla="*/ 5419 w 10117"/>
                <a:gd name="connsiteY37" fmla="*/ 9615 h 10610"/>
                <a:gd name="connsiteX38" fmla="*/ 5635 w 10117"/>
                <a:gd name="connsiteY38" fmla="*/ 9491 h 10610"/>
                <a:gd name="connsiteX39" fmla="*/ 5839 w 10117"/>
                <a:gd name="connsiteY39" fmla="*/ 9362 h 10610"/>
                <a:gd name="connsiteX40" fmla="*/ 6043 w 10117"/>
                <a:gd name="connsiteY40" fmla="*/ 9235 h 10610"/>
                <a:gd name="connsiteX41" fmla="*/ 6239 w 10117"/>
                <a:gd name="connsiteY41" fmla="*/ 9105 h 10610"/>
                <a:gd name="connsiteX42" fmla="*/ 6438 w 10117"/>
                <a:gd name="connsiteY42" fmla="*/ 8967 h 10610"/>
                <a:gd name="connsiteX43" fmla="*/ 6629 w 10117"/>
                <a:gd name="connsiteY43" fmla="*/ 8825 h 10610"/>
                <a:gd name="connsiteX44" fmla="*/ 6814 w 10117"/>
                <a:gd name="connsiteY44" fmla="*/ 8689 h 10610"/>
                <a:gd name="connsiteX45" fmla="*/ 6997 w 10117"/>
                <a:gd name="connsiteY45" fmla="*/ 8544 h 10610"/>
                <a:gd name="connsiteX46" fmla="*/ 7173 w 10117"/>
                <a:gd name="connsiteY46" fmla="*/ 8396 h 10610"/>
                <a:gd name="connsiteX47" fmla="*/ 7349 w 10117"/>
                <a:gd name="connsiteY47" fmla="*/ 8248 h 10610"/>
                <a:gd name="connsiteX48" fmla="*/ 7518 w 10117"/>
                <a:gd name="connsiteY48" fmla="*/ 8097 h 10610"/>
                <a:gd name="connsiteX49" fmla="*/ 7686 w 10117"/>
                <a:gd name="connsiteY49" fmla="*/ 7940 h 10610"/>
                <a:gd name="connsiteX50" fmla="*/ 7842 w 10117"/>
                <a:gd name="connsiteY50" fmla="*/ 7782 h 10610"/>
                <a:gd name="connsiteX51" fmla="*/ 7995 w 10117"/>
                <a:gd name="connsiteY51" fmla="*/ 7623 h 10610"/>
                <a:gd name="connsiteX52" fmla="*/ 8150 w 10117"/>
                <a:gd name="connsiteY52" fmla="*/ 7463 h 10610"/>
                <a:gd name="connsiteX53" fmla="*/ 8293 w 10117"/>
                <a:gd name="connsiteY53" fmla="*/ 7296 h 10610"/>
                <a:gd name="connsiteX54" fmla="*/ 8433 w 10117"/>
                <a:gd name="connsiteY54" fmla="*/ 7132 h 10610"/>
                <a:gd name="connsiteX55" fmla="*/ 8569 w 10117"/>
                <a:gd name="connsiteY55" fmla="*/ 6962 h 10610"/>
                <a:gd name="connsiteX56" fmla="*/ 8695 w 10117"/>
                <a:gd name="connsiteY56" fmla="*/ 6788 h 10610"/>
                <a:gd name="connsiteX57" fmla="*/ 8819 w 10117"/>
                <a:gd name="connsiteY57" fmla="*/ 6614 h 10610"/>
                <a:gd name="connsiteX58" fmla="*/ 8945 w 10117"/>
                <a:gd name="connsiteY58" fmla="*/ 6440 h 10610"/>
                <a:gd name="connsiteX59" fmla="*/ 9063 w 10117"/>
                <a:gd name="connsiteY59" fmla="*/ 6262 h 10610"/>
                <a:gd name="connsiteX60" fmla="*/ 9167 w 10117"/>
                <a:gd name="connsiteY60" fmla="*/ 6084 h 10610"/>
                <a:gd name="connsiteX61" fmla="*/ 9274 w 10117"/>
                <a:gd name="connsiteY61" fmla="*/ 5902 h 10610"/>
                <a:gd name="connsiteX62" fmla="*/ 9369 w 10117"/>
                <a:gd name="connsiteY62" fmla="*/ 5716 h 10610"/>
                <a:gd name="connsiteX63" fmla="*/ 9465 w 10117"/>
                <a:gd name="connsiteY63" fmla="*/ 5533 h 10610"/>
                <a:gd name="connsiteX64" fmla="*/ 9549 w 10117"/>
                <a:gd name="connsiteY64" fmla="*/ 5344 h 10610"/>
                <a:gd name="connsiteX65" fmla="*/ 9630 w 10117"/>
                <a:gd name="connsiteY65" fmla="*/ 5153 h 10610"/>
                <a:gd name="connsiteX66" fmla="*/ 9704 w 10117"/>
                <a:gd name="connsiteY66" fmla="*/ 4961 h 10610"/>
                <a:gd name="connsiteX67" fmla="*/ 9777 w 10117"/>
                <a:gd name="connsiteY67" fmla="*/ 4771 h 10610"/>
                <a:gd name="connsiteX68" fmla="*/ 9839 w 10117"/>
                <a:gd name="connsiteY68" fmla="*/ 4578 h 10610"/>
                <a:gd name="connsiteX69" fmla="*/ 9898 w 10117"/>
                <a:gd name="connsiteY69" fmla="*/ 4381 h 10610"/>
                <a:gd name="connsiteX70" fmla="*/ 9635 w 10117"/>
                <a:gd name="connsiteY70" fmla="*/ 0 h 10610"/>
                <a:gd name="connsiteX71" fmla="*/ 6408 w 10117"/>
                <a:gd name="connsiteY71" fmla="*/ 1883 h 10610"/>
                <a:gd name="connsiteX72" fmla="*/ 2450 w 10117"/>
                <a:gd name="connsiteY72" fmla="*/ 1500 h 10610"/>
                <a:gd name="connsiteX0" fmla="*/ 2450 w 10117"/>
                <a:gd name="connsiteY0" fmla="*/ 1500 h 10610"/>
                <a:gd name="connsiteX1" fmla="*/ 1950 w 10117"/>
                <a:gd name="connsiteY1" fmla="*/ 4486 h 10610"/>
                <a:gd name="connsiteX2" fmla="*/ 1890 w 10117"/>
                <a:gd name="connsiteY2" fmla="*/ 4557 h 10610"/>
                <a:gd name="connsiteX3" fmla="*/ 1827 w 10117"/>
                <a:gd name="connsiteY3" fmla="*/ 4623 h 10610"/>
                <a:gd name="connsiteX4" fmla="*/ 1762 w 10117"/>
                <a:gd name="connsiteY4" fmla="*/ 4691 h 10610"/>
                <a:gd name="connsiteX5" fmla="*/ 1702 w 10117"/>
                <a:gd name="connsiteY5" fmla="*/ 4758 h 10610"/>
                <a:gd name="connsiteX6" fmla="*/ 1632 w 10117"/>
                <a:gd name="connsiteY6" fmla="*/ 4830 h 10610"/>
                <a:gd name="connsiteX7" fmla="*/ 1563 w 10117"/>
                <a:gd name="connsiteY7" fmla="*/ 4893 h 10610"/>
                <a:gd name="connsiteX8" fmla="*/ 1490 w 10117"/>
                <a:gd name="connsiteY8" fmla="*/ 4952 h 10610"/>
                <a:gd name="connsiteX9" fmla="*/ 1415 w 10117"/>
                <a:gd name="connsiteY9" fmla="*/ 5019 h 10610"/>
                <a:gd name="connsiteX10" fmla="*/ 1341 w 10117"/>
                <a:gd name="connsiteY10" fmla="*/ 5081 h 10610"/>
                <a:gd name="connsiteX11" fmla="*/ 1262 w 10117"/>
                <a:gd name="connsiteY11" fmla="*/ 5140 h 10610"/>
                <a:gd name="connsiteX12" fmla="*/ 1184 w 10117"/>
                <a:gd name="connsiteY12" fmla="*/ 5204 h 10610"/>
                <a:gd name="connsiteX13" fmla="*/ 1105 w 10117"/>
                <a:gd name="connsiteY13" fmla="*/ 5262 h 10610"/>
                <a:gd name="connsiteX14" fmla="*/ 1017 w 10117"/>
                <a:gd name="connsiteY14" fmla="*/ 5319 h 10610"/>
                <a:gd name="connsiteX15" fmla="*/ 937 w 10117"/>
                <a:gd name="connsiteY15" fmla="*/ 5373 h 10610"/>
                <a:gd name="connsiteX16" fmla="*/ 850 w 10117"/>
                <a:gd name="connsiteY16" fmla="*/ 5429 h 10610"/>
                <a:gd name="connsiteX17" fmla="*/ 765 w 10117"/>
                <a:gd name="connsiteY17" fmla="*/ 5481 h 10610"/>
                <a:gd name="connsiteX18" fmla="*/ 670 w 10117"/>
                <a:gd name="connsiteY18" fmla="*/ 5534 h 10610"/>
                <a:gd name="connsiteX19" fmla="*/ 581 w 10117"/>
                <a:gd name="connsiteY19" fmla="*/ 5583 h 10610"/>
                <a:gd name="connsiteX20" fmla="*/ 488 w 10117"/>
                <a:gd name="connsiteY20" fmla="*/ 5633 h 10610"/>
                <a:gd name="connsiteX21" fmla="*/ 393 w 10117"/>
                <a:gd name="connsiteY21" fmla="*/ 5681 h 10610"/>
                <a:gd name="connsiteX22" fmla="*/ 295 w 10117"/>
                <a:gd name="connsiteY22" fmla="*/ 5725 h 10610"/>
                <a:gd name="connsiteX23" fmla="*/ 198 w 10117"/>
                <a:gd name="connsiteY23" fmla="*/ 5773 h 10610"/>
                <a:gd name="connsiteX24" fmla="*/ 103 w 10117"/>
                <a:gd name="connsiteY24" fmla="*/ 5816 h 10610"/>
                <a:gd name="connsiteX25" fmla="*/ 0 w 10117"/>
                <a:gd name="connsiteY25" fmla="*/ 5857 h 10610"/>
                <a:gd name="connsiteX26" fmla="*/ 210 w 10117"/>
                <a:gd name="connsiteY26" fmla="*/ 8550 h 10610"/>
                <a:gd name="connsiteX27" fmla="*/ 3301 w 10117"/>
                <a:gd name="connsiteY27" fmla="*/ 10610 h 10610"/>
                <a:gd name="connsiteX28" fmla="*/ 3606 w 10117"/>
                <a:gd name="connsiteY28" fmla="*/ 10485 h 10610"/>
                <a:gd name="connsiteX29" fmla="*/ 3848 w 10117"/>
                <a:gd name="connsiteY29" fmla="*/ 10386 h 10610"/>
                <a:gd name="connsiteX30" fmla="*/ 4084 w 10117"/>
                <a:gd name="connsiteY30" fmla="*/ 10287 h 10610"/>
                <a:gd name="connsiteX31" fmla="*/ 4317 w 10117"/>
                <a:gd name="connsiteY31" fmla="*/ 10183 h 10610"/>
                <a:gd name="connsiteX32" fmla="*/ 4549 w 10117"/>
                <a:gd name="connsiteY32" fmla="*/ 10074 h 10610"/>
                <a:gd name="connsiteX33" fmla="*/ 4767 w 10117"/>
                <a:gd name="connsiteY33" fmla="*/ 9967 h 10610"/>
                <a:gd name="connsiteX34" fmla="*/ 4988 w 10117"/>
                <a:gd name="connsiteY34" fmla="*/ 9849 h 10610"/>
                <a:gd name="connsiteX35" fmla="*/ 5209 w 10117"/>
                <a:gd name="connsiteY35" fmla="*/ 9736 h 10610"/>
                <a:gd name="connsiteX36" fmla="*/ 5419 w 10117"/>
                <a:gd name="connsiteY36" fmla="*/ 9615 h 10610"/>
                <a:gd name="connsiteX37" fmla="*/ 5635 w 10117"/>
                <a:gd name="connsiteY37" fmla="*/ 9491 h 10610"/>
                <a:gd name="connsiteX38" fmla="*/ 5839 w 10117"/>
                <a:gd name="connsiteY38" fmla="*/ 9362 h 10610"/>
                <a:gd name="connsiteX39" fmla="*/ 6043 w 10117"/>
                <a:gd name="connsiteY39" fmla="*/ 9235 h 10610"/>
                <a:gd name="connsiteX40" fmla="*/ 6239 w 10117"/>
                <a:gd name="connsiteY40" fmla="*/ 9105 h 10610"/>
                <a:gd name="connsiteX41" fmla="*/ 6438 w 10117"/>
                <a:gd name="connsiteY41" fmla="*/ 8967 h 10610"/>
                <a:gd name="connsiteX42" fmla="*/ 6629 w 10117"/>
                <a:gd name="connsiteY42" fmla="*/ 8825 h 10610"/>
                <a:gd name="connsiteX43" fmla="*/ 6814 w 10117"/>
                <a:gd name="connsiteY43" fmla="*/ 8689 h 10610"/>
                <a:gd name="connsiteX44" fmla="*/ 6997 w 10117"/>
                <a:gd name="connsiteY44" fmla="*/ 8544 h 10610"/>
                <a:gd name="connsiteX45" fmla="*/ 7173 w 10117"/>
                <a:gd name="connsiteY45" fmla="*/ 8396 h 10610"/>
                <a:gd name="connsiteX46" fmla="*/ 7349 w 10117"/>
                <a:gd name="connsiteY46" fmla="*/ 8248 h 10610"/>
                <a:gd name="connsiteX47" fmla="*/ 7518 w 10117"/>
                <a:gd name="connsiteY47" fmla="*/ 8097 h 10610"/>
                <a:gd name="connsiteX48" fmla="*/ 7686 w 10117"/>
                <a:gd name="connsiteY48" fmla="*/ 7940 h 10610"/>
                <a:gd name="connsiteX49" fmla="*/ 7842 w 10117"/>
                <a:gd name="connsiteY49" fmla="*/ 7782 h 10610"/>
                <a:gd name="connsiteX50" fmla="*/ 7995 w 10117"/>
                <a:gd name="connsiteY50" fmla="*/ 7623 h 10610"/>
                <a:gd name="connsiteX51" fmla="*/ 8150 w 10117"/>
                <a:gd name="connsiteY51" fmla="*/ 7463 h 10610"/>
                <a:gd name="connsiteX52" fmla="*/ 8293 w 10117"/>
                <a:gd name="connsiteY52" fmla="*/ 7296 h 10610"/>
                <a:gd name="connsiteX53" fmla="*/ 8433 w 10117"/>
                <a:gd name="connsiteY53" fmla="*/ 7132 h 10610"/>
                <a:gd name="connsiteX54" fmla="*/ 8569 w 10117"/>
                <a:gd name="connsiteY54" fmla="*/ 6962 h 10610"/>
                <a:gd name="connsiteX55" fmla="*/ 8695 w 10117"/>
                <a:gd name="connsiteY55" fmla="*/ 6788 h 10610"/>
                <a:gd name="connsiteX56" fmla="*/ 8819 w 10117"/>
                <a:gd name="connsiteY56" fmla="*/ 6614 h 10610"/>
                <a:gd name="connsiteX57" fmla="*/ 8945 w 10117"/>
                <a:gd name="connsiteY57" fmla="*/ 6440 h 10610"/>
                <a:gd name="connsiteX58" fmla="*/ 9063 w 10117"/>
                <a:gd name="connsiteY58" fmla="*/ 6262 h 10610"/>
                <a:gd name="connsiteX59" fmla="*/ 9167 w 10117"/>
                <a:gd name="connsiteY59" fmla="*/ 6084 h 10610"/>
                <a:gd name="connsiteX60" fmla="*/ 9274 w 10117"/>
                <a:gd name="connsiteY60" fmla="*/ 5902 h 10610"/>
                <a:gd name="connsiteX61" fmla="*/ 9369 w 10117"/>
                <a:gd name="connsiteY61" fmla="*/ 5716 h 10610"/>
                <a:gd name="connsiteX62" fmla="*/ 9465 w 10117"/>
                <a:gd name="connsiteY62" fmla="*/ 5533 h 10610"/>
                <a:gd name="connsiteX63" fmla="*/ 9549 w 10117"/>
                <a:gd name="connsiteY63" fmla="*/ 5344 h 10610"/>
                <a:gd name="connsiteX64" fmla="*/ 9630 w 10117"/>
                <a:gd name="connsiteY64" fmla="*/ 5153 h 10610"/>
                <a:gd name="connsiteX65" fmla="*/ 9704 w 10117"/>
                <a:gd name="connsiteY65" fmla="*/ 4961 h 10610"/>
                <a:gd name="connsiteX66" fmla="*/ 9777 w 10117"/>
                <a:gd name="connsiteY66" fmla="*/ 4771 h 10610"/>
                <a:gd name="connsiteX67" fmla="*/ 9839 w 10117"/>
                <a:gd name="connsiteY67" fmla="*/ 4578 h 10610"/>
                <a:gd name="connsiteX68" fmla="*/ 9898 w 10117"/>
                <a:gd name="connsiteY68" fmla="*/ 4381 h 10610"/>
                <a:gd name="connsiteX69" fmla="*/ 9635 w 10117"/>
                <a:gd name="connsiteY69" fmla="*/ 0 h 10610"/>
                <a:gd name="connsiteX70" fmla="*/ 6408 w 10117"/>
                <a:gd name="connsiteY70" fmla="*/ 1883 h 10610"/>
                <a:gd name="connsiteX71" fmla="*/ 2450 w 10117"/>
                <a:gd name="connsiteY71" fmla="*/ 1500 h 10610"/>
                <a:gd name="connsiteX0" fmla="*/ 2450 w 10117"/>
                <a:gd name="connsiteY0" fmla="*/ 1500 h 10610"/>
                <a:gd name="connsiteX1" fmla="*/ 1890 w 10117"/>
                <a:gd name="connsiteY1" fmla="*/ 4557 h 10610"/>
                <a:gd name="connsiteX2" fmla="*/ 1827 w 10117"/>
                <a:gd name="connsiteY2" fmla="*/ 4623 h 10610"/>
                <a:gd name="connsiteX3" fmla="*/ 1762 w 10117"/>
                <a:gd name="connsiteY3" fmla="*/ 4691 h 10610"/>
                <a:gd name="connsiteX4" fmla="*/ 1702 w 10117"/>
                <a:gd name="connsiteY4" fmla="*/ 4758 h 10610"/>
                <a:gd name="connsiteX5" fmla="*/ 1632 w 10117"/>
                <a:gd name="connsiteY5" fmla="*/ 4830 h 10610"/>
                <a:gd name="connsiteX6" fmla="*/ 1563 w 10117"/>
                <a:gd name="connsiteY6" fmla="*/ 4893 h 10610"/>
                <a:gd name="connsiteX7" fmla="*/ 1490 w 10117"/>
                <a:gd name="connsiteY7" fmla="*/ 4952 h 10610"/>
                <a:gd name="connsiteX8" fmla="*/ 1415 w 10117"/>
                <a:gd name="connsiteY8" fmla="*/ 5019 h 10610"/>
                <a:gd name="connsiteX9" fmla="*/ 1341 w 10117"/>
                <a:gd name="connsiteY9" fmla="*/ 5081 h 10610"/>
                <a:gd name="connsiteX10" fmla="*/ 1262 w 10117"/>
                <a:gd name="connsiteY10" fmla="*/ 5140 h 10610"/>
                <a:gd name="connsiteX11" fmla="*/ 1184 w 10117"/>
                <a:gd name="connsiteY11" fmla="*/ 5204 h 10610"/>
                <a:gd name="connsiteX12" fmla="*/ 1105 w 10117"/>
                <a:gd name="connsiteY12" fmla="*/ 5262 h 10610"/>
                <a:gd name="connsiteX13" fmla="*/ 1017 w 10117"/>
                <a:gd name="connsiteY13" fmla="*/ 5319 h 10610"/>
                <a:gd name="connsiteX14" fmla="*/ 937 w 10117"/>
                <a:gd name="connsiteY14" fmla="*/ 5373 h 10610"/>
                <a:gd name="connsiteX15" fmla="*/ 850 w 10117"/>
                <a:gd name="connsiteY15" fmla="*/ 5429 h 10610"/>
                <a:gd name="connsiteX16" fmla="*/ 765 w 10117"/>
                <a:gd name="connsiteY16" fmla="*/ 5481 h 10610"/>
                <a:gd name="connsiteX17" fmla="*/ 670 w 10117"/>
                <a:gd name="connsiteY17" fmla="*/ 5534 h 10610"/>
                <a:gd name="connsiteX18" fmla="*/ 581 w 10117"/>
                <a:gd name="connsiteY18" fmla="*/ 5583 h 10610"/>
                <a:gd name="connsiteX19" fmla="*/ 488 w 10117"/>
                <a:gd name="connsiteY19" fmla="*/ 5633 h 10610"/>
                <a:gd name="connsiteX20" fmla="*/ 393 w 10117"/>
                <a:gd name="connsiteY20" fmla="*/ 5681 h 10610"/>
                <a:gd name="connsiteX21" fmla="*/ 295 w 10117"/>
                <a:gd name="connsiteY21" fmla="*/ 5725 h 10610"/>
                <a:gd name="connsiteX22" fmla="*/ 198 w 10117"/>
                <a:gd name="connsiteY22" fmla="*/ 5773 h 10610"/>
                <a:gd name="connsiteX23" fmla="*/ 103 w 10117"/>
                <a:gd name="connsiteY23" fmla="*/ 5816 h 10610"/>
                <a:gd name="connsiteX24" fmla="*/ 0 w 10117"/>
                <a:gd name="connsiteY24" fmla="*/ 5857 h 10610"/>
                <a:gd name="connsiteX25" fmla="*/ 210 w 10117"/>
                <a:gd name="connsiteY25" fmla="*/ 8550 h 10610"/>
                <a:gd name="connsiteX26" fmla="*/ 3301 w 10117"/>
                <a:gd name="connsiteY26" fmla="*/ 10610 h 10610"/>
                <a:gd name="connsiteX27" fmla="*/ 3606 w 10117"/>
                <a:gd name="connsiteY27" fmla="*/ 10485 h 10610"/>
                <a:gd name="connsiteX28" fmla="*/ 3848 w 10117"/>
                <a:gd name="connsiteY28" fmla="*/ 10386 h 10610"/>
                <a:gd name="connsiteX29" fmla="*/ 4084 w 10117"/>
                <a:gd name="connsiteY29" fmla="*/ 10287 h 10610"/>
                <a:gd name="connsiteX30" fmla="*/ 4317 w 10117"/>
                <a:gd name="connsiteY30" fmla="*/ 10183 h 10610"/>
                <a:gd name="connsiteX31" fmla="*/ 4549 w 10117"/>
                <a:gd name="connsiteY31" fmla="*/ 10074 h 10610"/>
                <a:gd name="connsiteX32" fmla="*/ 4767 w 10117"/>
                <a:gd name="connsiteY32" fmla="*/ 9967 h 10610"/>
                <a:gd name="connsiteX33" fmla="*/ 4988 w 10117"/>
                <a:gd name="connsiteY33" fmla="*/ 9849 h 10610"/>
                <a:gd name="connsiteX34" fmla="*/ 5209 w 10117"/>
                <a:gd name="connsiteY34" fmla="*/ 9736 h 10610"/>
                <a:gd name="connsiteX35" fmla="*/ 5419 w 10117"/>
                <a:gd name="connsiteY35" fmla="*/ 9615 h 10610"/>
                <a:gd name="connsiteX36" fmla="*/ 5635 w 10117"/>
                <a:gd name="connsiteY36" fmla="*/ 9491 h 10610"/>
                <a:gd name="connsiteX37" fmla="*/ 5839 w 10117"/>
                <a:gd name="connsiteY37" fmla="*/ 9362 h 10610"/>
                <a:gd name="connsiteX38" fmla="*/ 6043 w 10117"/>
                <a:gd name="connsiteY38" fmla="*/ 9235 h 10610"/>
                <a:gd name="connsiteX39" fmla="*/ 6239 w 10117"/>
                <a:gd name="connsiteY39" fmla="*/ 9105 h 10610"/>
                <a:gd name="connsiteX40" fmla="*/ 6438 w 10117"/>
                <a:gd name="connsiteY40" fmla="*/ 8967 h 10610"/>
                <a:gd name="connsiteX41" fmla="*/ 6629 w 10117"/>
                <a:gd name="connsiteY41" fmla="*/ 8825 h 10610"/>
                <a:gd name="connsiteX42" fmla="*/ 6814 w 10117"/>
                <a:gd name="connsiteY42" fmla="*/ 8689 h 10610"/>
                <a:gd name="connsiteX43" fmla="*/ 6997 w 10117"/>
                <a:gd name="connsiteY43" fmla="*/ 8544 h 10610"/>
                <a:gd name="connsiteX44" fmla="*/ 7173 w 10117"/>
                <a:gd name="connsiteY44" fmla="*/ 8396 h 10610"/>
                <a:gd name="connsiteX45" fmla="*/ 7349 w 10117"/>
                <a:gd name="connsiteY45" fmla="*/ 8248 h 10610"/>
                <a:gd name="connsiteX46" fmla="*/ 7518 w 10117"/>
                <a:gd name="connsiteY46" fmla="*/ 8097 h 10610"/>
                <a:gd name="connsiteX47" fmla="*/ 7686 w 10117"/>
                <a:gd name="connsiteY47" fmla="*/ 7940 h 10610"/>
                <a:gd name="connsiteX48" fmla="*/ 7842 w 10117"/>
                <a:gd name="connsiteY48" fmla="*/ 7782 h 10610"/>
                <a:gd name="connsiteX49" fmla="*/ 7995 w 10117"/>
                <a:gd name="connsiteY49" fmla="*/ 7623 h 10610"/>
                <a:gd name="connsiteX50" fmla="*/ 8150 w 10117"/>
                <a:gd name="connsiteY50" fmla="*/ 7463 h 10610"/>
                <a:gd name="connsiteX51" fmla="*/ 8293 w 10117"/>
                <a:gd name="connsiteY51" fmla="*/ 7296 h 10610"/>
                <a:gd name="connsiteX52" fmla="*/ 8433 w 10117"/>
                <a:gd name="connsiteY52" fmla="*/ 7132 h 10610"/>
                <a:gd name="connsiteX53" fmla="*/ 8569 w 10117"/>
                <a:gd name="connsiteY53" fmla="*/ 6962 h 10610"/>
                <a:gd name="connsiteX54" fmla="*/ 8695 w 10117"/>
                <a:gd name="connsiteY54" fmla="*/ 6788 h 10610"/>
                <a:gd name="connsiteX55" fmla="*/ 8819 w 10117"/>
                <a:gd name="connsiteY55" fmla="*/ 6614 h 10610"/>
                <a:gd name="connsiteX56" fmla="*/ 8945 w 10117"/>
                <a:gd name="connsiteY56" fmla="*/ 6440 h 10610"/>
                <a:gd name="connsiteX57" fmla="*/ 9063 w 10117"/>
                <a:gd name="connsiteY57" fmla="*/ 6262 h 10610"/>
                <a:gd name="connsiteX58" fmla="*/ 9167 w 10117"/>
                <a:gd name="connsiteY58" fmla="*/ 6084 h 10610"/>
                <a:gd name="connsiteX59" fmla="*/ 9274 w 10117"/>
                <a:gd name="connsiteY59" fmla="*/ 5902 h 10610"/>
                <a:gd name="connsiteX60" fmla="*/ 9369 w 10117"/>
                <a:gd name="connsiteY60" fmla="*/ 5716 h 10610"/>
                <a:gd name="connsiteX61" fmla="*/ 9465 w 10117"/>
                <a:gd name="connsiteY61" fmla="*/ 5533 h 10610"/>
                <a:gd name="connsiteX62" fmla="*/ 9549 w 10117"/>
                <a:gd name="connsiteY62" fmla="*/ 5344 h 10610"/>
                <a:gd name="connsiteX63" fmla="*/ 9630 w 10117"/>
                <a:gd name="connsiteY63" fmla="*/ 5153 h 10610"/>
                <a:gd name="connsiteX64" fmla="*/ 9704 w 10117"/>
                <a:gd name="connsiteY64" fmla="*/ 4961 h 10610"/>
                <a:gd name="connsiteX65" fmla="*/ 9777 w 10117"/>
                <a:gd name="connsiteY65" fmla="*/ 4771 h 10610"/>
                <a:gd name="connsiteX66" fmla="*/ 9839 w 10117"/>
                <a:gd name="connsiteY66" fmla="*/ 4578 h 10610"/>
                <a:gd name="connsiteX67" fmla="*/ 9898 w 10117"/>
                <a:gd name="connsiteY67" fmla="*/ 4381 h 10610"/>
                <a:gd name="connsiteX68" fmla="*/ 9635 w 10117"/>
                <a:gd name="connsiteY68" fmla="*/ 0 h 10610"/>
                <a:gd name="connsiteX69" fmla="*/ 6408 w 10117"/>
                <a:gd name="connsiteY69" fmla="*/ 1883 h 10610"/>
                <a:gd name="connsiteX70" fmla="*/ 2450 w 10117"/>
                <a:gd name="connsiteY70" fmla="*/ 1500 h 10610"/>
                <a:gd name="connsiteX0" fmla="*/ 2450 w 10117"/>
                <a:gd name="connsiteY0" fmla="*/ 1500 h 10610"/>
                <a:gd name="connsiteX1" fmla="*/ 1890 w 10117"/>
                <a:gd name="connsiteY1" fmla="*/ 4557 h 10610"/>
                <a:gd name="connsiteX2" fmla="*/ 1827 w 10117"/>
                <a:gd name="connsiteY2" fmla="*/ 4623 h 10610"/>
                <a:gd name="connsiteX3" fmla="*/ 1762 w 10117"/>
                <a:gd name="connsiteY3" fmla="*/ 4691 h 10610"/>
                <a:gd name="connsiteX4" fmla="*/ 1702 w 10117"/>
                <a:gd name="connsiteY4" fmla="*/ 4758 h 10610"/>
                <a:gd name="connsiteX5" fmla="*/ 1632 w 10117"/>
                <a:gd name="connsiteY5" fmla="*/ 4830 h 10610"/>
                <a:gd name="connsiteX6" fmla="*/ 1563 w 10117"/>
                <a:gd name="connsiteY6" fmla="*/ 4893 h 10610"/>
                <a:gd name="connsiteX7" fmla="*/ 1490 w 10117"/>
                <a:gd name="connsiteY7" fmla="*/ 4952 h 10610"/>
                <a:gd name="connsiteX8" fmla="*/ 1415 w 10117"/>
                <a:gd name="connsiteY8" fmla="*/ 5019 h 10610"/>
                <a:gd name="connsiteX9" fmla="*/ 1341 w 10117"/>
                <a:gd name="connsiteY9" fmla="*/ 5081 h 10610"/>
                <a:gd name="connsiteX10" fmla="*/ 1262 w 10117"/>
                <a:gd name="connsiteY10" fmla="*/ 5140 h 10610"/>
                <a:gd name="connsiteX11" fmla="*/ 1184 w 10117"/>
                <a:gd name="connsiteY11" fmla="*/ 5204 h 10610"/>
                <a:gd name="connsiteX12" fmla="*/ 1105 w 10117"/>
                <a:gd name="connsiteY12" fmla="*/ 5262 h 10610"/>
                <a:gd name="connsiteX13" fmla="*/ 1017 w 10117"/>
                <a:gd name="connsiteY13" fmla="*/ 5319 h 10610"/>
                <a:gd name="connsiteX14" fmla="*/ 937 w 10117"/>
                <a:gd name="connsiteY14" fmla="*/ 5373 h 10610"/>
                <a:gd name="connsiteX15" fmla="*/ 850 w 10117"/>
                <a:gd name="connsiteY15" fmla="*/ 5429 h 10610"/>
                <a:gd name="connsiteX16" fmla="*/ 765 w 10117"/>
                <a:gd name="connsiteY16" fmla="*/ 5481 h 10610"/>
                <a:gd name="connsiteX17" fmla="*/ 670 w 10117"/>
                <a:gd name="connsiteY17" fmla="*/ 5534 h 10610"/>
                <a:gd name="connsiteX18" fmla="*/ 581 w 10117"/>
                <a:gd name="connsiteY18" fmla="*/ 5583 h 10610"/>
                <a:gd name="connsiteX19" fmla="*/ 488 w 10117"/>
                <a:gd name="connsiteY19" fmla="*/ 5633 h 10610"/>
                <a:gd name="connsiteX20" fmla="*/ 393 w 10117"/>
                <a:gd name="connsiteY20" fmla="*/ 5681 h 10610"/>
                <a:gd name="connsiteX21" fmla="*/ 295 w 10117"/>
                <a:gd name="connsiteY21" fmla="*/ 5725 h 10610"/>
                <a:gd name="connsiteX22" fmla="*/ 198 w 10117"/>
                <a:gd name="connsiteY22" fmla="*/ 5773 h 10610"/>
                <a:gd name="connsiteX23" fmla="*/ 103 w 10117"/>
                <a:gd name="connsiteY23" fmla="*/ 5816 h 10610"/>
                <a:gd name="connsiteX24" fmla="*/ 0 w 10117"/>
                <a:gd name="connsiteY24" fmla="*/ 5857 h 10610"/>
                <a:gd name="connsiteX25" fmla="*/ 210 w 10117"/>
                <a:gd name="connsiteY25" fmla="*/ 8550 h 10610"/>
                <a:gd name="connsiteX26" fmla="*/ 3301 w 10117"/>
                <a:gd name="connsiteY26" fmla="*/ 10610 h 10610"/>
                <a:gd name="connsiteX27" fmla="*/ 3606 w 10117"/>
                <a:gd name="connsiteY27" fmla="*/ 10485 h 10610"/>
                <a:gd name="connsiteX28" fmla="*/ 3848 w 10117"/>
                <a:gd name="connsiteY28" fmla="*/ 10386 h 10610"/>
                <a:gd name="connsiteX29" fmla="*/ 4084 w 10117"/>
                <a:gd name="connsiteY29" fmla="*/ 10287 h 10610"/>
                <a:gd name="connsiteX30" fmla="*/ 4317 w 10117"/>
                <a:gd name="connsiteY30" fmla="*/ 10183 h 10610"/>
                <a:gd name="connsiteX31" fmla="*/ 4549 w 10117"/>
                <a:gd name="connsiteY31" fmla="*/ 10074 h 10610"/>
                <a:gd name="connsiteX32" fmla="*/ 4767 w 10117"/>
                <a:gd name="connsiteY32" fmla="*/ 9967 h 10610"/>
                <a:gd name="connsiteX33" fmla="*/ 4988 w 10117"/>
                <a:gd name="connsiteY33" fmla="*/ 9849 h 10610"/>
                <a:gd name="connsiteX34" fmla="*/ 5209 w 10117"/>
                <a:gd name="connsiteY34" fmla="*/ 9736 h 10610"/>
                <a:gd name="connsiteX35" fmla="*/ 5419 w 10117"/>
                <a:gd name="connsiteY35" fmla="*/ 9615 h 10610"/>
                <a:gd name="connsiteX36" fmla="*/ 5635 w 10117"/>
                <a:gd name="connsiteY36" fmla="*/ 9491 h 10610"/>
                <a:gd name="connsiteX37" fmla="*/ 5839 w 10117"/>
                <a:gd name="connsiteY37" fmla="*/ 9362 h 10610"/>
                <a:gd name="connsiteX38" fmla="*/ 6043 w 10117"/>
                <a:gd name="connsiteY38" fmla="*/ 9235 h 10610"/>
                <a:gd name="connsiteX39" fmla="*/ 6239 w 10117"/>
                <a:gd name="connsiteY39" fmla="*/ 9105 h 10610"/>
                <a:gd name="connsiteX40" fmla="*/ 6438 w 10117"/>
                <a:gd name="connsiteY40" fmla="*/ 8967 h 10610"/>
                <a:gd name="connsiteX41" fmla="*/ 6629 w 10117"/>
                <a:gd name="connsiteY41" fmla="*/ 8825 h 10610"/>
                <a:gd name="connsiteX42" fmla="*/ 6814 w 10117"/>
                <a:gd name="connsiteY42" fmla="*/ 8689 h 10610"/>
                <a:gd name="connsiteX43" fmla="*/ 6997 w 10117"/>
                <a:gd name="connsiteY43" fmla="*/ 8544 h 10610"/>
                <a:gd name="connsiteX44" fmla="*/ 7173 w 10117"/>
                <a:gd name="connsiteY44" fmla="*/ 8396 h 10610"/>
                <a:gd name="connsiteX45" fmla="*/ 7349 w 10117"/>
                <a:gd name="connsiteY45" fmla="*/ 8248 h 10610"/>
                <a:gd name="connsiteX46" fmla="*/ 7518 w 10117"/>
                <a:gd name="connsiteY46" fmla="*/ 8097 h 10610"/>
                <a:gd name="connsiteX47" fmla="*/ 7686 w 10117"/>
                <a:gd name="connsiteY47" fmla="*/ 7940 h 10610"/>
                <a:gd name="connsiteX48" fmla="*/ 7842 w 10117"/>
                <a:gd name="connsiteY48" fmla="*/ 7782 h 10610"/>
                <a:gd name="connsiteX49" fmla="*/ 7995 w 10117"/>
                <a:gd name="connsiteY49" fmla="*/ 7623 h 10610"/>
                <a:gd name="connsiteX50" fmla="*/ 8150 w 10117"/>
                <a:gd name="connsiteY50" fmla="*/ 7463 h 10610"/>
                <a:gd name="connsiteX51" fmla="*/ 8293 w 10117"/>
                <a:gd name="connsiteY51" fmla="*/ 7296 h 10610"/>
                <a:gd name="connsiteX52" fmla="*/ 8433 w 10117"/>
                <a:gd name="connsiteY52" fmla="*/ 7132 h 10610"/>
                <a:gd name="connsiteX53" fmla="*/ 8569 w 10117"/>
                <a:gd name="connsiteY53" fmla="*/ 6962 h 10610"/>
                <a:gd name="connsiteX54" fmla="*/ 8695 w 10117"/>
                <a:gd name="connsiteY54" fmla="*/ 6788 h 10610"/>
                <a:gd name="connsiteX55" fmla="*/ 8819 w 10117"/>
                <a:gd name="connsiteY55" fmla="*/ 6614 h 10610"/>
                <a:gd name="connsiteX56" fmla="*/ 8945 w 10117"/>
                <a:gd name="connsiteY56" fmla="*/ 6440 h 10610"/>
                <a:gd name="connsiteX57" fmla="*/ 9063 w 10117"/>
                <a:gd name="connsiteY57" fmla="*/ 6262 h 10610"/>
                <a:gd name="connsiteX58" fmla="*/ 9167 w 10117"/>
                <a:gd name="connsiteY58" fmla="*/ 6084 h 10610"/>
                <a:gd name="connsiteX59" fmla="*/ 9274 w 10117"/>
                <a:gd name="connsiteY59" fmla="*/ 5902 h 10610"/>
                <a:gd name="connsiteX60" fmla="*/ 9369 w 10117"/>
                <a:gd name="connsiteY60" fmla="*/ 5716 h 10610"/>
                <a:gd name="connsiteX61" fmla="*/ 9465 w 10117"/>
                <a:gd name="connsiteY61" fmla="*/ 5533 h 10610"/>
                <a:gd name="connsiteX62" fmla="*/ 9549 w 10117"/>
                <a:gd name="connsiteY62" fmla="*/ 5344 h 10610"/>
                <a:gd name="connsiteX63" fmla="*/ 9630 w 10117"/>
                <a:gd name="connsiteY63" fmla="*/ 5153 h 10610"/>
                <a:gd name="connsiteX64" fmla="*/ 9704 w 10117"/>
                <a:gd name="connsiteY64" fmla="*/ 4961 h 10610"/>
                <a:gd name="connsiteX65" fmla="*/ 9777 w 10117"/>
                <a:gd name="connsiteY65" fmla="*/ 4771 h 10610"/>
                <a:gd name="connsiteX66" fmla="*/ 9839 w 10117"/>
                <a:gd name="connsiteY66" fmla="*/ 4578 h 10610"/>
                <a:gd name="connsiteX67" fmla="*/ 9898 w 10117"/>
                <a:gd name="connsiteY67" fmla="*/ 4381 h 10610"/>
                <a:gd name="connsiteX68" fmla="*/ 9635 w 10117"/>
                <a:gd name="connsiteY68" fmla="*/ 0 h 10610"/>
                <a:gd name="connsiteX69" fmla="*/ 6408 w 10117"/>
                <a:gd name="connsiteY69" fmla="*/ 1883 h 10610"/>
                <a:gd name="connsiteX70" fmla="*/ 2450 w 10117"/>
                <a:gd name="connsiteY70" fmla="*/ 1500 h 10610"/>
                <a:gd name="connsiteX0" fmla="*/ 2450 w 10117"/>
                <a:gd name="connsiteY0" fmla="*/ 1500 h 10610"/>
                <a:gd name="connsiteX1" fmla="*/ 1890 w 10117"/>
                <a:gd name="connsiteY1" fmla="*/ 4557 h 10610"/>
                <a:gd name="connsiteX2" fmla="*/ 1827 w 10117"/>
                <a:gd name="connsiteY2" fmla="*/ 4623 h 10610"/>
                <a:gd name="connsiteX3" fmla="*/ 1762 w 10117"/>
                <a:gd name="connsiteY3" fmla="*/ 4691 h 10610"/>
                <a:gd name="connsiteX4" fmla="*/ 1702 w 10117"/>
                <a:gd name="connsiteY4" fmla="*/ 4758 h 10610"/>
                <a:gd name="connsiteX5" fmla="*/ 1632 w 10117"/>
                <a:gd name="connsiteY5" fmla="*/ 4830 h 10610"/>
                <a:gd name="connsiteX6" fmla="*/ 1563 w 10117"/>
                <a:gd name="connsiteY6" fmla="*/ 4893 h 10610"/>
                <a:gd name="connsiteX7" fmla="*/ 1490 w 10117"/>
                <a:gd name="connsiteY7" fmla="*/ 4952 h 10610"/>
                <a:gd name="connsiteX8" fmla="*/ 1415 w 10117"/>
                <a:gd name="connsiteY8" fmla="*/ 5019 h 10610"/>
                <a:gd name="connsiteX9" fmla="*/ 1341 w 10117"/>
                <a:gd name="connsiteY9" fmla="*/ 5081 h 10610"/>
                <a:gd name="connsiteX10" fmla="*/ 1262 w 10117"/>
                <a:gd name="connsiteY10" fmla="*/ 5140 h 10610"/>
                <a:gd name="connsiteX11" fmla="*/ 1184 w 10117"/>
                <a:gd name="connsiteY11" fmla="*/ 5204 h 10610"/>
                <a:gd name="connsiteX12" fmla="*/ 1105 w 10117"/>
                <a:gd name="connsiteY12" fmla="*/ 5262 h 10610"/>
                <a:gd name="connsiteX13" fmla="*/ 1017 w 10117"/>
                <a:gd name="connsiteY13" fmla="*/ 5319 h 10610"/>
                <a:gd name="connsiteX14" fmla="*/ 937 w 10117"/>
                <a:gd name="connsiteY14" fmla="*/ 5373 h 10610"/>
                <a:gd name="connsiteX15" fmla="*/ 850 w 10117"/>
                <a:gd name="connsiteY15" fmla="*/ 5429 h 10610"/>
                <a:gd name="connsiteX16" fmla="*/ 765 w 10117"/>
                <a:gd name="connsiteY16" fmla="*/ 5481 h 10610"/>
                <a:gd name="connsiteX17" fmla="*/ 670 w 10117"/>
                <a:gd name="connsiteY17" fmla="*/ 5534 h 10610"/>
                <a:gd name="connsiteX18" fmla="*/ 581 w 10117"/>
                <a:gd name="connsiteY18" fmla="*/ 5583 h 10610"/>
                <a:gd name="connsiteX19" fmla="*/ 488 w 10117"/>
                <a:gd name="connsiteY19" fmla="*/ 5633 h 10610"/>
                <a:gd name="connsiteX20" fmla="*/ 393 w 10117"/>
                <a:gd name="connsiteY20" fmla="*/ 5681 h 10610"/>
                <a:gd name="connsiteX21" fmla="*/ 295 w 10117"/>
                <a:gd name="connsiteY21" fmla="*/ 5725 h 10610"/>
                <a:gd name="connsiteX22" fmla="*/ 198 w 10117"/>
                <a:gd name="connsiteY22" fmla="*/ 5773 h 10610"/>
                <a:gd name="connsiteX23" fmla="*/ 103 w 10117"/>
                <a:gd name="connsiteY23" fmla="*/ 5816 h 10610"/>
                <a:gd name="connsiteX24" fmla="*/ 0 w 10117"/>
                <a:gd name="connsiteY24" fmla="*/ 5857 h 10610"/>
                <a:gd name="connsiteX25" fmla="*/ 210 w 10117"/>
                <a:gd name="connsiteY25" fmla="*/ 8550 h 10610"/>
                <a:gd name="connsiteX26" fmla="*/ 3301 w 10117"/>
                <a:gd name="connsiteY26" fmla="*/ 10610 h 10610"/>
                <a:gd name="connsiteX27" fmla="*/ 3606 w 10117"/>
                <a:gd name="connsiteY27" fmla="*/ 10485 h 10610"/>
                <a:gd name="connsiteX28" fmla="*/ 3848 w 10117"/>
                <a:gd name="connsiteY28" fmla="*/ 10386 h 10610"/>
                <a:gd name="connsiteX29" fmla="*/ 4084 w 10117"/>
                <a:gd name="connsiteY29" fmla="*/ 10287 h 10610"/>
                <a:gd name="connsiteX30" fmla="*/ 4317 w 10117"/>
                <a:gd name="connsiteY30" fmla="*/ 10183 h 10610"/>
                <a:gd name="connsiteX31" fmla="*/ 4549 w 10117"/>
                <a:gd name="connsiteY31" fmla="*/ 10074 h 10610"/>
                <a:gd name="connsiteX32" fmla="*/ 4767 w 10117"/>
                <a:gd name="connsiteY32" fmla="*/ 9967 h 10610"/>
                <a:gd name="connsiteX33" fmla="*/ 4988 w 10117"/>
                <a:gd name="connsiteY33" fmla="*/ 9849 h 10610"/>
                <a:gd name="connsiteX34" fmla="*/ 5209 w 10117"/>
                <a:gd name="connsiteY34" fmla="*/ 9736 h 10610"/>
                <a:gd name="connsiteX35" fmla="*/ 5419 w 10117"/>
                <a:gd name="connsiteY35" fmla="*/ 9615 h 10610"/>
                <a:gd name="connsiteX36" fmla="*/ 5635 w 10117"/>
                <a:gd name="connsiteY36" fmla="*/ 9491 h 10610"/>
                <a:gd name="connsiteX37" fmla="*/ 5839 w 10117"/>
                <a:gd name="connsiteY37" fmla="*/ 9362 h 10610"/>
                <a:gd name="connsiteX38" fmla="*/ 6043 w 10117"/>
                <a:gd name="connsiteY38" fmla="*/ 9235 h 10610"/>
                <a:gd name="connsiteX39" fmla="*/ 6239 w 10117"/>
                <a:gd name="connsiteY39" fmla="*/ 9105 h 10610"/>
                <a:gd name="connsiteX40" fmla="*/ 6438 w 10117"/>
                <a:gd name="connsiteY40" fmla="*/ 8967 h 10610"/>
                <a:gd name="connsiteX41" fmla="*/ 6629 w 10117"/>
                <a:gd name="connsiteY41" fmla="*/ 8825 h 10610"/>
                <a:gd name="connsiteX42" fmla="*/ 6814 w 10117"/>
                <a:gd name="connsiteY42" fmla="*/ 8689 h 10610"/>
                <a:gd name="connsiteX43" fmla="*/ 6997 w 10117"/>
                <a:gd name="connsiteY43" fmla="*/ 8544 h 10610"/>
                <a:gd name="connsiteX44" fmla="*/ 7173 w 10117"/>
                <a:gd name="connsiteY44" fmla="*/ 8396 h 10610"/>
                <a:gd name="connsiteX45" fmla="*/ 7349 w 10117"/>
                <a:gd name="connsiteY45" fmla="*/ 8248 h 10610"/>
                <a:gd name="connsiteX46" fmla="*/ 7518 w 10117"/>
                <a:gd name="connsiteY46" fmla="*/ 8097 h 10610"/>
                <a:gd name="connsiteX47" fmla="*/ 7686 w 10117"/>
                <a:gd name="connsiteY47" fmla="*/ 7940 h 10610"/>
                <a:gd name="connsiteX48" fmla="*/ 7842 w 10117"/>
                <a:gd name="connsiteY48" fmla="*/ 7782 h 10610"/>
                <a:gd name="connsiteX49" fmla="*/ 7995 w 10117"/>
                <a:gd name="connsiteY49" fmla="*/ 7623 h 10610"/>
                <a:gd name="connsiteX50" fmla="*/ 8150 w 10117"/>
                <a:gd name="connsiteY50" fmla="*/ 7463 h 10610"/>
                <a:gd name="connsiteX51" fmla="*/ 8293 w 10117"/>
                <a:gd name="connsiteY51" fmla="*/ 7296 h 10610"/>
                <a:gd name="connsiteX52" fmla="*/ 8433 w 10117"/>
                <a:gd name="connsiteY52" fmla="*/ 7132 h 10610"/>
                <a:gd name="connsiteX53" fmla="*/ 8569 w 10117"/>
                <a:gd name="connsiteY53" fmla="*/ 6962 h 10610"/>
                <a:gd name="connsiteX54" fmla="*/ 8695 w 10117"/>
                <a:gd name="connsiteY54" fmla="*/ 6788 h 10610"/>
                <a:gd name="connsiteX55" fmla="*/ 8819 w 10117"/>
                <a:gd name="connsiteY55" fmla="*/ 6614 h 10610"/>
                <a:gd name="connsiteX56" fmla="*/ 8945 w 10117"/>
                <a:gd name="connsiteY56" fmla="*/ 6440 h 10610"/>
                <a:gd name="connsiteX57" fmla="*/ 9063 w 10117"/>
                <a:gd name="connsiteY57" fmla="*/ 6262 h 10610"/>
                <a:gd name="connsiteX58" fmla="*/ 9167 w 10117"/>
                <a:gd name="connsiteY58" fmla="*/ 6084 h 10610"/>
                <a:gd name="connsiteX59" fmla="*/ 9274 w 10117"/>
                <a:gd name="connsiteY59" fmla="*/ 5902 h 10610"/>
                <a:gd name="connsiteX60" fmla="*/ 9369 w 10117"/>
                <a:gd name="connsiteY60" fmla="*/ 5716 h 10610"/>
                <a:gd name="connsiteX61" fmla="*/ 9465 w 10117"/>
                <a:gd name="connsiteY61" fmla="*/ 5533 h 10610"/>
                <a:gd name="connsiteX62" fmla="*/ 9549 w 10117"/>
                <a:gd name="connsiteY62" fmla="*/ 5344 h 10610"/>
                <a:gd name="connsiteX63" fmla="*/ 9630 w 10117"/>
                <a:gd name="connsiteY63" fmla="*/ 5153 h 10610"/>
                <a:gd name="connsiteX64" fmla="*/ 9704 w 10117"/>
                <a:gd name="connsiteY64" fmla="*/ 4961 h 10610"/>
                <a:gd name="connsiteX65" fmla="*/ 9777 w 10117"/>
                <a:gd name="connsiteY65" fmla="*/ 4771 h 10610"/>
                <a:gd name="connsiteX66" fmla="*/ 9839 w 10117"/>
                <a:gd name="connsiteY66" fmla="*/ 4578 h 10610"/>
                <a:gd name="connsiteX67" fmla="*/ 9898 w 10117"/>
                <a:gd name="connsiteY67" fmla="*/ 4381 h 10610"/>
                <a:gd name="connsiteX68" fmla="*/ 9635 w 10117"/>
                <a:gd name="connsiteY68" fmla="*/ 0 h 10610"/>
                <a:gd name="connsiteX69" fmla="*/ 6408 w 10117"/>
                <a:gd name="connsiteY69" fmla="*/ 1883 h 10610"/>
                <a:gd name="connsiteX70" fmla="*/ 2450 w 10117"/>
                <a:gd name="connsiteY70" fmla="*/ 1500 h 10610"/>
                <a:gd name="connsiteX0" fmla="*/ 2450 w 10117"/>
                <a:gd name="connsiteY0" fmla="*/ 1500 h 10610"/>
                <a:gd name="connsiteX1" fmla="*/ 1890 w 10117"/>
                <a:gd name="connsiteY1" fmla="*/ 4557 h 10610"/>
                <a:gd name="connsiteX2" fmla="*/ 1827 w 10117"/>
                <a:gd name="connsiteY2" fmla="*/ 4623 h 10610"/>
                <a:gd name="connsiteX3" fmla="*/ 1762 w 10117"/>
                <a:gd name="connsiteY3" fmla="*/ 4691 h 10610"/>
                <a:gd name="connsiteX4" fmla="*/ 1702 w 10117"/>
                <a:gd name="connsiteY4" fmla="*/ 4758 h 10610"/>
                <a:gd name="connsiteX5" fmla="*/ 1632 w 10117"/>
                <a:gd name="connsiteY5" fmla="*/ 4830 h 10610"/>
                <a:gd name="connsiteX6" fmla="*/ 1563 w 10117"/>
                <a:gd name="connsiteY6" fmla="*/ 4893 h 10610"/>
                <a:gd name="connsiteX7" fmla="*/ 1490 w 10117"/>
                <a:gd name="connsiteY7" fmla="*/ 4952 h 10610"/>
                <a:gd name="connsiteX8" fmla="*/ 1415 w 10117"/>
                <a:gd name="connsiteY8" fmla="*/ 5019 h 10610"/>
                <a:gd name="connsiteX9" fmla="*/ 1341 w 10117"/>
                <a:gd name="connsiteY9" fmla="*/ 5081 h 10610"/>
                <a:gd name="connsiteX10" fmla="*/ 1262 w 10117"/>
                <a:gd name="connsiteY10" fmla="*/ 5140 h 10610"/>
                <a:gd name="connsiteX11" fmla="*/ 1184 w 10117"/>
                <a:gd name="connsiteY11" fmla="*/ 5204 h 10610"/>
                <a:gd name="connsiteX12" fmla="*/ 1105 w 10117"/>
                <a:gd name="connsiteY12" fmla="*/ 5262 h 10610"/>
                <a:gd name="connsiteX13" fmla="*/ 1017 w 10117"/>
                <a:gd name="connsiteY13" fmla="*/ 5319 h 10610"/>
                <a:gd name="connsiteX14" fmla="*/ 937 w 10117"/>
                <a:gd name="connsiteY14" fmla="*/ 5373 h 10610"/>
                <a:gd name="connsiteX15" fmla="*/ 850 w 10117"/>
                <a:gd name="connsiteY15" fmla="*/ 5429 h 10610"/>
                <a:gd name="connsiteX16" fmla="*/ 765 w 10117"/>
                <a:gd name="connsiteY16" fmla="*/ 5481 h 10610"/>
                <a:gd name="connsiteX17" fmla="*/ 670 w 10117"/>
                <a:gd name="connsiteY17" fmla="*/ 5534 h 10610"/>
                <a:gd name="connsiteX18" fmla="*/ 581 w 10117"/>
                <a:gd name="connsiteY18" fmla="*/ 5583 h 10610"/>
                <a:gd name="connsiteX19" fmla="*/ 488 w 10117"/>
                <a:gd name="connsiteY19" fmla="*/ 5633 h 10610"/>
                <a:gd name="connsiteX20" fmla="*/ 393 w 10117"/>
                <a:gd name="connsiteY20" fmla="*/ 5681 h 10610"/>
                <a:gd name="connsiteX21" fmla="*/ 295 w 10117"/>
                <a:gd name="connsiteY21" fmla="*/ 5725 h 10610"/>
                <a:gd name="connsiteX22" fmla="*/ 198 w 10117"/>
                <a:gd name="connsiteY22" fmla="*/ 5773 h 10610"/>
                <a:gd name="connsiteX23" fmla="*/ 103 w 10117"/>
                <a:gd name="connsiteY23" fmla="*/ 5816 h 10610"/>
                <a:gd name="connsiteX24" fmla="*/ 0 w 10117"/>
                <a:gd name="connsiteY24" fmla="*/ 5857 h 10610"/>
                <a:gd name="connsiteX25" fmla="*/ 210 w 10117"/>
                <a:gd name="connsiteY25" fmla="*/ 8550 h 10610"/>
                <a:gd name="connsiteX26" fmla="*/ 3301 w 10117"/>
                <a:gd name="connsiteY26" fmla="*/ 10610 h 10610"/>
                <a:gd name="connsiteX27" fmla="*/ 3606 w 10117"/>
                <a:gd name="connsiteY27" fmla="*/ 10485 h 10610"/>
                <a:gd name="connsiteX28" fmla="*/ 3848 w 10117"/>
                <a:gd name="connsiteY28" fmla="*/ 10386 h 10610"/>
                <a:gd name="connsiteX29" fmla="*/ 4084 w 10117"/>
                <a:gd name="connsiteY29" fmla="*/ 10287 h 10610"/>
                <a:gd name="connsiteX30" fmla="*/ 4317 w 10117"/>
                <a:gd name="connsiteY30" fmla="*/ 10183 h 10610"/>
                <a:gd name="connsiteX31" fmla="*/ 4549 w 10117"/>
                <a:gd name="connsiteY31" fmla="*/ 10074 h 10610"/>
                <a:gd name="connsiteX32" fmla="*/ 4767 w 10117"/>
                <a:gd name="connsiteY32" fmla="*/ 9967 h 10610"/>
                <a:gd name="connsiteX33" fmla="*/ 4988 w 10117"/>
                <a:gd name="connsiteY33" fmla="*/ 9849 h 10610"/>
                <a:gd name="connsiteX34" fmla="*/ 5209 w 10117"/>
                <a:gd name="connsiteY34" fmla="*/ 9736 h 10610"/>
                <a:gd name="connsiteX35" fmla="*/ 5419 w 10117"/>
                <a:gd name="connsiteY35" fmla="*/ 9615 h 10610"/>
                <a:gd name="connsiteX36" fmla="*/ 5635 w 10117"/>
                <a:gd name="connsiteY36" fmla="*/ 9491 h 10610"/>
                <a:gd name="connsiteX37" fmla="*/ 5839 w 10117"/>
                <a:gd name="connsiteY37" fmla="*/ 9362 h 10610"/>
                <a:gd name="connsiteX38" fmla="*/ 6043 w 10117"/>
                <a:gd name="connsiteY38" fmla="*/ 9235 h 10610"/>
                <a:gd name="connsiteX39" fmla="*/ 6239 w 10117"/>
                <a:gd name="connsiteY39" fmla="*/ 9105 h 10610"/>
                <a:gd name="connsiteX40" fmla="*/ 6438 w 10117"/>
                <a:gd name="connsiteY40" fmla="*/ 8967 h 10610"/>
                <a:gd name="connsiteX41" fmla="*/ 6629 w 10117"/>
                <a:gd name="connsiteY41" fmla="*/ 8825 h 10610"/>
                <a:gd name="connsiteX42" fmla="*/ 6814 w 10117"/>
                <a:gd name="connsiteY42" fmla="*/ 8689 h 10610"/>
                <a:gd name="connsiteX43" fmla="*/ 6997 w 10117"/>
                <a:gd name="connsiteY43" fmla="*/ 8544 h 10610"/>
                <a:gd name="connsiteX44" fmla="*/ 7173 w 10117"/>
                <a:gd name="connsiteY44" fmla="*/ 8396 h 10610"/>
                <a:gd name="connsiteX45" fmla="*/ 7349 w 10117"/>
                <a:gd name="connsiteY45" fmla="*/ 8248 h 10610"/>
                <a:gd name="connsiteX46" fmla="*/ 7518 w 10117"/>
                <a:gd name="connsiteY46" fmla="*/ 8097 h 10610"/>
                <a:gd name="connsiteX47" fmla="*/ 7686 w 10117"/>
                <a:gd name="connsiteY47" fmla="*/ 7940 h 10610"/>
                <a:gd name="connsiteX48" fmla="*/ 7842 w 10117"/>
                <a:gd name="connsiteY48" fmla="*/ 7782 h 10610"/>
                <a:gd name="connsiteX49" fmla="*/ 7995 w 10117"/>
                <a:gd name="connsiteY49" fmla="*/ 7623 h 10610"/>
                <a:gd name="connsiteX50" fmla="*/ 8150 w 10117"/>
                <a:gd name="connsiteY50" fmla="*/ 7463 h 10610"/>
                <a:gd name="connsiteX51" fmla="*/ 8293 w 10117"/>
                <a:gd name="connsiteY51" fmla="*/ 7296 h 10610"/>
                <a:gd name="connsiteX52" fmla="*/ 8433 w 10117"/>
                <a:gd name="connsiteY52" fmla="*/ 7132 h 10610"/>
                <a:gd name="connsiteX53" fmla="*/ 8569 w 10117"/>
                <a:gd name="connsiteY53" fmla="*/ 6962 h 10610"/>
                <a:gd name="connsiteX54" fmla="*/ 8695 w 10117"/>
                <a:gd name="connsiteY54" fmla="*/ 6788 h 10610"/>
                <a:gd name="connsiteX55" fmla="*/ 8819 w 10117"/>
                <a:gd name="connsiteY55" fmla="*/ 6614 h 10610"/>
                <a:gd name="connsiteX56" fmla="*/ 8945 w 10117"/>
                <a:gd name="connsiteY56" fmla="*/ 6440 h 10610"/>
                <a:gd name="connsiteX57" fmla="*/ 9063 w 10117"/>
                <a:gd name="connsiteY57" fmla="*/ 6262 h 10610"/>
                <a:gd name="connsiteX58" fmla="*/ 9167 w 10117"/>
                <a:gd name="connsiteY58" fmla="*/ 6084 h 10610"/>
                <a:gd name="connsiteX59" fmla="*/ 9274 w 10117"/>
                <a:gd name="connsiteY59" fmla="*/ 5902 h 10610"/>
                <a:gd name="connsiteX60" fmla="*/ 9369 w 10117"/>
                <a:gd name="connsiteY60" fmla="*/ 5716 h 10610"/>
                <a:gd name="connsiteX61" fmla="*/ 9465 w 10117"/>
                <a:gd name="connsiteY61" fmla="*/ 5533 h 10610"/>
                <a:gd name="connsiteX62" fmla="*/ 9549 w 10117"/>
                <a:gd name="connsiteY62" fmla="*/ 5344 h 10610"/>
                <a:gd name="connsiteX63" fmla="*/ 9630 w 10117"/>
                <a:gd name="connsiteY63" fmla="*/ 5153 h 10610"/>
                <a:gd name="connsiteX64" fmla="*/ 9704 w 10117"/>
                <a:gd name="connsiteY64" fmla="*/ 4961 h 10610"/>
                <a:gd name="connsiteX65" fmla="*/ 9777 w 10117"/>
                <a:gd name="connsiteY65" fmla="*/ 4771 h 10610"/>
                <a:gd name="connsiteX66" fmla="*/ 9839 w 10117"/>
                <a:gd name="connsiteY66" fmla="*/ 4578 h 10610"/>
                <a:gd name="connsiteX67" fmla="*/ 9898 w 10117"/>
                <a:gd name="connsiteY67" fmla="*/ 4381 h 10610"/>
                <a:gd name="connsiteX68" fmla="*/ 9635 w 10117"/>
                <a:gd name="connsiteY68" fmla="*/ 0 h 10610"/>
                <a:gd name="connsiteX69" fmla="*/ 6408 w 10117"/>
                <a:gd name="connsiteY69" fmla="*/ 1883 h 10610"/>
                <a:gd name="connsiteX70" fmla="*/ 2450 w 10117"/>
                <a:gd name="connsiteY70" fmla="*/ 1500 h 10610"/>
                <a:gd name="connsiteX0" fmla="*/ 2450 w 10117"/>
                <a:gd name="connsiteY0" fmla="*/ 1500 h 10610"/>
                <a:gd name="connsiteX1" fmla="*/ 1890 w 10117"/>
                <a:gd name="connsiteY1" fmla="*/ 4557 h 10610"/>
                <a:gd name="connsiteX2" fmla="*/ 1827 w 10117"/>
                <a:gd name="connsiteY2" fmla="*/ 4623 h 10610"/>
                <a:gd name="connsiteX3" fmla="*/ 1762 w 10117"/>
                <a:gd name="connsiteY3" fmla="*/ 4691 h 10610"/>
                <a:gd name="connsiteX4" fmla="*/ 1702 w 10117"/>
                <a:gd name="connsiteY4" fmla="*/ 4758 h 10610"/>
                <a:gd name="connsiteX5" fmla="*/ 1632 w 10117"/>
                <a:gd name="connsiteY5" fmla="*/ 4830 h 10610"/>
                <a:gd name="connsiteX6" fmla="*/ 1563 w 10117"/>
                <a:gd name="connsiteY6" fmla="*/ 4893 h 10610"/>
                <a:gd name="connsiteX7" fmla="*/ 1490 w 10117"/>
                <a:gd name="connsiteY7" fmla="*/ 4952 h 10610"/>
                <a:gd name="connsiteX8" fmla="*/ 1415 w 10117"/>
                <a:gd name="connsiteY8" fmla="*/ 5019 h 10610"/>
                <a:gd name="connsiteX9" fmla="*/ 1341 w 10117"/>
                <a:gd name="connsiteY9" fmla="*/ 5081 h 10610"/>
                <a:gd name="connsiteX10" fmla="*/ 1262 w 10117"/>
                <a:gd name="connsiteY10" fmla="*/ 5140 h 10610"/>
                <a:gd name="connsiteX11" fmla="*/ 1184 w 10117"/>
                <a:gd name="connsiteY11" fmla="*/ 5204 h 10610"/>
                <a:gd name="connsiteX12" fmla="*/ 1105 w 10117"/>
                <a:gd name="connsiteY12" fmla="*/ 5262 h 10610"/>
                <a:gd name="connsiteX13" fmla="*/ 1017 w 10117"/>
                <a:gd name="connsiteY13" fmla="*/ 5319 h 10610"/>
                <a:gd name="connsiteX14" fmla="*/ 937 w 10117"/>
                <a:gd name="connsiteY14" fmla="*/ 5373 h 10610"/>
                <a:gd name="connsiteX15" fmla="*/ 850 w 10117"/>
                <a:gd name="connsiteY15" fmla="*/ 5429 h 10610"/>
                <a:gd name="connsiteX16" fmla="*/ 765 w 10117"/>
                <a:gd name="connsiteY16" fmla="*/ 5481 h 10610"/>
                <a:gd name="connsiteX17" fmla="*/ 670 w 10117"/>
                <a:gd name="connsiteY17" fmla="*/ 5534 h 10610"/>
                <a:gd name="connsiteX18" fmla="*/ 581 w 10117"/>
                <a:gd name="connsiteY18" fmla="*/ 5583 h 10610"/>
                <a:gd name="connsiteX19" fmla="*/ 488 w 10117"/>
                <a:gd name="connsiteY19" fmla="*/ 5633 h 10610"/>
                <a:gd name="connsiteX20" fmla="*/ 393 w 10117"/>
                <a:gd name="connsiteY20" fmla="*/ 5681 h 10610"/>
                <a:gd name="connsiteX21" fmla="*/ 295 w 10117"/>
                <a:gd name="connsiteY21" fmla="*/ 5725 h 10610"/>
                <a:gd name="connsiteX22" fmla="*/ 198 w 10117"/>
                <a:gd name="connsiteY22" fmla="*/ 5773 h 10610"/>
                <a:gd name="connsiteX23" fmla="*/ 103 w 10117"/>
                <a:gd name="connsiteY23" fmla="*/ 5816 h 10610"/>
                <a:gd name="connsiteX24" fmla="*/ 0 w 10117"/>
                <a:gd name="connsiteY24" fmla="*/ 5857 h 10610"/>
                <a:gd name="connsiteX25" fmla="*/ 210 w 10117"/>
                <a:gd name="connsiteY25" fmla="*/ 8550 h 10610"/>
                <a:gd name="connsiteX26" fmla="*/ 3301 w 10117"/>
                <a:gd name="connsiteY26" fmla="*/ 10610 h 10610"/>
                <a:gd name="connsiteX27" fmla="*/ 3606 w 10117"/>
                <a:gd name="connsiteY27" fmla="*/ 10485 h 10610"/>
                <a:gd name="connsiteX28" fmla="*/ 3848 w 10117"/>
                <a:gd name="connsiteY28" fmla="*/ 10386 h 10610"/>
                <a:gd name="connsiteX29" fmla="*/ 4084 w 10117"/>
                <a:gd name="connsiteY29" fmla="*/ 10287 h 10610"/>
                <a:gd name="connsiteX30" fmla="*/ 4317 w 10117"/>
                <a:gd name="connsiteY30" fmla="*/ 10183 h 10610"/>
                <a:gd name="connsiteX31" fmla="*/ 4549 w 10117"/>
                <a:gd name="connsiteY31" fmla="*/ 10074 h 10610"/>
                <a:gd name="connsiteX32" fmla="*/ 4767 w 10117"/>
                <a:gd name="connsiteY32" fmla="*/ 9967 h 10610"/>
                <a:gd name="connsiteX33" fmla="*/ 4988 w 10117"/>
                <a:gd name="connsiteY33" fmla="*/ 9849 h 10610"/>
                <a:gd name="connsiteX34" fmla="*/ 5209 w 10117"/>
                <a:gd name="connsiteY34" fmla="*/ 9736 h 10610"/>
                <a:gd name="connsiteX35" fmla="*/ 5419 w 10117"/>
                <a:gd name="connsiteY35" fmla="*/ 9615 h 10610"/>
                <a:gd name="connsiteX36" fmla="*/ 5635 w 10117"/>
                <a:gd name="connsiteY36" fmla="*/ 9491 h 10610"/>
                <a:gd name="connsiteX37" fmla="*/ 5839 w 10117"/>
                <a:gd name="connsiteY37" fmla="*/ 9362 h 10610"/>
                <a:gd name="connsiteX38" fmla="*/ 6043 w 10117"/>
                <a:gd name="connsiteY38" fmla="*/ 9235 h 10610"/>
                <a:gd name="connsiteX39" fmla="*/ 6239 w 10117"/>
                <a:gd name="connsiteY39" fmla="*/ 9105 h 10610"/>
                <a:gd name="connsiteX40" fmla="*/ 6438 w 10117"/>
                <a:gd name="connsiteY40" fmla="*/ 8967 h 10610"/>
                <a:gd name="connsiteX41" fmla="*/ 6629 w 10117"/>
                <a:gd name="connsiteY41" fmla="*/ 8825 h 10610"/>
                <a:gd name="connsiteX42" fmla="*/ 6814 w 10117"/>
                <a:gd name="connsiteY42" fmla="*/ 8689 h 10610"/>
                <a:gd name="connsiteX43" fmla="*/ 6997 w 10117"/>
                <a:gd name="connsiteY43" fmla="*/ 8544 h 10610"/>
                <a:gd name="connsiteX44" fmla="*/ 7173 w 10117"/>
                <a:gd name="connsiteY44" fmla="*/ 8396 h 10610"/>
                <a:gd name="connsiteX45" fmla="*/ 7349 w 10117"/>
                <a:gd name="connsiteY45" fmla="*/ 8248 h 10610"/>
                <a:gd name="connsiteX46" fmla="*/ 7518 w 10117"/>
                <a:gd name="connsiteY46" fmla="*/ 8097 h 10610"/>
                <a:gd name="connsiteX47" fmla="*/ 7686 w 10117"/>
                <a:gd name="connsiteY47" fmla="*/ 7940 h 10610"/>
                <a:gd name="connsiteX48" fmla="*/ 7842 w 10117"/>
                <a:gd name="connsiteY48" fmla="*/ 7782 h 10610"/>
                <a:gd name="connsiteX49" fmla="*/ 7995 w 10117"/>
                <a:gd name="connsiteY49" fmla="*/ 7623 h 10610"/>
                <a:gd name="connsiteX50" fmla="*/ 8150 w 10117"/>
                <a:gd name="connsiteY50" fmla="*/ 7463 h 10610"/>
                <a:gd name="connsiteX51" fmla="*/ 8293 w 10117"/>
                <a:gd name="connsiteY51" fmla="*/ 7296 h 10610"/>
                <a:gd name="connsiteX52" fmla="*/ 8433 w 10117"/>
                <a:gd name="connsiteY52" fmla="*/ 7132 h 10610"/>
                <a:gd name="connsiteX53" fmla="*/ 8569 w 10117"/>
                <a:gd name="connsiteY53" fmla="*/ 6962 h 10610"/>
                <a:gd name="connsiteX54" fmla="*/ 8695 w 10117"/>
                <a:gd name="connsiteY54" fmla="*/ 6788 h 10610"/>
                <a:gd name="connsiteX55" fmla="*/ 8819 w 10117"/>
                <a:gd name="connsiteY55" fmla="*/ 6614 h 10610"/>
                <a:gd name="connsiteX56" fmla="*/ 8945 w 10117"/>
                <a:gd name="connsiteY56" fmla="*/ 6440 h 10610"/>
                <a:gd name="connsiteX57" fmla="*/ 9063 w 10117"/>
                <a:gd name="connsiteY57" fmla="*/ 6262 h 10610"/>
                <a:gd name="connsiteX58" fmla="*/ 9167 w 10117"/>
                <a:gd name="connsiteY58" fmla="*/ 6084 h 10610"/>
                <a:gd name="connsiteX59" fmla="*/ 9274 w 10117"/>
                <a:gd name="connsiteY59" fmla="*/ 5902 h 10610"/>
                <a:gd name="connsiteX60" fmla="*/ 9369 w 10117"/>
                <a:gd name="connsiteY60" fmla="*/ 5716 h 10610"/>
                <a:gd name="connsiteX61" fmla="*/ 9465 w 10117"/>
                <a:gd name="connsiteY61" fmla="*/ 5533 h 10610"/>
                <a:gd name="connsiteX62" fmla="*/ 9549 w 10117"/>
                <a:gd name="connsiteY62" fmla="*/ 5344 h 10610"/>
                <a:gd name="connsiteX63" fmla="*/ 9630 w 10117"/>
                <a:gd name="connsiteY63" fmla="*/ 5153 h 10610"/>
                <a:gd name="connsiteX64" fmla="*/ 9704 w 10117"/>
                <a:gd name="connsiteY64" fmla="*/ 4961 h 10610"/>
                <a:gd name="connsiteX65" fmla="*/ 9777 w 10117"/>
                <a:gd name="connsiteY65" fmla="*/ 4771 h 10610"/>
                <a:gd name="connsiteX66" fmla="*/ 9839 w 10117"/>
                <a:gd name="connsiteY66" fmla="*/ 4578 h 10610"/>
                <a:gd name="connsiteX67" fmla="*/ 9898 w 10117"/>
                <a:gd name="connsiteY67" fmla="*/ 4381 h 10610"/>
                <a:gd name="connsiteX68" fmla="*/ 9635 w 10117"/>
                <a:gd name="connsiteY68" fmla="*/ 0 h 10610"/>
                <a:gd name="connsiteX69" fmla="*/ 6408 w 10117"/>
                <a:gd name="connsiteY69" fmla="*/ 1883 h 10610"/>
                <a:gd name="connsiteX70" fmla="*/ 2450 w 10117"/>
                <a:gd name="connsiteY70" fmla="*/ 1500 h 10610"/>
                <a:gd name="connsiteX0" fmla="*/ 2450 w 10117"/>
                <a:gd name="connsiteY0" fmla="*/ 1500 h 10610"/>
                <a:gd name="connsiteX1" fmla="*/ 1827 w 10117"/>
                <a:gd name="connsiteY1" fmla="*/ 4623 h 10610"/>
                <a:gd name="connsiteX2" fmla="*/ 1762 w 10117"/>
                <a:gd name="connsiteY2" fmla="*/ 4691 h 10610"/>
                <a:gd name="connsiteX3" fmla="*/ 1702 w 10117"/>
                <a:gd name="connsiteY3" fmla="*/ 4758 h 10610"/>
                <a:gd name="connsiteX4" fmla="*/ 1632 w 10117"/>
                <a:gd name="connsiteY4" fmla="*/ 4830 h 10610"/>
                <a:gd name="connsiteX5" fmla="*/ 1563 w 10117"/>
                <a:gd name="connsiteY5" fmla="*/ 4893 h 10610"/>
                <a:gd name="connsiteX6" fmla="*/ 1490 w 10117"/>
                <a:gd name="connsiteY6" fmla="*/ 4952 h 10610"/>
                <a:gd name="connsiteX7" fmla="*/ 1415 w 10117"/>
                <a:gd name="connsiteY7" fmla="*/ 5019 h 10610"/>
                <a:gd name="connsiteX8" fmla="*/ 1341 w 10117"/>
                <a:gd name="connsiteY8" fmla="*/ 5081 h 10610"/>
                <a:gd name="connsiteX9" fmla="*/ 1262 w 10117"/>
                <a:gd name="connsiteY9" fmla="*/ 5140 h 10610"/>
                <a:gd name="connsiteX10" fmla="*/ 1184 w 10117"/>
                <a:gd name="connsiteY10" fmla="*/ 5204 h 10610"/>
                <a:gd name="connsiteX11" fmla="*/ 1105 w 10117"/>
                <a:gd name="connsiteY11" fmla="*/ 5262 h 10610"/>
                <a:gd name="connsiteX12" fmla="*/ 1017 w 10117"/>
                <a:gd name="connsiteY12" fmla="*/ 5319 h 10610"/>
                <a:gd name="connsiteX13" fmla="*/ 937 w 10117"/>
                <a:gd name="connsiteY13" fmla="*/ 5373 h 10610"/>
                <a:gd name="connsiteX14" fmla="*/ 850 w 10117"/>
                <a:gd name="connsiteY14" fmla="*/ 5429 h 10610"/>
                <a:gd name="connsiteX15" fmla="*/ 765 w 10117"/>
                <a:gd name="connsiteY15" fmla="*/ 5481 h 10610"/>
                <a:gd name="connsiteX16" fmla="*/ 670 w 10117"/>
                <a:gd name="connsiteY16" fmla="*/ 5534 h 10610"/>
                <a:gd name="connsiteX17" fmla="*/ 581 w 10117"/>
                <a:gd name="connsiteY17" fmla="*/ 5583 h 10610"/>
                <a:gd name="connsiteX18" fmla="*/ 488 w 10117"/>
                <a:gd name="connsiteY18" fmla="*/ 5633 h 10610"/>
                <a:gd name="connsiteX19" fmla="*/ 393 w 10117"/>
                <a:gd name="connsiteY19" fmla="*/ 5681 h 10610"/>
                <a:gd name="connsiteX20" fmla="*/ 295 w 10117"/>
                <a:gd name="connsiteY20" fmla="*/ 5725 h 10610"/>
                <a:gd name="connsiteX21" fmla="*/ 198 w 10117"/>
                <a:gd name="connsiteY21" fmla="*/ 5773 h 10610"/>
                <a:gd name="connsiteX22" fmla="*/ 103 w 10117"/>
                <a:gd name="connsiteY22" fmla="*/ 5816 h 10610"/>
                <a:gd name="connsiteX23" fmla="*/ 0 w 10117"/>
                <a:gd name="connsiteY23" fmla="*/ 5857 h 10610"/>
                <a:gd name="connsiteX24" fmla="*/ 210 w 10117"/>
                <a:gd name="connsiteY24" fmla="*/ 8550 h 10610"/>
                <a:gd name="connsiteX25" fmla="*/ 3301 w 10117"/>
                <a:gd name="connsiteY25" fmla="*/ 10610 h 10610"/>
                <a:gd name="connsiteX26" fmla="*/ 3606 w 10117"/>
                <a:gd name="connsiteY26" fmla="*/ 10485 h 10610"/>
                <a:gd name="connsiteX27" fmla="*/ 3848 w 10117"/>
                <a:gd name="connsiteY27" fmla="*/ 10386 h 10610"/>
                <a:gd name="connsiteX28" fmla="*/ 4084 w 10117"/>
                <a:gd name="connsiteY28" fmla="*/ 10287 h 10610"/>
                <a:gd name="connsiteX29" fmla="*/ 4317 w 10117"/>
                <a:gd name="connsiteY29" fmla="*/ 10183 h 10610"/>
                <a:gd name="connsiteX30" fmla="*/ 4549 w 10117"/>
                <a:gd name="connsiteY30" fmla="*/ 10074 h 10610"/>
                <a:gd name="connsiteX31" fmla="*/ 4767 w 10117"/>
                <a:gd name="connsiteY31" fmla="*/ 9967 h 10610"/>
                <a:gd name="connsiteX32" fmla="*/ 4988 w 10117"/>
                <a:gd name="connsiteY32" fmla="*/ 9849 h 10610"/>
                <a:gd name="connsiteX33" fmla="*/ 5209 w 10117"/>
                <a:gd name="connsiteY33" fmla="*/ 9736 h 10610"/>
                <a:gd name="connsiteX34" fmla="*/ 5419 w 10117"/>
                <a:gd name="connsiteY34" fmla="*/ 9615 h 10610"/>
                <a:gd name="connsiteX35" fmla="*/ 5635 w 10117"/>
                <a:gd name="connsiteY35" fmla="*/ 9491 h 10610"/>
                <a:gd name="connsiteX36" fmla="*/ 5839 w 10117"/>
                <a:gd name="connsiteY36" fmla="*/ 9362 h 10610"/>
                <a:gd name="connsiteX37" fmla="*/ 6043 w 10117"/>
                <a:gd name="connsiteY37" fmla="*/ 9235 h 10610"/>
                <a:gd name="connsiteX38" fmla="*/ 6239 w 10117"/>
                <a:gd name="connsiteY38" fmla="*/ 9105 h 10610"/>
                <a:gd name="connsiteX39" fmla="*/ 6438 w 10117"/>
                <a:gd name="connsiteY39" fmla="*/ 8967 h 10610"/>
                <a:gd name="connsiteX40" fmla="*/ 6629 w 10117"/>
                <a:gd name="connsiteY40" fmla="*/ 8825 h 10610"/>
                <a:gd name="connsiteX41" fmla="*/ 6814 w 10117"/>
                <a:gd name="connsiteY41" fmla="*/ 8689 h 10610"/>
                <a:gd name="connsiteX42" fmla="*/ 6997 w 10117"/>
                <a:gd name="connsiteY42" fmla="*/ 8544 h 10610"/>
                <a:gd name="connsiteX43" fmla="*/ 7173 w 10117"/>
                <a:gd name="connsiteY43" fmla="*/ 8396 h 10610"/>
                <a:gd name="connsiteX44" fmla="*/ 7349 w 10117"/>
                <a:gd name="connsiteY44" fmla="*/ 8248 h 10610"/>
                <a:gd name="connsiteX45" fmla="*/ 7518 w 10117"/>
                <a:gd name="connsiteY45" fmla="*/ 8097 h 10610"/>
                <a:gd name="connsiteX46" fmla="*/ 7686 w 10117"/>
                <a:gd name="connsiteY46" fmla="*/ 7940 h 10610"/>
                <a:gd name="connsiteX47" fmla="*/ 7842 w 10117"/>
                <a:gd name="connsiteY47" fmla="*/ 7782 h 10610"/>
                <a:gd name="connsiteX48" fmla="*/ 7995 w 10117"/>
                <a:gd name="connsiteY48" fmla="*/ 7623 h 10610"/>
                <a:gd name="connsiteX49" fmla="*/ 8150 w 10117"/>
                <a:gd name="connsiteY49" fmla="*/ 7463 h 10610"/>
                <a:gd name="connsiteX50" fmla="*/ 8293 w 10117"/>
                <a:gd name="connsiteY50" fmla="*/ 7296 h 10610"/>
                <a:gd name="connsiteX51" fmla="*/ 8433 w 10117"/>
                <a:gd name="connsiteY51" fmla="*/ 7132 h 10610"/>
                <a:gd name="connsiteX52" fmla="*/ 8569 w 10117"/>
                <a:gd name="connsiteY52" fmla="*/ 6962 h 10610"/>
                <a:gd name="connsiteX53" fmla="*/ 8695 w 10117"/>
                <a:gd name="connsiteY53" fmla="*/ 6788 h 10610"/>
                <a:gd name="connsiteX54" fmla="*/ 8819 w 10117"/>
                <a:gd name="connsiteY54" fmla="*/ 6614 h 10610"/>
                <a:gd name="connsiteX55" fmla="*/ 8945 w 10117"/>
                <a:gd name="connsiteY55" fmla="*/ 6440 h 10610"/>
                <a:gd name="connsiteX56" fmla="*/ 9063 w 10117"/>
                <a:gd name="connsiteY56" fmla="*/ 6262 h 10610"/>
                <a:gd name="connsiteX57" fmla="*/ 9167 w 10117"/>
                <a:gd name="connsiteY57" fmla="*/ 6084 h 10610"/>
                <a:gd name="connsiteX58" fmla="*/ 9274 w 10117"/>
                <a:gd name="connsiteY58" fmla="*/ 5902 h 10610"/>
                <a:gd name="connsiteX59" fmla="*/ 9369 w 10117"/>
                <a:gd name="connsiteY59" fmla="*/ 5716 h 10610"/>
                <a:gd name="connsiteX60" fmla="*/ 9465 w 10117"/>
                <a:gd name="connsiteY60" fmla="*/ 5533 h 10610"/>
                <a:gd name="connsiteX61" fmla="*/ 9549 w 10117"/>
                <a:gd name="connsiteY61" fmla="*/ 5344 h 10610"/>
                <a:gd name="connsiteX62" fmla="*/ 9630 w 10117"/>
                <a:gd name="connsiteY62" fmla="*/ 5153 h 10610"/>
                <a:gd name="connsiteX63" fmla="*/ 9704 w 10117"/>
                <a:gd name="connsiteY63" fmla="*/ 4961 h 10610"/>
                <a:gd name="connsiteX64" fmla="*/ 9777 w 10117"/>
                <a:gd name="connsiteY64" fmla="*/ 4771 h 10610"/>
                <a:gd name="connsiteX65" fmla="*/ 9839 w 10117"/>
                <a:gd name="connsiteY65" fmla="*/ 4578 h 10610"/>
                <a:gd name="connsiteX66" fmla="*/ 9898 w 10117"/>
                <a:gd name="connsiteY66" fmla="*/ 4381 h 10610"/>
                <a:gd name="connsiteX67" fmla="*/ 9635 w 10117"/>
                <a:gd name="connsiteY67" fmla="*/ 0 h 10610"/>
                <a:gd name="connsiteX68" fmla="*/ 6408 w 10117"/>
                <a:gd name="connsiteY68" fmla="*/ 1883 h 10610"/>
                <a:gd name="connsiteX69" fmla="*/ 2450 w 10117"/>
                <a:gd name="connsiteY69" fmla="*/ 1500 h 10610"/>
                <a:gd name="connsiteX0" fmla="*/ 2450 w 10117"/>
                <a:gd name="connsiteY0" fmla="*/ 1500 h 10610"/>
                <a:gd name="connsiteX1" fmla="*/ 1762 w 10117"/>
                <a:gd name="connsiteY1" fmla="*/ 4691 h 10610"/>
                <a:gd name="connsiteX2" fmla="*/ 1702 w 10117"/>
                <a:gd name="connsiteY2" fmla="*/ 4758 h 10610"/>
                <a:gd name="connsiteX3" fmla="*/ 1632 w 10117"/>
                <a:gd name="connsiteY3" fmla="*/ 4830 h 10610"/>
                <a:gd name="connsiteX4" fmla="*/ 1563 w 10117"/>
                <a:gd name="connsiteY4" fmla="*/ 4893 h 10610"/>
                <a:gd name="connsiteX5" fmla="*/ 1490 w 10117"/>
                <a:gd name="connsiteY5" fmla="*/ 4952 h 10610"/>
                <a:gd name="connsiteX6" fmla="*/ 1415 w 10117"/>
                <a:gd name="connsiteY6" fmla="*/ 5019 h 10610"/>
                <a:gd name="connsiteX7" fmla="*/ 1341 w 10117"/>
                <a:gd name="connsiteY7" fmla="*/ 5081 h 10610"/>
                <a:gd name="connsiteX8" fmla="*/ 1262 w 10117"/>
                <a:gd name="connsiteY8" fmla="*/ 5140 h 10610"/>
                <a:gd name="connsiteX9" fmla="*/ 1184 w 10117"/>
                <a:gd name="connsiteY9" fmla="*/ 5204 h 10610"/>
                <a:gd name="connsiteX10" fmla="*/ 1105 w 10117"/>
                <a:gd name="connsiteY10" fmla="*/ 5262 h 10610"/>
                <a:gd name="connsiteX11" fmla="*/ 1017 w 10117"/>
                <a:gd name="connsiteY11" fmla="*/ 5319 h 10610"/>
                <a:gd name="connsiteX12" fmla="*/ 937 w 10117"/>
                <a:gd name="connsiteY12" fmla="*/ 5373 h 10610"/>
                <a:gd name="connsiteX13" fmla="*/ 850 w 10117"/>
                <a:gd name="connsiteY13" fmla="*/ 5429 h 10610"/>
                <a:gd name="connsiteX14" fmla="*/ 765 w 10117"/>
                <a:gd name="connsiteY14" fmla="*/ 5481 h 10610"/>
                <a:gd name="connsiteX15" fmla="*/ 670 w 10117"/>
                <a:gd name="connsiteY15" fmla="*/ 5534 h 10610"/>
                <a:gd name="connsiteX16" fmla="*/ 581 w 10117"/>
                <a:gd name="connsiteY16" fmla="*/ 5583 h 10610"/>
                <a:gd name="connsiteX17" fmla="*/ 488 w 10117"/>
                <a:gd name="connsiteY17" fmla="*/ 5633 h 10610"/>
                <a:gd name="connsiteX18" fmla="*/ 393 w 10117"/>
                <a:gd name="connsiteY18" fmla="*/ 5681 h 10610"/>
                <a:gd name="connsiteX19" fmla="*/ 295 w 10117"/>
                <a:gd name="connsiteY19" fmla="*/ 5725 h 10610"/>
                <a:gd name="connsiteX20" fmla="*/ 198 w 10117"/>
                <a:gd name="connsiteY20" fmla="*/ 5773 h 10610"/>
                <a:gd name="connsiteX21" fmla="*/ 103 w 10117"/>
                <a:gd name="connsiteY21" fmla="*/ 5816 h 10610"/>
                <a:gd name="connsiteX22" fmla="*/ 0 w 10117"/>
                <a:gd name="connsiteY22" fmla="*/ 5857 h 10610"/>
                <a:gd name="connsiteX23" fmla="*/ 210 w 10117"/>
                <a:gd name="connsiteY23" fmla="*/ 8550 h 10610"/>
                <a:gd name="connsiteX24" fmla="*/ 3301 w 10117"/>
                <a:gd name="connsiteY24" fmla="*/ 10610 h 10610"/>
                <a:gd name="connsiteX25" fmla="*/ 3606 w 10117"/>
                <a:gd name="connsiteY25" fmla="*/ 10485 h 10610"/>
                <a:gd name="connsiteX26" fmla="*/ 3848 w 10117"/>
                <a:gd name="connsiteY26" fmla="*/ 10386 h 10610"/>
                <a:gd name="connsiteX27" fmla="*/ 4084 w 10117"/>
                <a:gd name="connsiteY27" fmla="*/ 10287 h 10610"/>
                <a:gd name="connsiteX28" fmla="*/ 4317 w 10117"/>
                <a:gd name="connsiteY28" fmla="*/ 10183 h 10610"/>
                <a:gd name="connsiteX29" fmla="*/ 4549 w 10117"/>
                <a:gd name="connsiteY29" fmla="*/ 10074 h 10610"/>
                <a:gd name="connsiteX30" fmla="*/ 4767 w 10117"/>
                <a:gd name="connsiteY30" fmla="*/ 9967 h 10610"/>
                <a:gd name="connsiteX31" fmla="*/ 4988 w 10117"/>
                <a:gd name="connsiteY31" fmla="*/ 9849 h 10610"/>
                <a:gd name="connsiteX32" fmla="*/ 5209 w 10117"/>
                <a:gd name="connsiteY32" fmla="*/ 9736 h 10610"/>
                <a:gd name="connsiteX33" fmla="*/ 5419 w 10117"/>
                <a:gd name="connsiteY33" fmla="*/ 9615 h 10610"/>
                <a:gd name="connsiteX34" fmla="*/ 5635 w 10117"/>
                <a:gd name="connsiteY34" fmla="*/ 9491 h 10610"/>
                <a:gd name="connsiteX35" fmla="*/ 5839 w 10117"/>
                <a:gd name="connsiteY35" fmla="*/ 9362 h 10610"/>
                <a:gd name="connsiteX36" fmla="*/ 6043 w 10117"/>
                <a:gd name="connsiteY36" fmla="*/ 9235 h 10610"/>
                <a:gd name="connsiteX37" fmla="*/ 6239 w 10117"/>
                <a:gd name="connsiteY37" fmla="*/ 9105 h 10610"/>
                <a:gd name="connsiteX38" fmla="*/ 6438 w 10117"/>
                <a:gd name="connsiteY38" fmla="*/ 8967 h 10610"/>
                <a:gd name="connsiteX39" fmla="*/ 6629 w 10117"/>
                <a:gd name="connsiteY39" fmla="*/ 8825 h 10610"/>
                <a:gd name="connsiteX40" fmla="*/ 6814 w 10117"/>
                <a:gd name="connsiteY40" fmla="*/ 8689 h 10610"/>
                <a:gd name="connsiteX41" fmla="*/ 6997 w 10117"/>
                <a:gd name="connsiteY41" fmla="*/ 8544 h 10610"/>
                <a:gd name="connsiteX42" fmla="*/ 7173 w 10117"/>
                <a:gd name="connsiteY42" fmla="*/ 8396 h 10610"/>
                <a:gd name="connsiteX43" fmla="*/ 7349 w 10117"/>
                <a:gd name="connsiteY43" fmla="*/ 8248 h 10610"/>
                <a:gd name="connsiteX44" fmla="*/ 7518 w 10117"/>
                <a:gd name="connsiteY44" fmla="*/ 8097 h 10610"/>
                <a:gd name="connsiteX45" fmla="*/ 7686 w 10117"/>
                <a:gd name="connsiteY45" fmla="*/ 7940 h 10610"/>
                <a:gd name="connsiteX46" fmla="*/ 7842 w 10117"/>
                <a:gd name="connsiteY46" fmla="*/ 7782 h 10610"/>
                <a:gd name="connsiteX47" fmla="*/ 7995 w 10117"/>
                <a:gd name="connsiteY47" fmla="*/ 7623 h 10610"/>
                <a:gd name="connsiteX48" fmla="*/ 8150 w 10117"/>
                <a:gd name="connsiteY48" fmla="*/ 7463 h 10610"/>
                <a:gd name="connsiteX49" fmla="*/ 8293 w 10117"/>
                <a:gd name="connsiteY49" fmla="*/ 7296 h 10610"/>
                <a:gd name="connsiteX50" fmla="*/ 8433 w 10117"/>
                <a:gd name="connsiteY50" fmla="*/ 7132 h 10610"/>
                <a:gd name="connsiteX51" fmla="*/ 8569 w 10117"/>
                <a:gd name="connsiteY51" fmla="*/ 6962 h 10610"/>
                <a:gd name="connsiteX52" fmla="*/ 8695 w 10117"/>
                <a:gd name="connsiteY52" fmla="*/ 6788 h 10610"/>
                <a:gd name="connsiteX53" fmla="*/ 8819 w 10117"/>
                <a:gd name="connsiteY53" fmla="*/ 6614 h 10610"/>
                <a:gd name="connsiteX54" fmla="*/ 8945 w 10117"/>
                <a:gd name="connsiteY54" fmla="*/ 6440 h 10610"/>
                <a:gd name="connsiteX55" fmla="*/ 9063 w 10117"/>
                <a:gd name="connsiteY55" fmla="*/ 6262 h 10610"/>
                <a:gd name="connsiteX56" fmla="*/ 9167 w 10117"/>
                <a:gd name="connsiteY56" fmla="*/ 6084 h 10610"/>
                <a:gd name="connsiteX57" fmla="*/ 9274 w 10117"/>
                <a:gd name="connsiteY57" fmla="*/ 5902 h 10610"/>
                <a:gd name="connsiteX58" fmla="*/ 9369 w 10117"/>
                <a:gd name="connsiteY58" fmla="*/ 5716 h 10610"/>
                <a:gd name="connsiteX59" fmla="*/ 9465 w 10117"/>
                <a:gd name="connsiteY59" fmla="*/ 5533 h 10610"/>
                <a:gd name="connsiteX60" fmla="*/ 9549 w 10117"/>
                <a:gd name="connsiteY60" fmla="*/ 5344 h 10610"/>
                <a:gd name="connsiteX61" fmla="*/ 9630 w 10117"/>
                <a:gd name="connsiteY61" fmla="*/ 5153 h 10610"/>
                <a:gd name="connsiteX62" fmla="*/ 9704 w 10117"/>
                <a:gd name="connsiteY62" fmla="*/ 4961 h 10610"/>
                <a:gd name="connsiteX63" fmla="*/ 9777 w 10117"/>
                <a:gd name="connsiteY63" fmla="*/ 4771 h 10610"/>
                <a:gd name="connsiteX64" fmla="*/ 9839 w 10117"/>
                <a:gd name="connsiteY64" fmla="*/ 4578 h 10610"/>
                <a:gd name="connsiteX65" fmla="*/ 9898 w 10117"/>
                <a:gd name="connsiteY65" fmla="*/ 4381 h 10610"/>
                <a:gd name="connsiteX66" fmla="*/ 9635 w 10117"/>
                <a:gd name="connsiteY66" fmla="*/ 0 h 10610"/>
                <a:gd name="connsiteX67" fmla="*/ 6408 w 10117"/>
                <a:gd name="connsiteY67" fmla="*/ 1883 h 10610"/>
                <a:gd name="connsiteX68" fmla="*/ 2450 w 10117"/>
                <a:gd name="connsiteY68" fmla="*/ 1500 h 10610"/>
                <a:gd name="connsiteX0" fmla="*/ 2450 w 10117"/>
                <a:gd name="connsiteY0" fmla="*/ 1500 h 10610"/>
                <a:gd name="connsiteX1" fmla="*/ 1702 w 10117"/>
                <a:gd name="connsiteY1" fmla="*/ 4758 h 10610"/>
                <a:gd name="connsiteX2" fmla="*/ 1632 w 10117"/>
                <a:gd name="connsiteY2" fmla="*/ 4830 h 10610"/>
                <a:gd name="connsiteX3" fmla="*/ 1563 w 10117"/>
                <a:gd name="connsiteY3" fmla="*/ 4893 h 10610"/>
                <a:gd name="connsiteX4" fmla="*/ 1490 w 10117"/>
                <a:gd name="connsiteY4" fmla="*/ 4952 h 10610"/>
                <a:gd name="connsiteX5" fmla="*/ 1415 w 10117"/>
                <a:gd name="connsiteY5" fmla="*/ 5019 h 10610"/>
                <a:gd name="connsiteX6" fmla="*/ 1341 w 10117"/>
                <a:gd name="connsiteY6" fmla="*/ 5081 h 10610"/>
                <a:gd name="connsiteX7" fmla="*/ 1262 w 10117"/>
                <a:gd name="connsiteY7" fmla="*/ 5140 h 10610"/>
                <a:gd name="connsiteX8" fmla="*/ 1184 w 10117"/>
                <a:gd name="connsiteY8" fmla="*/ 5204 h 10610"/>
                <a:gd name="connsiteX9" fmla="*/ 1105 w 10117"/>
                <a:gd name="connsiteY9" fmla="*/ 5262 h 10610"/>
                <a:gd name="connsiteX10" fmla="*/ 1017 w 10117"/>
                <a:gd name="connsiteY10" fmla="*/ 5319 h 10610"/>
                <a:gd name="connsiteX11" fmla="*/ 937 w 10117"/>
                <a:gd name="connsiteY11" fmla="*/ 5373 h 10610"/>
                <a:gd name="connsiteX12" fmla="*/ 850 w 10117"/>
                <a:gd name="connsiteY12" fmla="*/ 5429 h 10610"/>
                <a:gd name="connsiteX13" fmla="*/ 765 w 10117"/>
                <a:gd name="connsiteY13" fmla="*/ 5481 h 10610"/>
                <a:gd name="connsiteX14" fmla="*/ 670 w 10117"/>
                <a:gd name="connsiteY14" fmla="*/ 5534 h 10610"/>
                <a:gd name="connsiteX15" fmla="*/ 581 w 10117"/>
                <a:gd name="connsiteY15" fmla="*/ 5583 h 10610"/>
                <a:gd name="connsiteX16" fmla="*/ 488 w 10117"/>
                <a:gd name="connsiteY16" fmla="*/ 5633 h 10610"/>
                <a:gd name="connsiteX17" fmla="*/ 393 w 10117"/>
                <a:gd name="connsiteY17" fmla="*/ 5681 h 10610"/>
                <a:gd name="connsiteX18" fmla="*/ 295 w 10117"/>
                <a:gd name="connsiteY18" fmla="*/ 5725 h 10610"/>
                <a:gd name="connsiteX19" fmla="*/ 198 w 10117"/>
                <a:gd name="connsiteY19" fmla="*/ 5773 h 10610"/>
                <a:gd name="connsiteX20" fmla="*/ 103 w 10117"/>
                <a:gd name="connsiteY20" fmla="*/ 5816 h 10610"/>
                <a:gd name="connsiteX21" fmla="*/ 0 w 10117"/>
                <a:gd name="connsiteY21" fmla="*/ 5857 h 10610"/>
                <a:gd name="connsiteX22" fmla="*/ 210 w 10117"/>
                <a:gd name="connsiteY22" fmla="*/ 8550 h 10610"/>
                <a:gd name="connsiteX23" fmla="*/ 3301 w 10117"/>
                <a:gd name="connsiteY23" fmla="*/ 10610 h 10610"/>
                <a:gd name="connsiteX24" fmla="*/ 3606 w 10117"/>
                <a:gd name="connsiteY24" fmla="*/ 10485 h 10610"/>
                <a:gd name="connsiteX25" fmla="*/ 3848 w 10117"/>
                <a:gd name="connsiteY25" fmla="*/ 10386 h 10610"/>
                <a:gd name="connsiteX26" fmla="*/ 4084 w 10117"/>
                <a:gd name="connsiteY26" fmla="*/ 10287 h 10610"/>
                <a:gd name="connsiteX27" fmla="*/ 4317 w 10117"/>
                <a:gd name="connsiteY27" fmla="*/ 10183 h 10610"/>
                <a:gd name="connsiteX28" fmla="*/ 4549 w 10117"/>
                <a:gd name="connsiteY28" fmla="*/ 10074 h 10610"/>
                <a:gd name="connsiteX29" fmla="*/ 4767 w 10117"/>
                <a:gd name="connsiteY29" fmla="*/ 9967 h 10610"/>
                <a:gd name="connsiteX30" fmla="*/ 4988 w 10117"/>
                <a:gd name="connsiteY30" fmla="*/ 9849 h 10610"/>
                <a:gd name="connsiteX31" fmla="*/ 5209 w 10117"/>
                <a:gd name="connsiteY31" fmla="*/ 9736 h 10610"/>
                <a:gd name="connsiteX32" fmla="*/ 5419 w 10117"/>
                <a:gd name="connsiteY32" fmla="*/ 9615 h 10610"/>
                <a:gd name="connsiteX33" fmla="*/ 5635 w 10117"/>
                <a:gd name="connsiteY33" fmla="*/ 9491 h 10610"/>
                <a:gd name="connsiteX34" fmla="*/ 5839 w 10117"/>
                <a:gd name="connsiteY34" fmla="*/ 9362 h 10610"/>
                <a:gd name="connsiteX35" fmla="*/ 6043 w 10117"/>
                <a:gd name="connsiteY35" fmla="*/ 9235 h 10610"/>
                <a:gd name="connsiteX36" fmla="*/ 6239 w 10117"/>
                <a:gd name="connsiteY36" fmla="*/ 9105 h 10610"/>
                <a:gd name="connsiteX37" fmla="*/ 6438 w 10117"/>
                <a:gd name="connsiteY37" fmla="*/ 8967 h 10610"/>
                <a:gd name="connsiteX38" fmla="*/ 6629 w 10117"/>
                <a:gd name="connsiteY38" fmla="*/ 8825 h 10610"/>
                <a:gd name="connsiteX39" fmla="*/ 6814 w 10117"/>
                <a:gd name="connsiteY39" fmla="*/ 8689 h 10610"/>
                <a:gd name="connsiteX40" fmla="*/ 6997 w 10117"/>
                <a:gd name="connsiteY40" fmla="*/ 8544 h 10610"/>
                <a:gd name="connsiteX41" fmla="*/ 7173 w 10117"/>
                <a:gd name="connsiteY41" fmla="*/ 8396 h 10610"/>
                <a:gd name="connsiteX42" fmla="*/ 7349 w 10117"/>
                <a:gd name="connsiteY42" fmla="*/ 8248 h 10610"/>
                <a:gd name="connsiteX43" fmla="*/ 7518 w 10117"/>
                <a:gd name="connsiteY43" fmla="*/ 8097 h 10610"/>
                <a:gd name="connsiteX44" fmla="*/ 7686 w 10117"/>
                <a:gd name="connsiteY44" fmla="*/ 7940 h 10610"/>
                <a:gd name="connsiteX45" fmla="*/ 7842 w 10117"/>
                <a:gd name="connsiteY45" fmla="*/ 7782 h 10610"/>
                <a:gd name="connsiteX46" fmla="*/ 7995 w 10117"/>
                <a:gd name="connsiteY46" fmla="*/ 7623 h 10610"/>
                <a:gd name="connsiteX47" fmla="*/ 8150 w 10117"/>
                <a:gd name="connsiteY47" fmla="*/ 7463 h 10610"/>
                <a:gd name="connsiteX48" fmla="*/ 8293 w 10117"/>
                <a:gd name="connsiteY48" fmla="*/ 7296 h 10610"/>
                <a:gd name="connsiteX49" fmla="*/ 8433 w 10117"/>
                <a:gd name="connsiteY49" fmla="*/ 7132 h 10610"/>
                <a:gd name="connsiteX50" fmla="*/ 8569 w 10117"/>
                <a:gd name="connsiteY50" fmla="*/ 6962 h 10610"/>
                <a:gd name="connsiteX51" fmla="*/ 8695 w 10117"/>
                <a:gd name="connsiteY51" fmla="*/ 6788 h 10610"/>
                <a:gd name="connsiteX52" fmla="*/ 8819 w 10117"/>
                <a:gd name="connsiteY52" fmla="*/ 6614 h 10610"/>
                <a:gd name="connsiteX53" fmla="*/ 8945 w 10117"/>
                <a:gd name="connsiteY53" fmla="*/ 6440 h 10610"/>
                <a:gd name="connsiteX54" fmla="*/ 9063 w 10117"/>
                <a:gd name="connsiteY54" fmla="*/ 6262 h 10610"/>
                <a:gd name="connsiteX55" fmla="*/ 9167 w 10117"/>
                <a:gd name="connsiteY55" fmla="*/ 6084 h 10610"/>
                <a:gd name="connsiteX56" fmla="*/ 9274 w 10117"/>
                <a:gd name="connsiteY56" fmla="*/ 5902 h 10610"/>
                <a:gd name="connsiteX57" fmla="*/ 9369 w 10117"/>
                <a:gd name="connsiteY57" fmla="*/ 5716 h 10610"/>
                <a:gd name="connsiteX58" fmla="*/ 9465 w 10117"/>
                <a:gd name="connsiteY58" fmla="*/ 5533 h 10610"/>
                <a:gd name="connsiteX59" fmla="*/ 9549 w 10117"/>
                <a:gd name="connsiteY59" fmla="*/ 5344 h 10610"/>
                <a:gd name="connsiteX60" fmla="*/ 9630 w 10117"/>
                <a:gd name="connsiteY60" fmla="*/ 5153 h 10610"/>
                <a:gd name="connsiteX61" fmla="*/ 9704 w 10117"/>
                <a:gd name="connsiteY61" fmla="*/ 4961 h 10610"/>
                <a:gd name="connsiteX62" fmla="*/ 9777 w 10117"/>
                <a:gd name="connsiteY62" fmla="*/ 4771 h 10610"/>
                <a:gd name="connsiteX63" fmla="*/ 9839 w 10117"/>
                <a:gd name="connsiteY63" fmla="*/ 4578 h 10610"/>
                <a:gd name="connsiteX64" fmla="*/ 9898 w 10117"/>
                <a:gd name="connsiteY64" fmla="*/ 4381 h 10610"/>
                <a:gd name="connsiteX65" fmla="*/ 9635 w 10117"/>
                <a:gd name="connsiteY65" fmla="*/ 0 h 10610"/>
                <a:gd name="connsiteX66" fmla="*/ 6408 w 10117"/>
                <a:gd name="connsiteY66" fmla="*/ 1883 h 10610"/>
                <a:gd name="connsiteX67" fmla="*/ 2450 w 10117"/>
                <a:gd name="connsiteY67" fmla="*/ 1500 h 10610"/>
                <a:gd name="connsiteX0" fmla="*/ 2450 w 10117"/>
                <a:gd name="connsiteY0" fmla="*/ 1500 h 10610"/>
                <a:gd name="connsiteX1" fmla="*/ 1632 w 10117"/>
                <a:gd name="connsiteY1" fmla="*/ 4830 h 10610"/>
                <a:gd name="connsiteX2" fmla="*/ 1563 w 10117"/>
                <a:gd name="connsiteY2" fmla="*/ 4893 h 10610"/>
                <a:gd name="connsiteX3" fmla="*/ 1490 w 10117"/>
                <a:gd name="connsiteY3" fmla="*/ 4952 h 10610"/>
                <a:gd name="connsiteX4" fmla="*/ 1415 w 10117"/>
                <a:gd name="connsiteY4" fmla="*/ 5019 h 10610"/>
                <a:gd name="connsiteX5" fmla="*/ 1341 w 10117"/>
                <a:gd name="connsiteY5" fmla="*/ 5081 h 10610"/>
                <a:gd name="connsiteX6" fmla="*/ 1262 w 10117"/>
                <a:gd name="connsiteY6" fmla="*/ 5140 h 10610"/>
                <a:gd name="connsiteX7" fmla="*/ 1184 w 10117"/>
                <a:gd name="connsiteY7" fmla="*/ 5204 h 10610"/>
                <a:gd name="connsiteX8" fmla="*/ 1105 w 10117"/>
                <a:gd name="connsiteY8" fmla="*/ 5262 h 10610"/>
                <a:gd name="connsiteX9" fmla="*/ 1017 w 10117"/>
                <a:gd name="connsiteY9" fmla="*/ 5319 h 10610"/>
                <a:gd name="connsiteX10" fmla="*/ 937 w 10117"/>
                <a:gd name="connsiteY10" fmla="*/ 5373 h 10610"/>
                <a:gd name="connsiteX11" fmla="*/ 850 w 10117"/>
                <a:gd name="connsiteY11" fmla="*/ 5429 h 10610"/>
                <a:gd name="connsiteX12" fmla="*/ 765 w 10117"/>
                <a:gd name="connsiteY12" fmla="*/ 5481 h 10610"/>
                <a:gd name="connsiteX13" fmla="*/ 670 w 10117"/>
                <a:gd name="connsiteY13" fmla="*/ 5534 h 10610"/>
                <a:gd name="connsiteX14" fmla="*/ 581 w 10117"/>
                <a:gd name="connsiteY14" fmla="*/ 5583 h 10610"/>
                <a:gd name="connsiteX15" fmla="*/ 488 w 10117"/>
                <a:gd name="connsiteY15" fmla="*/ 5633 h 10610"/>
                <a:gd name="connsiteX16" fmla="*/ 393 w 10117"/>
                <a:gd name="connsiteY16" fmla="*/ 5681 h 10610"/>
                <a:gd name="connsiteX17" fmla="*/ 295 w 10117"/>
                <a:gd name="connsiteY17" fmla="*/ 5725 h 10610"/>
                <a:gd name="connsiteX18" fmla="*/ 198 w 10117"/>
                <a:gd name="connsiteY18" fmla="*/ 5773 h 10610"/>
                <a:gd name="connsiteX19" fmla="*/ 103 w 10117"/>
                <a:gd name="connsiteY19" fmla="*/ 5816 h 10610"/>
                <a:gd name="connsiteX20" fmla="*/ 0 w 10117"/>
                <a:gd name="connsiteY20" fmla="*/ 5857 h 10610"/>
                <a:gd name="connsiteX21" fmla="*/ 210 w 10117"/>
                <a:gd name="connsiteY21" fmla="*/ 8550 h 10610"/>
                <a:gd name="connsiteX22" fmla="*/ 3301 w 10117"/>
                <a:gd name="connsiteY22" fmla="*/ 10610 h 10610"/>
                <a:gd name="connsiteX23" fmla="*/ 3606 w 10117"/>
                <a:gd name="connsiteY23" fmla="*/ 10485 h 10610"/>
                <a:gd name="connsiteX24" fmla="*/ 3848 w 10117"/>
                <a:gd name="connsiteY24" fmla="*/ 10386 h 10610"/>
                <a:gd name="connsiteX25" fmla="*/ 4084 w 10117"/>
                <a:gd name="connsiteY25" fmla="*/ 10287 h 10610"/>
                <a:gd name="connsiteX26" fmla="*/ 4317 w 10117"/>
                <a:gd name="connsiteY26" fmla="*/ 10183 h 10610"/>
                <a:gd name="connsiteX27" fmla="*/ 4549 w 10117"/>
                <a:gd name="connsiteY27" fmla="*/ 10074 h 10610"/>
                <a:gd name="connsiteX28" fmla="*/ 4767 w 10117"/>
                <a:gd name="connsiteY28" fmla="*/ 9967 h 10610"/>
                <a:gd name="connsiteX29" fmla="*/ 4988 w 10117"/>
                <a:gd name="connsiteY29" fmla="*/ 9849 h 10610"/>
                <a:gd name="connsiteX30" fmla="*/ 5209 w 10117"/>
                <a:gd name="connsiteY30" fmla="*/ 9736 h 10610"/>
                <a:gd name="connsiteX31" fmla="*/ 5419 w 10117"/>
                <a:gd name="connsiteY31" fmla="*/ 9615 h 10610"/>
                <a:gd name="connsiteX32" fmla="*/ 5635 w 10117"/>
                <a:gd name="connsiteY32" fmla="*/ 9491 h 10610"/>
                <a:gd name="connsiteX33" fmla="*/ 5839 w 10117"/>
                <a:gd name="connsiteY33" fmla="*/ 9362 h 10610"/>
                <a:gd name="connsiteX34" fmla="*/ 6043 w 10117"/>
                <a:gd name="connsiteY34" fmla="*/ 9235 h 10610"/>
                <a:gd name="connsiteX35" fmla="*/ 6239 w 10117"/>
                <a:gd name="connsiteY35" fmla="*/ 9105 h 10610"/>
                <a:gd name="connsiteX36" fmla="*/ 6438 w 10117"/>
                <a:gd name="connsiteY36" fmla="*/ 8967 h 10610"/>
                <a:gd name="connsiteX37" fmla="*/ 6629 w 10117"/>
                <a:gd name="connsiteY37" fmla="*/ 8825 h 10610"/>
                <a:gd name="connsiteX38" fmla="*/ 6814 w 10117"/>
                <a:gd name="connsiteY38" fmla="*/ 8689 h 10610"/>
                <a:gd name="connsiteX39" fmla="*/ 6997 w 10117"/>
                <a:gd name="connsiteY39" fmla="*/ 8544 h 10610"/>
                <a:gd name="connsiteX40" fmla="*/ 7173 w 10117"/>
                <a:gd name="connsiteY40" fmla="*/ 8396 h 10610"/>
                <a:gd name="connsiteX41" fmla="*/ 7349 w 10117"/>
                <a:gd name="connsiteY41" fmla="*/ 8248 h 10610"/>
                <a:gd name="connsiteX42" fmla="*/ 7518 w 10117"/>
                <a:gd name="connsiteY42" fmla="*/ 8097 h 10610"/>
                <a:gd name="connsiteX43" fmla="*/ 7686 w 10117"/>
                <a:gd name="connsiteY43" fmla="*/ 7940 h 10610"/>
                <a:gd name="connsiteX44" fmla="*/ 7842 w 10117"/>
                <a:gd name="connsiteY44" fmla="*/ 7782 h 10610"/>
                <a:gd name="connsiteX45" fmla="*/ 7995 w 10117"/>
                <a:gd name="connsiteY45" fmla="*/ 7623 h 10610"/>
                <a:gd name="connsiteX46" fmla="*/ 8150 w 10117"/>
                <a:gd name="connsiteY46" fmla="*/ 7463 h 10610"/>
                <a:gd name="connsiteX47" fmla="*/ 8293 w 10117"/>
                <a:gd name="connsiteY47" fmla="*/ 7296 h 10610"/>
                <a:gd name="connsiteX48" fmla="*/ 8433 w 10117"/>
                <a:gd name="connsiteY48" fmla="*/ 7132 h 10610"/>
                <a:gd name="connsiteX49" fmla="*/ 8569 w 10117"/>
                <a:gd name="connsiteY49" fmla="*/ 6962 h 10610"/>
                <a:gd name="connsiteX50" fmla="*/ 8695 w 10117"/>
                <a:gd name="connsiteY50" fmla="*/ 6788 h 10610"/>
                <a:gd name="connsiteX51" fmla="*/ 8819 w 10117"/>
                <a:gd name="connsiteY51" fmla="*/ 6614 h 10610"/>
                <a:gd name="connsiteX52" fmla="*/ 8945 w 10117"/>
                <a:gd name="connsiteY52" fmla="*/ 6440 h 10610"/>
                <a:gd name="connsiteX53" fmla="*/ 9063 w 10117"/>
                <a:gd name="connsiteY53" fmla="*/ 6262 h 10610"/>
                <a:gd name="connsiteX54" fmla="*/ 9167 w 10117"/>
                <a:gd name="connsiteY54" fmla="*/ 6084 h 10610"/>
                <a:gd name="connsiteX55" fmla="*/ 9274 w 10117"/>
                <a:gd name="connsiteY55" fmla="*/ 5902 h 10610"/>
                <a:gd name="connsiteX56" fmla="*/ 9369 w 10117"/>
                <a:gd name="connsiteY56" fmla="*/ 5716 h 10610"/>
                <a:gd name="connsiteX57" fmla="*/ 9465 w 10117"/>
                <a:gd name="connsiteY57" fmla="*/ 5533 h 10610"/>
                <a:gd name="connsiteX58" fmla="*/ 9549 w 10117"/>
                <a:gd name="connsiteY58" fmla="*/ 5344 h 10610"/>
                <a:gd name="connsiteX59" fmla="*/ 9630 w 10117"/>
                <a:gd name="connsiteY59" fmla="*/ 5153 h 10610"/>
                <a:gd name="connsiteX60" fmla="*/ 9704 w 10117"/>
                <a:gd name="connsiteY60" fmla="*/ 4961 h 10610"/>
                <a:gd name="connsiteX61" fmla="*/ 9777 w 10117"/>
                <a:gd name="connsiteY61" fmla="*/ 4771 h 10610"/>
                <a:gd name="connsiteX62" fmla="*/ 9839 w 10117"/>
                <a:gd name="connsiteY62" fmla="*/ 4578 h 10610"/>
                <a:gd name="connsiteX63" fmla="*/ 9898 w 10117"/>
                <a:gd name="connsiteY63" fmla="*/ 4381 h 10610"/>
                <a:gd name="connsiteX64" fmla="*/ 9635 w 10117"/>
                <a:gd name="connsiteY64" fmla="*/ 0 h 10610"/>
                <a:gd name="connsiteX65" fmla="*/ 6408 w 10117"/>
                <a:gd name="connsiteY65" fmla="*/ 1883 h 10610"/>
                <a:gd name="connsiteX66" fmla="*/ 2450 w 10117"/>
                <a:gd name="connsiteY66" fmla="*/ 1500 h 10610"/>
                <a:gd name="connsiteX0" fmla="*/ 2450 w 10117"/>
                <a:gd name="connsiteY0" fmla="*/ 1500 h 10610"/>
                <a:gd name="connsiteX1" fmla="*/ 1563 w 10117"/>
                <a:gd name="connsiteY1" fmla="*/ 4893 h 10610"/>
                <a:gd name="connsiteX2" fmla="*/ 1490 w 10117"/>
                <a:gd name="connsiteY2" fmla="*/ 4952 h 10610"/>
                <a:gd name="connsiteX3" fmla="*/ 1415 w 10117"/>
                <a:gd name="connsiteY3" fmla="*/ 5019 h 10610"/>
                <a:gd name="connsiteX4" fmla="*/ 1341 w 10117"/>
                <a:gd name="connsiteY4" fmla="*/ 5081 h 10610"/>
                <a:gd name="connsiteX5" fmla="*/ 1262 w 10117"/>
                <a:gd name="connsiteY5" fmla="*/ 5140 h 10610"/>
                <a:gd name="connsiteX6" fmla="*/ 1184 w 10117"/>
                <a:gd name="connsiteY6" fmla="*/ 5204 h 10610"/>
                <a:gd name="connsiteX7" fmla="*/ 1105 w 10117"/>
                <a:gd name="connsiteY7" fmla="*/ 5262 h 10610"/>
                <a:gd name="connsiteX8" fmla="*/ 1017 w 10117"/>
                <a:gd name="connsiteY8" fmla="*/ 5319 h 10610"/>
                <a:gd name="connsiteX9" fmla="*/ 937 w 10117"/>
                <a:gd name="connsiteY9" fmla="*/ 5373 h 10610"/>
                <a:gd name="connsiteX10" fmla="*/ 850 w 10117"/>
                <a:gd name="connsiteY10" fmla="*/ 5429 h 10610"/>
                <a:gd name="connsiteX11" fmla="*/ 765 w 10117"/>
                <a:gd name="connsiteY11" fmla="*/ 5481 h 10610"/>
                <a:gd name="connsiteX12" fmla="*/ 670 w 10117"/>
                <a:gd name="connsiteY12" fmla="*/ 5534 h 10610"/>
                <a:gd name="connsiteX13" fmla="*/ 581 w 10117"/>
                <a:gd name="connsiteY13" fmla="*/ 5583 h 10610"/>
                <a:gd name="connsiteX14" fmla="*/ 488 w 10117"/>
                <a:gd name="connsiteY14" fmla="*/ 5633 h 10610"/>
                <a:gd name="connsiteX15" fmla="*/ 393 w 10117"/>
                <a:gd name="connsiteY15" fmla="*/ 5681 h 10610"/>
                <a:gd name="connsiteX16" fmla="*/ 295 w 10117"/>
                <a:gd name="connsiteY16" fmla="*/ 5725 h 10610"/>
                <a:gd name="connsiteX17" fmla="*/ 198 w 10117"/>
                <a:gd name="connsiteY17" fmla="*/ 5773 h 10610"/>
                <a:gd name="connsiteX18" fmla="*/ 103 w 10117"/>
                <a:gd name="connsiteY18" fmla="*/ 5816 h 10610"/>
                <a:gd name="connsiteX19" fmla="*/ 0 w 10117"/>
                <a:gd name="connsiteY19" fmla="*/ 5857 h 10610"/>
                <a:gd name="connsiteX20" fmla="*/ 210 w 10117"/>
                <a:gd name="connsiteY20" fmla="*/ 8550 h 10610"/>
                <a:gd name="connsiteX21" fmla="*/ 3301 w 10117"/>
                <a:gd name="connsiteY21" fmla="*/ 10610 h 10610"/>
                <a:gd name="connsiteX22" fmla="*/ 3606 w 10117"/>
                <a:gd name="connsiteY22" fmla="*/ 10485 h 10610"/>
                <a:gd name="connsiteX23" fmla="*/ 3848 w 10117"/>
                <a:gd name="connsiteY23" fmla="*/ 10386 h 10610"/>
                <a:gd name="connsiteX24" fmla="*/ 4084 w 10117"/>
                <a:gd name="connsiteY24" fmla="*/ 10287 h 10610"/>
                <a:gd name="connsiteX25" fmla="*/ 4317 w 10117"/>
                <a:gd name="connsiteY25" fmla="*/ 10183 h 10610"/>
                <a:gd name="connsiteX26" fmla="*/ 4549 w 10117"/>
                <a:gd name="connsiteY26" fmla="*/ 10074 h 10610"/>
                <a:gd name="connsiteX27" fmla="*/ 4767 w 10117"/>
                <a:gd name="connsiteY27" fmla="*/ 9967 h 10610"/>
                <a:gd name="connsiteX28" fmla="*/ 4988 w 10117"/>
                <a:gd name="connsiteY28" fmla="*/ 9849 h 10610"/>
                <a:gd name="connsiteX29" fmla="*/ 5209 w 10117"/>
                <a:gd name="connsiteY29" fmla="*/ 9736 h 10610"/>
                <a:gd name="connsiteX30" fmla="*/ 5419 w 10117"/>
                <a:gd name="connsiteY30" fmla="*/ 9615 h 10610"/>
                <a:gd name="connsiteX31" fmla="*/ 5635 w 10117"/>
                <a:gd name="connsiteY31" fmla="*/ 9491 h 10610"/>
                <a:gd name="connsiteX32" fmla="*/ 5839 w 10117"/>
                <a:gd name="connsiteY32" fmla="*/ 9362 h 10610"/>
                <a:gd name="connsiteX33" fmla="*/ 6043 w 10117"/>
                <a:gd name="connsiteY33" fmla="*/ 9235 h 10610"/>
                <a:gd name="connsiteX34" fmla="*/ 6239 w 10117"/>
                <a:gd name="connsiteY34" fmla="*/ 9105 h 10610"/>
                <a:gd name="connsiteX35" fmla="*/ 6438 w 10117"/>
                <a:gd name="connsiteY35" fmla="*/ 8967 h 10610"/>
                <a:gd name="connsiteX36" fmla="*/ 6629 w 10117"/>
                <a:gd name="connsiteY36" fmla="*/ 8825 h 10610"/>
                <a:gd name="connsiteX37" fmla="*/ 6814 w 10117"/>
                <a:gd name="connsiteY37" fmla="*/ 8689 h 10610"/>
                <a:gd name="connsiteX38" fmla="*/ 6997 w 10117"/>
                <a:gd name="connsiteY38" fmla="*/ 8544 h 10610"/>
                <a:gd name="connsiteX39" fmla="*/ 7173 w 10117"/>
                <a:gd name="connsiteY39" fmla="*/ 8396 h 10610"/>
                <a:gd name="connsiteX40" fmla="*/ 7349 w 10117"/>
                <a:gd name="connsiteY40" fmla="*/ 8248 h 10610"/>
                <a:gd name="connsiteX41" fmla="*/ 7518 w 10117"/>
                <a:gd name="connsiteY41" fmla="*/ 8097 h 10610"/>
                <a:gd name="connsiteX42" fmla="*/ 7686 w 10117"/>
                <a:gd name="connsiteY42" fmla="*/ 7940 h 10610"/>
                <a:gd name="connsiteX43" fmla="*/ 7842 w 10117"/>
                <a:gd name="connsiteY43" fmla="*/ 7782 h 10610"/>
                <a:gd name="connsiteX44" fmla="*/ 7995 w 10117"/>
                <a:gd name="connsiteY44" fmla="*/ 7623 h 10610"/>
                <a:gd name="connsiteX45" fmla="*/ 8150 w 10117"/>
                <a:gd name="connsiteY45" fmla="*/ 7463 h 10610"/>
                <a:gd name="connsiteX46" fmla="*/ 8293 w 10117"/>
                <a:gd name="connsiteY46" fmla="*/ 7296 h 10610"/>
                <a:gd name="connsiteX47" fmla="*/ 8433 w 10117"/>
                <a:gd name="connsiteY47" fmla="*/ 7132 h 10610"/>
                <a:gd name="connsiteX48" fmla="*/ 8569 w 10117"/>
                <a:gd name="connsiteY48" fmla="*/ 6962 h 10610"/>
                <a:gd name="connsiteX49" fmla="*/ 8695 w 10117"/>
                <a:gd name="connsiteY49" fmla="*/ 6788 h 10610"/>
                <a:gd name="connsiteX50" fmla="*/ 8819 w 10117"/>
                <a:gd name="connsiteY50" fmla="*/ 6614 h 10610"/>
                <a:gd name="connsiteX51" fmla="*/ 8945 w 10117"/>
                <a:gd name="connsiteY51" fmla="*/ 6440 h 10610"/>
                <a:gd name="connsiteX52" fmla="*/ 9063 w 10117"/>
                <a:gd name="connsiteY52" fmla="*/ 6262 h 10610"/>
                <a:gd name="connsiteX53" fmla="*/ 9167 w 10117"/>
                <a:gd name="connsiteY53" fmla="*/ 6084 h 10610"/>
                <a:gd name="connsiteX54" fmla="*/ 9274 w 10117"/>
                <a:gd name="connsiteY54" fmla="*/ 5902 h 10610"/>
                <a:gd name="connsiteX55" fmla="*/ 9369 w 10117"/>
                <a:gd name="connsiteY55" fmla="*/ 5716 h 10610"/>
                <a:gd name="connsiteX56" fmla="*/ 9465 w 10117"/>
                <a:gd name="connsiteY56" fmla="*/ 5533 h 10610"/>
                <a:gd name="connsiteX57" fmla="*/ 9549 w 10117"/>
                <a:gd name="connsiteY57" fmla="*/ 5344 h 10610"/>
                <a:gd name="connsiteX58" fmla="*/ 9630 w 10117"/>
                <a:gd name="connsiteY58" fmla="*/ 5153 h 10610"/>
                <a:gd name="connsiteX59" fmla="*/ 9704 w 10117"/>
                <a:gd name="connsiteY59" fmla="*/ 4961 h 10610"/>
                <a:gd name="connsiteX60" fmla="*/ 9777 w 10117"/>
                <a:gd name="connsiteY60" fmla="*/ 4771 h 10610"/>
                <a:gd name="connsiteX61" fmla="*/ 9839 w 10117"/>
                <a:gd name="connsiteY61" fmla="*/ 4578 h 10610"/>
                <a:gd name="connsiteX62" fmla="*/ 9898 w 10117"/>
                <a:gd name="connsiteY62" fmla="*/ 4381 h 10610"/>
                <a:gd name="connsiteX63" fmla="*/ 9635 w 10117"/>
                <a:gd name="connsiteY63" fmla="*/ 0 h 10610"/>
                <a:gd name="connsiteX64" fmla="*/ 6408 w 10117"/>
                <a:gd name="connsiteY64" fmla="*/ 1883 h 10610"/>
                <a:gd name="connsiteX65" fmla="*/ 2450 w 10117"/>
                <a:gd name="connsiteY65" fmla="*/ 1500 h 10610"/>
                <a:gd name="connsiteX0" fmla="*/ 2450 w 10117"/>
                <a:gd name="connsiteY0" fmla="*/ 1500 h 10610"/>
                <a:gd name="connsiteX1" fmla="*/ 1490 w 10117"/>
                <a:gd name="connsiteY1" fmla="*/ 4952 h 10610"/>
                <a:gd name="connsiteX2" fmla="*/ 1415 w 10117"/>
                <a:gd name="connsiteY2" fmla="*/ 5019 h 10610"/>
                <a:gd name="connsiteX3" fmla="*/ 1341 w 10117"/>
                <a:gd name="connsiteY3" fmla="*/ 5081 h 10610"/>
                <a:gd name="connsiteX4" fmla="*/ 1262 w 10117"/>
                <a:gd name="connsiteY4" fmla="*/ 5140 h 10610"/>
                <a:gd name="connsiteX5" fmla="*/ 1184 w 10117"/>
                <a:gd name="connsiteY5" fmla="*/ 5204 h 10610"/>
                <a:gd name="connsiteX6" fmla="*/ 1105 w 10117"/>
                <a:gd name="connsiteY6" fmla="*/ 5262 h 10610"/>
                <a:gd name="connsiteX7" fmla="*/ 1017 w 10117"/>
                <a:gd name="connsiteY7" fmla="*/ 5319 h 10610"/>
                <a:gd name="connsiteX8" fmla="*/ 937 w 10117"/>
                <a:gd name="connsiteY8" fmla="*/ 5373 h 10610"/>
                <a:gd name="connsiteX9" fmla="*/ 850 w 10117"/>
                <a:gd name="connsiteY9" fmla="*/ 5429 h 10610"/>
                <a:gd name="connsiteX10" fmla="*/ 765 w 10117"/>
                <a:gd name="connsiteY10" fmla="*/ 5481 h 10610"/>
                <a:gd name="connsiteX11" fmla="*/ 670 w 10117"/>
                <a:gd name="connsiteY11" fmla="*/ 5534 h 10610"/>
                <a:gd name="connsiteX12" fmla="*/ 581 w 10117"/>
                <a:gd name="connsiteY12" fmla="*/ 5583 h 10610"/>
                <a:gd name="connsiteX13" fmla="*/ 488 w 10117"/>
                <a:gd name="connsiteY13" fmla="*/ 5633 h 10610"/>
                <a:gd name="connsiteX14" fmla="*/ 393 w 10117"/>
                <a:gd name="connsiteY14" fmla="*/ 5681 h 10610"/>
                <a:gd name="connsiteX15" fmla="*/ 295 w 10117"/>
                <a:gd name="connsiteY15" fmla="*/ 5725 h 10610"/>
                <a:gd name="connsiteX16" fmla="*/ 198 w 10117"/>
                <a:gd name="connsiteY16" fmla="*/ 5773 h 10610"/>
                <a:gd name="connsiteX17" fmla="*/ 103 w 10117"/>
                <a:gd name="connsiteY17" fmla="*/ 5816 h 10610"/>
                <a:gd name="connsiteX18" fmla="*/ 0 w 10117"/>
                <a:gd name="connsiteY18" fmla="*/ 5857 h 10610"/>
                <a:gd name="connsiteX19" fmla="*/ 210 w 10117"/>
                <a:gd name="connsiteY19" fmla="*/ 8550 h 10610"/>
                <a:gd name="connsiteX20" fmla="*/ 3301 w 10117"/>
                <a:gd name="connsiteY20" fmla="*/ 10610 h 10610"/>
                <a:gd name="connsiteX21" fmla="*/ 3606 w 10117"/>
                <a:gd name="connsiteY21" fmla="*/ 10485 h 10610"/>
                <a:gd name="connsiteX22" fmla="*/ 3848 w 10117"/>
                <a:gd name="connsiteY22" fmla="*/ 10386 h 10610"/>
                <a:gd name="connsiteX23" fmla="*/ 4084 w 10117"/>
                <a:gd name="connsiteY23" fmla="*/ 10287 h 10610"/>
                <a:gd name="connsiteX24" fmla="*/ 4317 w 10117"/>
                <a:gd name="connsiteY24" fmla="*/ 10183 h 10610"/>
                <a:gd name="connsiteX25" fmla="*/ 4549 w 10117"/>
                <a:gd name="connsiteY25" fmla="*/ 10074 h 10610"/>
                <a:gd name="connsiteX26" fmla="*/ 4767 w 10117"/>
                <a:gd name="connsiteY26" fmla="*/ 9967 h 10610"/>
                <a:gd name="connsiteX27" fmla="*/ 4988 w 10117"/>
                <a:gd name="connsiteY27" fmla="*/ 9849 h 10610"/>
                <a:gd name="connsiteX28" fmla="*/ 5209 w 10117"/>
                <a:gd name="connsiteY28" fmla="*/ 9736 h 10610"/>
                <a:gd name="connsiteX29" fmla="*/ 5419 w 10117"/>
                <a:gd name="connsiteY29" fmla="*/ 9615 h 10610"/>
                <a:gd name="connsiteX30" fmla="*/ 5635 w 10117"/>
                <a:gd name="connsiteY30" fmla="*/ 9491 h 10610"/>
                <a:gd name="connsiteX31" fmla="*/ 5839 w 10117"/>
                <a:gd name="connsiteY31" fmla="*/ 9362 h 10610"/>
                <a:gd name="connsiteX32" fmla="*/ 6043 w 10117"/>
                <a:gd name="connsiteY32" fmla="*/ 9235 h 10610"/>
                <a:gd name="connsiteX33" fmla="*/ 6239 w 10117"/>
                <a:gd name="connsiteY33" fmla="*/ 9105 h 10610"/>
                <a:gd name="connsiteX34" fmla="*/ 6438 w 10117"/>
                <a:gd name="connsiteY34" fmla="*/ 8967 h 10610"/>
                <a:gd name="connsiteX35" fmla="*/ 6629 w 10117"/>
                <a:gd name="connsiteY35" fmla="*/ 8825 h 10610"/>
                <a:gd name="connsiteX36" fmla="*/ 6814 w 10117"/>
                <a:gd name="connsiteY36" fmla="*/ 8689 h 10610"/>
                <a:gd name="connsiteX37" fmla="*/ 6997 w 10117"/>
                <a:gd name="connsiteY37" fmla="*/ 8544 h 10610"/>
                <a:gd name="connsiteX38" fmla="*/ 7173 w 10117"/>
                <a:gd name="connsiteY38" fmla="*/ 8396 h 10610"/>
                <a:gd name="connsiteX39" fmla="*/ 7349 w 10117"/>
                <a:gd name="connsiteY39" fmla="*/ 8248 h 10610"/>
                <a:gd name="connsiteX40" fmla="*/ 7518 w 10117"/>
                <a:gd name="connsiteY40" fmla="*/ 8097 h 10610"/>
                <a:gd name="connsiteX41" fmla="*/ 7686 w 10117"/>
                <a:gd name="connsiteY41" fmla="*/ 7940 h 10610"/>
                <a:gd name="connsiteX42" fmla="*/ 7842 w 10117"/>
                <a:gd name="connsiteY42" fmla="*/ 7782 h 10610"/>
                <a:gd name="connsiteX43" fmla="*/ 7995 w 10117"/>
                <a:gd name="connsiteY43" fmla="*/ 7623 h 10610"/>
                <a:gd name="connsiteX44" fmla="*/ 8150 w 10117"/>
                <a:gd name="connsiteY44" fmla="*/ 7463 h 10610"/>
                <a:gd name="connsiteX45" fmla="*/ 8293 w 10117"/>
                <a:gd name="connsiteY45" fmla="*/ 7296 h 10610"/>
                <a:gd name="connsiteX46" fmla="*/ 8433 w 10117"/>
                <a:gd name="connsiteY46" fmla="*/ 7132 h 10610"/>
                <a:gd name="connsiteX47" fmla="*/ 8569 w 10117"/>
                <a:gd name="connsiteY47" fmla="*/ 6962 h 10610"/>
                <a:gd name="connsiteX48" fmla="*/ 8695 w 10117"/>
                <a:gd name="connsiteY48" fmla="*/ 6788 h 10610"/>
                <a:gd name="connsiteX49" fmla="*/ 8819 w 10117"/>
                <a:gd name="connsiteY49" fmla="*/ 6614 h 10610"/>
                <a:gd name="connsiteX50" fmla="*/ 8945 w 10117"/>
                <a:gd name="connsiteY50" fmla="*/ 6440 h 10610"/>
                <a:gd name="connsiteX51" fmla="*/ 9063 w 10117"/>
                <a:gd name="connsiteY51" fmla="*/ 6262 h 10610"/>
                <a:gd name="connsiteX52" fmla="*/ 9167 w 10117"/>
                <a:gd name="connsiteY52" fmla="*/ 6084 h 10610"/>
                <a:gd name="connsiteX53" fmla="*/ 9274 w 10117"/>
                <a:gd name="connsiteY53" fmla="*/ 5902 h 10610"/>
                <a:gd name="connsiteX54" fmla="*/ 9369 w 10117"/>
                <a:gd name="connsiteY54" fmla="*/ 5716 h 10610"/>
                <a:gd name="connsiteX55" fmla="*/ 9465 w 10117"/>
                <a:gd name="connsiteY55" fmla="*/ 5533 h 10610"/>
                <a:gd name="connsiteX56" fmla="*/ 9549 w 10117"/>
                <a:gd name="connsiteY56" fmla="*/ 5344 h 10610"/>
                <a:gd name="connsiteX57" fmla="*/ 9630 w 10117"/>
                <a:gd name="connsiteY57" fmla="*/ 5153 h 10610"/>
                <a:gd name="connsiteX58" fmla="*/ 9704 w 10117"/>
                <a:gd name="connsiteY58" fmla="*/ 4961 h 10610"/>
                <a:gd name="connsiteX59" fmla="*/ 9777 w 10117"/>
                <a:gd name="connsiteY59" fmla="*/ 4771 h 10610"/>
                <a:gd name="connsiteX60" fmla="*/ 9839 w 10117"/>
                <a:gd name="connsiteY60" fmla="*/ 4578 h 10610"/>
                <a:gd name="connsiteX61" fmla="*/ 9898 w 10117"/>
                <a:gd name="connsiteY61" fmla="*/ 4381 h 10610"/>
                <a:gd name="connsiteX62" fmla="*/ 9635 w 10117"/>
                <a:gd name="connsiteY62" fmla="*/ 0 h 10610"/>
                <a:gd name="connsiteX63" fmla="*/ 6408 w 10117"/>
                <a:gd name="connsiteY63" fmla="*/ 1883 h 10610"/>
                <a:gd name="connsiteX64" fmla="*/ 2450 w 10117"/>
                <a:gd name="connsiteY64" fmla="*/ 1500 h 10610"/>
                <a:gd name="connsiteX0" fmla="*/ 2450 w 10117"/>
                <a:gd name="connsiteY0" fmla="*/ 1500 h 10610"/>
                <a:gd name="connsiteX1" fmla="*/ 1415 w 10117"/>
                <a:gd name="connsiteY1" fmla="*/ 5019 h 10610"/>
                <a:gd name="connsiteX2" fmla="*/ 1341 w 10117"/>
                <a:gd name="connsiteY2" fmla="*/ 5081 h 10610"/>
                <a:gd name="connsiteX3" fmla="*/ 1262 w 10117"/>
                <a:gd name="connsiteY3" fmla="*/ 5140 h 10610"/>
                <a:gd name="connsiteX4" fmla="*/ 1184 w 10117"/>
                <a:gd name="connsiteY4" fmla="*/ 5204 h 10610"/>
                <a:gd name="connsiteX5" fmla="*/ 1105 w 10117"/>
                <a:gd name="connsiteY5" fmla="*/ 5262 h 10610"/>
                <a:gd name="connsiteX6" fmla="*/ 1017 w 10117"/>
                <a:gd name="connsiteY6" fmla="*/ 5319 h 10610"/>
                <a:gd name="connsiteX7" fmla="*/ 937 w 10117"/>
                <a:gd name="connsiteY7" fmla="*/ 5373 h 10610"/>
                <a:gd name="connsiteX8" fmla="*/ 850 w 10117"/>
                <a:gd name="connsiteY8" fmla="*/ 5429 h 10610"/>
                <a:gd name="connsiteX9" fmla="*/ 765 w 10117"/>
                <a:gd name="connsiteY9" fmla="*/ 5481 h 10610"/>
                <a:gd name="connsiteX10" fmla="*/ 670 w 10117"/>
                <a:gd name="connsiteY10" fmla="*/ 5534 h 10610"/>
                <a:gd name="connsiteX11" fmla="*/ 581 w 10117"/>
                <a:gd name="connsiteY11" fmla="*/ 5583 h 10610"/>
                <a:gd name="connsiteX12" fmla="*/ 488 w 10117"/>
                <a:gd name="connsiteY12" fmla="*/ 5633 h 10610"/>
                <a:gd name="connsiteX13" fmla="*/ 393 w 10117"/>
                <a:gd name="connsiteY13" fmla="*/ 5681 h 10610"/>
                <a:gd name="connsiteX14" fmla="*/ 295 w 10117"/>
                <a:gd name="connsiteY14" fmla="*/ 5725 h 10610"/>
                <a:gd name="connsiteX15" fmla="*/ 198 w 10117"/>
                <a:gd name="connsiteY15" fmla="*/ 5773 h 10610"/>
                <a:gd name="connsiteX16" fmla="*/ 103 w 10117"/>
                <a:gd name="connsiteY16" fmla="*/ 5816 h 10610"/>
                <a:gd name="connsiteX17" fmla="*/ 0 w 10117"/>
                <a:gd name="connsiteY17" fmla="*/ 5857 h 10610"/>
                <a:gd name="connsiteX18" fmla="*/ 210 w 10117"/>
                <a:gd name="connsiteY18" fmla="*/ 8550 h 10610"/>
                <a:gd name="connsiteX19" fmla="*/ 3301 w 10117"/>
                <a:gd name="connsiteY19" fmla="*/ 10610 h 10610"/>
                <a:gd name="connsiteX20" fmla="*/ 3606 w 10117"/>
                <a:gd name="connsiteY20" fmla="*/ 10485 h 10610"/>
                <a:gd name="connsiteX21" fmla="*/ 3848 w 10117"/>
                <a:gd name="connsiteY21" fmla="*/ 10386 h 10610"/>
                <a:gd name="connsiteX22" fmla="*/ 4084 w 10117"/>
                <a:gd name="connsiteY22" fmla="*/ 10287 h 10610"/>
                <a:gd name="connsiteX23" fmla="*/ 4317 w 10117"/>
                <a:gd name="connsiteY23" fmla="*/ 10183 h 10610"/>
                <a:gd name="connsiteX24" fmla="*/ 4549 w 10117"/>
                <a:gd name="connsiteY24" fmla="*/ 10074 h 10610"/>
                <a:gd name="connsiteX25" fmla="*/ 4767 w 10117"/>
                <a:gd name="connsiteY25" fmla="*/ 9967 h 10610"/>
                <a:gd name="connsiteX26" fmla="*/ 4988 w 10117"/>
                <a:gd name="connsiteY26" fmla="*/ 9849 h 10610"/>
                <a:gd name="connsiteX27" fmla="*/ 5209 w 10117"/>
                <a:gd name="connsiteY27" fmla="*/ 9736 h 10610"/>
                <a:gd name="connsiteX28" fmla="*/ 5419 w 10117"/>
                <a:gd name="connsiteY28" fmla="*/ 9615 h 10610"/>
                <a:gd name="connsiteX29" fmla="*/ 5635 w 10117"/>
                <a:gd name="connsiteY29" fmla="*/ 9491 h 10610"/>
                <a:gd name="connsiteX30" fmla="*/ 5839 w 10117"/>
                <a:gd name="connsiteY30" fmla="*/ 9362 h 10610"/>
                <a:gd name="connsiteX31" fmla="*/ 6043 w 10117"/>
                <a:gd name="connsiteY31" fmla="*/ 9235 h 10610"/>
                <a:gd name="connsiteX32" fmla="*/ 6239 w 10117"/>
                <a:gd name="connsiteY32" fmla="*/ 9105 h 10610"/>
                <a:gd name="connsiteX33" fmla="*/ 6438 w 10117"/>
                <a:gd name="connsiteY33" fmla="*/ 8967 h 10610"/>
                <a:gd name="connsiteX34" fmla="*/ 6629 w 10117"/>
                <a:gd name="connsiteY34" fmla="*/ 8825 h 10610"/>
                <a:gd name="connsiteX35" fmla="*/ 6814 w 10117"/>
                <a:gd name="connsiteY35" fmla="*/ 8689 h 10610"/>
                <a:gd name="connsiteX36" fmla="*/ 6997 w 10117"/>
                <a:gd name="connsiteY36" fmla="*/ 8544 h 10610"/>
                <a:gd name="connsiteX37" fmla="*/ 7173 w 10117"/>
                <a:gd name="connsiteY37" fmla="*/ 8396 h 10610"/>
                <a:gd name="connsiteX38" fmla="*/ 7349 w 10117"/>
                <a:gd name="connsiteY38" fmla="*/ 8248 h 10610"/>
                <a:gd name="connsiteX39" fmla="*/ 7518 w 10117"/>
                <a:gd name="connsiteY39" fmla="*/ 8097 h 10610"/>
                <a:gd name="connsiteX40" fmla="*/ 7686 w 10117"/>
                <a:gd name="connsiteY40" fmla="*/ 7940 h 10610"/>
                <a:gd name="connsiteX41" fmla="*/ 7842 w 10117"/>
                <a:gd name="connsiteY41" fmla="*/ 7782 h 10610"/>
                <a:gd name="connsiteX42" fmla="*/ 7995 w 10117"/>
                <a:gd name="connsiteY42" fmla="*/ 7623 h 10610"/>
                <a:gd name="connsiteX43" fmla="*/ 8150 w 10117"/>
                <a:gd name="connsiteY43" fmla="*/ 7463 h 10610"/>
                <a:gd name="connsiteX44" fmla="*/ 8293 w 10117"/>
                <a:gd name="connsiteY44" fmla="*/ 7296 h 10610"/>
                <a:gd name="connsiteX45" fmla="*/ 8433 w 10117"/>
                <a:gd name="connsiteY45" fmla="*/ 7132 h 10610"/>
                <a:gd name="connsiteX46" fmla="*/ 8569 w 10117"/>
                <a:gd name="connsiteY46" fmla="*/ 6962 h 10610"/>
                <a:gd name="connsiteX47" fmla="*/ 8695 w 10117"/>
                <a:gd name="connsiteY47" fmla="*/ 6788 h 10610"/>
                <a:gd name="connsiteX48" fmla="*/ 8819 w 10117"/>
                <a:gd name="connsiteY48" fmla="*/ 6614 h 10610"/>
                <a:gd name="connsiteX49" fmla="*/ 8945 w 10117"/>
                <a:gd name="connsiteY49" fmla="*/ 6440 h 10610"/>
                <a:gd name="connsiteX50" fmla="*/ 9063 w 10117"/>
                <a:gd name="connsiteY50" fmla="*/ 6262 h 10610"/>
                <a:gd name="connsiteX51" fmla="*/ 9167 w 10117"/>
                <a:gd name="connsiteY51" fmla="*/ 6084 h 10610"/>
                <a:gd name="connsiteX52" fmla="*/ 9274 w 10117"/>
                <a:gd name="connsiteY52" fmla="*/ 5902 h 10610"/>
                <a:gd name="connsiteX53" fmla="*/ 9369 w 10117"/>
                <a:gd name="connsiteY53" fmla="*/ 5716 h 10610"/>
                <a:gd name="connsiteX54" fmla="*/ 9465 w 10117"/>
                <a:gd name="connsiteY54" fmla="*/ 5533 h 10610"/>
                <a:gd name="connsiteX55" fmla="*/ 9549 w 10117"/>
                <a:gd name="connsiteY55" fmla="*/ 5344 h 10610"/>
                <a:gd name="connsiteX56" fmla="*/ 9630 w 10117"/>
                <a:gd name="connsiteY56" fmla="*/ 5153 h 10610"/>
                <a:gd name="connsiteX57" fmla="*/ 9704 w 10117"/>
                <a:gd name="connsiteY57" fmla="*/ 4961 h 10610"/>
                <a:gd name="connsiteX58" fmla="*/ 9777 w 10117"/>
                <a:gd name="connsiteY58" fmla="*/ 4771 h 10610"/>
                <a:gd name="connsiteX59" fmla="*/ 9839 w 10117"/>
                <a:gd name="connsiteY59" fmla="*/ 4578 h 10610"/>
                <a:gd name="connsiteX60" fmla="*/ 9898 w 10117"/>
                <a:gd name="connsiteY60" fmla="*/ 4381 h 10610"/>
                <a:gd name="connsiteX61" fmla="*/ 9635 w 10117"/>
                <a:gd name="connsiteY61" fmla="*/ 0 h 10610"/>
                <a:gd name="connsiteX62" fmla="*/ 6408 w 10117"/>
                <a:gd name="connsiteY62" fmla="*/ 1883 h 10610"/>
                <a:gd name="connsiteX63" fmla="*/ 2450 w 10117"/>
                <a:gd name="connsiteY63" fmla="*/ 1500 h 10610"/>
                <a:gd name="connsiteX0" fmla="*/ 2450 w 10117"/>
                <a:gd name="connsiteY0" fmla="*/ 1500 h 10610"/>
                <a:gd name="connsiteX1" fmla="*/ 1341 w 10117"/>
                <a:gd name="connsiteY1" fmla="*/ 5081 h 10610"/>
                <a:gd name="connsiteX2" fmla="*/ 1262 w 10117"/>
                <a:gd name="connsiteY2" fmla="*/ 5140 h 10610"/>
                <a:gd name="connsiteX3" fmla="*/ 1184 w 10117"/>
                <a:gd name="connsiteY3" fmla="*/ 5204 h 10610"/>
                <a:gd name="connsiteX4" fmla="*/ 1105 w 10117"/>
                <a:gd name="connsiteY4" fmla="*/ 5262 h 10610"/>
                <a:gd name="connsiteX5" fmla="*/ 1017 w 10117"/>
                <a:gd name="connsiteY5" fmla="*/ 5319 h 10610"/>
                <a:gd name="connsiteX6" fmla="*/ 937 w 10117"/>
                <a:gd name="connsiteY6" fmla="*/ 5373 h 10610"/>
                <a:gd name="connsiteX7" fmla="*/ 850 w 10117"/>
                <a:gd name="connsiteY7" fmla="*/ 5429 h 10610"/>
                <a:gd name="connsiteX8" fmla="*/ 765 w 10117"/>
                <a:gd name="connsiteY8" fmla="*/ 5481 h 10610"/>
                <a:gd name="connsiteX9" fmla="*/ 670 w 10117"/>
                <a:gd name="connsiteY9" fmla="*/ 5534 h 10610"/>
                <a:gd name="connsiteX10" fmla="*/ 581 w 10117"/>
                <a:gd name="connsiteY10" fmla="*/ 5583 h 10610"/>
                <a:gd name="connsiteX11" fmla="*/ 488 w 10117"/>
                <a:gd name="connsiteY11" fmla="*/ 5633 h 10610"/>
                <a:gd name="connsiteX12" fmla="*/ 393 w 10117"/>
                <a:gd name="connsiteY12" fmla="*/ 5681 h 10610"/>
                <a:gd name="connsiteX13" fmla="*/ 295 w 10117"/>
                <a:gd name="connsiteY13" fmla="*/ 5725 h 10610"/>
                <a:gd name="connsiteX14" fmla="*/ 198 w 10117"/>
                <a:gd name="connsiteY14" fmla="*/ 5773 h 10610"/>
                <a:gd name="connsiteX15" fmla="*/ 103 w 10117"/>
                <a:gd name="connsiteY15" fmla="*/ 5816 h 10610"/>
                <a:gd name="connsiteX16" fmla="*/ 0 w 10117"/>
                <a:gd name="connsiteY16" fmla="*/ 5857 h 10610"/>
                <a:gd name="connsiteX17" fmla="*/ 210 w 10117"/>
                <a:gd name="connsiteY17" fmla="*/ 8550 h 10610"/>
                <a:gd name="connsiteX18" fmla="*/ 3301 w 10117"/>
                <a:gd name="connsiteY18" fmla="*/ 10610 h 10610"/>
                <a:gd name="connsiteX19" fmla="*/ 3606 w 10117"/>
                <a:gd name="connsiteY19" fmla="*/ 10485 h 10610"/>
                <a:gd name="connsiteX20" fmla="*/ 3848 w 10117"/>
                <a:gd name="connsiteY20" fmla="*/ 10386 h 10610"/>
                <a:gd name="connsiteX21" fmla="*/ 4084 w 10117"/>
                <a:gd name="connsiteY21" fmla="*/ 10287 h 10610"/>
                <a:gd name="connsiteX22" fmla="*/ 4317 w 10117"/>
                <a:gd name="connsiteY22" fmla="*/ 10183 h 10610"/>
                <a:gd name="connsiteX23" fmla="*/ 4549 w 10117"/>
                <a:gd name="connsiteY23" fmla="*/ 10074 h 10610"/>
                <a:gd name="connsiteX24" fmla="*/ 4767 w 10117"/>
                <a:gd name="connsiteY24" fmla="*/ 9967 h 10610"/>
                <a:gd name="connsiteX25" fmla="*/ 4988 w 10117"/>
                <a:gd name="connsiteY25" fmla="*/ 9849 h 10610"/>
                <a:gd name="connsiteX26" fmla="*/ 5209 w 10117"/>
                <a:gd name="connsiteY26" fmla="*/ 9736 h 10610"/>
                <a:gd name="connsiteX27" fmla="*/ 5419 w 10117"/>
                <a:gd name="connsiteY27" fmla="*/ 9615 h 10610"/>
                <a:gd name="connsiteX28" fmla="*/ 5635 w 10117"/>
                <a:gd name="connsiteY28" fmla="*/ 9491 h 10610"/>
                <a:gd name="connsiteX29" fmla="*/ 5839 w 10117"/>
                <a:gd name="connsiteY29" fmla="*/ 9362 h 10610"/>
                <a:gd name="connsiteX30" fmla="*/ 6043 w 10117"/>
                <a:gd name="connsiteY30" fmla="*/ 9235 h 10610"/>
                <a:gd name="connsiteX31" fmla="*/ 6239 w 10117"/>
                <a:gd name="connsiteY31" fmla="*/ 9105 h 10610"/>
                <a:gd name="connsiteX32" fmla="*/ 6438 w 10117"/>
                <a:gd name="connsiteY32" fmla="*/ 8967 h 10610"/>
                <a:gd name="connsiteX33" fmla="*/ 6629 w 10117"/>
                <a:gd name="connsiteY33" fmla="*/ 8825 h 10610"/>
                <a:gd name="connsiteX34" fmla="*/ 6814 w 10117"/>
                <a:gd name="connsiteY34" fmla="*/ 8689 h 10610"/>
                <a:gd name="connsiteX35" fmla="*/ 6997 w 10117"/>
                <a:gd name="connsiteY35" fmla="*/ 8544 h 10610"/>
                <a:gd name="connsiteX36" fmla="*/ 7173 w 10117"/>
                <a:gd name="connsiteY36" fmla="*/ 8396 h 10610"/>
                <a:gd name="connsiteX37" fmla="*/ 7349 w 10117"/>
                <a:gd name="connsiteY37" fmla="*/ 8248 h 10610"/>
                <a:gd name="connsiteX38" fmla="*/ 7518 w 10117"/>
                <a:gd name="connsiteY38" fmla="*/ 8097 h 10610"/>
                <a:gd name="connsiteX39" fmla="*/ 7686 w 10117"/>
                <a:gd name="connsiteY39" fmla="*/ 7940 h 10610"/>
                <a:gd name="connsiteX40" fmla="*/ 7842 w 10117"/>
                <a:gd name="connsiteY40" fmla="*/ 7782 h 10610"/>
                <a:gd name="connsiteX41" fmla="*/ 7995 w 10117"/>
                <a:gd name="connsiteY41" fmla="*/ 7623 h 10610"/>
                <a:gd name="connsiteX42" fmla="*/ 8150 w 10117"/>
                <a:gd name="connsiteY42" fmla="*/ 7463 h 10610"/>
                <a:gd name="connsiteX43" fmla="*/ 8293 w 10117"/>
                <a:gd name="connsiteY43" fmla="*/ 7296 h 10610"/>
                <a:gd name="connsiteX44" fmla="*/ 8433 w 10117"/>
                <a:gd name="connsiteY44" fmla="*/ 7132 h 10610"/>
                <a:gd name="connsiteX45" fmla="*/ 8569 w 10117"/>
                <a:gd name="connsiteY45" fmla="*/ 6962 h 10610"/>
                <a:gd name="connsiteX46" fmla="*/ 8695 w 10117"/>
                <a:gd name="connsiteY46" fmla="*/ 6788 h 10610"/>
                <a:gd name="connsiteX47" fmla="*/ 8819 w 10117"/>
                <a:gd name="connsiteY47" fmla="*/ 6614 h 10610"/>
                <a:gd name="connsiteX48" fmla="*/ 8945 w 10117"/>
                <a:gd name="connsiteY48" fmla="*/ 6440 h 10610"/>
                <a:gd name="connsiteX49" fmla="*/ 9063 w 10117"/>
                <a:gd name="connsiteY49" fmla="*/ 6262 h 10610"/>
                <a:gd name="connsiteX50" fmla="*/ 9167 w 10117"/>
                <a:gd name="connsiteY50" fmla="*/ 6084 h 10610"/>
                <a:gd name="connsiteX51" fmla="*/ 9274 w 10117"/>
                <a:gd name="connsiteY51" fmla="*/ 5902 h 10610"/>
                <a:gd name="connsiteX52" fmla="*/ 9369 w 10117"/>
                <a:gd name="connsiteY52" fmla="*/ 5716 h 10610"/>
                <a:gd name="connsiteX53" fmla="*/ 9465 w 10117"/>
                <a:gd name="connsiteY53" fmla="*/ 5533 h 10610"/>
                <a:gd name="connsiteX54" fmla="*/ 9549 w 10117"/>
                <a:gd name="connsiteY54" fmla="*/ 5344 h 10610"/>
                <a:gd name="connsiteX55" fmla="*/ 9630 w 10117"/>
                <a:gd name="connsiteY55" fmla="*/ 5153 h 10610"/>
                <a:gd name="connsiteX56" fmla="*/ 9704 w 10117"/>
                <a:gd name="connsiteY56" fmla="*/ 4961 h 10610"/>
                <a:gd name="connsiteX57" fmla="*/ 9777 w 10117"/>
                <a:gd name="connsiteY57" fmla="*/ 4771 h 10610"/>
                <a:gd name="connsiteX58" fmla="*/ 9839 w 10117"/>
                <a:gd name="connsiteY58" fmla="*/ 4578 h 10610"/>
                <a:gd name="connsiteX59" fmla="*/ 9898 w 10117"/>
                <a:gd name="connsiteY59" fmla="*/ 4381 h 10610"/>
                <a:gd name="connsiteX60" fmla="*/ 9635 w 10117"/>
                <a:gd name="connsiteY60" fmla="*/ 0 h 10610"/>
                <a:gd name="connsiteX61" fmla="*/ 6408 w 10117"/>
                <a:gd name="connsiteY61" fmla="*/ 1883 h 10610"/>
                <a:gd name="connsiteX62" fmla="*/ 2450 w 10117"/>
                <a:gd name="connsiteY62" fmla="*/ 1500 h 10610"/>
                <a:gd name="connsiteX0" fmla="*/ 2450 w 10117"/>
                <a:gd name="connsiteY0" fmla="*/ 1500 h 10610"/>
                <a:gd name="connsiteX1" fmla="*/ 1262 w 10117"/>
                <a:gd name="connsiteY1" fmla="*/ 5140 h 10610"/>
                <a:gd name="connsiteX2" fmla="*/ 1184 w 10117"/>
                <a:gd name="connsiteY2" fmla="*/ 5204 h 10610"/>
                <a:gd name="connsiteX3" fmla="*/ 1105 w 10117"/>
                <a:gd name="connsiteY3" fmla="*/ 5262 h 10610"/>
                <a:gd name="connsiteX4" fmla="*/ 1017 w 10117"/>
                <a:gd name="connsiteY4" fmla="*/ 5319 h 10610"/>
                <a:gd name="connsiteX5" fmla="*/ 937 w 10117"/>
                <a:gd name="connsiteY5" fmla="*/ 5373 h 10610"/>
                <a:gd name="connsiteX6" fmla="*/ 850 w 10117"/>
                <a:gd name="connsiteY6" fmla="*/ 5429 h 10610"/>
                <a:gd name="connsiteX7" fmla="*/ 765 w 10117"/>
                <a:gd name="connsiteY7" fmla="*/ 5481 h 10610"/>
                <a:gd name="connsiteX8" fmla="*/ 670 w 10117"/>
                <a:gd name="connsiteY8" fmla="*/ 5534 h 10610"/>
                <a:gd name="connsiteX9" fmla="*/ 581 w 10117"/>
                <a:gd name="connsiteY9" fmla="*/ 5583 h 10610"/>
                <a:gd name="connsiteX10" fmla="*/ 488 w 10117"/>
                <a:gd name="connsiteY10" fmla="*/ 5633 h 10610"/>
                <a:gd name="connsiteX11" fmla="*/ 393 w 10117"/>
                <a:gd name="connsiteY11" fmla="*/ 5681 h 10610"/>
                <a:gd name="connsiteX12" fmla="*/ 295 w 10117"/>
                <a:gd name="connsiteY12" fmla="*/ 5725 h 10610"/>
                <a:gd name="connsiteX13" fmla="*/ 198 w 10117"/>
                <a:gd name="connsiteY13" fmla="*/ 5773 h 10610"/>
                <a:gd name="connsiteX14" fmla="*/ 103 w 10117"/>
                <a:gd name="connsiteY14" fmla="*/ 5816 h 10610"/>
                <a:gd name="connsiteX15" fmla="*/ 0 w 10117"/>
                <a:gd name="connsiteY15" fmla="*/ 5857 h 10610"/>
                <a:gd name="connsiteX16" fmla="*/ 210 w 10117"/>
                <a:gd name="connsiteY16" fmla="*/ 8550 h 10610"/>
                <a:gd name="connsiteX17" fmla="*/ 3301 w 10117"/>
                <a:gd name="connsiteY17" fmla="*/ 10610 h 10610"/>
                <a:gd name="connsiteX18" fmla="*/ 3606 w 10117"/>
                <a:gd name="connsiteY18" fmla="*/ 10485 h 10610"/>
                <a:gd name="connsiteX19" fmla="*/ 3848 w 10117"/>
                <a:gd name="connsiteY19" fmla="*/ 10386 h 10610"/>
                <a:gd name="connsiteX20" fmla="*/ 4084 w 10117"/>
                <a:gd name="connsiteY20" fmla="*/ 10287 h 10610"/>
                <a:gd name="connsiteX21" fmla="*/ 4317 w 10117"/>
                <a:gd name="connsiteY21" fmla="*/ 10183 h 10610"/>
                <a:gd name="connsiteX22" fmla="*/ 4549 w 10117"/>
                <a:gd name="connsiteY22" fmla="*/ 10074 h 10610"/>
                <a:gd name="connsiteX23" fmla="*/ 4767 w 10117"/>
                <a:gd name="connsiteY23" fmla="*/ 9967 h 10610"/>
                <a:gd name="connsiteX24" fmla="*/ 4988 w 10117"/>
                <a:gd name="connsiteY24" fmla="*/ 9849 h 10610"/>
                <a:gd name="connsiteX25" fmla="*/ 5209 w 10117"/>
                <a:gd name="connsiteY25" fmla="*/ 9736 h 10610"/>
                <a:gd name="connsiteX26" fmla="*/ 5419 w 10117"/>
                <a:gd name="connsiteY26" fmla="*/ 9615 h 10610"/>
                <a:gd name="connsiteX27" fmla="*/ 5635 w 10117"/>
                <a:gd name="connsiteY27" fmla="*/ 9491 h 10610"/>
                <a:gd name="connsiteX28" fmla="*/ 5839 w 10117"/>
                <a:gd name="connsiteY28" fmla="*/ 9362 h 10610"/>
                <a:gd name="connsiteX29" fmla="*/ 6043 w 10117"/>
                <a:gd name="connsiteY29" fmla="*/ 9235 h 10610"/>
                <a:gd name="connsiteX30" fmla="*/ 6239 w 10117"/>
                <a:gd name="connsiteY30" fmla="*/ 9105 h 10610"/>
                <a:gd name="connsiteX31" fmla="*/ 6438 w 10117"/>
                <a:gd name="connsiteY31" fmla="*/ 8967 h 10610"/>
                <a:gd name="connsiteX32" fmla="*/ 6629 w 10117"/>
                <a:gd name="connsiteY32" fmla="*/ 8825 h 10610"/>
                <a:gd name="connsiteX33" fmla="*/ 6814 w 10117"/>
                <a:gd name="connsiteY33" fmla="*/ 8689 h 10610"/>
                <a:gd name="connsiteX34" fmla="*/ 6997 w 10117"/>
                <a:gd name="connsiteY34" fmla="*/ 8544 h 10610"/>
                <a:gd name="connsiteX35" fmla="*/ 7173 w 10117"/>
                <a:gd name="connsiteY35" fmla="*/ 8396 h 10610"/>
                <a:gd name="connsiteX36" fmla="*/ 7349 w 10117"/>
                <a:gd name="connsiteY36" fmla="*/ 8248 h 10610"/>
                <a:gd name="connsiteX37" fmla="*/ 7518 w 10117"/>
                <a:gd name="connsiteY37" fmla="*/ 8097 h 10610"/>
                <a:gd name="connsiteX38" fmla="*/ 7686 w 10117"/>
                <a:gd name="connsiteY38" fmla="*/ 7940 h 10610"/>
                <a:gd name="connsiteX39" fmla="*/ 7842 w 10117"/>
                <a:gd name="connsiteY39" fmla="*/ 7782 h 10610"/>
                <a:gd name="connsiteX40" fmla="*/ 7995 w 10117"/>
                <a:gd name="connsiteY40" fmla="*/ 7623 h 10610"/>
                <a:gd name="connsiteX41" fmla="*/ 8150 w 10117"/>
                <a:gd name="connsiteY41" fmla="*/ 7463 h 10610"/>
                <a:gd name="connsiteX42" fmla="*/ 8293 w 10117"/>
                <a:gd name="connsiteY42" fmla="*/ 7296 h 10610"/>
                <a:gd name="connsiteX43" fmla="*/ 8433 w 10117"/>
                <a:gd name="connsiteY43" fmla="*/ 7132 h 10610"/>
                <a:gd name="connsiteX44" fmla="*/ 8569 w 10117"/>
                <a:gd name="connsiteY44" fmla="*/ 6962 h 10610"/>
                <a:gd name="connsiteX45" fmla="*/ 8695 w 10117"/>
                <a:gd name="connsiteY45" fmla="*/ 6788 h 10610"/>
                <a:gd name="connsiteX46" fmla="*/ 8819 w 10117"/>
                <a:gd name="connsiteY46" fmla="*/ 6614 h 10610"/>
                <a:gd name="connsiteX47" fmla="*/ 8945 w 10117"/>
                <a:gd name="connsiteY47" fmla="*/ 6440 h 10610"/>
                <a:gd name="connsiteX48" fmla="*/ 9063 w 10117"/>
                <a:gd name="connsiteY48" fmla="*/ 6262 h 10610"/>
                <a:gd name="connsiteX49" fmla="*/ 9167 w 10117"/>
                <a:gd name="connsiteY49" fmla="*/ 6084 h 10610"/>
                <a:gd name="connsiteX50" fmla="*/ 9274 w 10117"/>
                <a:gd name="connsiteY50" fmla="*/ 5902 h 10610"/>
                <a:gd name="connsiteX51" fmla="*/ 9369 w 10117"/>
                <a:gd name="connsiteY51" fmla="*/ 5716 h 10610"/>
                <a:gd name="connsiteX52" fmla="*/ 9465 w 10117"/>
                <a:gd name="connsiteY52" fmla="*/ 5533 h 10610"/>
                <a:gd name="connsiteX53" fmla="*/ 9549 w 10117"/>
                <a:gd name="connsiteY53" fmla="*/ 5344 h 10610"/>
                <a:gd name="connsiteX54" fmla="*/ 9630 w 10117"/>
                <a:gd name="connsiteY54" fmla="*/ 5153 h 10610"/>
                <a:gd name="connsiteX55" fmla="*/ 9704 w 10117"/>
                <a:gd name="connsiteY55" fmla="*/ 4961 h 10610"/>
                <a:gd name="connsiteX56" fmla="*/ 9777 w 10117"/>
                <a:gd name="connsiteY56" fmla="*/ 4771 h 10610"/>
                <a:gd name="connsiteX57" fmla="*/ 9839 w 10117"/>
                <a:gd name="connsiteY57" fmla="*/ 4578 h 10610"/>
                <a:gd name="connsiteX58" fmla="*/ 9898 w 10117"/>
                <a:gd name="connsiteY58" fmla="*/ 4381 h 10610"/>
                <a:gd name="connsiteX59" fmla="*/ 9635 w 10117"/>
                <a:gd name="connsiteY59" fmla="*/ 0 h 10610"/>
                <a:gd name="connsiteX60" fmla="*/ 6408 w 10117"/>
                <a:gd name="connsiteY60" fmla="*/ 1883 h 10610"/>
                <a:gd name="connsiteX61" fmla="*/ 2450 w 10117"/>
                <a:gd name="connsiteY61" fmla="*/ 1500 h 10610"/>
                <a:gd name="connsiteX0" fmla="*/ 2450 w 10117"/>
                <a:gd name="connsiteY0" fmla="*/ 1500 h 10610"/>
                <a:gd name="connsiteX1" fmla="*/ 1259 w 10117"/>
                <a:gd name="connsiteY1" fmla="*/ 5109 h 10610"/>
                <a:gd name="connsiteX2" fmla="*/ 1262 w 10117"/>
                <a:gd name="connsiteY2" fmla="*/ 5140 h 10610"/>
                <a:gd name="connsiteX3" fmla="*/ 1184 w 10117"/>
                <a:gd name="connsiteY3" fmla="*/ 5204 h 10610"/>
                <a:gd name="connsiteX4" fmla="*/ 1105 w 10117"/>
                <a:gd name="connsiteY4" fmla="*/ 5262 h 10610"/>
                <a:gd name="connsiteX5" fmla="*/ 1017 w 10117"/>
                <a:gd name="connsiteY5" fmla="*/ 5319 h 10610"/>
                <a:gd name="connsiteX6" fmla="*/ 937 w 10117"/>
                <a:gd name="connsiteY6" fmla="*/ 5373 h 10610"/>
                <a:gd name="connsiteX7" fmla="*/ 850 w 10117"/>
                <a:gd name="connsiteY7" fmla="*/ 5429 h 10610"/>
                <a:gd name="connsiteX8" fmla="*/ 765 w 10117"/>
                <a:gd name="connsiteY8" fmla="*/ 5481 h 10610"/>
                <a:gd name="connsiteX9" fmla="*/ 670 w 10117"/>
                <a:gd name="connsiteY9" fmla="*/ 5534 h 10610"/>
                <a:gd name="connsiteX10" fmla="*/ 581 w 10117"/>
                <a:gd name="connsiteY10" fmla="*/ 5583 h 10610"/>
                <a:gd name="connsiteX11" fmla="*/ 488 w 10117"/>
                <a:gd name="connsiteY11" fmla="*/ 5633 h 10610"/>
                <a:gd name="connsiteX12" fmla="*/ 393 w 10117"/>
                <a:gd name="connsiteY12" fmla="*/ 5681 h 10610"/>
                <a:gd name="connsiteX13" fmla="*/ 295 w 10117"/>
                <a:gd name="connsiteY13" fmla="*/ 5725 h 10610"/>
                <a:gd name="connsiteX14" fmla="*/ 198 w 10117"/>
                <a:gd name="connsiteY14" fmla="*/ 5773 h 10610"/>
                <a:gd name="connsiteX15" fmla="*/ 103 w 10117"/>
                <a:gd name="connsiteY15" fmla="*/ 5816 h 10610"/>
                <a:gd name="connsiteX16" fmla="*/ 0 w 10117"/>
                <a:gd name="connsiteY16" fmla="*/ 5857 h 10610"/>
                <a:gd name="connsiteX17" fmla="*/ 210 w 10117"/>
                <a:gd name="connsiteY17" fmla="*/ 8550 h 10610"/>
                <a:gd name="connsiteX18" fmla="*/ 3301 w 10117"/>
                <a:gd name="connsiteY18" fmla="*/ 10610 h 10610"/>
                <a:gd name="connsiteX19" fmla="*/ 3606 w 10117"/>
                <a:gd name="connsiteY19" fmla="*/ 10485 h 10610"/>
                <a:gd name="connsiteX20" fmla="*/ 3848 w 10117"/>
                <a:gd name="connsiteY20" fmla="*/ 10386 h 10610"/>
                <a:gd name="connsiteX21" fmla="*/ 4084 w 10117"/>
                <a:gd name="connsiteY21" fmla="*/ 10287 h 10610"/>
                <a:gd name="connsiteX22" fmla="*/ 4317 w 10117"/>
                <a:gd name="connsiteY22" fmla="*/ 10183 h 10610"/>
                <a:gd name="connsiteX23" fmla="*/ 4549 w 10117"/>
                <a:gd name="connsiteY23" fmla="*/ 10074 h 10610"/>
                <a:gd name="connsiteX24" fmla="*/ 4767 w 10117"/>
                <a:gd name="connsiteY24" fmla="*/ 9967 h 10610"/>
                <a:gd name="connsiteX25" fmla="*/ 4988 w 10117"/>
                <a:gd name="connsiteY25" fmla="*/ 9849 h 10610"/>
                <a:gd name="connsiteX26" fmla="*/ 5209 w 10117"/>
                <a:gd name="connsiteY26" fmla="*/ 9736 h 10610"/>
                <a:gd name="connsiteX27" fmla="*/ 5419 w 10117"/>
                <a:gd name="connsiteY27" fmla="*/ 9615 h 10610"/>
                <a:gd name="connsiteX28" fmla="*/ 5635 w 10117"/>
                <a:gd name="connsiteY28" fmla="*/ 9491 h 10610"/>
                <a:gd name="connsiteX29" fmla="*/ 5839 w 10117"/>
                <a:gd name="connsiteY29" fmla="*/ 9362 h 10610"/>
                <a:gd name="connsiteX30" fmla="*/ 6043 w 10117"/>
                <a:gd name="connsiteY30" fmla="*/ 9235 h 10610"/>
                <a:gd name="connsiteX31" fmla="*/ 6239 w 10117"/>
                <a:gd name="connsiteY31" fmla="*/ 9105 h 10610"/>
                <a:gd name="connsiteX32" fmla="*/ 6438 w 10117"/>
                <a:gd name="connsiteY32" fmla="*/ 8967 h 10610"/>
                <a:gd name="connsiteX33" fmla="*/ 6629 w 10117"/>
                <a:gd name="connsiteY33" fmla="*/ 8825 h 10610"/>
                <a:gd name="connsiteX34" fmla="*/ 6814 w 10117"/>
                <a:gd name="connsiteY34" fmla="*/ 8689 h 10610"/>
                <a:gd name="connsiteX35" fmla="*/ 6997 w 10117"/>
                <a:gd name="connsiteY35" fmla="*/ 8544 h 10610"/>
                <a:gd name="connsiteX36" fmla="*/ 7173 w 10117"/>
                <a:gd name="connsiteY36" fmla="*/ 8396 h 10610"/>
                <a:gd name="connsiteX37" fmla="*/ 7349 w 10117"/>
                <a:gd name="connsiteY37" fmla="*/ 8248 h 10610"/>
                <a:gd name="connsiteX38" fmla="*/ 7518 w 10117"/>
                <a:gd name="connsiteY38" fmla="*/ 8097 h 10610"/>
                <a:gd name="connsiteX39" fmla="*/ 7686 w 10117"/>
                <a:gd name="connsiteY39" fmla="*/ 7940 h 10610"/>
                <a:gd name="connsiteX40" fmla="*/ 7842 w 10117"/>
                <a:gd name="connsiteY40" fmla="*/ 7782 h 10610"/>
                <a:gd name="connsiteX41" fmla="*/ 7995 w 10117"/>
                <a:gd name="connsiteY41" fmla="*/ 7623 h 10610"/>
                <a:gd name="connsiteX42" fmla="*/ 8150 w 10117"/>
                <a:gd name="connsiteY42" fmla="*/ 7463 h 10610"/>
                <a:gd name="connsiteX43" fmla="*/ 8293 w 10117"/>
                <a:gd name="connsiteY43" fmla="*/ 7296 h 10610"/>
                <a:gd name="connsiteX44" fmla="*/ 8433 w 10117"/>
                <a:gd name="connsiteY44" fmla="*/ 7132 h 10610"/>
                <a:gd name="connsiteX45" fmla="*/ 8569 w 10117"/>
                <a:gd name="connsiteY45" fmla="*/ 6962 h 10610"/>
                <a:gd name="connsiteX46" fmla="*/ 8695 w 10117"/>
                <a:gd name="connsiteY46" fmla="*/ 6788 h 10610"/>
                <a:gd name="connsiteX47" fmla="*/ 8819 w 10117"/>
                <a:gd name="connsiteY47" fmla="*/ 6614 h 10610"/>
                <a:gd name="connsiteX48" fmla="*/ 8945 w 10117"/>
                <a:gd name="connsiteY48" fmla="*/ 6440 h 10610"/>
                <a:gd name="connsiteX49" fmla="*/ 9063 w 10117"/>
                <a:gd name="connsiteY49" fmla="*/ 6262 h 10610"/>
                <a:gd name="connsiteX50" fmla="*/ 9167 w 10117"/>
                <a:gd name="connsiteY50" fmla="*/ 6084 h 10610"/>
                <a:gd name="connsiteX51" fmla="*/ 9274 w 10117"/>
                <a:gd name="connsiteY51" fmla="*/ 5902 h 10610"/>
                <a:gd name="connsiteX52" fmla="*/ 9369 w 10117"/>
                <a:gd name="connsiteY52" fmla="*/ 5716 h 10610"/>
                <a:gd name="connsiteX53" fmla="*/ 9465 w 10117"/>
                <a:gd name="connsiteY53" fmla="*/ 5533 h 10610"/>
                <a:gd name="connsiteX54" fmla="*/ 9549 w 10117"/>
                <a:gd name="connsiteY54" fmla="*/ 5344 h 10610"/>
                <a:gd name="connsiteX55" fmla="*/ 9630 w 10117"/>
                <a:gd name="connsiteY55" fmla="*/ 5153 h 10610"/>
                <a:gd name="connsiteX56" fmla="*/ 9704 w 10117"/>
                <a:gd name="connsiteY56" fmla="*/ 4961 h 10610"/>
                <a:gd name="connsiteX57" fmla="*/ 9777 w 10117"/>
                <a:gd name="connsiteY57" fmla="*/ 4771 h 10610"/>
                <a:gd name="connsiteX58" fmla="*/ 9839 w 10117"/>
                <a:gd name="connsiteY58" fmla="*/ 4578 h 10610"/>
                <a:gd name="connsiteX59" fmla="*/ 9898 w 10117"/>
                <a:gd name="connsiteY59" fmla="*/ 4381 h 10610"/>
                <a:gd name="connsiteX60" fmla="*/ 9635 w 10117"/>
                <a:gd name="connsiteY60" fmla="*/ 0 h 10610"/>
                <a:gd name="connsiteX61" fmla="*/ 6408 w 10117"/>
                <a:gd name="connsiteY61" fmla="*/ 1883 h 10610"/>
                <a:gd name="connsiteX62" fmla="*/ 2450 w 10117"/>
                <a:gd name="connsiteY62" fmla="*/ 1500 h 10610"/>
                <a:gd name="connsiteX0" fmla="*/ 2450 w 10117"/>
                <a:gd name="connsiteY0" fmla="*/ 1500 h 10610"/>
                <a:gd name="connsiteX1" fmla="*/ 1259 w 10117"/>
                <a:gd name="connsiteY1" fmla="*/ 5109 h 10610"/>
                <a:gd name="connsiteX2" fmla="*/ 1262 w 10117"/>
                <a:gd name="connsiteY2" fmla="*/ 5140 h 10610"/>
                <a:gd name="connsiteX3" fmla="*/ 1105 w 10117"/>
                <a:gd name="connsiteY3" fmla="*/ 5262 h 10610"/>
                <a:gd name="connsiteX4" fmla="*/ 1017 w 10117"/>
                <a:gd name="connsiteY4" fmla="*/ 5319 h 10610"/>
                <a:gd name="connsiteX5" fmla="*/ 937 w 10117"/>
                <a:gd name="connsiteY5" fmla="*/ 5373 h 10610"/>
                <a:gd name="connsiteX6" fmla="*/ 850 w 10117"/>
                <a:gd name="connsiteY6" fmla="*/ 5429 h 10610"/>
                <a:gd name="connsiteX7" fmla="*/ 765 w 10117"/>
                <a:gd name="connsiteY7" fmla="*/ 5481 h 10610"/>
                <a:gd name="connsiteX8" fmla="*/ 670 w 10117"/>
                <a:gd name="connsiteY8" fmla="*/ 5534 h 10610"/>
                <a:gd name="connsiteX9" fmla="*/ 581 w 10117"/>
                <a:gd name="connsiteY9" fmla="*/ 5583 h 10610"/>
                <a:gd name="connsiteX10" fmla="*/ 488 w 10117"/>
                <a:gd name="connsiteY10" fmla="*/ 5633 h 10610"/>
                <a:gd name="connsiteX11" fmla="*/ 393 w 10117"/>
                <a:gd name="connsiteY11" fmla="*/ 5681 h 10610"/>
                <a:gd name="connsiteX12" fmla="*/ 295 w 10117"/>
                <a:gd name="connsiteY12" fmla="*/ 5725 h 10610"/>
                <a:gd name="connsiteX13" fmla="*/ 198 w 10117"/>
                <a:gd name="connsiteY13" fmla="*/ 5773 h 10610"/>
                <a:gd name="connsiteX14" fmla="*/ 103 w 10117"/>
                <a:gd name="connsiteY14" fmla="*/ 5816 h 10610"/>
                <a:gd name="connsiteX15" fmla="*/ 0 w 10117"/>
                <a:gd name="connsiteY15" fmla="*/ 5857 h 10610"/>
                <a:gd name="connsiteX16" fmla="*/ 210 w 10117"/>
                <a:gd name="connsiteY16" fmla="*/ 8550 h 10610"/>
                <a:gd name="connsiteX17" fmla="*/ 3301 w 10117"/>
                <a:gd name="connsiteY17" fmla="*/ 10610 h 10610"/>
                <a:gd name="connsiteX18" fmla="*/ 3606 w 10117"/>
                <a:gd name="connsiteY18" fmla="*/ 10485 h 10610"/>
                <a:gd name="connsiteX19" fmla="*/ 3848 w 10117"/>
                <a:gd name="connsiteY19" fmla="*/ 10386 h 10610"/>
                <a:gd name="connsiteX20" fmla="*/ 4084 w 10117"/>
                <a:gd name="connsiteY20" fmla="*/ 10287 h 10610"/>
                <a:gd name="connsiteX21" fmla="*/ 4317 w 10117"/>
                <a:gd name="connsiteY21" fmla="*/ 10183 h 10610"/>
                <a:gd name="connsiteX22" fmla="*/ 4549 w 10117"/>
                <a:gd name="connsiteY22" fmla="*/ 10074 h 10610"/>
                <a:gd name="connsiteX23" fmla="*/ 4767 w 10117"/>
                <a:gd name="connsiteY23" fmla="*/ 9967 h 10610"/>
                <a:gd name="connsiteX24" fmla="*/ 4988 w 10117"/>
                <a:gd name="connsiteY24" fmla="*/ 9849 h 10610"/>
                <a:gd name="connsiteX25" fmla="*/ 5209 w 10117"/>
                <a:gd name="connsiteY25" fmla="*/ 9736 h 10610"/>
                <a:gd name="connsiteX26" fmla="*/ 5419 w 10117"/>
                <a:gd name="connsiteY26" fmla="*/ 9615 h 10610"/>
                <a:gd name="connsiteX27" fmla="*/ 5635 w 10117"/>
                <a:gd name="connsiteY27" fmla="*/ 9491 h 10610"/>
                <a:gd name="connsiteX28" fmla="*/ 5839 w 10117"/>
                <a:gd name="connsiteY28" fmla="*/ 9362 h 10610"/>
                <a:gd name="connsiteX29" fmla="*/ 6043 w 10117"/>
                <a:gd name="connsiteY29" fmla="*/ 9235 h 10610"/>
                <a:gd name="connsiteX30" fmla="*/ 6239 w 10117"/>
                <a:gd name="connsiteY30" fmla="*/ 9105 h 10610"/>
                <a:gd name="connsiteX31" fmla="*/ 6438 w 10117"/>
                <a:gd name="connsiteY31" fmla="*/ 8967 h 10610"/>
                <a:gd name="connsiteX32" fmla="*/ 6629 w 10117"/>
                <a:gd name="connsiteY32" fmla="*/ 8825 h 10610"/>
                <a:gd name="connsiteX33" fmla="*/ 6814 w 10117"/>
                <a:gd name="connsiteY33" fmla="*/ 8689 h 10610"/>
                <a:gd name="connsiteX34" fmla="*/ 6997 w 10117"/>
                <a:gd name="connsiteY34" fmla="*/ 8544 h 10610"/>
                <a:gd name="connsiteX35" fmla="*/ 7173 w 10117"/>
                <a:gd name="connsiteY35" fmla="*/ 8396 h 10610"/>
                <a:gd name="connsiteX36" fmla="*/ 7349 w 10117"/>
                <a:gd name="connsiteY36" fmla="*/ 8248 h 10610"/>
                <a:gd name="connsiteX37" fmla="*/ 7518 w 10117"/>
                <a:gd name="connsiteY37" fmla="*/ 8097 h 10610"/>
                <a:gd name="connsiteX38" fmla="*/ 7686 w 10117"/>
                <a:gd name="connsiteY38" fmla="*/ 7940 h 10610"/>
                <a:gd name="connsiteX39" fmla="*/ 7842 w 10117"/>
                <a:gd name="connsiteY39" fmla="*/ 7782 h 10610"/>
                <a:gd name="connsiteX40" fmla="*/ 7995 w 10117"/>
                <a:gd name="connsiteY40" fmla="*/ 7623 h 10610"/>
                <a:gd name="connsiteX41" fmla="*/ 8150 w 10117"/>
                <a:gd name="connsiteY41" fmla="*/ 7463 h 10610"/>
                <a:gd name="connsiteX42" fmla="*/ 8293 w 10117"/>
                <a:gd name="connsiteY42" fmla="*/ 7296 h 10610"/>
                <a:gd name="connsiteX43" fmla="*/ 8433 w 10117"/>
                <a:gd name="connsiteY43" fmla="*/ 7132 h 10610"/>
                <a:gd name="connsiteX44" fmla="*/ 8569 w 10117"/>
                <a:gd name="connsiteY44" fmla="*/ 6962 h 10610"/>
                <a:gd name="connsiteX45" fmla="*/ 8695 w 10117"/>
                <a:gd name="connsiteY45" fmla="*/ 6788 h 10610"/>
                <a:gd name="connsiteX46" fmla="*/ 8819 w 10117"/>
                <a:gd name="connsiteY46" fmla="*/ 6614 h 10610"/>
                <a:gd name="connsiteX47" fmla="*/ 8945 w 10117"/>
                <a:gd name="connsiteY47" fmla="*/ 6440 h 10610"/>
                <a:gd name="connsiteX48" fmla="*/ 9063 w 10117"/>
                <a:gd name="connsiteY48" fmla="*/ 6262 h 10610"/>
                <a:gd name="connsiteX49" fmla="*/ 9167 w 10117"/>
                <a:gd name="connsiteY49" fmla="*/ 6084 h 10610"/>
                <a:gd name="connsiteX50" fmla="*/ 9274 w 10117"/>
                <a:gd name="connsiteY50" fmla="*/ 5902 h 10610"/>
                <a:gd name="connsiteX51" fmla="*/ 9369 w 10117"/>
                <a:gd name="connsiteY51" fmla="*/ 5716 h 10610"/>
                <a:gd name="connsiteX52" fmla="*/ 9465 w 10117"/>
                <a:gd name="connsiteY52" fmla="*/ 5533 h 10610"/>
                <a:gd name="connsiteX53" fmla="*/ 9549 w 10117"/>
                <a:gd name="connsiteY53" fmla="*/ 5344 h 10610"/>
                <a:gd name="connsiteX54" fmla="*/ 9630 w 10117"/>
                <a:gd name="connsiteY54" fmla="*/ 5153 h 10610"/>
                <a:gd name="connsiteX55" fmla="*/ 9704 w 10117"/>
                <a:gd name="connsiteY55" fmla="*/ 4961 h 10610"/>
                <a:gd name="connsiteX56" fmla="*/ 9777 w 10117"/>
                <a:gd name="connsiteY56" fmla="*/ 4771 h 10610"/>
                <a:gd name="connsiteX57" fmla="*/ 9839 w 10117"/>
                <a:gd name="connsiteY57" fmla="*/ 4578 h 10610"/>
                <a:gd name="connsiteX58" fmla="*/ 9898 w 10117"/>
                <a:gd name="connsiteY58" fmla="*/ 4381 h 10610"/>
                <a:gd name="connsiteX59" fmla="*/ 9635 w 10117"/>
                <a:gd name="connsiteY59" fmla="*/ 0 h 10610"/>
                <a:gd name="connsiteX60" fmla="*/ 6408 w 10117"/>
                <a:gd name="connsiteY60" fmla="*/ 1883 h 10610"/>
                <a:gd name="connsiteX61" fmla="*/ 2450 w 10117"/>
                <a:gd name="connsiteY61" fmla="*/ 1500 h 10610"/>
                <a:gd name="connsiteX0" fmla="*/ 2450 w 10117"/>
                <a:gd name="connsiteY0" fmla="*/ 1500 h 10610"/>
                <a:gd name="connsiteX1" fmla="*/ 1259 w 10117"/>
                <a:gd name="connsiteY1" fmla="*/ 5109 h 10610"/>
                <a:gd name="connsiteX2" fmla="*/ 1262 w 10117"/>
                <a:gd name="connsiteY2" fmla="*/ 5140 h 10610"/>
                <a:gd name="connsiteX3" fmla="*/ 1017 w 10117"/>
                <a:gd name="connsiteY3" fmla="*/ 5319 h 10610"/>
                <a:gd name="connsiteX4" fmla="*/ 937 w 10117"/>
                <a:gd name="connsiteY4" fmla="*/ 5373 h 10610"/>
                <a:gd name="connsiteX5" fmla="*/ 850 w 10117"/>
                <a:gd name="connsiteY5" fmla="*/ 5429 h 10610"/>
                <a:gd name="connsiteX6" fmla="*/ 765 w 10117"/>
                <a:gd name="connsiteY6" fmla="*/ 5481 h 10610"/>
                <a:gd name="connsiteX7" fmla="*/ 670 w 10117"/>
                <a:gd name="connsiteY7" fmla="*/ 5534 h 10610"/>
                <a:gd name="connsiteX8" fmla="*/ 581 w 10117"/>
                <a:gd name="connsiteY8" fmla="*/ 5583 h 10610"/>
                <a:gd name="connsiteX9" fmla="*/ 488 w 10117"/>
                <a:gd name="connsiteY9" fmla="*/ 5633 h 10610"/>
                <a:gd name="connsiteX10" fmla="*/ 393 w 10117"/>
                <a:gd name="connsiteY10" fmla="*/ 5681 h 10610"/>
                <a:gd name="connsiteX11" fmla="*/ 295 w 10117"/>
                <a:gd name="connsiteY11" fmla="*/ 5725 h 10610"/>
                <a:gd name="connsiteX12" fmla="*/ 198 w 10117"/>
                <a:gd name="connsiteY12" fmla="*/ 5773 h 10610"/>
                <a:gd name="connsiteX13" fmla="*/ 103 w 10117"/>
                <a:gd name="connsiteY13" fmla="*/ 5816 h 10610"/>
                <a:gd name="connsiteX14" fmla="*/ 0 w 10117"/>
                <a:gd name="connsiteY14" fmla="*/ 5857 h 10610"/>
                <a:gd name="connsiteX15" fmla="*/ 210 w 10117"/>
                <a:gd name="connsiteY15" fmla="*/ 8550 h 10610"/>
                <a:gd name="connsiteX16" fmla="*/ 3301 w 10117"/>
                <a:gd name="connsiteY16" fmla="*/ 10610 h 10610"/>
                <a:gd name="connsiteX17" fmla="*/ 3606 w 10117"/>
                <a:gd name="connsiteY17" fmla="*/ 10485 h 10610"/>
                <a:gd name="connsiteX18" fmla="*/ 3848 w 10117"/>
                <a:gd name="connsiteY18" fmla="*/ 10386 h 10610"/>
                <a:gd name="connsiteX19" fmla="*/ 4084 w 10117"/>
                <a:gd name="connsiteY19" fmla="*/ 10287 h 10610"/>
                <a:gd name="connsiteX20" fmla="*/ 4317 w 10117"/>
                <a:gd name="connsiteY20" fmla="*/ 10183 h 10610"/>
                <a:gd name="connsiteX21" fmla="*/ 4549 w 10117"/>
                <a:gd name="connsiteY21" fmla="*/ 10074 h 10610"/>
                <a:gd name="connsiteX22" fmla="*/ 4767 w 10117"/>
                <a:gd name="connsiteY22" fmla="*/ 9967 h 10610"/>
                <a:gd name="connsiteX23" fmla="*/ 4988 w 10117"/>
                <a:gd name="connsiteY23" fmla="*/ 9849 h 10610"/>
                <a:gd name="connsiteX24" fmla="*/ 5209 w 10117"/>
                <a:gd name="connsiteY24" fmla="*/ 9736 h 10610"/>
                <a:gd name="connsiteX25" fmla="*/ 5419 w 10117"/>
                <a:gd name="connsiteY25" fmla="*/ 9615 h 10610"/>
                <a:gd name="connsiteX26" fmla="*/ 5635 w 10117"/>
                <a:gd name="connsiteY26" fmla="*/ 9491 h 10610"/>
                <a:gd name="connsiteX27" fmla="*/ 5839 w 10117"/>
                <a:gd name="connsiteY27" fmla="*/ 9362 h 10610"/>
                <a:gd name="connsiteX28" fmla="*/ 6043 w 10117"/>
                <a:gd name="connsiteY28" fmla="*/ 9235 h 10610"/>
                <a:gd name="connsiteX29" fmla="*/ 6239 w 10117"/>
                <a:gd name="connsiteY29" fmla="*/ 9105 h 10610"/>
                <a:gd name="connsiteX30" fmla="*/ 6438 w 10117"/>
                <a:gd name="connsiteY30" fmla="*/ 8967 h 10610"/>
                <a:gd name="connsiteX31" fmla="*/ 6629 w 10117"/>
                <a:gd name="connsiteY31" fmla="*/ 8825 h 10610"/>
                <a:gd name="connsiteX32" fmla="*/ 6814 w 10117"/>
                <a:gd name="connsiteY32" fmla="*/ 8689 h 10610"/>
                <a:gd name="connsiteX33" fmla="*/ 6997 w 10117"/>
                <a:gd name="connsiteY33" fmla="*/ 8544 h 10610"/>
                <a:gd name="connsiteX34" fmla="*/ 7173 w 10117"/>
                <a:gd name="connsiteY34" fmla="*/ 8396 h 10610"/>
                <a:gd name="connsiteX35" fmla="*/ 7349 w 10117"/>
                <a:gd name="connsiteY35" fmla="*/ 8248 h 10610"/>
                <a:gd name="connsiteX36" fmla="*/ 7518 w 10117"/>
                <a:gd name="connsiteY36" fmla="*/ 8097 h 10610"/>
                <a:gd name="connsiteX37" fmla="*/ 7686 w 10117"/>
                <a:gd name="connsiteY37" fmla="*/ 7940 h 10610"/>
                <a:gd name="connsiteX38" fmla="*/ 7842 w 10117"/>
                <a:gd name="connsiteY38" fmla="*/ 7782 h 10610"/>
                <a:gd name="connsiteX39" fmla="*/ 7995 w 10117"/>
                <a:gd name="connsiteY39" fmla="*/ 7623 h 10610"/>
                <a:gd name="connsiteX40" fmla="*/ 8150 w 10117"/>
                <a:gd name="connsiteY40" fmla="*/ 7463 h 10610"/>
                <a:gd name="connsiteX41" fmla="*/ 8293 w 10117"/>
                <a:gd name="connsiteY41" fmla="*/ 7296 h 10610"/>
                <a:gd name="connsiteX42" fmla="*/ 8433 w 10117"/>
                <a:gd name="connsiteY42" fmla="*/ 7132 h 10610"/>
                <a:gd name="connsiteX43" fmla="*/ 8569 w 10117"/>
                <a:gd name="connsiteY43" fmla="*/ 6962 h 10610"/>
                <a:gd name="connsiteX44" fmla="*/ 8695 w 10117"/>
                <a:gd name="connsiteY44" fmla="*/ 6788 h 10610"/>
                <a:gd name="connsiteX45" fmla="*/ 8819 w 10117"/>
                <a:gd name="connsiteY45" fmla="*/ 6614 h 10610"/>
                <a:gd name="connsiteX46" fmla="*/ 8945 w 10117"/>
                <a:gd name="connsiteY46" fmla="*/ 6440 h 10610"/>
                <a:gd name="connsiteX47" fmla="*/ 9063 w 10117"/>
                <a:gd name="connsiteY47" fmla="*/ 6262 h 10610"/>
                <a:gd name="connsiteX48" fmla="*/ 9167 w 10117"/>
                <a:gd name="connsiteY48" fmla="*/ 6084 h 10610"/>
                <a:gd name="connsiteX49" fmla="*/ 9274 w 10117"/>
                <a:gd name="connsiteY49" fmla="*/ 5902 h 10610"/>
                <a:gd name="connsiteX50" fmla="*/ 9369 w 10117"/>
                <a:gd name="connsiteY50" fmla="*/ 5716 h 10610"/>
                <a:gd name="connsiteX51" fmla="*/ 9465 w 10117"/>
                <a:gd name="connsiteY51" fmla="*/ 5533 h 10610"/>
                <a:gd name="connsiteX52" fmla="*/ 9549 w 10117"/>
                <a:gd name="connsiteY52" fmla="*/ 5344 h 10610"/>
                <a:gd name="connsiteX53" fmla="*/ 9630 w 10117"/>
                <a:gd name="connsiteY53" fmla="*/ 5153 h 10610"/>
                <a:gd name="connsiteX54" fmla="*/ 9704 w 10117"/>
                <a:gd name="connsiteY54" fmla="*/ 4961 h 10610"/>
                <a:gd name="connsiteX55" fmla="*/ 9777 w 10117"/>
                <a:gd name="connsiteY55" fmla="*/ 4771 h 10610"/>
                <a:gd name="connsiteX56" fmla="*/ 9839 w 10117"/>
                <a:gd name="connsiteY56" fmla="*/ 4578 h 10610"/>
                <a:gd name="connsiteX57" fmla="*/ 9898 w 10117"/>
                <a:gd name="connsiteY57" fmla="*/ 4381 h 10610"/>
                <a:gd name="connsiteX58" fmla="*/ 9635 w 10117"/>
                <a:gd name="connsiteY58" fmla="*/ 0 h 10610"/>
                <a:gd name="connsiteX59" fmla="*/ 6408 w 10117"/>
                <a:gd name="connsiteY59" fmla="*/ 1883 h 10610"/>
                <a:gd name="connsiteX60" fmla="*/ 2450 w 10117"/>
                <a:gd name="connsiteY60" fmla="*/ 1500 h 10610"/>
                <a:gd name="connsiteX0" fmla="*/ 2450 w 10117"/>
                <a:gd name="connsiteY0" fmla="*/ 1500 h 10610"/>
                <a:gd name="connsiteX1" fmla="*/ 1259 w 10117"/>
                <a:gd name="connsiteY1" fmla="*/ 5109 h 10610"/>
                <a:gd name="connsiteX2" fmla="*/ 1262 w 10117"/>
                <a:gd name="connsiteY2" fmla="*/ 5140 h 10610"/>
                <a:gd name="connsiteX3" fmla="*/ 937 w 10117"/>
                <a:gd name="connsiteY3" fmla="*/ 5373 h 10610"/>
                <a:gd name="connsiteX4" fmla="*/ 850 w 10117"/>
                <a:gd name="connsiteY4" fmla="*/ 5429 h 10610"/>
                <a:gd name="connsiteX5" fmla="*/ 765 w 10117"/>
                <a:gd name="connsiteY5" fmla="*/ 5481 h 10610"/>
                <a:gd name="connsiteX6" fmla="*/ 670 w 10117"/>
                <a:gd name="connsiteY6" fmla="*/ 5534 h 10610"/>
                <a:gd name="connsiteX7" fmla="*/ 581 w 10117"/>
                <a:gd name="connsiteY7" fmla="*/ 5583 h 10610"/>
                <a:gd name="connsiteX8" fmla="*/ 488 w 10117"/>
                <a:gd name="connsiteY8" fmla="*/ 5633 h 10610"/>
                <a:gd name="connsiteX9" fmla="*/ 393 w 10117"/>
                <a:gd name="connsiteY9" fmla="*/ 5681 h 10610"/>
                <a:gd name="connsiteX10" fmla="*/ 295 w 10117"/>
                <a:gd name="connsiteY10" fmla="*/ 5725 h 10610"/>
                <a:gd name="connsiteX11" fmla="*/ 198 w 10117"/>
                <a:gd name="connsiteY11" fmla="*/ 5773 h 10610"/>
                <a:gd name="connsiteX12" fmla="*/ 103 w 10117"/>
                <a:gd name="connsiteY12" fmla="*/ 5816 h 10610"/>
                <a:gd name="connsiteX13" fmla="*/ 0 w 10117"/>
                <a:gd name="connsiteY13" fmla="*/ 5857 h 10610"/>
                <a:gd name="connsiteX14" fmla="*/ 210 w 10117"/>
                <a:gd name="connsiteY14" fmla="*/ 8550 h 10610"/>
                <a:gd name="connsiteX15" fmla="*/ 3301 w 10117"/>
                <a:gd name="connsiteY15" fmla="*/ 10610 h 10610"/>
                <a:gd name="connsiteX16" fmla="*/ 3606 w 10117"/>
                <a:gd name="connsiteY16" fmla="*/ 10485 h 10610"/>
                <a:gd name="connsiteX17" fmla="*/ 3848 w 10117"/>
                <a:gd name="connsiteY17" fmla="*/ 10386 h 10610"/>
                <a:gd name="connsiteX18" fmla="*/ 4084 w 10117"/>
                <a:gd name="connsiteY18" fmla="*/ 10287 h 10610"/>
                <a:gd name="connsiteX19" fmla="*/ 4317 w 10117"/>
                <a:gd name="connsiteY19" fmla="*/ 10183 h 10610"/>
                <a:gd name="connsiteX20" fmla="*/ 4549 w 10117"/>
                <a:gd name="connsiteY20" fmla="*/ 10074 h 10610"/>
                <a:gd name="connsiteX21" fmla="*/ 4767 w 10117"/>
                <a:gd name="connsiteY21" fmla="*/ 9967 h 10610"/>
                <a:gd name="connsiteX22" fmla="*/ 4988 w 10117"/>
                <a:gd name="connsiteY22" fmla="*/ 9849 h 10610"/>
                <a:gd name="connsiteX23" fmla="*/ 5209 w 10117"/>
                <a:gd name="connsiteY23" fmla="*/ 9736 h 10610"/>
                <a:gd name="connsiteX24" fmla="*/ 5419 w 10117"/>
                <a:gd name="connsiteY24" fmla="*/ 9615 h 10610"/>
                <a:gd name="connsiteX25" fmla="*/ 5635 w 10117"/>
                <a:gd name="connsiteY25" fmla="*/ 9491 h 10610"/>
                <a:gd name="connsiteX26" fmla="*/ 5839 w 10117"/>
                <a:gd name="connsiteY26" fmla="*/ 9362 h 10610"/>
                <a:gd name="connsiteX27" fmla="*/ 6043 w 10117"/>
                <a:gd name="connsiteY27" fmla="*/ 9235 h 10610"/>
                <a:gd name="connsiteX28" fmla="*/ 6239 w 10117"/>
                <a:gd name="connsiteY28" fmla="*/ 9105 h 10610"/>
                <a:gd name="connsiteX29" fmla="*/ 6438 w 10117"/>
                <a:gd name="connsiteY29" fmla="*/ 8967 h 10610"/>
                <a:gd name="connsiteX30" fmla="*/ 6629 w 10117"/>
                <a:gd name="connsiteY30" fmla="*/ 8825 h 10610"/>
                <a:gd name="connsiteX31" fmla="*/ 6814 w 10117"/>
                <a:gd name="connsiteY31" fmla="*/ 8689 h 10610"/>
                <a:gd name="connsiteX32" fmla="*/ 6997 w 10117"/>
                <a:gd name="connsiteY32" fmla="*/ 8544 h 10610"/>
                <a:gd name="connsiteX33" fmla="*/ 7173 w 10117"/>
                <a:gd name="connsiteY33" fmla="*/ 8396 h 10610"/>
                <a:gd name="connsiteX34" fmla="*/ 7349 w 10117"/>
                <a:gd name="connsiteY34" fmla="*/ 8248 h 10610"/>
                <a:gd name="connsiteX35" fmla="*/ 7518 w 10117"/>
                <a:gd name="connsiteY35" fmla="*/ 8097 h 10610"/>
                <a:gd name="connsiteX36" fmla="*/ 7686 w 10117"/>
                <a:gd name="connsiteY36" fmla="*/ 7940 h 10610"/>
                <a:gd name="connsiteX37" fmla="*/ 7842 w 10117"/>
                <a:gd name="connsiteY37" fmla="*/ 7782 h 10610"/>
                <a:gd name="connsiteX38" fmla="*/ 7995 w 10117"/>
                <a:gd name="connsiteY38" fmla="*/ 7623 h 10610"/>
                <a:gd name="connsiteX39" fmla="*/ 8150 w 10117"/>
                <a:gd name="connsiteY39" fmla="*/ 7463 h 10610"/>
                <a:gd name="connsiteX40" fmla="*/ 8293 w 10117"/>
                <a:gd name="connsiteY40" fmla="*/ 7296 h 10610"/>
                <a:gd name="connsiteX41" fmla="*/ 8433 w 10117"/>
                <a:gd name="connsiteY41" fmla="*/ 7132 h 10610"/>
                <a:gd name="connsiteX42" fmla="*/ 8569 w 10117"/>
                <a:gd name="connsiteY42" fmla="*/ 6962 h 10610"/>
                <a:gd name="connsiteX43" fmla="*/ 8695 w 10117"/>
                <a:gd name="connsiteY43" fmla="*/ 6788 h 10610"/>
                <a:gd name="connsiteX44" fmla="*/ 8819 w 10117"/>
                <a:gd name="connsiteY44" fmla="*/ 6614 h 10610"/>
                <a:gd name="connsiteX45" fmla="*/ 8945 w 10117"/>
                <a:gd name="connsiteY45" fmla="*/ 6440 h 10610"/>
                <a:gd name="connsiteX46" fmla="*/ 9063 w 10117"/>
                <a:gd name="connsiteY46" fmla="*/ 6262 h 10610"/>
                <a:gd name="connsiteX47" fmla="*/ 9167 w 10117"/>
                <a:gd name="connsiteY47" fmla="*/ 6084 h 10610"/>
                <a:gd name="connsiteX48" fmla="*/ 9274 w 10117"/>
                <a:gd name="connsiteY48" fmla="*/ 5902 h 10610"/>
                <a:gd name="connsiteX49" fmla="*/ 9369 w 10117"/>
                <a:gd name="connsiteY49" fmla="*/ 5716 h 10610"/>
                <a:gd name="connsiteX50" fmla="*/ 9465 w 10117"/>
                <a:gd name="connsiteY50" fmla="*/ 5533 h 10610"/>
                <a:gd name="connsiteX51" fmla="*/ 9549 w 10117"/>
                <a:gd name="connsiteY51" fmla="*/ 5344 h 10610"/>
                <a:gd name="connsiteX52" fmla="*/ 9630 w 10117"/>
                <a:gd name="connsiteY52" fmla="*/ 5153 h 10610"/>
                <a:gd name="connsiteX53" fmla="*/ 9704 w 10117"/>
                <a:gd name="connsiteY53" fmla="*/ 4961 h 10610"/>
                <a:gd name="connsiteX54" fmla="*/ 9777 w 10117"/>
                <a:gd name="connsiteY54" fmla="*/ 4771 h 10610"/>
                <a:gd name="connsiteX55" fmla="*/ 9839 w 10117"/>
                <a:gd name="connsiteY55" fmla="*/ 4578 h 10610"/>
                <a:gd name="connsiteX56" fmla="*/ 9898 w 10117"/>
                <a:gd name="connsiteY56" fmla="*/ 4381 h 10610"/>
                <a:gd name="connsiteX57" fmla="*/ 9635 w 10117"/>
                <a:gd name="connsiteY57" fmla="*/ 0 h 10610"/>
                <a:gd name="connsiteX58" fmla="*/ 6408 w 10117"/>
                <a:gd name="connsiteY58" fmla="*/ 1883 h 10610"/>
                <a:gd name="connsiteX59" fmla="*/ 2450 w 10117"/>
                <a:gd name="connsiteY59" fmla="*/ 1500 h 10610"/>
                <a:gd name="connsiteX0" fmla="*/ 2450 w 10117"/>
                <a:gd name="connsiteY0" fmla="*/ 1500 h 10610"/>
                <a:gd name="connsiteX1" fmla="*/ 1259 w 10117"/>
                <a:gd name="connsiteY1" fmla="*/ 5109 h 10610"/>
                <a:gd name="connsiteX2" fmla="*/ 937 w 10117"/>
                <a:gd name="connsiteY2" fmla="*/ 5373 h 10610"/>
                <a:gd name="connsiteX3" fmla="*/ 850 w 10117"/>
                <a:gd name="connsiteY3" fmla="*/ 5429 h 10610"/>
                <a:gd name="connsiteX4" fmla="*/ 765 w 10117"/>
                <a:gd name="connsiteY4" fmla="*/ 5481 h 10610"/>
                <a:gd name="connsiteX5" fmla="*/ 670 w 10117"/>
                <a:gd name="connsiteY5" fmla="*/ 5534 h 10610"/>
                <a:gd name="connsiteX6" fmla="*/ 581 w 10117"/>
                <a:gd name="connsiteY6" fmla="*/ 5583 h 10610"/>
                <a:gd name="connsiteX7" fmla="*/ 488 w 10117"/>
                <a:gd name="connsiteY7" fmla="*/ 5633 h 10610"/>
                <a:gd name="connsiteX8" fmla="*/ 393 w 10117"/>
                <a:gd name="connsiteY8" fmla="*/ 5681 h 10610"/>
                <a:gd name="connsiteX9" fmla="*/ 295 w 10117"/>
                <a:gd name="connsiteY9" fmla="*/ 5725 h 10610"/>
                <a:gd name="connsiteX10" fmla="*/ 198 w 10117"/>
                <a:gd name="connsiteY10" fmla="*/ 5773 h 10610"/>
                <a:gd name="connsiteX11" fmla="*/ 103 w 10117"/>
                <a:gd name="connsiteY11" fmla="*/ 5816 h 10610"/>
                <a:gd name="connsiteX12" fmla="*/ 0 w 10117"/>
                <a:gd name="connsiteY12" fmla="*/ 5857 h 10610"/>
                <a:gd name="connsiteX13" fmla="*/ 210 w 10117"/>
                <a:gd name="connsiteY13" fmla="*/ 8550 h 10610"/>
                <a:gd name="connsiteX14" fmla="*/ 3301 w 10117"/>
                <a:gd name="connsiteY14" fmla="*/ 10610 h 10610"/>
                <a:gd name="connsiteX15" fmla="*/ 3606 w 10117"/>
                <a:gd name="connsiteY15" fmla="*/ 10485 h 10610"/>
                <a:gd name="connsiteX16" fmla="*/ 3848 w 10117"/>
                <a:gd name="connsiteY16" fmla="*/ 10386 h 10610"/>
                <a:gd name="connsiteX17" fmla="*/ 4084 w 10117"/>
                <a:gd name="connsiteY17" fmla="*/ 10287 h 10610"/>
                <a:gd name="connsiteX18" fmla="*/ 4317 w 10117"/>
                <a:gd name="connsiteY18" fmla="*/ 10183 h 10610"/>
                <a:gd name="connsiteX19" fmla="*/ 4549 w 10117"/>
                <a:gd name="connsiteY19" fmla="*/ 10074 h 10610"/>
                <a:gd name="connsiteX20" fmla="*/ 4767 w 10117"/>
                <a:gd name="connsiteY20" fmla="*/ 9967 h 10610"/>
                <a:gd name="connsiteX21" fmla="*/ 4988 w 10117"/>
                <a:gd name="connsiteY21" fmla="*/ 9849 h 10610"/>
                <a:gd name="connsiteX22" fmla="*/ 5209 w 10117"/>
                <a:gd name="connsiteY22" fmla="*/ 9736 h 10610"/>
                <a:gd name="connsiteX23" fmla="*/ 5419 w 10117"/>
                <a:gd name="connsiteY23" fmla="*/ 9615 h 10610"/>
                <a:gd name="connsiteX24" fmla="*/ 5635 w 10117"/>
                <a:gd name="connsiteY24" fmla="*/ 9491 h 10610"/>
                <a:gd name="connsiteX25" fmla="*/ 5839 w 10117"/>
                <a:gd name="connsiteY25" fmla="*/ 9362 h 10610"/>
                <a:gd name="connsiteX26" fmla="*/ 6043 w 10117"/>
                <a:gd name="connsiteY26" fmla="*/ 9235 h 10610"/>
                <a:gd name="connsiteX27" fmla="*/ 6239 w 10117"/>
                <a:gd name="connsiteY27" fmla="*/ 9105 h 10610"/>
                <a:gd name="connsiteX28" fmla="*/ 6438 w 10117"/>
                <a:gd name="connsiteY28" fmla="*/ 8967 h 10610"/>
                <a:gd name="connsiteX29" fmla="*/ 6629 w 10117"/>
                <a:gd name="connsiteY29" fmla="*/ 8825 h 10610"/>
                <a:gd name="connsiteX30" fmla="*/ 6814 w 10117"/>
                <a:gd name="connsiteY30" fmla="*/ 8689 h 10610"/>
                <a:gd name="connsiteX31" fmla="*/ 6997 w 10117"/>
                <a:gd name="connsiteY31" fmla="*/ 8544 h 10610"/>
                <a:gd name="connsiteX32" fmla="*/ 7173 w 10117"/>
                <a:gd name="connsiteY32" fmla="*/ 8396 h 10610"/>
                <a:gd name="connsiteX33" fmla="*/ 7349 w 10117"/>
                <a:gd name="connsiteY33" fmla="*/ 8248 h 10610"/>
                <a:gd name="connsiteX34" fmla="*/ 7518 w 10117"/>
                <a:gd name="connsiteY34" fmla="*/ 8097 h 10610"/>
                <a:gd name="connsiteX35" fmla="*/ 7686 w 10117"/>
                <a:gd name="connsiteY35" fmla="*/ 7940 h 10610"/>
                <a:gd name="connsiteX36" fmla="*/ 7842 w 10117"/>
                <a:gd name="connsiteY36" fmla="*/ 7782 h 10610"/>
                <a:gd name="connsiteX37" fmla="*/ 7995 w 10117"/>
                <a:gd name="connsiteY37" fmla="*/ 7623 h 10610"/>
                <a:gd name="connsiteX38" fmla="*/ 8150 w 10117"/>
                <a:gd name="connsiteY38" fmla="*/ 7463 h 10610"/>
                <a:gd name="connsiteX39" fmla="*/ 8293 w 10117"/>
                <a:gd name="connsiteY39" fmla="*/ 7296 h 10610"/>
                <a:gd name="connsiteX40" fmla="*/ 8433 w 10117"/>
                <a:gd name="connsiteY40" fmla="*/ 7132 h 10610"/>
                <a:gd name="connsiteX41" fmla="*/ 8569 w 10117"/>
                <a:gd name="connsiteY41" fmla="*/ 6962 h 10610"/>
                <a:gd name="connsiteX42" fmla="*/ 8695 w 10117"/>
                <a:gd name="connsiteY42" fmla="*/ 6788 h 10610"/>
                <a:gd name="connsiteX43" fmla="*/ 8819 w 10117"/>
                <a:gd name="connsiteY43" fmla="*/ 6614 h 10610"/>
                <a:gd name="connsiteX44" fmla="*/ 8945 w 10117"/>
                <a:gd name="connsiteY44" fmla="*/ 6440 h 10610"/>
                <a:gd name="connsiteX45" fmla="*/ 9063 w 10117"/>
                <a:gd name="connsiteY45" fmla="*/ 6262 h 10610"/>
                <a:gd name="connsiteX46" fmla="*/ 9167 w 10117"/>
                <a:gd name="connsiteY46" fmla="*/ 6084 h 10610"/>
                <a:gd name="connsiteX47" fmla="*/ 9274 w 10117"/>
                <a:gd name="connsiteY47" fmla="*/ 5902 h 10610"/>
                <a:gd name="connsiteX48" fmla="*/ 9369 w 10117"/>
                <a:gd name="connsiteY48" fmla="*/ 5716 h 10610"/>
                <a:gd name="connsiteX49" fmla="*/ 9465 w 10117"/>
                <a:gd name="connsiteY49" fmla="*/ 5533 h 10610"/>
                <a:gd name="connsiteX50" fmla="*/ 9549 w 10117"/>
                <a:gd name="connsiteY50" fmla="*/ 5344 h 10610"/>
                <a:gd name="connsiteX51" fmla="*/ 9630 w 10117"/>
                <a:gd name="connsiteY51" fmla="*/ 5153 h 10610"/>
                <a:gd name="connsiteX52" fmla="*/ 9704 w 10117"/>
                <a:gd name="connsiteY52" fmla="*/ 4961 h 10610"/>
                <a:gd name="connsiteX53" fmla="*/ 9777 w 10117"/>
                <a:gd name="connsiteY53" fmla="*/ 4771 h 10610"/>
                <a:gd name="connsiteX54" fmla="*/ 9839 w 10117"/>
                <a:gd name="connsiteY54" fmla="*/ 4578 h 10610"/>
                <a:gd name="connsiteX55" fmla="*/ 9898 w 10117"/>
                <a:gd name="connsiteY55" fmla="*/ 4381 h 10610"/>
                <a:gd name="connsiteX56" fmla="*/ 9635 w 10117"/>
                <a:gd name="connsiteY56" fmla="*/ 0 h 10610"/>
                <a:gd name="connsiteX57" fmla="*/ 6408 w 10117"/>
                <a:gd name="connsiteY57" fmla="*/ 1883 h 10610"/>
                <a:gd name="connsiteX58" fmla="*/ 2450 w 10117"/>
                <a:gd name="connsiteY58" fmla="*/ 1500 h 10610"/>
                <a:gd name="connsiteX0" fmla="*/ 2450 w 10117"/>
                <a:gd name="connsiteY0" fmla="*/ 1500 h 10610"/>
                <a:gd name="connsiteX1" fmla="*/ 937 w 10117"/>
                <a:gd name="connsiteY1" fmla="*/ 5373 h 10610"/>
                <a:gd name="connsiteX2" fmla="*/ 850 w 10117"/>
                <a:gd name="connsiteY2" fmla="*/ 5429 h 10610"/>
                <a:gd name="connsiteX3" fmla="*/ 765 w 10117"/>
                <a:gd name="connsiteY3" fmla="*/ 5481 h 10610"/>
                <a:gd name="connsiteX4" fmla="*/ 670 w 10117"/>
                <a:gd name="connsiteY4" fmla="*/ 5534 h 10610"/>
                <a:gd name="connsiteX5" fmla="*/ 581 w 10117"/>
                <a:gd name="connsiteY5" fmla="*/ 5583 h 10610"/>
                <a:gd name="connsiteX6" fmla="*/ 488 w 10117"/>
                <a:gd name="connsiteY6" fmla="*/ 5633 h 10610"/>
                <a:gd name="connsiteX7" fmla="*/ 393 w 10117"/>
                <a:gd name="connsiteY7" fmla="*/ 5681 h 10610"/>
                <a:gd name="connsiteX8" fmla="*/ 295 w 10117"/>
                <a:gd name="connsiteY8" fmla="*/ 5725 h 10610"/>
                <a:gd name="connsiteX9" fmla="*/ 198 w 10117"/>
                <a:gd name="connsiteY9" fmla="*/ 5773 h 10610"/>
                <a:gd name="connsiteX10" fmla="*/ 103 w 10117"/>
                <a:gd name="connsiteY10" fmla="*/ 5816 h 10610"/>
                <a:gd name="connsiteX11" fmla="*/ 0 w 10117"/>
                <a:gd name="connsiteY11" fmla="*/ 5857 h 10610"/>
                <a:gd name="connsiteX12" fmla="*/ 210 w 10117"/>
                <a:gd name="connsiteY12" fmla="*/ 8550 h 10610"/>
                <a:gd name="connsiteX13" fmla="*/ 3301 w 10117"/>
                <a:gd name="connsiteY13" fmla="*/ 10610 h 10610"/>
                <a:gd name="connsiteX14" fmla="*/ 3606 w 10117"/>
                <a:gd name="connsiteY14" fmla="*/ 10485 h 10610"/>
                <a:gd name="connsiteX15" fmla="*/ 3848 w 10117"/>
                <a:gd name="connsiteY15" fmla="*/ 10386 h 10610"/>
                <a:gd name="connsiteX16" fmla="*/ 4084 w 10117"/>
                <a:gd name="connsiteY16" fmla="*/ 10287 h 10610"/>
                <a:gd name="connsiteX17" fmla="*/ 4317 w 10117"/>
                <a:gd name="connsiteY17" fmla="*/ 10183 h 10610"/>
                <a:gd name="connsiteX18" fmla="*/ 4549 w 10117"/>
                <a:gd name="connsiteY18" fmla="*/ 10074 h 10610"/>
                <a:gd name="connsiteX19" fmla="*/ 4767 w 10117"/>
                <a:gd name="connsiteY19" fmla="*/ 9967 h 10610"/>
                <a:gd name="connsiteX20" fmla="*/ 4988 w 10117"/>
                <a:gd name="connsiteY20" fmla="*/ 9849 h 10610"/>
                <a:gd name="connsiteX21" fmla="*/ 5209 w 10117"/>
                <a:gd name="connsiteY21" fmla="*/ 9736 h 10610"/>
                <a:gd name="connsiteX22" fmla="*/ 5419 w 10117"/>
                <a:gd name="connsiteY22" fmla="*/ 9615 h 10610"/>
                <a:gd name="connsiteX23" fmla="*/ 5635 w 10117"/>
                <a:gd name="connsiteY23" fmla="*/ 9491 h 10610"/>
                <a:gd name="connsiteX24" fmla="*/ 5839 w 10117"/>
                <a:gd name="connsiteY24" fmla="*/ 9362 h 10610"/>
                <a:gd name="connsiteX25" fmla="*/ 6043 w 10117"/>
                <a:gd name="connsiteY25" fmla="*/ 9235 h 10610"/>
                <a:gd name="connsiteX26" fmla="*/ 6239 w 10117"/>
                <a:gd name="connsiteY26" fmla="*/ 9105 h 10610"/>
                <a:gd name="connsiteX27" fmla="*/ 6438 w 10117"/>
                <a:gd name="connsiteY27" fmla="*/ 8967 h 10610"/>
                <a:gd name="connsiteX28" fmla="*/ 6629 w 10117"/>
                <a:gd name="connsiteY28" fmla="*/ 8825 h 10610"/>
                <a:gd name="connsiteX29" fmla="*/ 6814 w 10117"/>
                <a:gd name="connsiteY29" fmla="*/ 8689 h 10610"/>
                <a:gd name="connsiteX30" fmla="*/ 6997 w 10117"/>
                <a:gd name="connsiteY30" fmla="*/ 8544 h 10610"/>
                <a:gd name="connsiteX31" fmla="*/ 7173 w 10117"/>
                <a:gd name="connsiteY31" fmla="*/ 8396 h 10610"/>
                <a:gd name="connsiteX32" fmla="*/ 7349 w 10117"/>
                <a:gd name="connsiteY32" fmla="*/ 8248 h 10610"/>
                <a:gd name="connsiteX33" fmla="*/ 7518 w 10117"/>
                <a:gd name="connsiteY33" fmla="*/ 8097 h 10610"/>
                <a:gd name="connsiteX34" fmla="*/ 7686 w 10117"/>
                <a:gd name="connsiteY34" fmla="*/ 7940 h 10610"/>
                <a:gd name="connsiteX35" fmla="*/ 7842 w 10117"/>
                <a:gd name="connsiteY35" fmla="*/ 7782 h 10610"/>
                <a:gd name="connsiteX36" fmla="*/ 7995 w 10117"/>
                <a:gd name="connsiteY36" fmla="*/ 7623 h 10610"/>
                <a:gd name="connsiteX37" fmla="*/ 8150 w 10117"/>
                <a:gd name="connsiteY37" fmla="*/ 7463 h 10610"/>
                <a:gd name="connsiteX38" fmla="*/ 8293 w 10117"/>
                <a:gd name="connsiteY38" fmla="*/ 7296 h 10610"/>
                <a:gd name="connsiteX39" fmla="*/ 8433 w 10117"/>
                <a:gd name="connsiteY39" fmla="*/ 7132 h 10610"/>
                <a:gd name="connsiteX40" fmla="*/ 8569 w 10117"/>
                <a:gd name="connsiteY40" fmla="*/ 6962 h 10610"/>
                <a:gd name="connsiteX41" fmla="*/ 8695 w 10117"/>
                <a:gd name="connsiteY41" fmla="*/ 6788 h 10610"/>
                <a:gd name="connsiteX42" fmla="*/ 8819 w 10117"/>
                <a:gd name="connsiteY42" fmla="*/ 6614 h 10610"/>
                <a:gd name="connsiteX43" fmla="*/ 8945 w 10117"/>
                <a:gd name="connsiteY43" fmla="*/ 6440 h 10610"/>
                <a:gd name="connsiteX44" fmla="*/ 9063 w 10117"/>
                <a:gd name="connsiteY44" fmla="*/ 6262 h 10610"/>
                <a:gd name="connsiteX45" fmla="*/ 9167 w 10117"/>
                <a:gd name="connsiteY45" fmla="*/ 6084 h 10610"/>
                <a:gd name="connsiteX46" fmla="*/ 9274 w 10117"/>
                <a:gd name="connsiteY46" fmla="*/ 5902 h 10610"/>
                <a:gd name="connsiteX47" fmla="*/ 9369 w 10117"/>
                <a:gd name="connsiteY47" fmla="*/ 5716 h 10610"/>
                <a:gd name="connsiteX48" fmla="*/ 9465 w 10117"/>
                <a:gd name="connsiteY48" fmla="*/ 5533 h 10610"/>
                <a:gd name="connsiteX49" fmla="*/ 9549 w 10117"/>
                <a:gd name="connsiteY49" fmla="*/ 5344 h 10610"/>
                <a:gd name="connsiteX50" fmla="*/ 9630 w 10117"/>
                <a:gd name="connsiteY50" fmla="*/ 5153 h 10610"/>
                <a:gd name="connsiteX51" fmla="*/ 9704 w 10117"/>
                <a:gd name="connsiteY51" fmla="*/ 4961 h 10610"/>
                <a:gd name="connsiteX52" fmla="*/ 9777 w 10117"/>
                <a:gd name="connsiteY52" fmla="*/ 4771 h 10610"/>
                <a:gd name="connsiteX53" fmla="*/ 9839 w 10117"/>
                <a:gd name="connsiteY53" fmla="*/ 4578 h 10610"/>
                <a:gd name="connsiteX54" fmla="*/ 9898 w 10117"/>
                <a:gd name="connsiteY54" fmla="*/ 4381 h 10610"/>
                <a:gd name="connsiteX55" fmla="*/ 9635 w 10117"/>
                <a:gd name="connsiteY55" fmla="*/ 0 h 10610"/>
                <a:gd name="connsiteX56" fmla="*/ 6408 w 10117"/>
                <a:gd name="connsiteY56" fmla="*/ 1883 h 10610"/>
                <a:gd name="connsiteX57" fmla="*/ 2450 w 10117"/>
                <a:gd name="connsiteY57" fmla="*/ 1500 h 10610"/>
                <a:gd name="connsiteX0" fmla="*/ 2450 w 10117"/>
                <a:gd name="connsiteY0" fmla="*/ 1500 h 10610"/>
                <a:gd name="connsiteX1" fmla="*/ 850 w 10117"/>
                <a:gd name="connsiteY1" fmla="*/ 5429 h 10610"/>
                <a:gd name="connsiteX2" fmla="*/ 765 w 10117"/>
                <a:gd name="connsiteY2" fmla="*/ 5481 h 10610"/>
                <a:gd name="connsiteX3" fmla="*/ 670 w 10117"/>
                <a:gd name="connsiteY3" fmla="*/ 5534 h 10610"/>
                <a:gd name="connsiteX4" fmla="*/ 581 w 10117"/>
                <a:gd name="connsiteY4" fmla="*/ 5583 h 10610"/>
                <a:gd name="connsiteX5" fmla="*/ 488 w 10117"/>
                <a:gd name="connsiteY5" fmla="*/ 5633 h 10610"/>
                <a:gd name="connsiteX6" fmla="*/ 393 w 10117"/>
                <a:gd name="connsiteY6" fmla="*/ 5681 h 10610"/>
                <a:gd name="connsiteX7" fmla="*/ 295 w 10117"/>
                <a:gd name="connsiteY7" fmla="*/ 5725 h 10610"/>
                <a:gd name="connsiteX8" fmla="*/ 198 w 10117"/>
                <a:gd name="connsiteY8" fmla="*/ 5773 h 10610"/>
                <a:gd name="connsiteX9" fmla="*/ 103 w 10117"/>
                <a:gd name="connsiteY9" fmla="*/ 5816 h 10610"/>
                <a:gd name="connsiteX10" fmla="*/ 0 w 10117"/>
                <a:gd name="connsiteY10" fmla="*/ 5857 h 10610"/>
                <a:gd name="connsiteX11" fmla="*/ 210 w 10117"/>
                <a:gd name="connsiteY11" fmla="*/ 8550 h 10610"/>
                <a:gd name="connsiteX12" fmla="*/ 3301 w 10117"/>
                <a:gd name="connsiteY12" fmla="*/ 10610 h 10610"/>
                <a:gd name="connsiteX13" fmla="*/ 3606 w 10117"/>
                <a:gd name="connsiteY13" fmla="*/ 10485 h 10610"/>
                <a:gd name="connsiteX14" fmla="*/ 3848 w 10117"/>
                <a:gd name="connsiteY14" fmla="*/ 10386 h 10610"/>
                <a:gd name="connsiteX15" fmla="*/ 4084 w 10117"/>
                <a:gd name="connsiteY15" fmla="*/ 10287 h 10610"/>
                <a:gd name="connsiteX16" fmla="*/ 4317 w 10117"/>
                <a:gd name="connsiteY16" fmla="*/ 10183 h 10610"/>
                <a:gd name="connsiteX17" fmla="*/ 4549 w 10117"/>
                <a:gd name="connsiteY17" fmla="*/ 10074 h 10610"/>
                <a:gd name="connsiteX18" fmla="*/ 4767 w 10117"/>
                <a:gd name="connsiteY18" fmla="*/ 9967 h 10610"/>
                <a:gd name="connsiteX19" fmla="*/ 4988 w 10117"/>
                <a:gd name="connsiteY19" fmla="*/ 9849 h 10610"/>
                <a:gd name="connsiteX20" fmla="*/ 5209 w 10117"/>
                <a:gd name="connsiteY20" fmla="*/ 9736 h 10610"/>
                <a:gd name="connsiteX21" fmla="*/ 5419 w 10117"/>
                <a:gd name="connsiteY21" fmla="*/ 9615 h 10610"/>
                <a:gd name="connsiteX22" fmla="*/ 5635 w 10117"/>
                <a:gd name="connsiteY22" fmla="*/ 9491 h 10610"/>
                <a:gd name="connsiteX23" fmla="*/ 5839 w 10117"/>
                <a:gd name="connsiteY23" fmla="*/ 9362 h 10610"/>
                <a:gd name="connsiteX24" fmla="*/ 6043 w 10117"/>
                <a:gd name="connsiteY24" fmla="*/ 9235 h 10610"/>
                <a:gd name="connsiteX25" fmla="*/ 6239 w 10117"/>
                <a:gd name="connsiteY25" fmla="*/ 9105 h 10610"/>
                <a:gd name="connsiteX26" fmla="*/ 6438 w 10117"/>
                <a:gd name="connsiteY26" fmla="*/ 8967 h 10610"/>
                <a:gd name="connsiteX27" fmla="*/ 6629 w 10117"/>
                <a:gd name="connsiteY27" fmla="*/ 8825 h 10610"/>
                <a:gd name="connsiteX28" fmla="*/ 6814 w 10117"/>
                <a:gd name="connsiteY28" fmla="*/ 8689 h 10610"/>
                <a:gd name="connsiteX29" fmla="*/ 6997 w 10117"/>
                <a:gd name="connsiteY29" fmla="*/ 8544 h 10610"/>
                <a:gd name="connsiteX30" fmla="*/ 7173 w 10117"/>
                <a:gd name="connsiteY30" fmla="*/ 8396 h 10610"/>
                <a:gd name="connsiteX31" fmla="*/ 7349 w 10117"/>
                <a:gd name="connsiteY31" fmla="*/ 8248 h 10610"/>
                <a:gd name="connsiteX32" fmla="*/ 7518 w 10117"/>
                <a:gd name="connsiteY32" fmla="*/ 8097 h 10610"/>
                <a:gd name="connsiteX33" fmla="*/ 7686 w 10117"/>
                <a:gd name="connsiteY33" fmla="*/ 7940 h 10610"/>
                <a:gd name="connsiteX34" fmla="*/ 7842 w 10117"/>
                <a:gd name="connsiteY34" fmla="*/ 7782 h 10610"/>
                <a:gd name="connsiteX35" fmla="*/ 7995 w 10117"/>
                <a:gd name="connsiteY35" fmla="*/ 7623 h 10610"/>
                <a:gd name="connsiteX36" fmla="*/ 8150 w 10117"/>
                <a:gd name="connsiteY36" fmla="*/ 7463 h 10610"/>
                <a:gd name="connsiteX37" fmla="*/ 8293 w 10117"/>
                <a:gd name="connsiteY37" fmla="*/ 7296 h 10610"/>
                <a:gd name="connsiteX38" fmla="*/ 8433 w 10117"/>
                <a:gd name="connsiteY38" fmla="*/ 7132 h 10610"/>
                <a:gd name="connsiteX39" fmla="*/ 8569 w 10117"/>
                <a:gd name="connsiteY39" fmla="*/ 6962 h 10610"/>
                <a:gd name="connsiteX40" fmla="*/ 8695 w 10117"/>
                <a:gd name="connsiteY40" fmla="*/ 6788 h 10610"/>
                <a:gd name="connsiteX41" fmla="*/ 8819 w 10117"/>
                <a:gd name="connsiteY41" fmla="*/ 6614 h 10610"/>
                <a:gd name="connsiteX42" fmla="*/ 8945 w 10117"/>
                <a:gd name="connsiteY42" fmla="*/ 6440 h 10610"/>
                <a:gd name="connsiteX43" fmla="*/ 9063 w 10117"/>
                <a:gd name="connsiteY43" fmla="*/ 6262 h 10610"/>
                <a:gd name="connsiteX44" fmla="*/ 9167 w 10117"/>
                <a:gd name="connsiteY44" fmla="*/ 6084 h 10610"/>
                <a:gd name="connsiteX45" fmla="*/ 9274 w 10117"/>
                <a:gd name="connsiteY45" fmla="*/ 5902 h 10610"/>
                <a:gd name="connsiteX46" fmla="*/ 9369 w 10117"/>
                <a:gd name="connsiteY46" fmla="*/ 5716 h 10610"/>
                <a:gd name="connsiteX47" fmla="*/ 9465 w 10117"/>
                <a:gd name="connsiteY47" fmla="*/ 5533 h 10610"/>
                <a:gd name="connsiteX48" fmla="*/ 9549 w 10117"/>
                <a:gd name="connsiteY48" fmla="*/ 5344 h 10610"/>
                <a:gd name="connsiteX49" fmla="*/ 9630 w 10117"/>
                <a:gd name="connsiteY49" fmla="*/ 5153 h 10610"/>
                <a:gd name="connsiteX50" fmla="*/ 9704 w 10117"/>
                <a:gd name="connsiteY50" fmla="*/ 4961 h 10610"/>
                <a:gd name="connsiteX51" fmla="*/ 9777 w 10117"/>
                <a:gd name="connsiteY51" fmla="*/ 4771 h 10610"/>
                <a:gd name="connsiteX52" fmla="*/ 9839 w 10117"/>
                <a:gd name="connsiteY52" fmla="*/ 4578 h 10610"/>
                <a:gd name="connsiteX53" fmla="*/ 9898 w 10117"/>
                <a:gd name="connsiteY53" fmla="*/ 4381 h 10610"/>
                <a:gd name="connsiteX54" fmla="*/ 9635 w 10117"/>
                <a:gd name="connsiteY54" fmla="*/ 0 h 10610"/>
                <a:gd name="connsiteX55" fmla="*/ 6408 w 10117"/>
                <a:gd name="connsiteY55" fmla="*/ 1883 h 10610"/>
                <a:gd name="connsiteX56" fmla="*/ 2450 w 10117"/>
                <a:gd name="connsiteY56" fmla="*/ 1500 h 10610"/>
                <a:gd name="connsiteX0" fmla="*/ 2450 w 10117"/>
                <a:gd name="connsiteY0" fmla="*/ 1500 h 10610"/>
                <a:gd name="connsiteX1" fmla="*/ 765 w 10117"/>
                <a:gd name="connsiteY1" fmla="*/ 5481 h 10610"/>
                <a:gd name="connsiteX2" fmla="*/ 670 w 10117"/>
                <a:gd name="connsiteY2" fmla="*/ 5534 h 10610"/>
                <a:gd name="connsiteX3" fmla="*/ 581 w 10117"/>
                <a:gd name="connsiteY3" fmla="*/ 5583 h 10610"/>
                <a:gd name="connsiteX4" fmla="*/ 488 w 10117"/>
                <a:gd name="connsiteY4" fmla="*/ 5633 h 10610"/>
                <a:gd name="connsiteX5" fmla="*/ 393 w 10117"/>
                <a:gd name="connsiteY5" fmla="*/ 5681 h 10610"/>
                <a:gd name="connsiteX6" fmla="*/ 295 w 10117"/>
                <a:gd name="connsiteY6" fmla="*/ 5725 h 10610"/>
                <a:gd name="connsiteX7" fmla="*/ 198 w 10117"/>
                <a:gd name="connsiteY7" fmla="*/ 5773 h 10610"/>
                <a:gd name="connsiteX8" fmla="*/ 103 w 10117"/>
                <a:gd name="connsiteY8" fmla="*/ 5816 h 10610"/>
                <a:gd name="connsiteX9" fmla="*/ 0 w 10117"/>
                <a:gd name="connsiteY9" fmla="*/ 5857 h 10610"/>
                <a:gd name="connsiteX10" fmla="*/ 210 w 10117"/>
                <a:gd name="connsiteY10" fmla="*/ 8550 h 10610"/>
                <a:gd name="connsiteX11" fmla="*/ 3301 w 10117"/>
                <a:gd name="connsiteY11" fmla="*/ 10610 h 10610"/>
                <a:gd name="connsiteX12" fmla="*/ 3606 w 10117"/>
                <a:gd name="connsiteY12" fmla="*/ 10485 h 10610"/>
                <a:gd name="connsiteX13" fmla="*/ 3848 w 10117"/>
                <a:gd name="connsiteY13" fmla="*/ 10386 h 10610"/>
                <a:gd name="connsiteX14" fmla="*/ 4084 w 10117"/>
                <a:gd name="connsiteY14" fmla="*/ 10287 h 10610"/>
                <a:gd name="connsiteX15" fmla="*/ 4317 w 10117"/>
                <a:gd name="connsiteY15" fmla="*/ 10183 h 10610"/>
                <a:gd name="connsiteX16" fmla="*/ 4549 w 10117"/>
                <a:gd name="connsiteY16" fmla="*/ 10074 h 10610"/>
                <a:gd name="connsiteX17" fmla="*/ 4767 w 10117"/>
                <a:gd name="connsiteY17" fmla="*/ 9967 h 10610"/>
                <a:gd name="connsiteX18" fmla="*/ 4988 w 10117"/>
                <a:gd name="connsiteY18" fmla="*/ 9849 h 10610"/>
                <a:gd name="connsiteX19" fmla="*/ 5209 w 10117"/>
                <a:gd name="connsiteY19" fmla="*/ 9736 h 10610"/>
                <a:gd name="connsiteX20" fmla="*/ 5419 w 10117"/>
                <a:gd name="connsiteY20" fmla="*/ 9615 h 10610"/>
                <a:gd name="connsiteX21" fmla="*/ 5635 w 10117"/>
                <a:gd name="connsiteY21" fmla="*/ 9491 h 10610"/>
                <a:gd name="connsiteX22" fmla="*/ 5839 w 10117"/>
                <a:gd name="connsiteY22" fmla="*/ 9362 h 10610"/>
                <a:gd name="connsiteX23" fmla="*/ 6043 w 10117"/>
                <a:gd name="connsiteY23" fmla="*/ 9235 h 10610"/>
                <a:gd name="connsiteX24" fmla="*/ 6239 w 10117"/>
                <a:gd name="connsiteY24" fmla="*/ 9105 h 10610"/>
                <a:gd name="connsiteX25" fmla="*/ 6438 w 10117"/>
                <a:gd name="connsiteY25" fmla="*/ 8967 h 10610"/>
                <a:gd name="connsiteX26" fmla="*/ 6629 w 10117"/>
                <a:gd name="connsiteY26" fmla="*/ 8825 h 10610"/>
                <a:gd name="connsiteX27" fmla="*/ 6814 w 10117"/>
                <a:gd name="connsiteY27" fmla="*/ 8689 h 10610"/>
                <a:gd name="connsiteX28" fmla="*/ 6997 w 10117"/>
                <a:gd name="connsiteY28" fmla="*/ 8544 h 10610"/>
                <a:gd name="connsiteX29" fmla="*/ 7173 w 10117"/>
                <a:gd name="connsiteY29" fmla="*/ 8396 h 10610"/>
                <a:gd name="connsiteX30" fmla="*/ 7349 w 10117"/>
                <a:gd name="connsiteY30" fmla="*/ 8248 h 10610"/>
                <a:gd name="connsiteX31" fmla="*/ 7518 w 10117"/>
                <a:gd name="connsiteY31" fmla="*/ 8097 h 10610"/>
                <a:gd name="connsiteX32" fmla="*/ 7686 w 10117"/>
                <a:gd name="connsiteY32" fmla="*/ 7940 h 10610"/>
                <a:gd name="connsiteX33" fmla="*/ 7842 w 10117"/>
                <a:gd name="connsiteY33" fmla="*/ 7782 h 10610"/>
                <a:gd name="connsiteX34" fmla="*/ 7995 w 10117"/>
                <a:gd name="connsiteY34" fmla="*/ 7623 h 10610"/>
                <a:gd name="connsiteX35" fmla="*/ 8150 w 10117"/>
                <a:gd name="connsiteY35" fmla="*/ 7463 h 10610"/>
                <a:gd name="connsiteX36" fmla="*/ 8293 w 10117"/>
                <a:gd name="connsiteY36" fmla="*/ 7296 h 10610"/>
                <a:gd name="connsiteX37" fmla="*/ 8433 w 10117"/>
                <a:gd name="connsiteY37" fmla="*/ 7132 h 10610"/>
                <a:gd name="connsiteX38" fmla="*/ 8569 w 10117"/>
                <a:gd name="connsiteY38" fmla="*/ 6962 h 10610"/>
                <a:gd name="connsiteX39" fmla="*/ 8695 w 10117"/>
                <a:gd name="connsiteY39" fmla="*/ 6788 h 10610"/>
                <a:gd name="connsiteX40" fmla="*/ 8819 w 10117"/>
                <a:gd name="connsiteY40" fmla="*/ 6614 h 10610"/>
                <a:gd name="connsiteX41" fmla="*/ 8945 w 10117"/>
                <a:gd name="connsiteY41" fmla="*/ 6440 h 10610"/>
                <a:gd name="connsiteX42" fmla="*/ 9063 w 10117"/>
                <a:gd name="connsiteY42" fmla="*/ 6262 h 10610"/>
                <a:gd name="connsiteX43" fmla="*/ 9167 w 10117"/>
                <a:gd name="connsiteY43" fmla="*/ 6084 h 10610"/>
                <a:gd name="connsiteX44" fmla="*/ 9274 w 10117"/>
                <a:gd name="connsiteY44" fmla="*/ 5902 h 10610"/>
                <a:gd name="connsiteX45" fmla="*/ 9369 w 10117"/>
                <a:gd name="connsiteY45" fmla="*/ 5716 h 10610"/>
                <a:gd name="connsiteX46" fmla="*/ 9465 w 10117"/>
                <a:gd name="connsiteY46" fmla="*/ 5533 h 10610"/>
                <a:gd name="connsiteX47" fmla="*/ 9549 w 10117"/>
                <a:gd name="connsiteY47" fmla="*/ 5344 h 10610"/>
                <a:gd name="connsiteX48" fmla="*/ 9630 w 10117"/>
                <a:gd name="connsiteY48" fmla="*/ 5153 h 10610"/>
                <a:gd name="connsiteX49" fmla="*/ 9704 w 10117"/>
                <a:gd name="connsiteY49" fmla="*/ 4961 h 10610"/>
                <a:gd name="connsiteX50" fmla="*/ 9777 w 10117"/>
                <a:gd name="connsiteY50" fmla="*/ 4771 h 10610"/>
                <a:gd name="connsiteX51" fmla="*/ 9839 w 10117"/>
                <a:gd name="connsiteY51" fmla="*/ 4578 h 10610"/>
                <a:gd name="connsiteX52" fmla="*/ 9898 w 10117"/>
                <a:gd name="connsiteY52" fmla="*/ 4381 h 10610"/>
                <a:gd name="connsiteX53" fmla="*/ 9635 w 10117"/>
                <a:gd name="connsiteY53" fmla="*/ 0 h 10610"/>
                <a:gd name="connsiteX54" fmla="*/ 6408 w 10117"/>
                <a:gd name="connsiteY54" fmla="*/ 1883 h 10610"/>
                <a:gd name="connsiteX55" fmla="*/ 2450 w 10117"/>
                <a:gd name="connsiteY55" fmla="*/ 1500 h 10610"/>
                <a:gd name="connsiteX0" fmla="*/ 2450 w 10117"/>
                <a:gd name="connsiteY0" fmla="*/ 1500 h 10610"/>
                <a:gd name="connsiteX1" fmla="*/ 670 w 10117"/>
                <a:gd name="connsiteY1" fmla="*/ 5534 h 10610"/>
                <a:gd name="connsiteX2" fmla="*/ 581 w 10117"/>
                <a:gd name="connsiteY2" fmla="*/ 5583 h 10610"/>
                <a:gd name="connsiteX3" fmla="*/ 488 w 10117"/>
                <a:gd name="connsiteY3" fmla="*/ 5633 h 10610"/>
                <a:gd name="connsiteX4" fmla="*/ 393 w 10117"/>
                <a:gd name="connsiteY4" fmla="*/ 5681 h 10610"/>
                <a:gd name="connsiteX5" fmla="*/ 295 w 10117"/>
                <a:gd name="connsiteY5" fmla="*/ 5725 h 10610"/>
                <a:gd name="connsiteX6" fmla="*/ 198 w 10117"/>
                <a:gd name="connsiteY6" fmla="*/ 5773 h 10610"/>
                <a:gd name="connsiteX7" fmla="*/ 103 w 10117"/>
                <a:gd name="connsiteY7" fmla="*/ 5816 h 10610"/>
                <a:gd name="connsiteX8" fmla="*/ 0 w 10117"/>
                <a:gd name="connsiteY8" fmla="*/ 5857 h 10610"/>
                <a:gd name="connsiteX9" fmla="*/ 210 w 10117"/>
                <a:gd name="connsiteY9" fmla="*/ 8550 h 10610"/>
                <a:gd name="connsiteX10" fmla="*/ 3301 w 10117"/>
                <a:gd name="connsiteY10" fmla="*/ 10610 h 10610"/>
                <a:gd name="connsiteX11" fmla="*/ 3606 w 10117"/>
                <a:gd name="connsiteY11" fmla="*/ 10485 h 10610"/>
                <a:gd name="connsiteX12" fmla="*/ 3848 w 10117"/>
                <a:gd name="connsiteY12" fmla="*/ 10386 h 10610"/>
                <a:gd name="connsiteX13" fmla="*/ 4084 w 10117"/>
                <a:gd name="connsiteY13" fmla="*/ 10287 h 10610"/>
                <a:gd name="connsiteX14" fmla="*/ 4317 w 10117"/>
                <a:gd name="connsiteY14" fmla="*/ 10183 h 10610"/>
                <a:gd name="connsiteX15" fmla="*/ 4549 w 10117"/>
                <a:gd name="connsiteY15" fmla="*/ 10074 h 10610"/>
                <a:gd name="connsiteX16" fmla="*/ 4767 w 10117"/>
                <a:gd name="connsiteY16" fmla="*/ 9967 h 10610"/>
                <a:gd name="connsiteX17" fmla="*/ 4988 w 10117"/>
                <a:gd name="connsiteY17" fmla="*/ 9849 h 10610"/>
                <a:gd name="connsiteX18" fmla="*/ 5209 w 10117"/>
                <a:gd name="connsiteY18" fmla="*/ 9736 h 10610"/>
                <a:gd name="connsiteX19" fmla="*/ 5419 w 10117"/>
                <a:gd name="connsiteY19" fmla="*/ 9615 h 10610"/>
                <a:gd name="connsiteX20" fmla="*/ 5635 w 10117"/>
                <a:gd name="connsiteY20" fmla="*/ 9491 h 10610"/>
                <a:gd name="connsiteX21" fmla="*/ 5839 w 10117"/>
                <a:gd name="connsiteY21" fmla="*/ 9362 h 10610"/>
                <a:gd name="connsiteX22" fmla="*/ 6043 w 10117"/>
                <a:gd name="connsiteY22" fmla="*/ 9235 h 10610"/>
                <a:gd name="connsiteX23" fmla="*/ 6239 w 10117"/>
                <a:gd name="connsiteY23" fmla="*/ 9105 h 10610"/>
                <a:gd name="connsiteX24" fmla="*/ 6438 w 10117"/>
                <a:gd name="connsiteY24" fmla="*/ 8967 h 10610"/>
                <a:gd name="connsiteX25" fmla="*/ 6629 w 10117"/>
                <a:gd name="connsiteY25" fmla="*/ 8825 h 10610"/>
                <a:gd name="connsiteX26" fmla="*/ 6814 w 10117"/>
                <a:gd name="connsiteY26" fmla="*/ 8689 h 10610"/>
                <a:gd name="connsiteX27" fmla="*/ 6997 w 10117"/>
                <a:gd name="connsiteY27" fmla="*/ 8544 h 10610"/>
                <a:gd name="connsiteX28" fmla="*/ 7173 w 10117"/>
                <a:gd name="connsiteY28" fmla="*/ 8396 h 10610"/>
                <a:gd name="connsiteX29" fmla="*/ 7349 w 10117"/>
                <a:gd name="connsiteY29" fmla="*/ 8248 h 10610"/>
                <a:gd name="connsiteX30" fmla="*/ 7518 w 10117"/>
                <a:gd name="connsiteY30" fmla="*/ 8097 h 10610"/>
                <a:gd name="connsiteX31" fmla="*/ 7686 w 10117"/>
                <a:gd name="connsiteY31" fmla="*/ 7940 h 10610"/>
                <a:gd name="connsiteX32" fmla="*/ 7842 w 10117"/>
                <a:gd name="connsiteY32" fmla="*/ 7782 h 10610"/>
                <a:gd name="connsiteX33" fmla="*/ 7995 w 10117"/>
                <a:gd name="connsiteY33" fmla="*/ 7623 h 10610"/>
                <a:gd name="connsiteX34" fmla="*/ 8150 w 10117"/>
                <a:gd name="connsiteY34" fmla="*/ 7463 h 10610"/>
                <a:gd name="connsiteX35" fmla="*/ 8293 w 10117"/>
                <a:gd name="connsiteY35" fmla="*/ 7296 h 10610"/>
                <a:gd name="connsiteX36" fmla="*/ 8433 w 10117"/>
                <a:gd name="connsiteY36" fmla="*/ 7132 h 10610"/>
                <a:gd name="connsiteX37" fmla="*/ 8569 w 10117"/>
                <a:gd name="connsiteY37" fmla="*/ 6962 h 10610"/>
                <a:gd name="connsiteX38" fmla="*/ 8695 w 10117"/>
                <a:gd name="connsiteY38" fmla="*/ 6788 h 10610"/>
                <a:gd name="connsiteX39" fmla="*/ 8819 w 10117"/>
                <a:gd name="connsiteY39" fmla="*/ 6614 h 10610"/>
                <a:gd name="connsiteX40" fmla="*/ 8945 w 10117"/>
                <a:gd name="connsiteY40" fmla="*/ 6440 h 10610"/>
                <a:gd name="connsiteX41" fmla="*/ 9063 w 10117"/>
                <a:gd name="connsiteY41" fmla="*/ 6262 h 10610"/>
                <a:gd name="connsiteX42" fmla="*/ 9167 w 10117"/>
                <a:gd name="connsiteY42" fmla="*/ 6084 h 10610"/>
                <a:gd name="connsiteX43" fmla="*/ 9274 w 10117"/>
                <a:gd name="connsiteY43" fmla="*/ 5902 h 10610"/>
                <a:gd name="connsiteX44" fmla="*/ 9369 w 10117"/>
                <a:gd name="connsiteY44" fmla="*/ 5716 h 10610"/>
                <a:gd name="connsiteX45" fmla="*/ 9465 w 10117"/>
                <a:gd name="connsiteY45" fmla="*/ 5533 h 10610"/>
                <a:gd name="connsiteX46" fmla="*/ 9549 w 10117"/>
                <a:gd name="connsiteY46" fmla="*/ 5344 h 10610"/>
                <a:gd name="connsiteX47" fmla="*/ 9630 w 10117"/>
                <a:gd name="connsiteY47" fmla="*/ 5153 h 10610"/>
                <a:gd name="connsiteX48" fmla="*/ 9704 w 10117"/>
                <a:gd name="connsiteY48" fmla="*/ 4961 h 10610"/>
                <a:gd name="connsiteX49" fmla="*/ 9777 w 10117"/>
                <a:gd name="connsiteY49" fmla="*/ 4771 h 10610"/>
                <a:gd name="connsiteX50" fmla="*/ 9839 w 10117"/>
                <a:gd name="connsiteY50" fmla="*/ 4578 h 10610"/>
                <a:gd name="connsiteX51" fmla="*/ 9898 w 10117"/>
                <a:gd name="connsiteY51" fmla="*/ 4381 h 10610"/>
                <a:gd name="connsiteX52" fmla="*/ 9635 w 10117"/>
                <a:gd name="connsiteY52" fmla="*/ 0 h 10610"/>
                <a:gd name="connsiteX53" fmla="*/ 6408 w 10117"/>
                <a:gd name="connsiteY53" fmla="*/ 1883 h 10610"/>
                <a:gd name="connsiteX54" fmla="*/ 2450 w 10117"/>
                <a:gd name="connsiteY54" fmla="*/ 1500 h 10610"/>
                <a:gd name="connsiteX0" fmla="*/ 2450 w 10117"/>
                <a:gd name="connsiteY0" fmla="*/ 1500 h 10610"/>
                <a:gd name="connsiteX1" fmla="*/ 581 w 10117"/>
                <a:gd name="connsiteY1" fmla="*/ 5583 h 10610"/>
                <a:gd name="connsiteX2" fmla="*/ 488 w 10117"/>
                <a:gd name="connsiteY2" fmla="*/ 5633 h 10610"/>
                <a:gd name="connsiteX3" fmla="*/ 393 w 10117"/>
                <a:gd name="connsiteY3" fmla="*/ 5681 h 10610"/>
                <a:gd name="connsiteX4" fmla="*/ 295 w 10117"/>
                <a:gd name="connsiteY4" fmla="*/ 5725 h 10610"/>
                <a:gd name="connsiteX5" fmla="*/ 198 w 10117"/>
                <a:gd name="connsiteY5" fmla="*/ 5773 h 10610"/>
                <a:gd name="connsiteX6" fmla="*/ 103 w 10117"/>
                <a:gd name="connsiteY6" fmla="*/ 5816 h 10610"/>
                <a:gd name="connsiteX7" fmla="*/ 0 w 10117"/>
                <a:gd name="connsiteY7" fmla="*/ 5857 h 10610"/>
                <a:gd name="connsiteX8" fmla="*/ 210 w 10117"/>
                <a:gd name="connsiteY8" fmla="*/ 8550 h 10610"/>
                <a:gd name="connsiteX9" fmla="*/ 3301 w 10117"/>
                <a:gd name="connsiteY9" fmla="*/ 10610 h 10610"/>
                <a:gd name="connsiteX10" fmla="*/ 3606 w 10117"/>
                <a:gd name="connsiteY10" fmla="*/ 10485 h 10610"/>
                <a:gd name="connsiteX11" fmla="*/ 3848 w 10117"/>
                <a:gd name="connsiteY11" fmla="*/ 10386 h 10610"/>
                <a:gd name="connsiteX12" fmla="*/ 4084 w 10117"/>
                <a:gd name="connsiteY12" fmla="*/ 10287 h 10610"/>
                <a:gd name="connsiteX13" fmla="*/ 4317 w 10117"/>
                <a:gd name="connsiteY13" fmla="*/ 10183 h 10610"/>
                <a:gd name="connsiteX14" fmla="*/ 4549 w 10117"/>
                <a:gd name="connsiteY14" fmla="*/ 10074 h 10610"/>
                <a:gd name="connsiteX15" fmla="*/ 4767 w 10117"/>
                <a:gd name="connsiteY15" fmla="*/ 9967 h 10610"/>
                <a:gd name="connsiteX16" fmla="*/ 4988 w 10117"/>
                <a:gd name="connsiteY16" fmla="*/ 9849 h 10610"/>
                <a:gd name="connsiteX17" fmla="*/ 5209 w 10117"/>
                <a:gd name="connsiteY17" fmla="*/ 9736 h 10610"/>
                <a:gd name="connsiteX18" fmla="*/ 5419 w 10117"/>
                <a:gd name="connsiteY18" fmla="*/ 9615 h 10610"/>
                <a:gd name="connsiteX19" fmla="*/ 5635 w 10117"/>
                <a:gd name="connsiteY19" fmla="*/ 9491 h 10610"/>
                <a:gd name="connsiteX20" fmla="*/ 5839 w 10117"/>
                <a:gd name="connsiteY20" fmla="*/ 9362 h 10610"/>
                <a:gd name="connsiteX21" fmla="*/ 6043 w 10117"/>
                <a:gd name="connsiteY21" fmla="*/ 9235 h 10610"/>
                <a:gd name="connsiteX22" fmla="*/ 6239 w 10117"/>
                <a:gd name="connsiteY22" fmla="*/ 9105 h 10610"/>
                <a:gd name="connsiteX23" fmla="*/ 6438 w 10117"/>
                <a:gd name="connsiteY23" fmla="*/ 8967 h 10610"/>
                <a:gd name="connsiteX24" fmla="*/ 6629 w 10117"/>
                <a:gd name="connsiteY24" fmla="*/ 8825 h 10610"/>
                <a:gd name="connsiteX25" fmla="*/ 6814 w 10117"/>
                <a:gd name="connsiteY25" fmla="*/ 8689 h 10610"/>
                <a:gd name="connsiteX26" fmla="*/ 6997 w 10117"/>
                <a:gd name="connsiteY26" fmla="*/ 8544 h 10610"/>
                <a:gd name="connsiteX27" fmla="*/ 7173 w 10117"/>
                <a:gd name="connsiteY27" fmla="*/ 8396 h 10610"/>
                <a:gd name="connsiteX28" fmla="*/ 7349 w 10117"/>
                <a:gd name="connsiteY28" fmla="*/ 8248 h 10610"/>
                <a:gd name="connsiteX29" fmla="*/ 7518 w 10117"/>
                <a:gd name="connsiteY29" fmla="*/ 8097 h 10610"/>
                <a:gd name="connsiteX30" fmla="*/ 7686 w 10117"/>
                <a:gd name="connsiteY30" fmla="*/ 7940 h 10610"/>
                <a:gd name="connsiteX31" fmla="*/ 7842 w 10117"/>
                <a:gd name="connsiteY31" fmla="*/ 7782 h 10610"/>
                <a:gd name="connsiteX32" fmla="*/ 7995 w 10117"/>
                <a:gd name="connsiteY32" fmla="*/ 7623 h 10610"/>
                <a:gd name="connsiteX33" fmla="*/ 8150 w 10117"/>
                <a:gd name="connsiteY33" fmla="*/ 7463 h 10610"/>
                <a:gd name="connsiteX34" fmla="*/ 8293 w 10117"/>
                <a:gd name="connsiteY34" fmla="*/ 7296 h 10610"/>
                <a:gd name="connsiteX35" fmla="*/ 8433 w 10117"/>
                <a:gd name="connsiteY35" fmla="*/ 7132 h 10610"/>
                <a:gd name="connsiteX36" fmla="*/ 8569 w 10117"/>
                <a:gd name="connsiteY36" fmla="*/ 6962 h 10610"/>
                <a:gd name="connsiteX37" fmla="*/ 8695 w 10117"/>
                <a:gd name="connsiteY37" fmla="*/ 6788 h 10610"/>
                <a:gd name="connsiteX38" fmla="*/ 8819 w 10117"/>
                <a:gd name="connsiteY38" fmla="*/ 6614 h 10610"/>
                <a:gd name="connsiteX39" fmla="*/ 8945 w 10117"/>
                <a:gd name="connsiteY39" fmla="*/ 6440 h 10610"/>
                <a:gd name="connsiteX40" fmla="*/ 9063 w 10117"/>
                <a:gd name="connsiteY40" fmla="*/ 6262 h 10610"/>
                <a:gd name="connsiteX41" fmla="*/ 9167 w 10117"/>
                <a:gd name="connsiteY41" fmla="*/ 6084 h 10610"/>
                <a:gd name="connsiteX42" fmla="*/ 9274 w 10117"/>
                <a:gd name="connsiteY42" fmla="*/ 5902 h 10610"/>
                <a:gd name="connsiteX43" fmla="*/ 9369 w 10117"/>
                <a:gd name="connsiteY43" fmla="*/ 5716 h 10610"/>
                <a:gd name="connsiteX44" fmla="*/ 9465 w 10117"/>
                <a:gd name="connsiteY44" fmla="*/ 5533 h 10610"/>
                <a:gd name="connsiteX45" fmla="*/ 9549 w 10117"/>
                <a:gd name="connsiteY45" fmla="*/ 5344 h 10610"/>
                <a:gd name="connsiteX46" fmla="*/ 9630 w 10117"/>
                <a:gd name="connsiteY46" fmla="*/ 5153 h 10610"/>
                <a:gd name="connsiteX47" fmla="*/ 9704 w 10117"/>
                <a:gd name="connsiteY47" fmla="*/ 4961 h 10610"/>
                <a:gd name="connsiteX48" fmla="*/ 9777 w 10117"/>
                <a:gd name="connsiteY48" fmla="*/ 4771 h 10610"/>
                <a:gd name="connsiteX49" fmla="*/ 9839 w 10117"/>
                <a:gd name="connsiteY49" fmla="*/ 4578 h 10610"/>
                <a:gd name="connsiteX50" fmla="*/ 9898 w 10117"/>
                <a:gd name="connsiteY50" fmla="*/ 4381 h 10610"/>
                <a:gd name="connsiteX51" fmla="*/ 9635 w 10117"/>
                <a:gd name="connsiteY51" fmla="*/ 0 h 10610"/>
                <a:gd name="connsiteX52" fmla="*/ 6408 w 10117"/>
                <a:gd name="connsiteY52" fmla="*/ 1883 h 10610"/>
                <a:gd name="connsiteX53" fmla="*/ 2450 w 10117"/>
                <a:gd name="connsiteY53" fmla="*/ 1500 h 10610"/>
                <a:gd name="connsiteX0" fmla="*/ 2450 w 10117"/>
                <a:gd name="connsiteY0" fmla="*/ 1500 h 10610"/>
                <a:gd name="connsiteX1" fmla="*/ 488 w 10117"/>
                <a:gd name="connsiteY1" fmla="*/ 5633 h 10610"/>
                <a:gd name="connsiteX2" fmla="*/ 393 w 10117"/>
                <a:gd name="connsiteY2" fmla="*/ 5681 h 10610"/>
                <a:gd name="connsiteX3" fmla="*/ 295 w 10117"/>
                <a:gd name="connsiteY3" fmla="*/ 5725 h 10610"/>
                <a:gd name="connsiteX4" fmla="*/ 198 w 10117"/>
                <a:gd name="connsiteY4" fmla="*/ 5773 h 10610"/>
                <a:gd name="connsiteX5" fmla="*/ 103 w 10117"/>
                <a:gd name="connsiteY5" fmla="*/ 5816 h 10610"/>
                <a:gd name="connsiteX6" fmla="*/ 0 w 10117"/>
                <a:gd name="connsiteY6" fmla="*/ 5857 h 10610"/>
                <a:gd name="connsiteX7" fmla="*/ 210 w 10117"/>
                <a:gd name="connsiteY7" fmla="*/ 8550 h 10610"/>
                <a:gd name="connsiteX8" fmla="*/ 3301 w 10117"/>
                <a:gd name="connsiteY8" fmla="*/ 10610 h 10610"/>
                <a:gd name="connsiteX9" fmla="*/ 3606 w 10117"/>
                <a:gd name="connsiteY9" fmla="*/ 10485 h 10610"/>
                <a:gd name="connsiteX10" fmla="*/ 3848 w 10117"/>
                <a:gd name="connsiteY10" fmla="*/ 10386 h 10610"/>
                <a:gd name="connsiteX11" fmla="*/ 4084 w 10117"/>
                <a:gd name="connsiteY11" fmla="*/ 10287 h 10610"/>
                <a:gd name="connsiteX12" fmla="*/ 4317 w 10117"/>
                <a:gd name="connsiteY12" fmla="*/ 10183 h 10610"/>
                <a:gd name="connsiteX13" fmla="*/ 4549 w 10117"/>
                <a:gd name="connsiteY13" fmla="*/ 10074 h 10610"/>
                <a:gd name="connsiteX14" fmla="*/ 4767 w 10117"/>
                <a:gd name="connsiteY14" fmla="*/ 9967 h 10610"/>
                <a:gd name="connsiteX15" fmla="*/ 4988 w 10117"/>
                <a:gd name="connsiteY15" fmla="*/ 9849 h 10610"/>
                <a:gd name="connsiteX16" fmla="*/ 5209 w 10117"/>
                <a:gd name="connsiteY16" fmla="*/ 9736 h 10610"/>
                <a:gd name="connsiteX17" fmla="*/ 5419 w 10117"/>
                <a:gd name="connsiteY17" fmla="*/ 9615 h 10610"/>
                <a:gd name="connsiteX18" fmla="*/ 5635 w 10117"/>
                <a:gd name="connsiteY18" fmla="*/ 9491 h 10610"/>
                <a:gd name="connsiteX19" fmla="*/ 5839 w 10117"/>
                <a:gd name="connsiteY19" fmla="*/ 9362 h 10610"/>
                <a:gd name="connsiteX20" fmla="*/ 6043 w 10117"/>
                <a:gd name="connsiteY20" fmla="*/ 9235 h 10610"/>
                <a:gd name="connsiteX21" fmla="*/ 6239 w 10117"/>
                <a:gd name="connsiteY21" fmla="*/ 9105 h 10610"/>
                <a:gd name="connsiteX22" fmla="*/ 6438 w 10117"/>
                <a:gd name="connsiteY22" fmla="*/ 8967 h 10610"/>
                <a:gd name="connsiteX23" fmla="*/ 6629 w 10117"/>
                <a:gd name="connsiteY23" fmla="*/ 8825 h 10610"/>
                <a:gd name="connsiteX24" fmla="*/ 6814 w 10117"/>
                <a:gd name="connsiteY24" fmla="*/ 8689 h 10610"/>
                <a:gd name="connsiteX25" fmla="*/ 6997 w 10117"/>
                <a:gd name="connsiteY25" fmla="*/ 8544 h 10610"/>
                <a:gd name="connsiteX26" fmla="*/ 7173 w 10117"/>
                <a:gd name="connsiteY26" fmla="*/ 8396 h 10610"/>
                <a:gd name="connsiteX27" fmla="*/ 7349 w 10117"/>
                <a:gd name="connsiteY27" fmla="*/ 8248 h 10610"/>
                <a:gd name="connsiteX28" fmla="*/ 7518 w 10117"/>
                <a:gd name="connsiteY28" fmla="*/ 8097 h 10610"/>
                <a:gd name="connsiteX29" fmla="*/ 7686 w 10117"/>
                <a:gd name="connsiteY29" fmla="*/ 7940 h 10610"/>
                <a:gd name="connsiteX30" fmla="*/ 7842 w 10117"/>
                <a:gd name="connsiteY30" fmla="*/ 7782 h 10610"/>
                <a:gd name="connsiteX31" fmla="*/ 7995 w 10117"/>
                <a:gd name="connsiteY31" fmla="*/ 7623 h 10610"/>
                <a:gd name="connsiteX32" fmla="*/ 8150 w 10117"/>
                <a:gd name="connsiteY32" fmla="*/ 7463 h 10610"/>
                <a:gd name="connsiteX33" fmla="*/ 8293 w 10117"/>
                <a:gd name="connsiteY33" fmla="*/ 7296 h 10610"/>
                <a:gd name="connsiteX34" fmla="*/ 8433 w 10117"/>
                <a:gd name="connsiteY34" fmla="*/ 7132 h 10610"/>
                <a:gd name="connsiteX35" fmla="*/ 8569 w 10117"/>
                <a:gd name="connsiteY35" fmla="*/ 6962 h 10610"/>
                <a:gd name="connsiteX36" fmla="*/ 8695 w 10117"/>
                <a:gd name="connsiteY36" fmla="*/ 6788 h 10610"/>
                <a:gd name="connsiteX37" fmla="*/ 8819 w 10117"/>
                <a:gd name="connsiteY37" fmla="*/ 6614 h 10610"/>
                <a:gd name="connsiteX38" fmla="*/ 8945 w 10117"/>
                <a:gd name="connsiteY38" fmla="*/ 6440 h 10610"/>
                <a:gd name="connsiteX39" fmla="*/ 9063 w 10117"/>
                <a:gd name="connsiteY39" fmla="*/ 6262 h 10610"/>
                <a:gd name="connsiteX40" fmla="*/ 9167 w 10117"/>
                <a:gd name="connsiteY40" fmla="*/ 6084 h 10610"/>
                <a:gd name="connsiteX41" fmla="*/ 9274 w 10117"/>
                <a:gd name="connsiteY41" fmla="*/ 5902 h 10610"/>
                <a:gd name="connsiteX42" fmla="*/ 9369 w 10117"/>
                <a:gd name="connsiteY42" fmla="*/ 5716 h 10610"/>
                <a:gd name="connsiteX43" fmla="*/ 9465 w 10117"/>
                <a:gd name="connsiteY43" fmla="*/ 5533 h 10610"/>
                <a:gd name="connsiteX44" fmla="*/ 9549 w 10117"/>
                <a:gd name="connsiteY44" fmla="*/ 5344 h 10610"/>
                <a:gd name="connsiteX45" fmla="*/ 9630 w 10117"/>
                <a:gd name="connsiteY45" fmla="*/ 5153 h 10610"/>
                <a:gd name="connsiteX46" fmla="*/ 9704 w 10117"/>
                <a:gd name="connsiteY46" fmla="*/ 4961 h 10610"/>
                <a:gd name="connsiteX47" fmla="*/ 9777 w 10117"/>
                <a:gd name="connsiteY47" fmla="*/ 4771 h 10610"/>
                <a:gd name="connsiteX48" fmla="*/ 9839 w 10117"/>
                <a:gd name="connsiteY48" fmla="*/ 4578 h 10610"/>
                <a:gd name="connsiteX49" fmla="*/ 9898 w 10117"/>
                <a:gd name="connsiteY49" fmla="*/ 4381 h 10610"/>
                <a:gd name="connsiteX50" fmla="*/ 9635 w 10117"/>
                <a:gd name="connsiteY50" fmla="*/ 0 h 10610"/>
                <a:gd name="connsiteX51" fmla="*/ 6408 w 10117"/>
                <a:gd name="connsiteY51" fmla="*/ 1883 h 10610"/>
                <a:gd name="connsiteX52" fmla="*/ 2450 w 10117"/>
                <a:gd name="connsiteY52" fmla="*/ 1500 h 10610"/>
                <a:gd name="connsiteX0" fmla="*/ 2450 w 10117"/>
                <a:gd name="connsiteY0" fmla="*/ 1500 h 10610"/>
                <a:gd name="connsiteX1" fmla="*/ 393 w 10117"/>
                <a:gd name="connsiteY1" fmla="*/ 5681 h 10610"/>
                <a:gd name="connsiteX2" fmla="*/ 295 w 10117"/>
                <a:gd name="connsiteY2" fmla="*/ 5725 h 10610"/>
                <a:gd name="connsiteX3" fmla="*/ 198 w 10117"/>
                <a:gd name="connsiteY3" fmla="*/ 5773 h 10610"/>
                <a:gd name="connsiteX4" fmla="*/ 103 w 10117"/>
                <a:gd name="connsiteY4" fmla="*/ 5816 h 10610"/>
                <a:gd name="connsiteX5" fmla="*/ 0 w 10117"/>
                <a:gd name="connsiteY5" fmla="*/ 5857 h 10610"/>
                <a:gd name="connsiteX6" fmla="*/ 210 w 10117"/>
                <a:gd name="connsiteY6" fmla="*/ 8550 h 10610"/>
                <a:gd name="connsiteX7" fmla="*/ 3301 w 10117"/>
                <a:gd name="connsiteY7" fmla="*/ 10610 h 10610"/>
                <a:gd name="connsiteX8" fmla="*/ 3606 w 10117"/>
                <a:gd name="connsiteY8" fmla="*/ 10485 h 10610"/>
                <a:gd name="connsiteX9" fmla="*/ 3848 w 10117"/>
                <a:gd name="connsiteY9" fmla="*/ 10386 h 10610"/>
                <a:gd name="connsiteX10" fmla="*/ 4084 w 10117"/>
                <a:gd name="connsiteY10" fmla="*/ 10287 h 10610"/>
                <a:gd name="connsiteX11" fmla="*/ 4317 w 10117"/>
                <a:gd name="connsiteY11" fmla="*/ 10183 h 10610"/>
                <a:gd name="connsiteX12" fmla="*/ 4549 w 10117"/>
                <a:gd name="connsiteY12" fmla="*/ 10074 h 10610"/>
                <a:gd name="connsiteX13" fmla="*/ 4767 w 10117"/>
                <a:gd name="connsiteY13" fmla="*/ 9967 h 10610"/>
                <a:gd name="connsiteX14" fmla="*/ 4988 w 10117"/>
                <a:gd name="connsiteY14" fmla="*/ 9849 h 10610"/>
                <a:gd name="connsiteX15" fmla="*/ 5209 w 10117"/>
                <a:gd name="connsiteY15" fmla="*/ 9736 h 10610"/>
                <a:gd name="connsiteX16" fmla="*/ 5419 w 10117"/>
                <a:gd name="connsiteY16" fmla="*/ 9615 h 10610"/>
                <a:gd name="connsiteX17" fmla="*/ 5635 w 10117"/>
                <a:gd name="connsiteY17" fmla="*/ 9491 h 10610"/>
                <a:gd name="connsiteX18" fmla="*/ 5839 w 10117"/>
                <a:gd name="connsiteY18" fmla="*/ 9362 h 10610"/>
                <a:gd name="connsiteX19" fmla="*/ 6043 w 10117"/>
                <a:gd name="connsiteY19" fmla="*/ 9235 h 10610"/>
                <a:gd name="connsiteX20" fmla="*/ 6239 w 10117"/>
                <a:gd name="connsiteY20" fmla="*/ 9105 h 10610"/>
                <a:gd name="connsiteX21" fmla="*/ 6438 w 10117"/>
                <a:gd name="connsiteY21" fmla="*/ 8967 h 10610"/>
                <a:gd name="connsiteX22" fmla="*/ 6629 w 10117"/>
                <a:gd name="connsiteY22" fmla="*/ 8825 h 10610"/>
                <a:gd name="connsiteX23" fmla="*/ 6814 w 10117"/>
                <a:gd name="connsiteY23" fmla="*/ 8689 h 10610"/>
                <a:gd name="connsiteX24" fmla="*/ 6997 w 10117"/>
                <a:gd name="connsiteY24" fmla="*/ 8544 h 10610"/>
                <a:gd name="connsiteX25" fmla="*/ 7173 w 10117"/>
                <a:gd name="connsiteY25" fmla="*/ 8396 h 10610"/>
                <a:gd name="connsiteX26" fmla="*/ 7349 w 10117"/>
                <a:gd name="connsiteY26" fmla="*/ 8248 h 10610"/>
                <a:gd name="connsiteX27" fmla="*/ 7518 w 10117"/>
                <a:gd name="connsiteY27" fmla="*/ 8097 h 10610"/>
                <a:gd name="connsiteX28" fmla="*/ 7686 w 10117"/>
                <a:gd name="connsiteY28" fmla="*/ 7940 h 10610"/>
                <a:gd name="connsiteX29" fmla="*/ 7842 w 10117"/>
                <a:gd name="connsiteY29" fmla="*/ 7782 h 10610"/>
                <a:gd name="connsiteX30" fmla="*/ 7995 w 10117"/>
                <a:gd name="connsiteY30" fmla="*/ 7623 h 10610"/>
                <a:gd name="connsiteX31" fmla="*/ 8150 w 10117"/>
                <a:gd name="connsiteY31" fmla="*/ 7463 h 10610"/>
                <a:gd name="connsiteX32" fmla="*/ 8293 w 10117"/>
                <a:gd name="connsiteY32" fmla="*/ 7296 h 10610"/>
                <a:gd name="connsiteX33" fmla="*/ 8433 w 10117"/>
                <a:gd name="connsiteY33" fmla="*/ 7132 h 10610"/>
                <a:gd name="connsiteX34" fmla="*/ 8569 w 10117"/>
                <a:gd name="connsiteY34" fmla="*/ 6962 h 10610"/>
                <a:gd name="connsiteX35" fmla="*/ 8695 w 10117"/>
                <a:gd name="connsiteY35" fmla="*/ 6788 h 10610"/>
                <a:gd name="connsiteX36" fmla="*/ 8819 w 10117"/>
                <a:gd name="connsiteY36" fmla="*/ 6614 h 10610"/>
                <a:gd name="connsiteX37" fmla="*/ 8945 w 10117"/>
                <a:gd name="connsiteY37" fmla="*/ 6440 h 10610"/>
                <a:gd name="connsiteX38" fmla="*/ 9063 w 10117"/>
                <a:gd name="connsiteY38" fmla="*/ 6262 h 10610"/>
                <a:gd name="connsiteX39" fmla="*/ 9167 w 10117"/>
                <a:gd name="connsiteY39" fmla="*/ 6084 h 10610"/>
                <a:gd name="connsiteX40" fmla="*/ 9274 w 10117"/>
                <a:gd name="connsiteY40" fmla="*/ 5902 h 10610"/>
                <a:gd name="connsiteX41" fmla="*/ 9369 w 10117"/>
                <a:gd name="connsiteY41" fmla="*/ 5716 h 10610"/>
                <a:gd name="connsiteX42" fmla="*/ 9465 w 10117"/>
                <a:gd name="connsiteY42" fmla="*/ 5533 h 10610"/>
                <a:gd name="connsiteX43" fmla="*/ 9549 w 10117"/>
                <a:gd name="connsiteY43" fmla="*/ 5344 h 10610"/>
                <a:gd name="connsiteX44" fmla="*/ 9630 w 10117"/>
                <a:gd name="connsiteY44" fmla="*/ 5153 h 10610"/>
                <a:gd name="connsiteX45" fmla="*/ 9704 w 10117"/>
                <a:gd name="connsiteY45" fmla="*/ 4961 h 10610"/>
                <a:gd name="connsiteX46" fmla="*/ 9777 w 10117"/>
                <a:gd name="connsiteY46" fmla="*/ 4771 h 10610"/>
                <a:gd name="connsiteX47" fmla="*/ 9839 w 10117"/>
                <a:gd name="connsiteY47" fmla="*/ 4578 h 10610"/>
                <a:gd name="connsiteX48" fmla="*/ 9898 w 10117"/>
                <a:gd name="connsiteY48" fmla="*/ 4381 h 10610"/>
                <a:gd name="connsiteX49" fmla="*/ 9635 w 10117"/>
                <a:gd name="connsiteY49" fmla="*/ 0 h 10610"/>
                <a:gd name="connsiteX50" fmla="*/ 6408 w 10117"/>
                <a:gd name="connsiteY50" fmla="*/ 1883 h 10610"/>
                <a:gd name="connsiteX51" fmla="*/ 2450 w 10117"/>
                <a:gd name="connsiteY51" fmla="*/ 1500 h 10610"/>
                <a:gd name="connsiteX0" fmla="*/ 2450 w 10117"/>
                <a:gd name="connsiteY0" fmla="*/ 1500 h 10610"/>
                <a:gd name="connsiteX1" fmla="*/ 295 w 10117"/>
                <a:gd name="connsiteY1" fmla="*/ 5725 h 10610"/>
                <a:gd name="connsiteX2" fmla="*/ 198 w 10117"/>
                <a:gd name="connsiteY2" fmla="*/ 5773 h 10610"/>
                <a:gd name="connsiteX3" fmla="*/ 103 w 10117"/>
                <a:gd name="connsiteY3" fmla="*/ 5816 h 10610"/>
                <a:gd name="connsiteX4" fmla="*/ 0 w 10117"/>
                <a:gd name="connsiteY4" fmla="*/ 5857 h 10610"/>
                <a:gd name="connsiteX5" fmla="*/ 210 w 10117"/>
                <a:gd name="connsiteY5" fmla="*/ 8550 h 10610"/>
                <a:gd name="connsiteX6" fmla="*/ 3301 w 10117"/>
                <a:gd name="connsiteY6" fmla="*/ 10610 h 10610"/>
                <a:gd name="connsiteX7" fmla="*/ 3606 w 10117"/>
                <a:gd name="connsiteY7" fmla="*/ 10485 h 10610"/>
                <a:gd name="connsiteX8" fmla="*/ 3848 w 10117"/>
                <a:gd name="connsiteY8" fmla="*/ 10386 h 10610"/>
                <a:gd name="connsiteX9" fmla="*/ 4084 w 10117"/>
                <a:gd name="connsiteY9" fmla="*/ 10287 h 10610"/>
                <a:gd name="connsiteX10" fmla="*/ 4317 w 10117"/>
                <a:gd name="connsiteY10" fmla="*/ 10183 h 10610"/>
                <a:gd name="connsiteX11" fmla="*/ 4549 w 10117"/>
                <a:gd name="connsiteY11" fmla="*/ 10074 h 10610"/>
                <a:gd name="connsiteX12" fmla="*/ 4767 w 10117"/>
                <a:gd name="connsiteY12" fmla="*/ 9967 h 10610"/>
                <a:gd name="connsiteX13" fmla="*/ 4988 w 10117"/>
                <a:gd name="connsiteY13" fmla="*/ 9849 h 10610"/>
                <a:gd name="connsiteX14" fmla="*/ 5209 w 10117"/>
                <a:gd name="connsiteY14" fmla="*/ 9736 h 10610"/>
                <a:gd name="connsiteX15" fmla="*/ 5419 w 10117"/>
                <a:gd name="connsiteY15" fmla="*/ 9615 h 10610"/>
                <a:gd name="connsiteX16" fmla="*/ 5635 w 10117"/>
                <a:gd name="connsiteY16" fmla="*/ 9491 h 10610"/>
                <a:gd name="connsiteX17" fmla="*/ 5839 w 10117"/>
                <a:gd name="connsiteY17" fmla="*/ 9362 h 10610"/>
                <a:gd name="connsiteX18" fmla="*/ 6043 w 10117"/>
                <a:gd name="connsiteY18" fmla="*/ 9235 h 10610"/>
                <a:gd name="connsiteX19" fmla="*/ 6239 w 10117"/>
                <a:gd name="connsiteY19" fmla="*/ 9105 h 10610"/>
                <a:gd name="connsiteX20" fmla="*/ 6438 w 10117"/>
                <a:gd name="connsiteY20" fmla="*/ 8967 h 10610"/>
                <a:gd name="connsiteX21" fmla="*/ 6629 w 10117"/>
                <a:gd name="connsiteY21" fmla="*/ 8825 h 10610"/>
                <a:gd name="connsiteX22" fmla="*/ 6814 w 10117"/>
                <a:gd name="connsiteY22" fmla="*/ 8689 h 10610"/>
                <a:gd name="connsiteX23" fmla="*/ 6997 w 10117"/>
                <a:gd name="connsiteY23" fmla="*/ 8544 h 10610"/>
                <a:gd name="connsiteX24" fmla="*/ 7173 w 10117"/>
                <a:gd name="connsiteY24" fmla="*/ 8396 h 10610"/>
                <a:gd name="connsiteX25" fmla="*/ 7349 w 10117"/>
                <a:gd name="connsiteY25" fmla="*/ 8248 h 10610"/>
                <a:gd name="connsiteX26" fmla="*/ 7518 w 10117"/>
                <a:gd name="connsiteY26" fmla="*/ 8097 h 10610"/>
                <a:gd name="connsiteX27" fmla="*/ 7686 w 10117"/>
                <a:gd name="connsiteY27" fmla="*/ 7940 h 10610"/>
                <a:gd name="connsiteX28" fmla="*/ 7842 w 10117"/>
                <a:gd name="connsiteY28" fmla="*/ 7782 h 10610"/>
                <a:gd name="connsiteX29" fmla="*/ 7995 w 10117"/>
                <a:gd name="connsiteY29" fmla="*/ 7623 h 10610"/>
                <a:gd name="connsiteX30" fmla="*/ 8150 w 10117"/>
                <a:gd name="connsiteY30" fmla="*/ 7463 h 10610"/>
                <a:gd name="connsiteX31" fmla="*/ 8293 w 10117"/>
                <a:gd name="connsiteY31" fmla="*/ 7296 h 10610"/>
                <a:gd name="connsiteX32" fmla="*/ 8433 w 10117"/>
                <a:gd name="connsiteY32" fmla="*/ 7132 h 10610"/>
                <a:gd name="connsiteX33" fmla="*/ 8569 w 10117"/>
                <a:gd name="connsiteY33" fmla="*/ 6962 h 10610"/>
                <a:gd name="connsiteX34" fmla="*/ 8695 w 10117"/>
                <a:gd name="connsiteY34" fmla="*/ 6788 h 10610"/>
                <a:gd name="connsiteX35" fmla="*/ 8819 w 10117"/>
                <a:gd name="connsiteY35" fmla="*/ 6614 h 10610"/>
                <a:gd name="connsiteX36" fmla="*/ 8945 w 10117"/>
                <a:gd name="connsiteY36" fmla="*/ 6440 h 10610"/>
                <a:gd name="connsiteX37" fmla="*/ 9063 w 10117"/>
                <a:gd name="connsiteY37" fmla="*/ 6262 h 10610"/>
                <a:gd name="connsiteX38" fmla="*/ 9167 w 10117"/>
                <a:gd name="connsiteY38" fmla="*/ 6084 h 10610"/>
                <a:gd name="connsiteX39" fmla="*/ 9274 w 10117"/>
                <a:gd name="connsiteY39" fmla="*/ 5902 h 10610"/>
                <a:gd name="connsiteX40" fmla="*/ 9369 w 10117"/>
                <a:gd name="connsiteY40" fmla="*/ 5716 h 10610"/>
                <a:gd name="connsiteX41" fmla="*/ 9465 w 10117"/>
                <a:gd name="connsiteY41" fmla="*/ 5533 h 10610"/>
                <a:gd name="connsiteX42" fmla="*/ 9549 w 10117"/>
                <a:gd name="connsiteY42" fmla="*/ 5344 h 10610"/>
                <a:gd name="connsiteX43" fmla="*/ 9630 w 10117"/>
                <a:gd name="connsiteY43" fmla="*/ 5153 h 10610"/>
                <a:gd name="connsiteX44" fmla="*/ 9704 w 10117"/>
                <a:gd name="connsiteY44" fmla="*/ 4961 h 10610"/>
                <a:gd name="connsiteX45" fmla="*/ 9777 w 10117"/>
                <a:gd name="connsiteY45" fmla="*/ 4771 h 10610"/>
                <a:gd name="connsiteX46" fmla="*/ 9839 w 10117"/>
                <a:gd name="connsiteY46" fmla="*/ 4578 h 10610"/>
                <a:gd name="connsiteX47" fmla="*/ 9898 w 10117"/>
                <a:gd name="connsiteY47" fmla="*/ 4381 h 10610"/>
                <a:gd name="connsiteX48" fmla="*/ 9635 w 10117"/>
                <a:gd name="connsiteY48" fmla="*/ 0 h 10610"/>
                <a:gd name="connsiteX49" fmla="*/ 6408 w 10117"/>
                <a:gd name="connsiteY49" fmla="*/ 1883 h 10610"/>
                <a:gd name="connsiteX50" fmla="*/ 2450 w 10117"/>
                <a:gd name="connsiteY50" fmla="*/ 1500 h 10610"/>
                <a:gd name="connsiteX0" fmla="*/ 2450 w 10117"/>
                <a:gd name="connsiteY0" fmla="*/ 1500 h 10610"/>
                <a:gd name="connsiteX1" fmla="*/ 297 w 10117"/>
                <a:gd name="connsiteY1" fmla="*/ 5689 h 10610"/>
                <a:gd name="connsiteX2" fmla="*/ 295 w 10117"/>
                <a:gd name="connsiteY2" fmla="*/ 5725 h 10610"/>
                <a:gd name="connsiteX3" fmla="*/ 198 w 10117"/>
                <a:gd name="connsiteY3" fmla="*/ 5773 h 10610"/>
                <a:gd name="connsiteX4" fmla="*/ 103 w 10117"/>
                <a:gd name="connsiteY4" fmla="*/ 5816 h 10610"/>
                <a:gd name="connsiteX5" fmla="*/ 0 w 10117"/>
                <a:gd name="connsiteY5" fmla="*/ 5857 h 10610"/>
                <a:gd name="connsiteX6" fmla="*/ 210 w 10117"/>
                <a:gd name="connsiteY6" fmla="*/ 8550 h 10610"/>
                <a:gd name="connsiteX7" fmla="*/ 3301 w 10117"/>
                <a:gd name="connsiteY7" fmla="*/ 10610 h 10610"/>
                <a:gd name="connsiteX8" fmla="*/ 3606 w 10117"/>
                <a:gd name="connsiteY8" fmla="*/ 10485 h 10610"/>
                <a:gd name="connsiteX9" fmla="*/ 3848 w 10117"/>
                <a:gd name="connsiteY9" fmla="*/ 10386 h 10610"/>
                <a:gd name="connsiteX10" fmla="*/ 4084 w 10117"/>
                <a:gd name="connsiteY10" fmla="*/ 10287 h 10610"/>
                <a:gd name="connsiteX11" fmla="*/ 4317 w 10117"/>
                <a:gd name="connsiteY11" fmla="*/ 10183 h 10610"/>
                <a:gd name="connsiteX12" fmla="*/ 4549 w 10117"/>
                <a:gd name="connsiteY12" fmla="*/ 10074 h 10610"/>
                <a:gd name="connsiteX13" fmla="*/ 4767 w 10117"/>
                <a:gd name="connsiteY13" fmla="*/ 9967 h 10610"/>
                <a:gd name="connsiteX14" fmla="*/ 4988 w 10117"/>
                <a:gd name="connsiteY14" fmla="*/ 9849 h 10610"/>
                <a:gd name="connsiteX15" fmla="*/ 5209 w 10117"/>
                <a:gd name="connsiteY15" fmla="*/ 9736 h 10610"/>
                <a:gd name="connsiteX16" fmla="*/ 5419 w 10117"/>
                <a:gd name="connsiteY16" fmla="*/ 9615 h 10610"/>
                <a:gd name="connsiteX17" fmla="*/ 5635 w 10117"/>
                <a:gd name="connsiteY17" fmla="*/ 9491 h 10610"/>
                <a:gd name="connsiteX18" fmla="*/ 5839 w 10117"/>
                <a:gd name="connsiteY18" fmla="*/ 9362 h 10610"/>
                <a:gd name="connsiteX19" fmla="*/ 6043 w 10117"/>
                <a:gd name="connsiteY19" fmla="*/ 9235 h 10610"/>
                <a:gd name="connsiteX20" fmla="*/ 6239 w 10117"/>
                <a:gd name="connsiteY20" fmla="*/ 9105 h 10610"/>
                <a:gd name="connsiteX21" fmla="*/ 6438 w 10117"/>
                <a:gd name="connsiteY21" fmla="*/ 8967 h 10610"/>
                <a:gd name="connsiteX22" fmla="*/ 6629 w 10117"/>
                <a:gd name="connsiteY22" fmla="*/ 8825 h 10610"/>
                <a:gd name="connsiteX23" fmla="*/ 6814 w 10117"/>
                <a:gd name="connsiteY23" fmla="*/ 8689 h 10610"/>
                <a:gd name="connsiteX24" fmla="*/ 6997 w 10117"/>
                <a:gd name="connsiteY24" fmla="*/ 8544 h 10610"/>
                <a:gd name="connsiteX25" fmla="*/ 7173 w 10117"/>
                <a:gd name="connsiteY25" fmla="*/ 8396 h 10610"/>
                <a:gd name="connsiteX26" fmla="*/ 7349 w 10117"/>
                <a:gd name="connsiteY26" fmla="*/ 8248 h 10610"/>
                <a:gd name="connsiteX27" fmla="*/ 7518 w 10117"/>
                <a:gd name="connsiteY27" fmla="*/ 8097 h 10610"/>
                <a:gd name="connsiteX28" fmla="*/ 7686 w 10117"/>
                <a:gd name="connsiteY28" fmla="*/ 7940 h 10610"/>
                <a:gd name="connsiteX29" fmla="*/ 7842 w 10117"/>
                <a:gd name="connsiteY29" fmla="*/ 7782 h 10610"/>
                <a:gd name="connsiteX30" fmla="*/ 7995 w 10117"/>
                <a:gd name="connsiteY30" fmla="*/ 7623 h 10610"/>
                <a:gd name="connsiteX31" fmla="*/ 8150 w 10117"/>
                <a:gd name="connsiteY31" fmla="*/ 7463 h 10610"/>
                <a:gd name="connsiteX32" fmla="*/ 8293 w 10117"/>
                <a:gd name="connsiteY32" fmla="*/ 7296 h 10610"/>
                <a:gd name="connsiteX33" fmla="*/ 8433 w 10117"/>
                <a:gd name="connsiteY33" fmla="*/ 7132 h 10610"/>
                <a:gd name="connsiteX34" fmla="*/ 8569 w 10117"/>
                <a:gd name="connsiteY34" fmla="*/ 6962 h 10610"/>
                <a:gd name="connsiteX35" fmla="*/ 8695 w 10117"/>
                <a:gd name="connsiteY35" fmla="*/ 6788 h 10610"/>
                <a:gd name="connsiteX36" fmla="*/ 8819 w 10117"/>
                <a:gd name="connsiteY36" fmla="*/ 6614 h 10610"/>
                <a:gd name="connsiteX37" fmla="*/ 8945 w 10117"/>
                <a:gd name="connsiteY37" fmla="*/ 6440 h 10610"/>
                <a:gd name="connsiteX38" fmla="*/ 9063 w 10117"/>
                <a:gd name="connsiteY38" fmla="*/ 6262 h 10610"/>
                <a:gd name="connsiteX39" fmla="*/ 9167 w 10117"/>
                <a:gd name="connsiteY39" fmla="*/ 6084 h 10610"/>
                <a:gd name="connsiteX40" fmla="*/ 9274 w 10117"/>
                <a:gd name="connsiteY40" fmla="*/ 5902 h 10610"/>
                <a:gd name="connsiteX41" fmla="*/ 9369 w 10117"/>
                <a:gd name="connsiteY41" fmla="*/ 5716 h 10610"/>
                <a:gd name="connsiteX42" fmla="*/ 9465 w 10117"/>
                <a:gd name="connsiteY42" fmla="*/ 5533 h 10610"/>
                <a:gd name="connsiteX43" fmla="*/ 9549 w 10117"/>
                <a:gd name="connsiteY43" fmla="*/ 5344 h 10610"/>
                <a:gd name="connsiteX44" fmla="*/ 9630 w 10117"/>
                <a:gd name="connsiteY44" fmla="*/ 5153 h 10610"/>
                <a:gd name="connsiteX45" fmla="*/ 9704 w 10117"/>
                <a:gd name="connsiteY45" fmla="*/ 4961 h 10610"/>
                <a:gd name="connsiteX46" fmla="*/ 9777 w 10117"/>
                <a:gd name="connsiteY46" fmla="*/ 4771 h 10610"/>
                <a:gd name="connsiteX47" fmla="*/ 9839 w 10117"/>
                <a:gd name="connsiteY47" fmla="*/ 4578 h 10610"/>
                <a:gd name="connsiteX48" fmla="*/ 9898 w 10117"/>
                <a:gd name="connsiteY48" fmla="*/ 4381 h 10610"/>
                <a:gd name="connsiteX49" fmla="*/ 9635 w 10117"/>
                <a:gd name="connsiteY49" fmla="*/ 0 h 10610"/>
                <a:gd name="connsiteX50" fmla="*/ 6408 w 10117"/>
                <a:gd name="connsiteY50" fmla="*/ 1883 h 10610"/>
                <a:gd name="connsiteX51" fmla="*/ 2450 w 10117"/>
                <a:gd name="connsiteY51" fmla="*/ 1500 h 10610"/>
                <a:gd name="connsiteX0" fmla="*/ 2450 w 10117"/>
                <a:gd name="connsiteY0" fmla="*/ 1500 h 10610"/>
                <a:gd name="connsiteX1" fmla="*/ 297 w 10117"/>
                <a:gd name="connsiteY1" fmla="*/ 5689 h 10610"/>
                <a:gd name="connsiteX2" fmla="*/ 295 w 10117"/>
                <a:gd name="connsiteY2" fmla="*/ 5725 h 10610"/>
                <a:gd name="connsiteX3" fmla="*/ 103 w 10117"/>
                <a:gd name="connsiteY3" fmla="*/ 5816 h 10610"/>
                <a:gd name="connsiteX4" fmla="*/ 0 w 10117"/>
                <a:gd name="connsiteY4" fmla="*/ 5857 h 10610"/>
                <a:gd name="connsiteX5" fmla="*/ 210 w 10117"/>
                <a:gd name="connsiteY5" fmla="*/ 8550 h 10610"/>
                <a:gd name="connsiteX6" fmla="*/ 3301 w 10117"/>
                <a:gd name="connsiteY6" fmla="*/ 10610 h 10610"/>
                <a:gd name="connsiteX7" fmla="*/ 3606 w 10117"/>
                <a:gd name="connsiteY7" fmla="*/ 10485 h 10610"/>
                <a:gd name="connsiteX8" fmla="*/ 3848 w 10117"/>
                <a:gd name="connsiteY8" fmla="*/ 10386 h 10610"/>
                <a:gd name="connsiteX9" fmla="*/ 4084 w 10117"/>
                <a:gd name="connsiteY9" fmla="*/ 10287 h 10610"/>
                <a:gd name="connsiteX10" fmla="*/ 4317 w 10117"/>
                <a:gd name="connsiteY10" fmla="*/ 10183 h 10610"/>
                <a:gd name="connsiteX11" fmla="*/ 4549 w 10117"/>
                <a:gd name="connsiteY11" fmla="*/ 10074 h 10610"/>
                <a:gd name="connsiteX12" fmla="*/ 4767 w 10117"/>
                <a:gd name="connsiteY12" fmla="*/ 9967 h 10610"/>
                <a:gd name="connsiteX13" fmla="*/ 4988 w 10117"/>
                <a:gd name="connsiteY13" fmla="*/ 9849 h 10610"/>
                <a:gd name="connsiteX14" fmla="*/ 5209 w 10117"/>
                <a:gd name="connsiteY14" fmla="*/ 9736 h 10610"/>
                <a:gd name="connsiteX15" fmla="*/ 5419 w 10117"/>
                <a:gd name="connsiteY15" fmla="*/ 9615 h 10610"/>
                <a:gd name="connsiteX16" fmla="*/ 5635 w 10117"/>
                <a:gd name="connsiteY16" fmla="*/ 9491 h 10610"/>
                <a:gd name="connsiteX17" fmla="*/ 5839 w 10117"/>
                <a:gd name="connsiteY17" fmla="*/ 9362 h 10610"/>
                <a:gd name="connsiteX18" fmla="*/ 6043 w 10117"/>
                <a:gd name="connsiteY18" fmla="*/ 9235 h 10610"/>
                <a:gd name="connsiteX19" fmla="*/ 6239 w 10117"/>
                <a:gd name="connsiteY19" fmla="*/ 9105 h 10610"/>
                <a:gd name="connsiteX20" fmla="*/ 6438 w 10117"/>
                <a:gd name="connsiteY20" fmla="*/ 8967 h 10610"/>
                <a:gd name="connsiteX21" fmla="*/ 6629 w 10117"/>
                <a:gd name="connsiteY21" fmla="*/ 8825 h 10610"/>
                <a:gd name="connsiteX22" fmla="*/ 6814 w 10117"/>
                <a:gd name="connsiteY22" fmla="*/ 8689 h 10610"/>
                <a:gd name="connsiteX23" fmla="*/ 6997 w 10117"/>
                <a:gd name="connsiteY23" fmla="*/ 8544 h 10610"/>
                <a:gd name="connsiteX24" fmla="*/ 7173 w 10117"/>
                <a:gd name="connsiteY24" fmla="*/ 8396 h 10610"/>
                <a:gd name="connsiteX25" fmla="*/ 7349 w 10117"/>
                <a:gd name="connsiteY25" fmla="*/ 8248 h 10610"/>
                <a:gd name="connsiteX26" fmla="*/ 7518 w 10117"/>
                <a:gd name="connsiteY26" fmla="*/ 8097 h 10610"/>
                <a:gd name="connsiteX27" fmla="*/ 7686 w 10117"/>
                <a:gd name="connsiteY27" fmla="*/ 7940 h 10610"/>
                <a:gd name="connsiteX28" fmla="*/ 7842 w 10117"/>
                <a:gd name="connsiteY28" fmla="*/ 7782 h 10610"/>
                <a:gd name="connsiteX29" fmla="*/ 7995 w 10117"/>
                <a:gd name="connsiteY29" fmla="*/ 7623 h 10610"/>
                <a:gd name="connsiteX30" fmla="*/ 8150 w 10117"/>
                <a:gd name="connsiteY30" fmla="*/ 7463 h 10610"/>
                <a:gd name="connsiteX31" fmla="*/ 8293 w 10117"/>
                <a:gd name="connsiteY31" fmla="*/ 7296 h 10610"/>
                <a:gd name="connsiteX32" fmla="*/ 8433 w 10117"/>
                <a:gd name="connsiteY32" fmla="*/ 7132 h 10610"/>
                <a:gd name="connsiteX33" fmla="*/ 8569 w 10117"/>
                <a:gd name="connsiteY33" fmla="*/ 6962 h 10610"/>
                <a:gd name="connsiteX34" fmla="*/ 8695 w 10117"/>
                <a:gd name="connsiteY34" fmla="*/ 6788 h 10610"/>
                <a:gd name="connsiteX35" fmla="*/ 8819 w 10117"/>
                <a:gd name="connsiteY35" fmla="*/ 6614 h 10610"/>
                <a:gd name="connsiteX36" fmla="*/ 8945 w 10117"/>
                <a:gd name="connsiteY36" fmla="*/ 6440 h 10610"/>
                <a:gd name="connsiteX37" fmla="*/ 9063 w 10117"/>
                <a:gd name="connsiteY37" fmla="*/ 6262 h 10610"/>
                <a:gd name="connsiteX38" fmla="*/ 9167 w 10117"/>
                <a:gd name="connsiteY38" fmla="*/ 6084 h 10610"/>
                <a:gd name="connsiteX39" fmla="*/ 9274 w 10117"/>
                <a:gd name="connsiteY39" fmla="*/ 5902 h 10610"/>
                <a:gd name="connsiteX40" fmla="*/ 9369 w 10117"/>
                <a:gd name="connsiteY40" fmla="*/ 5716 h 10610"/>
                <a:gd name="connsiteX41" fmla="*/ 9465 w 10117"/>
                <a:gd name="connsiteY41" fmla="*/ 5533 h 10610"/>
                <a:gd name="connsiteX42" fmla="*/ 9549 w 10117"/>
                <a:gd name="connsiteY42" fmla="*/ 5344 h 10610"/>
                <a:gd name="connsiteX43" fmla="*/ 9630 w 10117"/>
                <a:gd name="connsiteY43" fmla="*/ 5153 h 10610"/>
                <a:gd name="connsiteX44" fmla="*/ 9704 w 10117"/>
                <a:gd name="connsiteY44" fmla="*/ 4961 h 10610"/>
                <a:gd name="connsiteX45" fmla="*/ 9777 w 10117"/>
                <a:gd name="connsiteY45" fmla="*/ 4771 h 10610"/>
                <a:gd name="connsiteX46" fmla="*/ 9839 w 10117"/>
                <a:gd name="connsiteY46" fmla="*/ 4578 h 10610"/>
                <a:gd name="connsiteX47" fmla="*/ 9898 w 10117"/>
                <a:gd name="connsiteY47" fmla="*/ 4381 h 10610"/>
                <a:gd name="connsiteX48" fmla="*/ 9635 w 10117"/>
                <a:gd name="connsiteY48" fmla="*/ 0 h 10610"/>
                <a:gd name="connsiteX49" fmla="*/ 6408 w 10117"/>
                <a:gd name="connsiteY49" fmla="*/ 1883 h 10610"/>
                <a:gd name="connsiteX50" fmla="*/ 2450 w 10117"/>
                <a:gd name="connsiteY50" fmla="*/ 1500 h 10610"/>
                <a:gd name="connsiteX0" fmla="*/ 2450 w 10117"/>
                <a:gd name="connsiteY0" fmla="*/ 1500 h 10610"/>
                <a:gd name="connsiteX1" fmla="*/ 297 w 10117"/>
                <a:gd name="connsiteY1" fmla="*/ 5689 h 10610"/>
                <a:gd name="connsiteX2" fmla="*/ 103 w 10117"/>
                <a:gd name="connsiteY2" fmla="*/ 5816 h 10610"/>
                <a:gd name="connsiteX3" fmla="*/ 0 w 10117"/>
                <a:gd name="connsiteY3" fmla="*/ 5857 h 10610"/>
                <a:gd name="connsiteX4" fmla="*/ 210 w 10117"/>
                <a:gd name="connsiteY4" fmla="*/ 8550 h 10610"/>
                <a:gd name="connsiteX5" fmla="*/ 3301 w 10117"/>
                <a:gd name="connsiteY5" fmla="*/ 10610 h 10610"/>
                <a:gd name="connsiteX6" fmla="*/ 3606 w 10117"/>
                <a:gd name="connsiteY6" fmla="*/ 10485 h 10610"/>
                <a:gd name="connsiteX7" fmla="*/ 3848 w 10117"/>
                <a:gd name="connsiteY7" fmla="*/ 10386 h 10610"/>
                <a:gd name="connsiteX8" fmla="*/ 4084 w 10117"/>
                <a:gd name="connsiteY8" fmla="*/ 10287 h 10610"/>
                <a:gd name="connsiteX9" fmla="*/ 4317 w 10117"/>
                <a:gd name="connsiteY9" fmla="*/ 10183 h 10610"/>
                <a:gd name="connsiteX10" fmla="*/ 4549 w 10117"/>
                <a:gd name="connsiteY10" fmla="*/ 10074 h 10610"/>
                <a:gd name="connsiteX11" fmla="*/ 4767 w 10117"/>
                <a:gd name="connsiteY11" fmla="*/ 9967 h 10610"/>
                <a:gd name="connsiteX12" fmla="*/ 4988 w 10117"/>
                <a:gd name="connsiteY12" fmla="*/ 9849 h 10610"/>
                <a:gd name="connsiteX13" fmla="*/ 5209 w 10117"/>
                <a:gd name="connsiteY13" fmla="*/ 9736 h 10610"/>
                <a:gd name="connsiteX14" fmla="*/ 5419 w 10117"/>
                <a:gd name="connsiteY14" fmla="*/ 9615 h 10610"/>
                <a:gd name="connsiteX15" fmla="*/ 5635 w 10117"/>
                <a:gd name="connsiteY15" fmla="*/ 9491 h 10610"/>
                <a:gd name="connsiteX16" fmla="*/ 5839 w 10117"/>
                <a:gd name="connsiteY16" fmla="*/ 9362 h 10610"/>
                <a:gd name="connsiteX17" fmla="*/ 6043 w 10117"/>
                <a:gd name="connsiteY17" fmla="*/ 9235 h 10610"/>
                <a:gd name="connsiteX18" fmla="*/ 6239 w 10117"/>
                <a:gd name="connsiteY18" fmla="*/ 9105 h 10610"/>
                <a:gd name="connsiteX19" fmla="*/ 6438 w 10117"/>
                <a:gd name="connsiteY19" fmla="*/ 8967 h 10610"/>
                <a:gd name="connsiteX20" fmla="*/ 6629 w 10117"/>
                <a:gd name="connsiteY20" fmla="*/ 8825 h 10610"/>
                <a:gd name="connsiteX21" fmla="*/ 6814 w 10117"/>
                <a:gd name="connsiteY21" fmla="*/ 8689 h 10610"/>
                <a:gd name="connsiteX22" fmla="*/ 6997 w 10117"/>
                <a:gd name="connsiteY22" fmla="*/ 8544 h 10610"/>
                <a:gd name="connsiteX23" fmla="*/ 7173 w 10117"/>
                <a:gd name="connsiteY23" fmla="*/ 8396 h 10610"/>
                <a:gd name="connsiteX24" fmla="*/ 7349 w 10117"/>
                <a:gd name="connsiteY24" fmla="*/ 8248 h 10610"/>
                <a:gd name="connsiteX25" fmla="*/ 7518 w 10117"/>
                <a:gd name="connsiteY25" fmla="*/ 8097 h 10610"/>
                <a:gd name="connsiteX26" fmla="*/ 7686 w 10117"/>
                <a:gd name="connsiteY26" fmla="*/ 7940 h 10610"/>
                <a:gd name="connsiteX27" fmla="*/ 7842 w 10117"/>
                <a:gd name="connsiteY27" fmla="*/ 7782 h 10610"/>
                <a:gd name="connsiteX28" fmla="*/ 7995 w 10117"/>
                <a:gd name="connsiteY28" fmla="*/ 7623 h 10610"/>
                <a:gd name="connsiteX29" fmla="*/ 8150 w 10117"/>
                <a:gd name="connsiteY29" fmla="*/ 7463 h 10610"/>
                <a:gd name="connsiteX30" fmla="*/ 8293 w 10117"/>
                <a:gd name="connsiteY30" fmla="*/ 7296 h 10610"/>
                <a:gd name="connsiteX31" fmla="*/ 8433 w 10117"/>
                <a:gd name="connsiteY31" fmla="*/ 7132 h 10610"/>
                <a:gd name="connsiteX32" fmla="*/ 8569 w 10117"/>
                <a:gd name="connsiteY32" fmla="*/ 6962 h 10610"/>
                <a:gd name="connsiteX33" fmla="*/ 8695 w 10117"/>
                <a:gd name="connsiteY33" fmla="*/ 6788 h 10610"/>
                <a:gd name="connsiteX34" fmla="*/ 8819 w 10117"/>
                <a:gd name="connsiteY34" fmla="*/ 6614 h 10610"/>
                <a:gd name="connsiteX35" fmla="*/ 8945 w 10117"/>
                <a:gd name="connsiteY35" fmla="*/ 6440 h 10610"/>
                <a:gd name="connsiteX36" fmla="*/ 9063 w 10117"/>
                <a:gd name="connsiteY36" fmla="*/ 6262 h 10610"/>
                <a:gd name="connsiteX37" fmla="*/ 9167 w 10117"/>
                <a:gd name="connsiteY37" fmla="*/ 6084 h 10610"/>
                <a:gd name="connsiteX38" fmla="*/ 9274 w 10117"/>
                <a:gd name="connsiteY38" fmla="*/ 5902 h 10610"/>
                <a:gd name="connsiteX39" fmla="*/ 9369 w 10117"/>
                <a:gd name="connsiteY39" fmla="*/ 5716 h 10610"/>
                <a:gd name="connsiteX40" fmla="*/ 9465 w 10117"/>
                <a:gd name="connsiteY40" fmla="*/ 5533 h 10610"/>
                <a:gd name="connsiteX41" fmla="*/ 9549 w 10117"/>
                <a:gd name="connsiteY41" fmla="*/ 5344 h 10610"/>
                <a:gd name="connsiteX42" fmla="*/ 9630 w 10117"/>
                <a:gd name="connsiteY42" fmla="*/ 5153 h 10610"/>
                <a:gd name="connsiteX43" fmla="*/ 9704 w 10117"/>
                <a:gd name="connsiteY43" fmla="*/ 4961 h 10610"/>
                <a:gd name="connsiteX44" fmla="*/ 9777 w 10117"/>
                <a:gd name="connsiteY44" fmla="*/ 4771 h 10610"/>
                <a:gd name="connsiteX45" fmla="*/ 9839 w 10117"/>
                <a:gd name="connsiteY45" fmla="*/ 4578 h 10610"/>
                <a:gd name="connsiteX46" fmla="*/ 9898 w 10117"/>
                <a:gd name="connsiteY46" fmla="*/ 4381 h 10610"/>
                <a:gd name="connsiteX47" fmla="*/ 9635 w 10117"/>
                <a:gd name="connsiteY47" fmla="*/ 0 h 10610"/>
                <a:gd name="connsiteX48" fmla="*/ 6408 w 10117"/>
                <a:gd name="connsiteY48" fmla="*/ 1883 h 10610"/>
                <a:gd name="connsiteX49" fmla="*/ 2450 w 10117"/>
                <a:gd name="connsiteY49" fmla="*/ 1500 h 10610"/>
                <a:gd name="connsiteX0" fmla="*/ 2450 w 10117"/>
                <a:gd name="connsiteY0" fmla="*/ 1500 h 10610"/>
                <a:gd name="connsiteX1" fmla="*/ 103 w 10117"/>
                <a:gd name="connsiteY1" fmla="*/ 5816 h 10610"/>
                <a:gd name="connsiteX2" fmla="*/ 0 w 10117"/>
                <a:gd name="connsiteY2" fmla="*/ 5857 h 10610"/>
                <a:gd name="connsiteX3" fmla="*/ 210 w 10117"/>
                <a:gd name="connsiteY3" fmla="*/ 8550 h 10610"/>
                <a:gd name="connsiteX4" fmla="*/ 3301 w 10117"/>
                <a:gd name="connsiteY4" fmla="*/ 10610 h 10610"/>
                <a:gd name="connsiteX5" fmla="*/ 3606 w 10117"/>
                <a:gd name="connsiteY5" fmla="*/ 10485 h 10610"/>
                <a:gd name="connsiteX6" fmla="*/ 3848 w 10117"/>
                <a:gd name="connsiteY6" fmla="*/ 10386 h 10610"/>
                <a:gd name="connsiteX7" fmla="*/ 4084 w 10117"/>
                <a:gd name="connsiteY7" fmla="*/ 10287 h 10610"/>
                <a:gd name="connsiteX8" fmla="*/ 4317 w 10117"/>
                <a:gd name="connsiteY8" fmla="*/ 10183 h 10610"/>
                <a:gd name="connsiteX9" fmla="*/ 4549 w 10117"/>
                <a:gd name="connsiteY9" fmla="*/ 10074 h 10610"/>
                <a:gd name="connsiteX10" fmla="*/ 4767 w 10117"/>
                <a:gd name="connsiteY10" fmla="*/ 9967 h 10610"/>
                <a:gd name="connsiteX11" fmla="*/ 4988 w 10117"/>
                <a:gd name="connsiteY11" fmla="*/ 9849 h 10610"/>
                <a:gd name="connsiteX12" fmla="*/ 5209 w 10117"/>
                <a:gd name="connsiteY12" fmla="*/ 9736 h 10610"/>
                <a:gd name="connsiteX13" fmla="*/ 5419 w 10117"/>
                <a:gd name="connsiteY13" fmla="*/ 9615 h 10610"/>
                <a:gd name="connsiteX14" fmla="*/ 5635 w 10117"/>
                <a:gd name="connsiteY14" fmla="*/ 9491 h 10610"/>
                <a:gd name="connsiteX15" fmla="*/ 5839 w 10117"/>
                <a:gd name="connsiteY15" fmla="*/ 9362 h 10610"/>
                <a:gd name="connsiteX16" fmla="*/ 6043 w 10117"/>
                <a:gd name="connsiteY16" fmla="*/ 9235 h 10610"/>
                <a:gd name="connsiteX17" fmla="*/ 6239 w 10117"/>
                <a:gd name="connsiteY17" fmla="*/ 9105 h 10610"/>
                <a:gd name="connsiteX18" fmla="*/ 6438 w 10117"/>
                <a:gd name="connsiteY18" fmla="*/ 8967 h 10610"/>
                <a:gd name="connsiteX19" fmla="*/ 6629 w 10117"/>
                <a:gd name="connsiteY19" fmla="*/ 8825 h 10610"/>
                <a:gd name="connsiteX20" fmla="*/ 6814 w 10117"/>
                <a:gd name="connsiteY20" fmla="*/ 8689 h 10610"/>
                <a:gd name="connsiteX21" fmla="*/ 6997 w 10117"/>
                <a:gd name="connsiteY21" fmla="*/ 8544 h 10610"/>
                <a:gd name="connsiteX22" fmla="*/ 7173 w 10117"/>
                <a:gd name="connsiteY22" fmla="*/ 8396 h 10610"/>
                <a:gd name="connsiteX23" fmla="*/ 7349 w 10117"/>
                <a:gd name="connsiteY23" fmla="*/ 8248 h 10610"/>
                <a:gd name="connsiteX24" fmla="*/ 7518 w 10117"/>
                <a:gd name="connsiteY24" fmla="*/ 8097 h 10610"/>
                <a:gd name="connsiteX25" fmla="*/ 7686 w 10117"/>
                <a:gd name="connsiteY25" fmla="*/ 7940 h 10610"/>
                <a:gd name="connsiteX26" fmla="*/ 7842 w 10117"/>
                <a:gd name="connsiteY26" fmla="*/ 7782 h 10610"/>
                <a:gd name="connsiteX27" fmla="*/ 7995 w 10117"/>
                <a:gd name="connsiteY27" fmla="*/ 7623 h 10610"/>
                <a:gd name="connsiteX28" fmla="*/ 8150 w 10117"/>
                <a:gd name="connsiteY28" fmla="*/ 7463 h 10610"/>
                <a:gd name="connsiteX29" fmla="*/ 8293 w 10117"/>
                <a:gd name="connsiteY29" fmla="*/ 7296 h 10610"/>
                <a:gd name="connsiteX30" fmla="*/ 8433 w 10117"/>
                <a:gd name="connsiteY30" fmla="*/ 7132 h 10610"/>
                <a:gd name="connsiteX31" fmla="*/ 8569 w 10117"/>
                <a:gd name="connsiteY31" fmla="*/ 6962 h 10610"/>
                <a:gd name="connsiteX32" fmla="*/ 8695 w 10117"/>
                <a:gd name="connsiteY32" fmla="*/ 6788 h 10610"/>
                <a:gd name="connsiteX33" fmla="*/ 8819 w 10117"/>
                <a:gd name="connsiteY33" fmla="*/ 6614 h 10610"/>
                <a:gd name="connsiteX34" fmla="*/ 8945 w 10117"/>
                <a:gd name="connsiteY34" fmla="*/ 6440 h 10610"/>
                <a:gd name="connsiteX35" fmla="*/ 9063 w 10117"/>
                <a:gd name="connsiteY35" fmla="*/ 6262 h 10610"/>
                <a:gd name="connsiteX36" fmla="*/ 9167 w 10117"/>
                <a:gd name="connsiteY36" fmla="*/ 6084 h 10610"/>
                <a:gd name="connsiteX37" fmla="*/ 9274 w 10117"/>
                <a:gd name="connsiteY37" fmla="*/ 5902 h 10610"/>
                <a:gd name="connsiteX38" fmla="*/ 9369 w 10117"/>
                <a:gd name="connsiteY38" fmla="*/ 5716 h 10610"/>
                <a:gd name="connsiteX39" fmla="*/ 9465 w 10117"/>
                <a:gd name="connsiteY39" fmla="*/ 5533 h 10610"/>
                <a:gd name="connsiteX40" fmla="*/ 9549 w 10117"/>
                <a:gd name="connsiteY40" fmla="*/ 5344 h 10610"/>
                <a:gd name="connsiteX41" fmla="*/ 9630 w 10117"/>
                <a:gd name="connsiteY41" fmla="*/ 5153 h 10610"/>
                <a:gd name="connsiteX42" fmla="*/ 9704 w 10117"/>
                <a:gd name="connsiteY42" fmla="*/ 4961 h 10610"/>
                <a:gd name="connsiteX43" fmla="*/ 9777 w 10117"/>
                <a:gd name="connsiteY43" fmla="*/ 4771 h 10610"/>
                <a:gd name="connsiteX44" fmla="*/ 9839 w 10117"/>
                <a:gd name="connsiteY44" fmla="*/ 4578 h 10610"/>
                <a:gd name="connsiteX45" fmla="*/ 9898 w 10117"/>
                <a:gd name="connsiteY45" fmla="*/ 4381 h 10610"/>
                <a:gd name="connsiteX46" fmla="*/ 9635 w 10117"/>
                <a:gd name="connsiteY46" fmla="*/ 0 h 10610"/>
                <a:gd name="connsiteX47" fmla="*/ 6408 w 10117"/>
                <a:gd name="connsiteY47" fmla="*/ 1883 h 10610"/>
                <a:gd name="connsiteX48" fmla="*/ 2450 w 10117"/>
                <a:gd name="connsiteY48" fmla="*/ 1500 h 10610"/>
                <a:gd name="connsiteX0" fmla="*/ 2450 w 10117"/>
                <a:gd name="connsiteY0" fmla="*/ 1500 h 10610"/>
                <a:gd name="connsiteX1" fmla="*/ 103 w 10117"/>
                <a:gd name="connsiteY1" fmla="*/ 5816 h 10610"/>
                <a:gd name="connsiteX2" fmla="*/ 0 w 10117"/>
                <a:gd name="connsiteY2" fmla="*/ 5857 h 10610"/>
                <a:gd name="connsiteX3" fmla="*/ 210 w 10117"/>
                <a:gd name="connsiteY3" fmla="*/ 8550 h 10610"/>
                <a:gd name="connsiteX4" fmla="*/ 3301 w 10117"/>
                <a:gd name="connsiteY4" fmla="*/ 10610 h 10610"/>
                <a:gd name="connsiteX5" fmla="*/ 3606 w 10117"/>
                <a:gd name="connsiteY5" fmla="*/ 10485 h 10610"/>
                <a:gd name="connsiteX6" fmla="*/ 3848 w 10117"/>
                <a:gd name="connsiteY6" fmla="*/ 10386 h 10610"/>
                <a:gd name="connsiteX7" fmla="*/ 4084 w 10117"/>
                <a:gd name="connsiteY7" fmla="*/ 10287 h 10610"/>
                <a:gd name="connsiteX8" fmla="*/ 4317 w 10117"/>
                <a:gd name="connsiteY8" fmla="*/ 10183 h 10610"/>
                <a:gd name="connsiteX9" fmla="*/ 4549 w 10117"/>
                <a:gd name="connsiteY9" fmla="*/ 10074 h 10610"/>
                <a:gd name="connsiteX10" fmla="*/ 4767 w 10117"/>
                <a:gd name="connsiteY10" fmla="*/ 9967 h 10610"/>
                <a:gd name="connsiteX11" fmla="*/ 4988 w 10117"/>
                <a:gd name="connsiteY11" fmla="*/ 9849 h 10610"/>
                <a:gd name="connsiteX12" fmla="*/ 5209 w 10117"/>
                <a:gd name="connsiteY12" fmla="*/ 9736 h 10610"/>
                <a:gd name="connsiteX13" fmla="*/ 5419 w 10117"/>
                <a:gd name="connsiteY13" fmla="*/ 9615 h 10610"/>
                <a:gd name="connsiteX14" fmla="*/ 5635 w 10117"/>
                <a:gd name="connsiteY14" fmla="*/ 9491 h 10610"/>
                <a:gd name="connsiteX15" fmla="*/ 5839 w 10117"/>
                <a:gd name="connsiteY15" fmla="*/ 9362 h 10610"/>
                <a:gd name="connsiteX16" fmla="*/ 6043 w 10117"/>
                <a:gd name="connsiteY16" fmla="*/ 9235 h 10610"/>
                <a:gd name="connsiteX17" fmla="*/ 6239 w 10117"/>
                <a:gd name="connsiteY17" fmla="*/ 9105 h 10610"/>
                <a:gd name="connsiteX18" fmla="*/ 6438 w 10117"/>
                <a:gd name="connsiteY18" fmla="*/ 8967 h 10610"/>
                <a:gd name="connsiteX19" fmla="*/ 6629 w 10117"/>
                <a:gd name="connsiteY19" fmla="*/ 8825 h 10610"/>
                <a:gd name="connsiteX20" fmla="*/ 6814 w 10117"/>
                <a:gd name="connsiteY20" fmla="*/ 8689 h 10610"/>
                <a:gd name="connsiteX21" fmla="*/ 6997 w 10117"/>
                <a:gd name="connsiteY21" fmla="*/ 8544 h 10610"/>
                <a:gd name="connsiteX22" fmla="*/ 7173 w 10117"/>
                <a:gd name="connsiteY22" fmla="*/ 8396 h 10610"/>
                <a:gd name="connsiteX23" fmla="*/ 7349 w 10117"/>
                <a:gd name="connsiteY23" fmla="*/ 8248 h 10610"/>
                <a:gd name="connsiteX24" fmla="*/ 7518 w 10117"/>
                <a:gd name="connsiteY24" fmla="*/ 8097 h 10610"/>
                <a:gd name="connsiteX25" fmla="*/ 7686 w 10117"/>
                <a:gd name="connsiteY25" fmla="*/ 7940 h 10610"/>
                <a:gd name="connsiteX26" fmla="*/ 7842 w 10117"/>
                <a:gd name="connsiteY26" fmla="*/ 7782 h 10610"/>
                <a:gd name="connsiteX27" fmla="*/ 7995 w 10117"/>
                <a:gd name="connsiteY27" fmla="*/ 7623 h 10610"/>
                <a:gd name="connsiteX28" fmla="*/ 8150 w 10117"/>
                <a:gd name="connsiteY28" fmla="*/ 7463 h 10610"/>
                <a:gd name="connsiteX29" fmla="*/ 8293 w 10117"/>
                <a:gd name="connsiteY29" fmla="*/ 7296 h 10610"/>
                <a:gd name="connsiteX30" fmla="*/ 8433 w 10117"/>
                <a:gd name="connsiteY30" fmla="*/ 7132 h 10610"/>
                <a:gd name="connsiteX31" fmla="*/ 8569 w 10117"/>
                <a:gd name="connsiteY31" fmla="*/ 6962 h 10610"/>
                <a:gd name="connsiteX32" fmla="*/ 8695 w 10117"/>
                <a:gd name="connsiteY32" fmla="*/ 6788 h 10610"/>
                <a:gd name="connsiteX33" fmla="*/ 8819 w 10117"/>
                <a:gd name="connsiteY33" fmla="*/ 6614 h 10610"/>
                <a:gd name="connsiteX34" fmla="*/ 8945 w 10117"/>
                <a:gd name="connsiteY34" fmla="*/ 6440 h 10610"/>
                <a:gd name="connsiteX35" fmla="*/ 9063 w 10117"/>
                <a:gd name="connsiteY35" fmla="*/ 6262 h 10610"/>
                <a:gd name="connsiteX36" fmla="*/ 9167 w 10117"/>
                <a:gd name="connsiteY36" fmla="*/ 6084 h 10610"/>
                <a:gd name="connsiteX37" fmla="*/ 9274 w 10117"/>
                <a:gd name="connsiteY37" fmla="*/ 5902 h 10610"/>
                <a:gd name="connsiteX38" fmla="*/ 9369 w 10117"/>
                <a:gd name="connsiteY38" fmla="*/ 5716 h 10610"/>
                <a:gd name="connsiteX39" fmla="*/ 9465 w 10117"/>
                <a:gd name="connsiteY39" fmla="*/ 5533 h 10610"/>
                <a:gd name="connsiteX40" fmla="*/ 9549 w 10117"/>
                <a:gd name="connsiteY40" fmla="*/ 5344 h 10610"/>
                <a:gd name="connsiteX41" fmla="*/ 9630 w 10117"/>
                <a:gd name="connsiteY41" fmla="*/ 5153 h 10610"/>
                <a:gd name="connsiteX42" fmla="*/ 9704 w 10117"/>
                <a:gd name="connsiteY42" fmla="*/ 4961 h 10610"/>
                <a:gd name="connsiteX43" fmla="*/ 9777 w 10117"/>
                <a:gd name="connsiteY43" fmla="*/ 4771 h 10610"/>
                <a:gd name="connsiteX44" fmla="*/ 9839 w 10117"/>
                <a:gd name="connsiteY44" fmla="*/ 4578 h 10610"/>
                <a:gd name="connsiteX45" fmla="*/ 9898 w 10117"/>
                <a:gd name="connsiteY45" fmla="*/ 4381 h 10610"/>
                <a:gd name="connsiteX46" fmla="*/ 9635 w 10117"/>
                <a:gd name="connsiteY46" fmla="*/ 0 h 10610"/>
                <a:gd name="connsiteX47" fmla="*/ 6408 w 10117"/>
                <a:gd name="connsiteY47" fmla="*/ 1883 h 10610"/>
                <a:gd name="connsiteX48" fmla="*/ 2450 w 10117"/>
                <a:gd name="connsiteY48" fmla="*/ 1500 h 10610"/>
                <a:gd name="connsiteX0" fmla="*/ 2450 w 10117"/>
                <a:gd name="connsiteY0" fmla="*/ 1500 h 10610"/>
                <a:gd name="connsiteX1" fmla="*/ 103 w 10117"/>
                <a:gd name="connsiteY1" fmla="*/ 5816 h 10610"/>
                <a:gd name="connsiteX2" fmla="*/ 0 w 10117"/>
                <a:gd name="connsiteY2" fmla="*/ 5857 h 10610"/>
                <a:gd name="connsiteX3" fmla="*/ 210 w 10117"/>
                <a:gd name="connsiteY3" fmla="*/ 8550 h 10610"/>
                <a:gd name="connsiteX4" fmla="*/ 3301 w 10117"/>
                <a:gd name="connsiteY4" fmla="*/ 10610 h 10610"/>
                <a:gd name="connsiteX5" fmla="*/ 3606 w 10117"/>
                <a:gd name="connsiteY5" fmla="*/ 10485 h 10610"/>
                <a:gd name="connsiteX6" fmla="*/ 3848 w 10117"/>
                <a:gd name="connsiteY6" fmla="*/ 10386 h 10610"/>
                <a:gd name="connsiteX7" fmla="*/ 4084 w 10117"/>
                <a:gd name="connsiteY7" fmla="*/ 10287 h 10610"/>
                <a:gd name="connsiteX8" fmla="*/ 4317 w 10117"/>
                <a:gd name="connsiteY8" fmla="*/ 10183 h 10610"/>
                <a:gd name="connsiteX9" fmla="*/ 4549 w 10117"/>
                <a:gd name="connsiteY9" fmla="*/ 10074 h 10610"/>
                <a:gd name="connsiteX10" fmla="*/ 4767 w 10117"/>
                <a:gd name="connsiteY10" fmla="*/ 9967 h 10610"/>
                <a:gd name="connsiteX11" fmla="*/ 4988 w 10117"/>
                <a:gd name="connsiteY11" fmla="*/ 9849 h 10610"/>
                <a:gd name="connsiteX12" fmla="*/ 5209 w 10117"/>
                <a:gd name="connsiteY12" fmla="*/ 9736 h 10610"/>
                <a:gd name="connsiteX13" fmla="*/ 5419 w 10117"/>
                <a:gd name="connsiteY13" fmla="*/ 9615 h 10610"/>
                <a:gd name="connsiteX14" fmla="*/ 5635 w 10117"/>
                <a:gd name="connsiteY14" fmla="*/ 9491 h 10610"/>
                <a:gd name="connsiteX15" fmla="*/ 5839 w 10117"/>
                <a:gd name="connsiteY15" fmla="*/ 9362 h 10610"/>
                <a:gd name="connsiteX16" fmla="*/ 6043 w 10117"/>
                <a:gd name="connsiteY16" fmla="*/ 9235 h 10610"/>
                <a:gd name="connsiteX17" fmla="*/ 6239 w 10117"/>
                <a:gd name="connsiteY17" fmla="*/ 9105 h 10610"/>
                <a:gd name="connsiteX18" fmla="*/ 6438 w 10117"/>
                <a:gd name="connsiteY18" fmla="*/ 8967 h 10610"/>
                <a:gd name="connsiteX19" fmla="*/ 6629 w 10117"/>
                <a:gd name="connsiteY19" fmla="*/ 8825 h 10610"/>
                <a:gd name="connsiteX20" fmla="*/ 6814 w 10117"/>
                <a:gd name="connsiteY20" fmla="*/ 8689 h 10610"/>
                <a:gd name="connsiteX21" fmla="*/ 6997 w 10117"/>
                <a:gd name="connsiteY21" fmla="*/ 8544 h 10610"/>
                <a:gd name="connsiteX22" fmla="*/ 7173 w 10117"/>
                <a:gd name="connsiteY22" fmla="*/ 8396 h 10610"/>
                <a:gd name="connsiteX23" fmla="*/ 7349 w 10117"/>
                <a:gd name="connsiteY23" fmla="*/ 8248 h 10610"/>
                <a:gd name="connsiteX24" fmla="*/ 7518 w 10117"/>
                <a:gd name="connsiteY24" fmla="*/ 8097 h 10610"/>
                <a:gd name="connsiteX25" fmla="*/ 7686 w 10117"/>
                <a:gd name="connsiteY25" fmla="*/ 7940 h 10610"/>
                <a:gd name="connsiteX26" fmla="*/ 7842 w 10117"/>
                <a:gd name="connsiteY26" fmla="*/ 7782 h 10610"/>
                <a:gd name="connsiteX27" fmla="*/ 7995 w 10117"/>
                <a:gd name="connsiteY27" fmla="*/ 7623 h 10610"/>
                <a:gd name="connsiteX28" fmla="*/ 8150 w 10117"/>
                <a:gd name="connsiteY28" fmla="*/ 7463 h 10610"/>
                <a:gd name="connsiteX29" fmla="*/ 8293 w 10117"/>
                <a:gd name="connsiteY29" fmla="*/ 7296 h 10610"/>
                <a:gd name="connsiteX30" fmla="*/ 8433 w 10117"/>
                <a:gd name="connsiteY30" fmla="*/ 7132 h 10610"/>
                <a:gd name="connsiteX31" fmla="*/ 8569 w 10117"/>
                <a:gd name="connsiteY31" fmla="*/ 6962 h 10610"/>
                <a:gd name="connsiteX32" fmla="*/ 8695 w 10117"/>
                <a:gd name="connsiteY32" fmla="*/ 6788 h 10610"/>
                <a:gd name="connsiteX33" fmla="*/ 8819 w 10117"/>
                <a:gd name="connsiteY33" fmla="*/ 6614 h 10610"/>
                <a:gd name="connsiteX34" fmla="*/ 8945 w 10117"/>
                <a:gd name="connsiteY34" fmla="*/ 6440 h 10610"/>
                <a:gd name="connsiteX35" fmla="*/ 9063 w 10117"/>
                <a:gd name="connsiteY35" fmla="*/ 6262 h 10610"/>
                <a:gd name="connsiteX36" fmla="*/ 9167 w 10117"/>
                <a:gd name="connsiteY36" fmla="*/ 6084 h 10610"/>
                <a:gd name="connsiteX37" fmla="*/ 9274 w 10117"/>
                <a:gd name="connsiteY37" fmla="*/ 5902 h 10610"/>
                <a:gd name="connsiteX38" fmla="*/ 9369 w 10117"/>
                <a:gd name="connsiteY38" fmla="*/ 5716 h 10610"/>
                <a:gd name="connsiteX39" fmla="*/ 9465 w 10117"/>
                <a:gd name="connsiteY39" fmla="*/ 5533 h 10610"/>
                <a:gd name="connsiteX40" fmla="*/ 9549 w 10117"/>
                <a:gd name="connsiteY40" fmla="*/ 5344 h 10610"/>
                <a:gd name="connsiteX41" fmla="*/ 9630 w 10117"/>
                <a:gd name="connsiteY41" fmla="*/ 5153 h 10610"/>
                <a:gd name="connsiteX42" fmla="*/ 9704 w 10117"/>
                <a:gd name="connsiteY42" fmla="*/ 4961 h 10610"/>
                <a:gd name="connsiteX43" fmla="*/ 9777 w 10117"/>
                <a:gd name="connsiteY43" fmla="*/ 4771 h 10610"/>
                <a:gd name="connsiteX44" fmla="*/ 9839 w 10117"/>
                <a:gd name="connsiteY44" fmla="*/ 4578 h 10610"/>
                <a:gd name="connsiteX45" fmla="*/ 9898 w 10117"/>
                <a:gd name="connsiteY45" fmla="*/ 4381 h 10610"/>
                <a:gd name="connsiteX46" fmla="*/ 9635 w 10117"/>
                <a:gd name="connsiteY46" fmla="*/ 0 h 10610"/>
                <a:gd name="connsiteX47" fmla="*/ 6408 w 10117"/>
                <a:gd name="connsiteY47" fmla="*/ 1883 h 10610"/>
                <a:gd name="connsiteX48" fmla="*/ 2450 w 10117"/>
                <a:gd name="connsiteY48" fmla="*/ 1500 h 10610"/>
                <a:gd name="connsiteX0" fmla="*/ 2450 w 10117"/>
                <a:gd name="connsiteY0" fmla="*/ 1500 h 10610"/>
                <a:gd name="connsiteX1" fmla="*/ 103 w 10117"/>
                <a:gd name="connsiteY1" fmla="*/ 5816 h 10610"/>
                <a:gd name="connsiteX2" fmla="*/ 0 w 10117"/>
                <a:gd name="connsiteY2" fmla="*/ 5857 h 10610"/>
                <a:gd name="connsiteX3" fmla="*/ 210 w 10117"/>
                <a:gd name="connsiteY3" fmla="*/ 8550 h 10610"/>
                <a:gd name="connsiteX4" fmla="*/ 3301 w 10117"/>
                <a:gd name="connsiteY4" fmla="*/ 10610 h 10610"/>
                <a:gd name="connsiteX5" fmla="*/ 3606 w 10117"/>
                <a:gd name="connsiteY5" fmla="*/ 10485 h 10610"/>
                <a:gd name="connsiteX6" fmla="*/ 3848 w 10117"/>
                <a:gd name="connsiteY6" fmla="*/ 10386 h 10610"/>
                <a:gd name="connsiteX7" fmla="*/ 4084 w 10117"/>
                <a:gd name="connsiteY7" fmla="*/ 10287 h 10610"/>
                <a:gd name="connsiteX8" fmla="*/ 4317 w 10117"/>
                <a:gd name="connsiteY8" fmla="*/ 10183 h 10610"/>
                <a:gd name="connsiteX9" fmla="*/ 4549 w 10117"/>
                <a:gd name="connsiteY9" fmla="*/ 10074 h 10610"/>
                <a:gd name="connsiteX10" fmla="*/ 4767 w 10117"/>
                <a:gd name="connsiteY10" fmla="*/ 9967 h 10610"/>
                <a:gd name="connsiteX11" fmla="*/ 4988 w 10117"/>
                <a:gd name="connsiteY11" fmla="*/ 9849 h 10610"/>
                <a:gd name="connsiteX12" fmla="*/ 5209 w 10117"/>
                <a:gd name="connsiteY12" fmla="*/ 9736 h 10610"/>
                <a:gd name="connsiteX13" fmla="*/ 5419 w 10117"/>
                <a:gd name="connsiteY13" fmla="*/ 9615 h 10610"/>
                <a:gd name="connsiteX14" fmla="*/ 5635 w 10117"/>
                <a:gd name="connsiteY14" fmla="*/ 9491 h 10610"/>
                <a:gd name="connsiteX15" fmla="*/ 5839 w 10117"/>
                <a:gd name="connsiteY15" fmla="*/ 9362 h 10610"/>
                <a:gd name="connsiteX16" fmla="*/ 6043 w 10117"/>
                <a:gd name="connsiteY16" fmla="*/ 9235 h 10610"/>
                <a:gd name="connsiteX17" fmla="*/ 6239 w 10117"/>
                <a:gd name="connsiteY17" fmla="*/ 9105 h 10610"/>
                <a:gd name="connsiteX18" fmla="*/ 6438 w 10117"/>
                <a:gd name="connsiteY18" fmla="*/ 8967 h 10610"/>
                <a:gd name="connsiteX19" fmla="*/ 6629 w 10117"/>
                <a:gd name="connsiteY19" fmla="*/ 8825 h 10610"/>
                <a:gd name="connsiteX20" fmla="*/ 6814 w 10117"/>
                <a:gd name="connsiteY20" fmla="*/ 8689 h 10610"/>
                <a:gd name="connsiteX21" fmla="*/ 6997 w 10117"/>
                <a:gd name="connsiteY21" fmla="*/ 8544 h 10610"/>
                <a:gd name="connsiteX22" fmla="*/ 7173 w 10117"/>
                <a:gd name="connsiteY22" fmla="*/ 8396 h 10610"/>
                <a:gd name="connsiteX23" fmla="*/ 7349 w 10117"/>
                <a:gd name="connsiteY23" fmla="*/ 8248 h 10610"/>
                <a:gd name="connsiteX24" fmla="*/ 7518 w 10117"/>
                <a:gd name="connsiteY24" fmla="*/ 8097 h 10610"/>
                <a:gd name="connsiteX25" fmla="*/ 7686 w 10117"/>
                <a:gd name="connsiteY25" fmla="*/ 7940 h 10610"/>
                <a:gd name="connsiteX26" fmla="*/ 7842 w 10117"/>
                <a:gd name="connsiteY26" fmla="*/ 7782 h 10610"/>
                <a:gd name="connsiteX27" fmla="*/ 7995 w 10117"/>
                <a:gd name="connsiteY27" fmla="*/ 7623 h 10610"/>
                <a:gd name="connsiteX28" fmla="*/ 8150 w 10117"/>
                <a:gd name="connsiteY28" fmla="*/ 7463 h 10610"/>
                <a:gd name="connsiteX29" fmla="*/ 8293 w 10117"/>
                <a:gd name="connsiteY29" fmla="*/ 7296 h 10610"/>
                <a:gd name="connsiteX30" fmla="*/ 8433 w 10117"/>
                <a:gd name="connsiteY30" fmla="*/ 7132 h 10610"/>
                <a:gd name="connsiteX31" fmla="*/ 8569 w 10117"/>
                <a:gd name="connsiteY31" fmla="*/ 6962 h 10610"/>
                <a:gd name="connsiteX32" fmla="*/ 8695 w 10117"/>
                <a:gd name="connsiteY32" fmla="*/ 6788 h 10610"/>
                <a:gd name="connsiteX33" fmla="*/ 8819 w 10117"/>
                <a:gd name="connsiteY33" fmla="*/ 6614 h 10610"/>
                <a:gd name="connsiteX34" fmla="*/ 8945 w 10117"/>
                <a:gd name="connsiteY34" fmla="*/ 6440 h 10610"/>
                <a:gd name="connsiteX35" fmla="*/ 9063 w 10117"/>
                <a:gd name="connsiteY35" fmla="*/ 6262 h 10610"/>
                <a:gd name="connsiteX36" fmla="*/ 9167 w 10117"/>
                <a:gd name="connsiteY36" fmla="*/ 6084 h 10610"/>
                <a:gd name="connsiteX37" fmla="*/ 9274 w 10117"/>
                <a:gd name="connsiteY37" fmla="*/ 5902 h 10610"/>
                <a:gd name="connsiteX38" fmla="*/ 9369 w 10117"/>
                <a:gd name="connsiteY38" fmla="*/ 5716 h 10610"/>
                <a:gd name="connsiteX39" fmla="*/ 9465 w 10117"/>
                <a:gd name="connsiteY39" fmla="*/ 5533 h 10610"/>
                <a:gd name="connsiteX40" fmla="*/ 9549 w 10117"/>
                <a:gd name="connsiteY40" fmla="*/ 5344 h 10610"/>
                <a:gd name="connsiteX41" fmla="*/ 9630 w 10117"/>
                <a:gd name="connsiteY41" fmla="*/ 5153 h 10610"/>
                <a:gd name="connsiteX42" fmla="*/ 9704 w 10117"/>
                <a:gd name="connsiteY42" fmla="*/ 4961 h 10610"/>
                <a:gd name="connsiteX43" fmla="*/ 9777 w 10117"/>
                <a:gd name="connsiteY43" fmla="*/ 4771 h 10610"/>
                <a:gd name="connsiteX44" fmla="*/ 9839 w 10117"/>
                <a:gd name="connsiteY44" fmla="*/ 4578 h 10610"/>
                <a:gd name="connsiteX45" fmla="*/ 9898 w 10117"/>
                <a:gd name="connsiteY45" fmla="*/ 4381 h 10610"/>
                <a:gd name="connsiteX46" fmla="*/ 9635 w 10117"/>
                <a:gd name="connsiteY46" fmla="*/ 0 h 10610"/>
                <a:gd name="connsiteX47" fmla="*/ 6408 w 10117"/>
                <a:gd name="connsiteY47" fmla="*/ 1883 h 10610"/>
                <a:gd name="connsiteX48" fmla="*/ 2450 w 10117"/>
                <a:gd name="connsiteY48" fmla="*/ 1500 h 10610"/>
                <a:gd name="connsiteX0" fmla="*/ 2450 w 10187"/>
                <a:gd name="connsiteY0" fmla="*/ 1500 h 10610"/>
                <a:gd name="connsiteX1" fmla="*/ 103 w 10187"/>
                <a:gd name="connsiteY1" fmla="*/ 5816 h 10610"/>
                <a:gd name="connsiteX2" fmla="*/ 0 w 10187"/>
                <a:gd name="connsiteY2" fmla="*/ 5857 h 10610"/>
                <a:gd name="connsiteX3" fmla="*/ 210 w 10187"/>
                <a:gd name="connsiteY3" fmla="*/ 8550 h 10610"/>
                <a:gd name="connsiteX4" fmla="*/ 3301 w 10187"/>
                <a:gd name="connsiteY4" fmla="*/ 10610 h 10610"/>
                <a:gd name="connsiteX5" fmla="*/ 3606 w 10187"/>
                <a:gd name="connsiteY5" fmla="*/ 10485 h 10610"/>
                <a:gd name="connsiteX6" fmla="*/ 3848 w 10187"/>
                <a:gd name="connsiteY6" fmla="*/ 10386 h 10610"/>
                <a:gd name="connsiteX7" fmla="*/ 4084 w 10187"/>
                <a:gd name="connsiteY7" fmla="*/ 10287 h 10610"/>
                <a:gd name="connsiteX8" fmla="*/ 4317 w 10187"/>
                <a:gd name="connsiteY8" fmla="*/ 10183 h 10610"/>
                <a:gd name="connsiteX9" fmla="*/ 4549 w 10187"/>
                <a:gd name="connsiteY9" fmla="*/ 10074 h 10610"/>
                <a:gd name="connsiteX10" fmla="*/ 4767 w 10187"/>
                <a:gd name="connsiteY10" fmla="*/ 9967 h 10610"/>
                <a:gd name="connsiteX11" fmla="*/ 4988 w 10187"/>
                <a:gd name="connsiteY11" fmla="*/ 9849 h 10610"/>
                <a:gd name="connsiteX12" fmla="*/ 5209 w 10187"/>
                <a:gd name="connsiteY12" fmla="*/ 9736 h 10610"/>
                <a:gd name="connsiteX13" fmla="*/ 5419 w 10187"/>
                <a:gd name="connsiteY13" fmla="*/ 9615 h 10610"/>
                <a:gd name="connsiteX14" fmla="*/ 5635 w 10187"/>
                <a:gd name="connsiteY14" fmla="*/ 9491 h 10610"/>
                <a:gd name="connsiteX15" fmla="*/ 5839 w 10187"/>
                <a:gd name="connsiteY15" fmla="*/ 9362 h 10610"/>
                <a:gd name="connsiteX16" fmla="*/ 6043 w 10187"/>
                <a:gd name="connsiteY16" fmla="*/ 9235 h 10610"/>
                <a:gd name="connsiteX17" fmla="*/ 6239 w 10187"/>
                <a:gd name="connsiteY17" fmla="*/ 9105 h 10610"/>
                <a:gd name="connsiteX18" fmla="*/ 6438 w 10187"/>
                <a:gd name="connsiteY18" fmla="*/ 8967 h 10610"/>
                <a:gd name="connsiteX19" fmla="*/ 6629 w 10187"/>
                <a:gd name="connsiteY19" fmla="*/ 8825 h 10610"/>
                <a:gd name="connsiteX20" fmla="*/ 6814 w 10187"/>
                <a:gd name="connsiteY20" fmla="*/ 8689 h 10610"/>
                <a:gd name="connsiteX21" fmla="*/ 6997 w 10187"/>
                <a:gd name="connsiteY21" fmla="*/ 8544 h 10610"/>
                <a:gd name="connsiteX22" fmla="*/ 7173 w 10187"/>
                <a:gd name="connsiteY22" fmla="*/ 8396 h 10610"/>
                <a:gd name="connsiteX23" fmla="*/ 7349 w 10187"/>
                <a:gd name="connsiteY23" fmla="*/ 8248 h 10610"/>
                <a:gd name="connsiteX24" fmla="*/ 7518 w 10187"/>
                <a:gd name="connsiteY24" fmla="*/ 8097 h 10610"/>
                <a:gd name="connsiteX25" fmla="*/ 7686 w 10187"/>
                <a:gd name="connsiteY25" fmla="*/ 7940 h 10610"/>
                <a:gd name="connsiteX26" fmla="*/ 7842 w 10187"/>
                <a:gd name="connsiteY26" fmla="*/ 7782 h 10610"/>
                <a:gd name="connsiteX27" fmla="*/ 7995 w 10187"/>
                <a:gd name="connsiteY27" fmla="*/ 7623 h 10610"/>
                <a:gd name="connsiteX28" fmla="*/ 8150 w 10187"/>
                <a:gd name="connsiteY28" fmla="*/ 7463 h 10610"/>
                <a:gd name="connsiteX29" fmla="*/ 8293 w 10187"/>
                <a:gd name="connsiteY29" fmla="*/ 7296 h 10610"/>
                <a:gd name="connsiteX30" fmla="*/ 8433 w 10187"/>
                <a:gd name="connsiteY30" fmla="*/ 7132 h 10610"/>
                <a:gd name="connsiteX31" fmla="*/ 8569 w 10187"/>
                <a:gd name="connsiteY31" fmla="*/ 6962 h 10610"/>
                <a:gd name="connsiteX32" fmla="*/ 8695 w 10187"/>
                <a:gd name="connsiteY32" fmla="*/ 6788 h 10610"/>
                <a:gd name="connsiteX33" fmla="*/ 8819 w 10187"/>
                <a:gd name="connsiteY33" fmla="*/ 6614 h 10610"/>
                <a:gd name="connsiteX34" fmla="*/ 8945 w 10187"/>
                <a:gd name="connsiteY34" fmla="*/ 6440 h 10610"/>
                <a:gd name="connsiteX35" fmla="*/ 9063 w 10187"/>
                <a:gd name="connsiteY35" fmla="*/ 6262 h 10610"/>
                <a:gd name="connsiteX36" fmla="*/ 9167 w 10187"/>
                <a:gd name="connsiteY36" fmla="*/ 6084 h 10610"/>
                <a:gd name="connsiteX37" fmla="*/ 9274 w 10187"/>
                <a:gd name="connsiteY37" fmla="*/ 5902 h 10610"/>
                <a:gd name="connsiteX38" fmla="*/ 9369 w 10187"/>
                <a:gd name="connsiteY38" fmla="*/ 5716 h 10610"/>
                <a:gd name="connsiteX39" fmla="*/ 9465 w 10187"/>
                <a:gd name="connsiteY39" fmla="*/ 5533 h 10610"/>
                <a:gd name="connsiteX40" fmla="*/ 9549 w 10187"/>
                <a:gd name="connsiteY40" fmla="*/ 5344 h 10610"/>
                <a:gd name="connsiteX41" fmla="*/ 9630 w 10187"/>
                <a:gd name="connsiteY41" fmla="*/ 5153 h 10610"/>
                <a:gd name="connsiteX42" fmla="*/ 9704 w 10187"/>
                <a:gd name="connsiteY42" fmla="*/ 4961 h 10610"/>
                <a:gd name="connsiteX43" fmla="*/ 9777 w 10187"/>
                <a:gd name="connsiteY43" fmla="*/ 4771 h 10610"/>
                <a:gd name="connsiteX44" fmla="*/ 9839 w 10187"/>
                <a:gd name="connsiteY44" fmla="*/ 4578 h 10610"/>
                <a:gd name="connsiteX45" fmla="*/ 9898 w 10187"/>
                <a:gd name="connsiteY45" fmla="*/ 4381 h 10610"/>
                <a:gd name="connsiteX46" fmla="*/ 9635 w 10187"/>
                <a:gd name="connsiteY46" fmla="*/ 0 h 10610"/>
                <a:gd name="connsiteX47" fmla="*/ 6408 w 10187"/>
                <a:gd name="connsiteY47" fmla="*/ 1883 h 10610"/>
                <a:gd name="connsiteX48" fmla="*/ 2450 w 10187"/>
                <a:gd name="connsiteY48" fmla="*/ 1500 h 10610"/>
                <a:gd name="connsiteX0" fmla="*/ 2450 w 10167"/>
                <a:gd name="connsiteY0" fmla="*/ 1500 h 10610"/>
                <a:gd name="connsiteX1" fmla="*/ 103 w 10167"/>
                <a:gd name="connsiteY1" fmla="*/ 5816 h 10610"/>
                <a:gd name="connsiteX2" fmla="*/ 0 w 10167"/>
                <a:gd name="connsiteY2" fmla="*/ 5857 h 10610"/>
                <a:gd name="connsiteX3" fmla="*/ 210 w 10167"/>
                <a:gd name="connsiteY3" fmla="*/ 8550 h 10610"/>
                <a:gd name="connsiteX4" fmla="*/ 3301 w 10167"/>
                <a:gd name="connsiteY4" fmla="*/ 10610 h 10610"/>
                <a:gd name="connsiteX5" fmla="*/ 3606 w 10167"/>
                <a:gd name="connsiteY5" fmla="*/ 10485 h 10610"/>
                <a:gd name="connsiteX6" fmla="*/ 3848 w 10167"/>
                <a:gd name="connsiteY6" fmla="*/ 10386 h 10610"/>
                <a:gd name="connsiteX7" fmla="*/ 4084 w 10167"/>
                <a:gd name="connsiteY7" fmla="*/ 10287 h 10610"/>
                <a:gd name="connsiteX8" fmla="*/ 4317 w 10167"/>
                <a:gd name="connsiteY8" fmla="*/ 10183 h 10610"/>
                <a:gd name="connsiteX9" fmla="*/ 4549 w 10167"/>
                <a:gd name="connsiteY9" fmla="*/ 10074 h 10610"/>
                <a:gd name="connsiteX10" fmla="*/ 4767 w 10167"/>
                <a:gd name="connsiteY10" fmla="*/ 9967 h 10610"/>
                <a:gd name="connsiteX11" fmla="*/ 4988 w 10167"/>
                <a:gd name="connsiteY11" fmla="*/ 9849 h 10610"/>
                <a:gd name="connsiteX12" fmla="*/ 5209 w 10167"/>
                <a:gd name="connsiteY12" fmla="*/ 9736 h 10610"/>
                <a:gd name="connsiteX13" fmla="*/ 5419 w 10167"/>
                <a:gd name="connsiteY13" fmla="*/ 9615 h 10610"/>
                <a:gd name="connsiteX14" fmla="*/ 5635 w 10167"/>
                <a:gd name="connsiteY14" fmla="*/ 9491 h 10610"/>
                <a:gd name="connsiteX15" fmla="*/ 5839 w 10167"/>
                <a:gd name="connsiteY15" fmla="*/ 9362 h 10610"/>
                <a:gd name="connsiteX16" fmla="*/ 6043 w 10167"/>
                <a:gd name="connsiteY16" fmla="*/ 9235 h 10610"/>
                <a:gd name="connsiteX17" fmla="*/ 6239 w 10167"/>
                <a:gd name="connsiteY17" fmla="*/ 9105 h 10610"/>
                <a:gd name="connsiteX18" fmla="*/ 6438 w 10167"/>
                <a:gd name="connsiteY18" fmla="*/ 8967 h 10610"/>
                <a:gd name="connsiteX19" fmla="*/ 6629 w 10167"/>
                <a:gd name="connsiteY19" fmla="*/ 8825 h 10610"/>
                <a:gd name="connsiteX20" fmla="*/ 6814 w 10167"/>
                <a:gd name="connsiteY20" fmla="*/ 8689 h 10610"/>
                <a:gd name="connsiteX21" fmla="*/ 6997 w 10167"/>
                <a:gd name="connsiteY21" fmla="*/ 8544 h 10610"/>
                <a:gd name="connsiteX22" fmla="*/ 7173 w 10167"/>
                <a:gd name="connsiteY22" fmla="*/ 8396 h 10610"/>
                <a:gd name="connsiteX23" fmla="*/ 7349 w 10167"/>
                <a:gd name="connsiteY23" fmla="*/ 8248 h 10610"/>
                <a:gd name="connsiteX24" fmla="*/ 7518 w 10167"/>
                <a:gd name="connsiteY24" fmla="*/ 8097 h 10610"/>
                <a:gd name="connsiteX25" fmla="*/ 7686 w 10167"/>
                <a:gd name="connsiteY25" fmla="*/ 7940 h 10610"/>
                <a:gd name="connsiteX26" fmla="*/ 7842 w 10167"/>
                <a:gd name="connsiteY26" fmla="*/ 7782 h 10610"/>
                <a:gd name="connsiteX27" fmla="*/ 7995 w 10167"/>
                <a:gd name="connsiteY27" fmla="*/ 7623 h 10610"/>
                <a:gd name="connsiteX28" fmla="*/ 8150 w 10167"/>
                <a:gd name="connsiteY28" fmla="*/ 7463 h 10610"/>
                <a:gd name="connsiteX29" fmla="*/ 8293 w 10167"/>
                <a:gd name="connsiteY29" fmla="*/ 7296 h 10610"/>
                <a:gd name="connsiteX30" fmla="*/ 8433 w 10167"/>
                <a:gd name="connsiteY30" fmla="*/ 7132 h 10610"/>
                <a:gd name="connsiteX31" fmla="*/ 8569 w 10167"/>
                <a:gd name="connsiteY31" fmla="*/ 6962 h 10610"/>
                <a:gd name="connsiteX32" fmla="*/ 8695 w 10167"/>
                <a:gd name="connsiteY32" fmla="*/ 6788 h 10610"/>
                <a:gd name="connsiteX33" fmla="*/ 8819 w 10167"/>
                <a:gd name="connsiteY33" fmla="*/ 6614 h 10610"/>
                <a:gd name="connsiteX34" fmla="*/ 8945 w 10167"/>
                <a:gd name="connsiteY34" fmla="*/ 6440 h 10610"/>
                <a:gd name="connsiteX35" fmla="*/ 9063 w 10167"/>
                <a:gd name="connsiteY35" fmla="*/ 6262 h 10610"/>
                <a:gd name="connsiteX36" fmla="*/ 9167 w 10167"/>
                <a:gd name="connsiteY36" fmla="*/ 6084 h 10610"/>
                <a:gd name="connsiteX37" fmla="*/ 9274 w 10167"/>
                <a:gd name="connsiteY37" fmla="*/ 5902 h 10610"/>
                <a:gd name="connsiteX38" fmla="*/ 9369 w 10167"/>
                <a:gd name="connsiteY38" fmla="*/ 5716 h 10610"/>
                <a:gd name="connsiteX39" fmla="*/ 9465 w 10167"/>
                <a:gd name="connsiteY39" fmla="*/ 5533 h 10610"/>
                <a:gd name="connsiteX40" fmla="*/ 9549 w 10167"/>
                <a:gd name="connsiteY40" fmla="*/ 5344 h 10610"/>
                <a:gd name="connsiteX41" fmla="*/ 9630 w 10167"/>
                <a:gd name="connsiteY41" fmla="*/ 5153 h 10610"/>
                <a:gd name="connsiteX42" fmla="*/ 9704 w 10167"/>
                <a:gd name="connsiteY42" fmla="*/ 4961 h 10610"/>
                <a:gd name="connsiteX43" fmla="*/ 9777 w 10167"/>
                <a:gd name="connsiteY43" fmla="*/ 4771 h 10610"/>
                <a:gd name="connsiteX44" fmla="*/ 9839 w 10167"/>
                <a:gd name="connsiteY44" fmla="*/ 4578 h 10610"/>
                <a:gd name="connsiteX45" fmla="*/ 9898 w 10167"/>
                <a:gd name="connsiteY45" fmla="*/ 4381 h 10610"/>
                <a:gd name="connsiteX46" fmla="*/ 9635 w 10167"/>
                <a:gd name="connsiteY46" fmla="*/ 0 h 10610"/>
                <a:gd name="connsiteX47" fmla="*/ 6408 w 10167"/>
                <a:gd name="connsiteY47" fmla="*/ 1883 h 10610"/>
                <a:gd name="connsiteX48" fmla="*/ 2450 w 10167"/>
                <a:gd name="connsiteY48" fmla="*/ 1500 h 10610"/>
                <a:gd name="connsiteX0" fmla="*/ 2450 w 10149"/>
                <a:gd name="connsiteY0" fmla="*/ 1500 h 10610"/>
                <a:gd name="connsiteX1" fmla="*/ 103 w 10149"/>
                <a:gd name="connsiteY1" fmla="*/ 5816 h 10610"/>
                <a:gd name="connsiteX2" fmla="*/ 0 w 10149"/>
                <a:gd name="connsiteY2" fmla="*/ 5857 h 10610"/>
                <a:gd name="connsiteX3" fmla="*/ 210 w 10149"/>
                <a:gd name="connsiteY3" fmla="*/ 8550 h 10610"/>
                <a:gd name="connsiteX4" fmla="*/ 3301 w 10149"/>
                <a:gd name="connsiteY4" fmla="*/ 10610 h 10610"/>
                <a:gd name="connsiteX5" fmla="*/ 3606 w 10149"/>
                <a:gd name="connsiteY5" fmla="*/ 10485 h 10610"/>
                <a:gd name="connsiteX6" fmla="*/ 3848 w 10149"/>
                <a:gd name="connsiteY6" fmla="*/ 10386 h 10610"/>
                <a:gd name="connsiteX7" fmla="*/ 4084 w 10149"/>
                <a:gd name="connsiteY7" fmla="*/ 10287 h 10610"/>
                <a:gd name="connsiteX8" fmla="*/ 4317 w 10149"/>
                <a:gd name="connsiteY8" fmla="*/ 10183 h 10610"/>
                <a:gd name="connsiteX9" fmla="*/ 4549 w 10149"/>
                <a:gd name="connsiteY9" fmla="*/ 10074 h 10610"/>
                <a:gd name="connsiteX10" fmla="*/ 4767 w 10149"/>
                <a:gd name="connsiteY10" fmla="*/ 9967 h 10610"/>
                <a:gd name="connsiteX11" fmla="*/ 4988 w 10149"/>
                <a:gd name="connsiteY11" fmla="*/ 9849 h 10610"/>
                <a:gd name="connsiteX12" fmla="*/ 5209 w 10149"/>
                <a:gd name="connsiteY12" fmla="*/ 9736 h 10610"/>
                <a:gd name="connsiteX13" fmla="*/ 5419 w 10149"/>
                <a:gd name="connsiteY13" fmla="*/ 9615 h 10610"/>
                <a:gd name="connsiteX14" fmla="*/ 5635 w 10149"/>
                <a:gd name="connsiteY14" fmla="*/ 9491 h 10610"/>
                <a:gd name="connsiteX15" fmla="*/ 5839 w 10149"/>
                <a:gd name="connsiteY15" fmla="*/ 9362 h 10610"/>
                <a:gd name="connsiteX16" fmla="*/ 6043 w 10149"/>
                <a:gd name="connsiteY16" fmla="*/ 9235 h 10610"/>
                <a:gd name="connsiteX17" fmla="*/ 6239 w 10149"/>
                <a:gd name="connsiteY17" fmla="*/ 9105 h 10610"/>
                <a:gd name="connsiteX18" fmla="*/ 6438 w 10149"/>
                <a:gd name="connsiteY18" fmla="*/ 8967 h 10610"/>
                <a:gd name="connsiteX19" fmla="*/ 6629 w 10149"/>
                <a:gd name="connsiteY19" fmla="*/ 8825 h 10610"/>
                <a:gd name="connsiteX20" fmla="*/ 6814 w 10149"/>
                <a:gd name="connsiteY20" fmla="*/ 8689 h 10610"/>
                <a:gd name="connsiteX21" fmla="*/ 6997 w 10149"/>
                <a:gd name="connsiteY21" fmla="*/ 8544 h 10610"/>
                <a:gd name="connsiteX22" fmla="*/ 7173 w 10149"/>
                <a:gd name="connsiteY22" fmla="*/ 8396 h 10610"/>
                <a:gd name="connsiteX23" fmla="*/ 7349 w 10149"/>
                <a:gd name="connsiteY23" fmla="*/ 8248 h 10610"/>
                <a:gd name="connsiteX24" fmla="*/ 7518 w 10149"/>
                <a:gd name="connsiteY24" fmla="*/ 8097 h 10610"/>
                <a:gd name="connsiteX25" fmla="*/ 7686 w 10149"/>
                <a:gd name="connsiteY25" fmla="*/ 7940 h 10610"/>
                <a:gd name="connsiteX26" fmla="*/ 7842 w 10149"/>
                <a:gd name="connsiteY26" fmla="*/ 7782 h 10610"/>
                <a:gd name="connsiteX27" fmla="*/ 7995 w 10149"/>
                <a:gd name="connsiteY27" fmla="*/ 7623 h 10610"/>
                <a:gd name="connsiteX28" fmla="*/ 8150 w 10149"/>
                <a:gd name="connsiteY28" fmla="*/ 7463 h 10610"/>
                <a:gd name="connsiteX29" fmla="*/ 8293 w 10149"/>
                <a:gd name="connsiteY29" fmla="*/ 7296 h 10610"/>
                <a:gd name="connsiteX30" fmla="*/ 8433 w 10149"/>
                <a:gd name="connsiteY30" fmla="*/ 7132 h 10610"/>
                <a:gd name="connsiteX31" fmla="*/ 8569 w 10149"/>
                <a:gd name="connsiteY31" fmla="*/ 6962 h 10610"/>
                <a:gd name="connsiteX32" fmla="*/ 8695 w 10149"/>
                <a:gd name="connsiteY32" fmla="*/ 6788 h 10610"/>
                <a:gd name="connsiteX33" fmla="*/ 8819 w 10149"/>
                <a:gd name="connsiteY33" fmla="*/ 6614 h 10610"/>
                <a:gd name="connsiteX34" fmla="*/ 8945 w 10149"/>
                <a:gd name="connsiteY34" fmla="*/ 6440 h 10610"/>
                <a:gd name="connsiteX35" fmla="*/ 9063 w 10149"/>
                <a:gd name="connsiteY35" fmla="*/ 6262 h 10610"/>
                <a:gd name="connsiteX36" fmla="*/ 9167 w 10149"/>
                <a:gd name="connsiteY36" fmla="*/ 6084 h 10610"/>
                <a:gd name="connsiteX37" fmla="*/ 9274 w 10149"/>
                <a:gd name="connsiteY37" fmla="*/ 5902 h 10610"/>
                <a:gd name="connsiteX38" fmla="*/ 9369 w 10149"/>
                <a:gd name="connsiteY38" fmla="*/ 5716 h 10610"/>
                <a:gd name="connsiteX39" fmla="*/ 9465 w 10149"/>
                <a:gd name="connsiteY39" fmla="*/ 5533 h 10610"/>
                <a:gd name="connsiteX40" fmla="*/ 9549 w 10149"/>
                <a:gd name="connsiteY40" fmla="*/ 5344 h 10610"/>
                <a:gd name="connsiteX41" fmla="*/ 9630 w 10149"/>
                <a:gd name="connsiteY41" fmla="*/ 5153 h 10610"/>
                <a:gd name="connsiteX42" fmla="*/ 9704 w 10149"/>
                <a:gd name="connsiteY42" fmla="*/ 4961 h 10610"/>
                <a:gd name="connsiteX43" fmla="*/ 9777 w 10149"/>
                <a:gd name="connsiteY43" fmla="*/ 4771 h 10610"/>
                <a:gd name="connsiteX44" fmla="*/ 9839 w 10149"/>
                <a:gd name="connsiteY44" fmla="*/ 4578 h 10610"/>
                <a:gd name="connsiteX45" fmla="*/ 9898 w 10149"/>
                <a:gd name="connsiteY45" fmla="*/ 4381 h 10610"/>
                <a:gd name="connsiteX46" fmla="*/ 9635 w 10149"/>
                <a:gd name="connsiteY46" fmla="*/ 0 h 10610"/>
                <a:gd name="connsiteX47" fmla="*/ 6408 w 10149"/>
                <a:gd name="connsiteY47" fmla="*/ 1883 h 10610"/>
                <a:gd name="connsiteX48" fmla="*/ 2450 w 10149"/>
                <a:gd name="connsiteY48" fmla="*/ 1500 h 10610"/>
                <a:gd name="connsiteX0" fmla="*/ 2450 w 10171"/>
                <a:gd name="connsiteY0" fmla="*/ 1500 h 10610"/>
                <a:gd name="connsiteX1" fmla="*/ 103 w 10171"/>
                <a:gd name="connsiteY1" fmla="*/ 5816 h 10610"/>
                <a:gd name="connsiteX2" fmla="*/ 0 w 10171"/>
                <a:gd name="connsiteY2" fmla="*/ 5857 h 10610"/>
                <a:gd name="connsiteX3" fmla="*/ 210 w 10171"/>
                <a:gd name="connsiteY3" fmla="*/ 8550 h 10610"/>
                <a:gd name="connsiteX4" fmla="*/ 3301 w 10171"/>
                <a:gd name="connsiteY4" fmla="*/ 10610 h 10610"/>
                <a:gd name="connsiteX5" fmla="*/ 3606 w 10171"/>
                <a:gd name="connsiteY5" fmla="*/ 10485 h 10610"/>
                <a:gd name="connsiteX6" fmla="*/ 3848 w 10171"/>
                <a:gd name="connsiteY6" fmla="*/ 10386 h 10610"/>
                <a:gd name="connsiteX7" fmla="*/ 4084 w 10171"/>
                <a:gd name="connsiteY7" fmla="*/ 10287 h 10610"/>
                <a:gd name="connsiteX8" fmla="*/ 4317 w 10171"/>
                <a:gd name="connsiteY8" fmla="*/ 10183 h 10610"/>
                <a:gd name="connsiteX9" fmla="*/ 4549 w 10171"/>
                <a:gd name="connsiteY9" fmla="*/ 10074 h 10610"/>
                <a:gd name="connsiteX10" fmla="*/ 4767 w 10171"/>
                <a:gd name="connsiteY10" fmla="*/ 9967 h 10610"/>
                <a:gd name="connsiteX11" fmla="*/ 4988 w 10171"/>
                <a:gd name="connsiteY11" fmla="*/ 9849 h 10610"/>
                <a:gd name="connsiteX12" fmla="*/ 5209 w 10171"/>
                <a:gd name="connsiteY12" fmla="*/ 9736 h 10610"/>
                <a:gd name="connsiteX13" fmla="*/ 5419 w 10171"/>
                <a:gd name="connsiteY13" fmla="*/ 9615 h 10610"/>
                <a:gd name="connsiteX14" fmla="*/ 5635 w 10171"/>
                <a:gd name="connsiteY14" fmla="*/ 9491 h 10610"/>
                <a:gd name="connsiteX15" fmla="*/ 5839 w 10171"/>
                <a:gd name="connsiteY15" fmla="*/ 9362 h 10610"/>
                <a:gd name="connsiteX16" fmla="*/ 6043 w 10171"/>
                <a:gd name="connsiteY16" fmla="*/ 9235 h 10610"/>
                <a:gd name="connsiteX17" fmla="*/ 6239 w 10171"/>
                <a:gd name="connsiteY17" fmla="*/ 9105 h 10610"/>
                <a:gd name="connsiteX18" fmla="*/ 6438 w 10171"/>
                <a:gd name="connsiteY18" fmla="*/ 8967 h 10610"/>
                <a:gd name="connsiteX19" fmla="*/ 6629 w 10171"/>
                <a:gd name="connsiteY19" fmla="*/ 8825 h 10610"/>
                <a:gd name="connsiteX20" fmla="*/ 6814 w 10171"/>
                <a:gd name="connsiteY20" fmla="*/ 8689 h 10610"/>
                <a:gd name="connsiteX21" fmla="*/ 6997 w 10171"/>
                <a:gd name="connsiteY21" fmla="*/ 8544 h 10610"/>
                <a:gd name="connsiteX22" fmla="*/ 7173 w 10171"/>
                <a:gd name="connsiteY22" fmla="*/ 8396 h 10610"/>
                <a:gd name="connsiteX23" fmla="*/ 7349 w 10171"/>
                <a:gd name="connsiteY23" fmla="*/ 8248 h 10610"/>
                <a:gd name="connsiteX24" fmla="*/ 7518 w 10171"/>
                <a:gd name="connsiteY24" fmla="*/ 8097 h 10610"/>
                <a:gd name="connsiteX25" fmla="*/ 7686 w 10171"/>
                <a:gd name="connsiteY25" fmla="*/ 7940 h 10610"/>
                <a:gd name="connsiteX26" fmla="*/ 7842 w 10171"/>
                <a:gd name="connsiteY26" fmla="*/ 7782 h 10610"/>
                <a:gd name="connsiteX27" fmla="*/ 7995 w 10171"/>
                <a:gd name="connsiteY27" fmla="*/ 7623 h 10610"/>
                <a:gd name="connsiteX28" fmla="*/ 8150 w 10171"/>
                <a:gd name="connsiteY28" fmla="*/ 7463 h 10610"/>
                <a:gd name="connsiteX29" fmla="*/ 8293 w 10171"/>
                <a:gd name="connsiteY29" fmla="*/ 7296 h 10610"/>
                <a:gd name="connsiteX30" fmla="*/ 8433 w 10171"/>
                <a:gd name="connsiteY30" fmla="*/ 7132 h 10610"/>
                <a:gd name="connsiteX31" fmla="*/ 8569 w 10171"/>
                <a:gd name="connsiteY31" fmla="*/ 6962 h 10610"/>
                <a:gd name="connsiteX32" fmla="*/ 8695 w 10171"/>
                <a:gd name="connsiteY32" fmla="*/ 6788 h 10610"/>
                <a:gd name="connsiteX33" fmla="*/ 8819 w 10171"/>
                <a:gd name="connsiteY33" fmla="*/ 6614 h 10610"/>
                <a:gd name="connsiteX34" fmla="*/ 8945 w 10171"/>
                <a:gd name="connsiteY34" fmla="*/ 6440 h 10610"/>
                <a:gd name="connsiteX35" fmla="*/ 9063 w 10171"/>
                <a:gd name="connsiteY35" fmla="*/ 6262 h 10610"/>
                <a:gd name="connsiteX36" fmla="*/ 9167 w 10171"/>
                <a:gd name="connsiteY36" fmla="*/ 6084 h 10610"/>
                <a:gd name="connsiteX37" fmla="*/ 9274 w 10171"/>
                <a:gd name="connsiteY37" fmla="*/ 5902 h 10610"/>
                <a:gd name="connsiteX38" fmla="*/ 9369 w 10171"/>
                <a:gd name="connsiteY38" fmla="*/ 5716 h 10610"/>
                <a:gd name="connsiteX39" fmla="*/ 9465 w 10171"/>
                <a:gd name="connsiteY39" fmla="*/ 5533 h 10610"/>
                <a:gd name="connsiteX40" fmla="*/ 9549 w 10171"/>
                <a:gd name="connsiteY40" fmla="*/ 5344 h 10610"/>
                <a:gd name="connsiteX41" fmla="*/ 9630 w 10171"/>
                <a:gd name="connsiteY41" fmla="*/ 5153 h 10610"/>
                <a:gd name="connsiteX42" fmla="*/ 9704 w 10171"/>
                <a:gd name="connsiteY42" fmla="*/ 4961 h 10610"/>
                <a:gd name="connsiteX43" fmla="*/ 9777 w 10171"/>
                <a:gd name="connsiteY43" fmla="*/ 4771 h 10610"/>
                <a:gd name="connsiteX44" fmla="*/ 9839 w 10171"/>
                <a:gd name="connsiteY44" fmla="*/ 4578 h 10610"/>
                <a:gd name="connsiteX45" fmla="*/ 9898 w 10171"/>
                <a:gd name="connsiteY45" fmla="*/ 4381 h 10610"/>
                <a:gd name="connsiteX46" fmla="*/ 9635 w 10171"/>
                <a:gd name="connsiteY46" fmla="*/ 0 h 10610"/>
                <a:gd name="connsiteX47" fmla="*/ 6408 w 10171"/>
                <a:gd name="connsiteY47" fmla="*/ 1883 h 10610"/>
                <a:gd name="connsiteX48" fmla="*/ 2450 w 10171"/>
                <a:gd name="connsiteY48" fmla="*/ 1500 h 10610"/>
                <a:gd name="connsiteX0" fmla="*/ 2450 w 10171"/>
                <a:gd name="connsiteY0" fmla="*/ 1500 h 10610"/>
                <a:gd name="connsiteX1" fmla="*/ 103 w 10171"/>
                <a:gd name="connsiteY1" fmla="*/ 5816 h 10610"/>
                <a:gd name="connsiteX2" fmla="*/ 0 w 10171"/>
                <a:gd name="connsiteY2" fmla="*/ 5857 h 10610"/>
                <a:gd name="connsiteX3" fmla="*/ 210 w 10171"/>
                <a:gd name="connsiteY3" fmla="*/ 8550 h 10610"/>
                <a:gd name="connsiteX4" fmla="*/ 3281 w 10171"/>
                <a:gd name="connsiteY4" fmla="*/ 10596 h 10610"/>
                <a:gd name="connsiteX5" fmla="*/ 3301 w 10171"/>
                <a:gd name="connsiteY5" fmla="*/ 10610 h 10610"/>
                <a:gd name="connsiteX6" fmla="*/ 3606 w 10171"/>
                <a:gd name="connsiteY6" fmla="*/ 10485 h 10610"/>
                <a:gd name="connsiteX7" fmla="*/ 3848 w 10171"/>
                <a:gd name="connsiteY7" fmla="*/ 10386 h 10610"/>
                <a:gd name="connsiteX8" fmla="*/ 4084 w 10171"/>
                <a:gd name="connsiteY8" fmla="*/ 10287 h 10610"/>
                <a:gd name="connsiteX9" fmla="*/ 4317 w 10171"/>
                <a:gd name="connsiteY9" fmla="*/ 10183 h 10610"/>
                <a:gd name="connsiteX10" fmla="*/ 4549 w 10171"/>
                <a:gd name="connsiteY10" fmla="*/ 10074 h 10610"/>
                <a:gd name="connsiteX11" fmla="*/ 4767 w 10171"/>
                <a:gd name="connsiteY11" fmla="*/ 9967 h 10610"/>
                <a:gd name="connsiteX12" fmla="*/ 4988 w 10171"/>
                <a:gd name="connsiteY12" fmla="*/ 9849 h 10610"/>
                <a:gd name="connsiteX13" fmla="*/ 5209 w 10171"/>
                <a:gd name="connsiteY13" fmla="*/ 9736 h 10610"/>
                <a:gd name="connsiteX14" fmla="*/ 5419 w 10171"/>
                <a:gd name="connsiteY14" fmla="*/ 9615 h 10610"/>
                <a:gd name="connsiteX15" fmla="*/ 5635 w 10171"/>
                <a:gd name="connsiteY15" fmla="*/ 9491 h 10610"/>
                <a:gd name="connsiteX16" fmla="*/ 5839 w 10171"/>
                <a:gd name="connsiteY16" fmla="*/ 9362 h 10610"/>
                <a:gd name="connsiteX17" fmla="*/ 6043 w 10171"/>
                <a:gd name="connsiteY17" fmla="*/ 9235 h 10610"/>
                <a:gd name="connsiteX18" fmla="*/ 6239 w 10171"/>
                <a:gd name="connsiteY18" fmla="*/ 9105 h 10610"/>
                <a:gd name="connsiteX19" fmla="*/ 6438 w 10171"/>
                <a:gd name="connsiteY19" fmla="*/ 8967 h 10610"/>
                <a:gd name="connsiteX20" fmla="*/ 6629 w 10171"/>
                <a:gd name="connsiteY20" fmla="*/ 8825 h 10610"/>
                <a:gd name="connsiteX21" fmla="*/ 6814 w 10171"/>
                <a:gd name="connsiteY21" fmla="*/ 8689 h 10610"/>
                <a:gd name="connsiteX22" fmla="*/ 6997 w 10171"/>
                <a:gd name="connsiteY22" fmla="*/ 8544 h 10610"/>
                <a:gd name="connsiteX23" fmla="*/ 7173 w 10171"/>
                <a:gd name="connsiteY23" fmla="*/ 8396 h 10610"/>
                <a:gd name="connsiteX24" fmla="*/ 7349 w 10171"/>
                <a:gd name="connsiteY24" fmla="*/ 8248 h 10610"/>
                <a:gd name="connsiteX25" fmla="*/ 7518 w 10171"/>
                <a:gd name="connsiteY25" fmla="*/ 8097 h 10610"/>
                <a:gd name="connsiteX26" fmla="*/ 7686 w 10171"/>
                <a:gd name="connsiteY26" fmla="*/ 7940 h 10610"/>
                <a:gd name="connsiteX27" fmla="*/ 7842 w 10171"/>
                <a:gd name="connsiteY27" fmla="*/ 7782 h 10610"/>
                <a:gd name="connsiteX28" fmla="*/ 7995 w 10171"/>
                <a:gd name="connsiteY28" fmla="*/ 7623 h 10610"/>
                <a:gd name="connsiteX29" fmla="*/ 8150 w 10171"/>
                <a:gd name="connsiteY29" fmla="*/ 7463 h 10610"/>
                <a:gd name="connsiteX30" fmla="*/ 8293 w 10171"/>
                <a:gd name="connsiteY30" fmla="*/ 7296 h 10610"/>
                <a:gd name="connsiteX31" fmla="*/ 8433 w 10171"/>
                <a:gd name="connsiteY31" fmla="*/ 7132 h 10610"/>
                <a:gd name="connsiteX32" fmla="*/ 8569 w 10171"/>
                <a:gd name="connsiteY32" fmla="*/ 6962 h 10610"/>
                <a:gd name="connsiteX33" fmla="*/ 8695 w 10171"/>
                <a:gd name="connsiteY33" fmla="*/ 6788 h 10610"/>
                <a:gd name="connsiteX34" fmla="*/ 8819 w 10171"/>
                <a:gd name="connsiteY34" fmla="*/ 6614 h 10610"/>
                <a:gd name="connsiteX35" fmla="*/ 8945 w 10171"/>
                <a:gd name="connsiteY35" fmla="*/ 6440 h 10610"/>
                <a:gd name="connsiteX36" fmla="*/ 9063 w 10171"/>
                <a:gd name="connsiteY36" fmla="*/ 6262 h 10610"/>
                <a:gd name="connsiteX37" fmla="*/ 9167 w 10171"/>
                <a:gd name="connsiteY37" fmla="*/ 6084 h 10610"/>
                <a:gd name="connsiteX38" fmla="*/ 9274 w 10171"/>
                <a:gd name="connsiteY38" fmla="*/ 5902 h 10610"/>
                <a:gd name="connsiteX39" fmla="*/ 9369 w 10171"/>
                <a:gd name="connsiteY39" fmla="*/ 5716 h 10610"/>
                <a:gd name="connsiteX40" fmla="*/ 9465 w 10171"/>
                <a:gd name="connsiteY40" fmla="*/ 5533 h 10610"/>
                <a:gd name="connsiteX41" fmla="*/ 9549 w 10171"/>
                <a:gd name="connsiteY41" fmla="*/ 5344 h 10610"/>
                <a:gd name="connsiteX42" fmla="*/ 9630 w 10171"/>
                <a:gd name="connsiteY42" fmla="*/ 5153 h 10610"/>
                <a:gd name="connsiteX43" fmla="*/ 9704 w 10171"/>
                <a:gd name="connsiteY43" fmla="*/ 4961 h 10610"/>
                <a:gd name="connsiteX44" fmla="*/ 9777 w 10171"/>
                <a:gd name="connsiteY44" fmla="*/ 4771 h 10610"/>
                <a:gd name="connsiteX45" fmla="*/ 9839 w 10171"/>
                <a:gd name="connsiteY45" fmla="*/ 4578 h 10610"/>
                <a:gd name="connsiteX46" fmla="*/ 9898 w 10171"/>
                <a:gd name="connsiteY46" fmla="*/ 4381 h 10610"/>
                <a:gd name="connsiteX47" fmla="*/ 9635 w 10171"/>
                <a:gd name="connsiteY47" fmla="*/ 0 h 10610"/>
                <a:gd name="connsiteX48" fmla="*/ 6408 w 10171"/>
                <a:gd name="connsiteY48" fmla="*/ 1883 h 10610"/>
                <a:gd name="connsiteX49" fmla="*/ 2450 w 10171"/>
                <a:gd name="connsiteY49" fmla="*/ 1500 h 10610"/>
                <a:gd name="connsiteX0" fmla="*/ 2450 w 10171"/>
                <a:gd name="connsiteY0" fmla="*/ 1500 h 10720"/>
                <a:gd name="connsiteX1" fmla="*/ 103 w 10171"/>
                <a:gd name="connsiteY1" fmla="*/ 5816 h 10720"/>
                <a:gd name="connsiteX2" fmla="*/ 0 w 10171"/>
                <a:gd name="connsiteY2" fmla="*/ 5857 h 10720"/>
                <a:gd name="connsiteX3" fmla="*/ 210 w 10171"/>
                <a:gd name="connsiteY3" fmla="*/ 8550 h 10720"/>
                <a:gd name="connsiteX4" fmla="*/ 3281 w 10171"/>
                <a:gd name="connsiteY4" fmla="*/ 10596 h 10720"/>
                <a:gd name="connsiteX5" fmla="*/ 3606 w 10171"/>
                <a:gd name="connsiteY5" fmla="*/ 10485 h 10720"/>
                <a:gd name="connsiteX6" fmla="*/ 3848 w 10171"/>
                <a:gd name="connsiteY6" fmla="*/ 10386 h 10720"/>
                <a:gd name="connsiteX7" fmla="*/ 4084 w 10171"/>
                <a:gd name="connsiteY7" fmla="*/ 10287 h 10720"/>
                <a:gd name="connsiteX8" fmla="*/ 4317 w 10171"/>
                <a:gd name="connsiteY8" fmla="*/ 10183 h 10720"/>
                <a:gd name="connsiteX9" fmla="*/ 4549 w 10171"/>
                <a:gd name="connsiteY9" fmla="*/ 10074 h 10720"/>
                <a:gd name="connsiteX10" fmla="*/ 4767 w 10171"/>
                <a:gd name="connsiteY10" fmla="*/ 9967 h 10720"/>
                <a:gd name="connsiteX11" fmla="*/ 4988 w 10171"/>
                <a:gd name="connsiteY11" fmla="*/ 9849 h 10720"/>
                <a:gd name="connsiteX12" fmla="*/ 5209 w 10171"/>
                <a:gd name="connsiteY12" fmla="*/ 9736 h 10720"/>
                <a:gd name="connsiteX13" fmla="*/ 5419 w 10171"/>
                <a:gd name="connsiteY13" fmla="*/ 9615 h 10720"/>
                <a:gd name="connsiteX14" fmla="*/ 5635 w 10171"/>
                <a:gd name="connsiteY14" fmla="*/ 9491 h 10720"/>
                <a:gd name="connsiteX15" fmla="*/ 5839 w 10171"/>
                <a:gd name="connsiteY15" fmla="*/ 9362 h 10720"/>
                <a:gd name="connsiteX16" fmla="*/ 6043 w 10171"/>
                <a:gd name="connsiteY16" fmla="*/ 9235 h 10720"/>
                <a:gd name="connsiteX17" fmla="*/ 6239 w 10171"/>
                <a:gd name="connsiteY17" fmla="*/ 9105 h 10720"/>
                <a:gd name="connsiteX18" fmla="*/ 6438 w 10171"/>
                <a:gd name="connsiteY18" fmla="*/ 8967 h 10720"/>
                <a:gd name="connsiteX19" fmla="*/ 6629 w 10171"/>
                <a:gd name="connsiteY19" fmla="*/ 8825 h 10720"/>
                <a:gd name="connsiteX20" fmla="*/ 6814 w 10171"/>
                <a:gd name="connsiteY20" fmla="*/ 8689 h 10720"/>
                <a:gd name="connsiteX21" fmla="*/ 6997 w 10171"/>
                <a:gd name="connsiteY21" fmla="*/ 8544 h 10720"/>
                <a:gd name="connsiteX22" fmla="*/ 7173 w 10171"/>
                <a:gd name="connsiteY22" fmla="*/ 8396 h 10720"/>
                <a:gd name="connsiteX23" fmla="*/ 7349 w 10171"/>
                <a:gd name="connsiteY23" fmla="*/ 8248 h 10720"/>
                <a:gd name="connsiteX24" fmla="*/ 7518 w 10171"/>
                <a:gd name="connsiteY24" fmla="*/ 8097 h 10720"/>
                <a:gd name="connsiteX25" fmla="*/ 7686 w 10171"/>
                <a:gd name="connsiteY25" fmla="*/ 7940 h 10720"/>
                <a:gd name="connsiteX26" fmla="*/ 7842 w 10171"/>
                <a:gd name="connsiteY26" fmla="*/ 7782 h 10720"/>
                <a:gd name="connsiteX27" fmla="*/ 7995 w 10171"/>
                <a:gd name="connsiteY27" fmla="*/ 7623 h 10720"/>
                <a:gd name="connsiteX28" fmla="*/ 8150 w 10171"/>
                <a:gd name="connsiteY28" fmla="*/ 7463 h 10720"/>
                <a:gd name="connsiteX29" fmla="*/ 8293 w 10171"/>
                <a:gd name="connsiteY29" fmla="*/ 7296 h 10720"/>
                <a:gd name="connsiteX30" fmla="*/ 8433 w 10171"/>
                <a:gd name="connsiteY30" fmla="*/ 7132 h 10720"/>
                <a:gd name="connsiteX31" fmla="*/ 8569 w 10171"/>
                <a:gd name="connsiteY31" fmla="*/ 6962 h 10720"/>
                <a:gd name="connsiteX32" fmla="*/ 8695 w 10171"/>
                <a:gd name="connsiteY32" fmla="*/ 6788 h 10720"/>
                <a:gd name="connsiteX33" fmla="*/ 8819 w 10171"/>
                <a:gd name="connsiteY33" fmla="*/ 6614 h 10720"/>
                <a:gd name="connsiteX34" fmla="*/ 8945 w 10171"/>
                <a:gd name="connsiteY34" fmla="*/ 6440 h 10720"/>
                <a:gd name="connsiteX35" fmla="*/ 9063 w 10171"/>
                <a:gd name="connsiteY35" fmla="*/ 6262 h 10720"/>
                <a:gd name="connsiteX36" fmla="*/ 9167 w 10171"/>
                <a:gd name="connsiteY36" fmla="*/ 6084 h 10720"/>
                <a:gd name="connsiteX37" fmla="*/ 9274 w 10171"/>
                <a:gd name="connsiteY37" fmla="*/ 5902 h 10720"/>
                <a:gd name="connsiteX38" fmla="*/ 9369 w 10171"/>
                <a:gd name="connsiteY38" fmla="*/ 5716 h 10720"/>
                <a:gd name="connsiteX39" fmla="*/ 9465 w 10171"/>
                <a:gd name="connsiteY39" fmla="*/ 5533 h 10720"/>
                <a:gd name="connsiteX40" fmla="*/ 9549 w 10171"/>
                <a:gd name="connsiteY40" fmla="*/ 5344 h 10720"/>
                <a:gd name="connsiteX41" fmla="*/ 9630 w 10171"/>
                <a:gd name="connsiteY41" fmla="*/ 5153 h 10720"/>
                <a:gd name="connsiteX42" fmla="*/ 9704 w 10171"/>
                <a:gd name="connsiteY42" fmla="*/ 4961 h 10720"/>
                <a:gd name="connsiteX43" fmla="*/ 9777 w 10171"/>
                <a:gd name="connsiteY43" fmla="*/ 4771 h 10720"/>
                <a:gd name="connsiteX44" fmla="*/ 9839 w 10171"/>
                <a:gd name="connsiteY44" fmla="*/ 4578 h 10720"/>
                <a:gd name="connsiteX45" fmla="*/ 9898 w 10171"/>
                <a:gd name="connsiteY45" fmla="*/ 4381 h 10720"/>
                <a:gd name="connsiteX46" fmla="*/ 9635 w 10171"/>
                <a:gd name="connsiteY46" fmla="*/ 0 h 10720"/>
                <a:gd name="connsiteX47" fmla="*/ 6408 w 10171"/>
                <a:gd name="connsiteY47" fmla="*/ 1883 h 10720"/>
                <a:gd name="connsiteX48" fmla="*/ 2450 w 10171"/>
                <a:gd name="connsiteY48" fmla="*/ 1500 h 10720"/>
                <a:gd name="connsiteX0" fmla="*/ 2450 w 10171"/>
                <a:gd name="connsiteY0" fmla="*/ 1500 h 10596"/>
                <a:gd name="connsiteX1" fmla="*/ 103 w 10171"/>
                <a:gd name="connsiteY1" fmla="*/ 5816 h 10596"/>
                <a:gd name="connsiteX2" fmla="*/ 0 w 10171"/>
                <a:gd name="connsiteY2" fmla="*/ 5857 h 10596"/>
                <a:gd name="connsiteX3" fmla="*/ 210 w 10171"/>
                <a:gd name="connsiteY3" fmla="*/ 8550 h 10596"/>
                <a:gd name="connsiteX4" fmla="*/ 3281 w 10171"/>
                <a:gd name="connsiteY4" fmla="*/ 10596 h 10596"/>
                <a:gd name="connsiteX5" fmla="*/ 3606 w 10171"/>
                <a:gd name="connsiteY5" fmla="*/ 10485 h 10596"/>
                <a:gd name="connsiteX6" fmla="*/ 3848 w 10171"/>
                <a:gd name="connsiteY6" fmla="*/ 10386 h 10596"/>
                <a:gd name="connsiteX7" fmla="*/ 4084 w 10171"/>
                <a:gd name="connsiteY7" fmla="*/ 10287 h 10596"/>
                <a:gd name="connsiteX8" fmla="*/ 4317 w 10171"/>
                <a:gd name="connsiteY8" fmla="*/ 10183 h 10596"/>
                <a:gd name="connsiteX9" fmla="*/ 4549 w 10171"/>
                <a:gd name="connsiteY9" fmla="*/ 10074 h 10596"/>
                <a:gd name="connsiteX10" fmla="*/ 4767 w 10171"/>
                <a:gd name="connsiteY10" fmla="*/ 9967 h 10596"/>
                <a:gd name="connsiteX11" fmla="*/ 4988 w 10171"/>
                <a:gd name="connsiteY11" fmla="*/ 9849 h 10596"/>
                <a:gd name="connsiteX12" fmla="*/ 5209 w 10171"/>
                <a:gd name="connsiteY12" fmla="*/ 9736 h 10596"/>
                <a:gd name="connsiteX13" fmla="*/ 5419 w 10171"/>
                <a:gd name="connsiteY13" fmla="*/ 9615 h 10596"/>
                <a:gd name="connsiteX14" fmla="*/ 5635 w 10171"/>
                <a:gd name="connsiteY14" fmla="*/ 9491 h 10596"/>
                <a:gd name="connsiteX15" fmla="*/ 5839 w 10171"/>
                <a:gd name="connsiteY15" fmla="*/ 9362 h 10596"/>
                <a:gd name="connsiteX16" fmla="*/ 6043 w 10171"/>
                <a:gd name="connsiteY16" fmla="*/ 9235 h 10596"/>
                <a:gd name="connsiteX17" fmla="*/ 6239 w 10171"/>
                <a:gd name="connsiteY17" fmla="*/ 9105 h 10596"/>
                <a:gd name="connsiteX18" fmla="*/ 6438 w 10171"/>
                <a:gd name="connsiteY18" fmla="*/ 8967 h 10596"/>
                <a:gd name="connsiteX19" fmla="*/ 6629 w 10171"/>
                <a:gd name="connsiteY19" fmla="*/ 8825 h 10596"/>
                <a:gd name="connsiteX20" fmla="*/ 6814 w 10171"/>
                <a:gd name="connsiteY20" fmla="*/ 8689 h 10596"/>
                <a:gd name="connsiteX21" fmla="*/ 6997 w 10171"/>
                <a:gd name="connsiteY21" fmla="*/ 8544 h 10596"/>
                <a:gd name="connsiteX22" fmla="*/ 7173 w 10171"/>
                <a:gd name="connsiteY22" fmla="*/ 8396 h 10596"/>
                <a:gd name="connsiteX23" fmla="*/ 7349 w 10171"/>
                <a:gd name="connsiteY23" fmla="*/ 8248 h 10596"/>
                <a:gd name="connsiteX24" fmla="*/ 7518 w 10171"/>
                <a:gd name="connsiteY24" fmla="*/ 8097 h 10596"/>
                <a:gd name="connsiteX25" fmla="*/ 7686 w 10171"/>
                <a:gd name="connsiteY25" fmla="*/ 7940 h 10596"/>
                <a:gd name="connsiteX26" fmla="*/ 7842 w 10171"/>
                <a:gd name="connsiteY26" fmla="*/ 7782 h 10596"/>
                <a:gd name="connsiteX27" fmla="*/ 7995 w 10171"/>
                <a:gd name="connsiteY27" fmla="*/ 7623 h 10596"/>
                <a:gd name="connsiteX28" fmla="*/ 8150 w 10171"/>
                <a:gd name="connsiteY28" fmla="*/ 7463 h 10596"/>
                <a:gd name="connsiteX29" fmla="*/ 8293 w 10171"/>
                <a:gd name="connsiteY29" fmla="*/ 7296 h 10596"/>
                <a:gd name="connsiteX30" fmla="*/ 8433 w 10171"/>
                <a:gd name="connsiteY30" fmla="*/ 7132 h 10596"/>
                <a:gd name="connsiteX31" fmla="*/ 8569 w 10171"/>
                <a:gd name="connsiteY31" fmla="*/ 6962 h 10596"/>
                <a:gd name="connsiteX32" fmla="*/ 8695 w 10171"/>
                <a:gd name="connsiteY32" fmla="*/ 6788 h 10596"/>
                <a:gd name="connsiteX33" fmla="*/ 8819 w 10171"/>
                <a:gd name="connsiteY33" fmla="*/ 6614 h 10596"/>
                <a:gd name="connsiteX34" fmla="*/ 8945 w 10171"/>
                <a:gd name="connsiteY34" fmla="*/ 6440 h 10596"/>
                <a:gd name="connsiteX35" fmla="*/ 9063 w 10171"/>
                <a:gd name="connsiteY35" fmla="*/ 6262 h 10596"/>
                <a:gd name="connsiteX36" fmla="*/ 9167 w 10171"/>
                <a:gd name="connsiteY36" fmla="*/ 6084 h 10596"/>
                <a:gd name="connsiteX37" fmla="*/ 9274 w 10171"/>
                <a:gd name="connsiteY37" fmla="*/ 5902 h 10596"/>
                <a:gd name="connsiteX38" fmla="*/ 9369 w 10171"/>
                <a:gd name="connsiteY38" fmla="*/ 5716 h 10596"/>
                <a:gd name="connsiteX39" fmla="*/ 9465 w 10171"/>
                <a:gd name="connsiteY39" fmla="*/ 5533 h 10596"/>
                <a:gd name="connsiteX40" fmla="*/ 9549 w 10171"/>
                <a:gd name="connsiteY40" fmla="*/ 5344 h 10596"/>
                <a:gd name="connsiteX41" fmla="*/ 9630 w 10171"/>
                <a:gd name="connsiteY41" fmla="*/ 5153 h 10596"/>
                <a:gd name="connsiteX42" fmla="*/ 9704 w 10171"/>
                <a:gd name="connsiteY42" fmla="*/ 4961 h 10596"/>
                <a:gd name="connsiteX43" fmla="*/ 9777 w 10171"/>
                <a:gd name="connsiteY43" fmla="*/ 4771 h 10596"/>
                <a:gd name="connsiteX44" fmla="*/ 9839 w 10171"/>
                <a:gd name="connsiteY44" fmla="*/ 4578 h 10596"/>
                <a:gd name="connsiteX45" fmla="*/ 9898 w 10171"/>
                <a:gd name="connsiteY45" fmla="*/ 4381 h 10596"/>
                <a:gd name="connsiteX46" fmla="*/ 9635 w 10171"/>
                <a:gd name="connsiteY46" fmla="*/ 0 h 10596"/>
                <a:gd name="connsiteX47" fmla="*/ 6408 w 10171"/>
                <a:gd name="connsiteY47" fmla="*/ 1883 h 10596"/>
                <a:gd name="connsiteX48" fmla="*/ 2450 w 10171"/>
                <a:gd name="connsiteY48" fmla="*/ 1500 h 10596"/>
                <a:gd name="connsiteX0" fmla="*/ 2450 w 10171"/>
                <a:gd name="connsiteY0" fmla="*/ 1500 h 10596"/>
                <a:gd name="connsiteX1" fmla="*/ 103 w 10171"/>
                <a:gd name="connsiteY1" fmla="*/ 5816 h 10596"/>
                <a:gd name="connsiteX2" fmla="*/ 0 w 10171"/>
                <a:gd name="connsiteY2" fmla="*/ 5857 h 10596"/>
                <a:gd name="connsiteX3" fmla="*/ 210 w 10171"/>
                <a:gd name="connsiteY3" fmla="*/ 8550 h 10596"/>
                <a:gd name="connsiteX4" fmla="*/ 3281 w 10171"/>
                <a:gd name="connsiteY4" fmla="*/ 10596 h 10596"/>
                <a:gd name="connsiteX5" fmla="*/ 3606 w 10171"/>
                <a:gd name="connsiteY5" fmla="*/ 10485 h 10596"/>
                <a:gd name="connsiteX6" fmla="*/ 3848 w 10171"/>
                <a:gd name="connsiteY6" fmla="*/ 10386 h 10596"/>
                <a:gd name="connsiteX7" fmla="*/ 4084 w 10171"/>
                <a:gd name="connsiteY7" fmla="*/ 10287 h 10596"/>
                <a:gd name="connsiteX8" fmla="*/ 4317 w 10171"/>
                <a:gd name="connsiteY8" fmla="*/ 10183 h 10596"/>
                <a:gd name="connsiteX9" fmla="*/ 4549 w 10171"/>
                <a:gd name="connsiteY9" fmla="*/ 10074 h 10596"/>
                <a:gd name="connsiteX10" fmla="*/ 4767 w 10171"/>
                <a:gd name="connsiteY10" fmla="*/ 9967 h 10596"/>
                <a:gd name="connsiteX11" fmla="*/ 4988 w 10171"/>
                <a:gd name="connsiteY11" fmla="*/ 9849 h 10596"/>
                <a:gd name="connsiteX12" fmla="*/ 5209 w 10171"/>
                <a:gd name="connsiteY12" fmla="*/ 9736 h 10596"/>
                <a:gd name="connsiteX13" fmla="*/ 5419 w 10171"/>
                <a:gd name="connsiteY13" fmla="*/ 9615 h 10596"/>
                <a:gd name="connsiteX14" fmla="*/ 5635 w 10171"/>
                <a:gd name="connsiteY14" fmla="*/ 9491 h 10596"/>
                <a:gd name="connsiteX15" fmla="*/ 5839 w 10171"/>
                <a:gd name="connsiteY15" fmla="*/ 9362 h 10596"/>
                <a:gd name="connsiteX16" fmla="*/ 6043 w 10171"/>
                <a:gd name="connsiteY16" fmla="*/ 9235 h 10596"/>
                <a:gd name="connsiteX17" fmla="*/ 6239 w 10171"/>
                <a:gd name="connsiteY17" fmla="*/ 9105 h 10596"/>
                <a:gd name="connsiteX18" fmla="*/ 6438 w 10171"/>
                <a:gd name="connsiteY18" fmla="*/ 8967 h 10596"/>
                <a:gd name="connsiteX19" fmla="*/ 6629 w 10171"/>
                <a:gd name="connsiteY19" fmla="*/ 8825 h 10596"/>
                <a:gd name="connsiteX20" fmla="*/ 6814 w 10171"/>
                <a:gd name="connsiteY20" fmla="*/ 8689 h 10596"/>
                <a:gd name="connsiteX21" fmla="*/ 6997 w 10171"/>
                <a:gd name="connsiteY21" fmla="*/ 8544 h 10596"/>
                <a:gd name="connsiteX22" fmla="*/ 7173 w 10171"/>
                <a:gd name="connsiteY22" fmla="*/ 8396 h 10596"/>
                <a:gd name="connsiteX23" fmla="*/ 7349 w 10171"/>
                <a:gd name="connsiteY23" fmla="*/ 8248 h 10596"/>
                <a:gd name="connsiteX24" fmla="*/ 7518 w 10171"/>
                <a:gd name="connsiteY24" fmla="*/ 8097 h 10596"/>
                <a:gd name="connsiteX25" fmla="*/ 7686 w 10171"/>
                <a:gd name="connsiteY25" fmla="*/ 7940 h 10596"/>
                <a:gd name="connsiteX26" fmla="*/ 7842 w 10171"/>
                <a:gd name="connsiteY26" fmla="*/ 7782 h 10596"/>
                <a:gd name="connsiteX27" fmla="*/ 7995 w 10171"/>
                <a:gd name="connsiteY27" fmla="*/ 7623 h 10596"/>
                <a:gd name="connsiteX28" fmla="*/ 8150 w 10171"/>
                <a:gd name="connsiteY28" fmla="*/ 7463 h 10596"/>
                <a:gd name="connsiteX29" fmla="*/ 8293 w 10171"/>
                <a:gd name="connsiteY29" fmla="*/ 7296 h 10596"/>
                <a:gd name="connsiteX30" fmla="*/ 8433 w 10171"/>
                <a:gd name="connsiteY30" fmla="*/ 7132 h 10596"/>
                <a:gd name="connsiteX31" fmla="*/ 8569 w 10171"/>
                <a:gd name="connsiteY31" fmla="*/ 6962 h 10596"/>
                <a:gd name="connsiteX32" fmla="*/ 8695 w 10171"/>
                <a:gd name="connsiteY32" fmla="*/ 6788 h 10596"/>
                <a:gd name="connsiteX33" fmla="*/ 8819 w 10171"/>
                <a:gd name="connsiteY33" fmla="*/ 6614 h 10596"/>
                <a:gd name="connsiteX34" fmla="*/ 8945 w 10171"/>
                <a:gd name="connsiteY34" fmla="*/ 6440 h 10596"/>
                <a:gd name="connsiteX35" fmla="*/ 9063 w 10171"/>
                <a:gd name="connsiteY35" fmla="*/ 6262 h 10596"/>
                <a:gd name="connsiteX36" fmla="*/ 9167 w 10171"/>
                <a:gd name="connsiteY36" fmla="*/ 6084 h 10596"/>
                <a:gd name="connsiteX37" fmla="*/ 9274 w 10171"/>
                <a:gd name="connsiteY37" fmla="*/ 5902 h 10596"/>
                <a:gd name="connsiteX38" fmla="*/ 9369 w 10171"/>
                <a:gd name="connsiteY38" fmla="*/ 5716 h 10596"/>
                <a:gd name="connsiteX39" fmla="*/ 9465 w 10171"/>
                <a:gd name="connsiteY39" fmla="*/ 5533 h 10596"/>
                <a:gd name="connsiteX40" fmla="*/ 9549 w 10171"/>
                <a:gd name="connsiteY40" fmla="*/ 5344 h 10596"/>
                <a:gd name="connsiteX41" fmla="*/ 9630 w 10171"/>
                <a:gd name="connsiteY41" fmla="*/ 5153 h 10596"/>
                <a:gd name="connsiteX42" fmla="*/ 9704 w 10171"/>
                <a:gd name="connsiteY42" fmla="*/ 4961 h 10596"/>
                <a:gd name="connsiteX43" fmla="*/ 9777 w 10171"/>
                <a:gd name="connsiteY43" fmla="*/ 4771 h 10596"/>
                <a:gd name="connsiteX44" fmla="*/ 9839 w 10171"/>
                <a:gd name="connsiteY44" fmla="*/ 4578 h 10596"/>
                <a:gd name="connsiteX45" fmla="*/ 9898 w 10171"/>
                <a:gd name="connsiteY45" fmla="*/ 4381 h 10596"/>
                <a:gd name="connsiteX46" fmla="*/ 9635 w 10171"/>
                <a:gd name="connsiteY46" fmla="*/ 0 h 10596"/>
                <a:gd name="connsiteX47" fmla="*/ 6408 w 10171"/>
                <a:gd name="connsiteY47" fmla="*/ 1883 h 10596"/>
                <a:gd name="connsiteX48" fmla="*/ 2450 w 10171"/>
                <a:gd name="connsiteY48" fmla="*/ 1500 h 10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171" h="10596">
                  <a:moveTo>
                    <a:pt x="2450" y="1500"/>
                  </a:moveTo>
                  <a:cubicBezTo>
                    <a:pt x="2798" y="2409"/>
                    <a:pt x="3158" y="4458"/>
                    <a:pt x="103" y="5816"/>
                  </a:cubicBezTo>
                  <a:cubicBezTo>
                    <a:pt x="69" y="5831"/>
                    <a:pt x="34" y="5845"/>
                    <a:pt x="0" y="5857"/>
                  </a:cubicBezTo>
                  <a:lnTo>
                    <a:pt x="210" y="8550"/>
                  </a:lnTo>
                  <a:lnTo>
                    <a:pt x="3281" y="10596"/>
                  </a:lnTo>
                  <a:lnTo>
                    <a:pt x="3606" y="10485"/>
                  </a:lnTo>
                  <a:cubicBezTo>
                    <a:pt x="3700" y="10450"/>
                    <a:pt x="3768" y="10419"/>
                    <a:pt x="3848" y="10386"/>
                  </a:cubicBezTo>
                  <a:lnTo>
                    <a:pt x="4084" y="10287"/>
                  </a:lnTo>
                  <a:lnTo>
                    <a:pt x="4317" y="10183"/>
                  </a:lnTo>
                  <a:lnTo>
                    <a:pt x="4549" y="10074"/>
                  </a:lnTo>
                  <a:lnTo>
                    <a:pt x="4767" y="9967"/>
                  </a:lnTo>
                  <a:cubicBezTo>
                    <a:pt x="4844" y="9928"/>
                    <a:pt x="4916" y="9889"/>
                    <a:pt x="4988" y="9849"/>
                  </a:cubicBezTo>
                  <a:lnTo>
                    <a:pt x="5209" y="9736"/>
                  </a:lnTo>
                  <a:cubicBezTo>
                    <a:pt x="5280" y="9694"/>
                    <a:pt x="5352" y="9655"/>
                    <a:pt x="5419" y="9615"/>
                  </a:cubicBezTo>
                  <a:lnTo>
                    <a:pt x="5635" y="9491"/>
                  </a:lnTo>
                  <a:lnTo>
                    <a:pt x="5839" y="9362"/>
                  </a:lnTo>
                  <a:cubicBezTo>
                    <a:pt x="5909" y="9322"/>
                    <a:pt x="5977" y="9276"/>
                    <a:pt x="6043" y="9235"/>
                  </a:cubicBezTo>
                  <a:cubicBezTo>
                    <a:pt x="6113" y="9192"/>
                    <a:pt x="6176" y="9147"/>
                    <a:pt x="6239" y="9105"/>
                  </a:cubicBezTo>
                  <a:lnTo>
                    <a:pt x="6438" y="8967"/>
                  </a:lnTo>
                  <a:cubicBezTo>
                    <a:pt x="6499" y="8918"/>
                    <a:pt x="6564" y="8873"/>
                    <a:pt x="6629" y="8825"/>
                  </a:cubicBezTo>
                  <a:lnTo>
                    <a:pt x="6814" y="8689"/>
                  </a:lnTo>
                  <a:lnTo>
                    <a:pt x="6997" y="8544"/>
                  </a:lnTo>
                  <a:cubicBezTo>
                    <a:pt x="7051" y="8493"/>
                    <a:pt x="7114" y="8446"/>
                    <a:pt x="7173" y="8396"/>
                  </a:cubicBezTo>
                  <a:cubicBezTo>
                    <a:pt x="7233" y="8346"/>
                    <a:pt x="7293" y="8298"/>
                    <a:pt x="7349" y="8248"/>
                  </a:cubicBezTo>
                  <a:cubicBezTo>
                    <a:pt x="7406" y="8199"/>
                    <a:pt x="7458" y="8146"/>
                    <a:pt x="7518" y="8097"/>
                  </a:cubicBezTo>
                  <a:cubicBezTo>
                    <a:pt x="7572" y="8042"/>
                    <a:pt x="7626" y="7990"/>
                    <a:pt x="7686" y="7940"/>
                  </a:cubicBezTo>
                  <a:cubicBezTo>
                    <a:pt x="7736" y="7887"/>
                    <a:pt x="7788" y="7839"/>
                    <a:pt x="7842" y="7782"/>
                  </a:cubicBezTo>
                  <a:cubicBezTo>
                    <a:pt x="7893" y="7729"/>
                    <a:pt x="7944" y="7678"/>
                    <a:pt x="7995" y="7623"/>
                  </a:cubicBezTo>
                  <a:cubicBezTo>
                    <a:pt x="8046" y="7568"/>
                    <a:pt x="8098" y="7516"/>
                    <a:pt x="8150" y="7463"/>
                  </a:cubicBezTo>
                  <a:cubicBezTo>
                    <a:pt x="8198" y="7407"/>
                    <a:pt x="8245" y="7351"/>
                    <a:pt x="8293" y="7296"/>
                  </a:cubicBezTo>
                  <a:cubicBezTo>
                    <a:pt x="8339" y="7242"/>
                    <a:pt x="8384" y="7184"/>
                    <a:pt x="8433" y="7132"/>
                  </a:cubicBezTo>
                  <a:cubicBezTo>
                    <a:pt x="8479" y="7075"/>
                    <a:pt x="8523" y="7019"/>
                    <a:pt x="8569" y="6962"/>
                  </a:cubicBezTo>
                  <a:cubicBezTo>
                    <a:pt x="8614" y="6904"/>
                    <a:pt x="8657" y="6848"/>
                    <a:pt x="8695" y="6788"/>
                  </a:cubicBezTo>
                  <a:cubicBezTo>
                    <a:pt x="8742" y="6729"/>
                    <a:pt x="8780" y="6672"/>
                    <a:pt x="8819" y="6614"/>
                  </a:cubicBezTo>
                  <a:cubicBezTo>
                    <a:pt x="8864" y="6555"/>
                    <a:pt x="8902" y="6500"/>
                    <a:pt x="8945" y="6440"/>
                  </a:cubicBezTo>
                  <a:cubicBezTo>
                    <a:pt x="8982" y="6381"/>
                    <a:pt x="9021" y="6323"/>
                    <a:pt x="9063" y="6262"/>
                  </a:cubicBezTo>
                  <a:cubicBezTo>
                    <a:pt x="9091" y="6201"/>
                    <a:pt x="9131" y="6143"/>
                    <a:pt x="9167" y="6084"/>
                  </a:cubicBezTo>
                  <a:cubicBezTo>
                    <a:pt x="9204" y="6025"/>
                    <a:pt x="9237" y="5961"/>
                    <a:pt x="9274" y="5902"/>
                  </a:cubicBezTo>
                  <a:cubicBezTo>
                    <a:pt x="9305" y="5840"/>
                    <a:pt x="9339" y="5778"/>
                    <a:pt x="9369" y="5716"/>
                  </a:cubicBezTo>
                  <a:cubicBezTo>
                    <a:pt x="9400" y="5654"/>
                    <a:pt x="9433" y="5594"/>
                    <a:pt x="9465" y="5533"/>
                  </a:cubicBezTo>
                  <a:cubicBezTo>
                    <a:pt x="9491" y="5470"/>
                    <a:pt x="9521" y="5406"/>
                    <a:pt x="9549" y="5344"/>
                  </a:cubicBezTo>
                  <a:cubicBezTo>
                    <a:pt x="9579" y="5280"/>
                    <a:pt x="9607" y="5215"/>
                    <a:pt x="9630" y="5153"/>
                  </a:cubicBezTo>
                  <a:cubicBezTo>
                    <a:pt x="9658" y="5091"/>
                    <a:pt x="9682" y="5026"/>
                    <a:pt x="9704" y="4961"/>
                  </a:cubicBezTo>
                  <a:cubicBezTo>
                    <a:pt x="9729" y="4899"/>
                    <a:pt x="9753" y="4835"/>
                    <a:pt x="9777" y="4771"/>
                  </a:cubicBezTo>
                  <a:cubicBezTo>
                    <a:pt x="9798" y="4707"/>
                    <a:pt x="9823" y="4643"/>
                    <a:pt x="9839" y="4578"/>
                  </a:cubicBezTo>
                  <a:cubicBezTo>
                    <a:pt x="9860" y="4513"/>
                    <a:pt x="9877" y="4447"/>
                    <a:pt x="9898" y="4381"/>
                  </a:cubicBezTo>
                  <a:cubicBezTo>
                    <a:pt x="10569" y="2591"/>
                    <a:pt x="9815" y="371"/>
                    <a:pt x="9635" y="0"/>
                  </a:cubicBezTo>
                  <a:lnTo>
                    <a:pt x="6408" y="1883"/>
                  </a:lnTo>
                  <a:lnTo>
                    <a:pt x="2450" y="1500"/>
                  </a:lnTo>
                  <a:close/>
                </a:path>
              </a:pathLst>
            </a:custGeom>
            <a:grpFill/>
            <a:ln w="9525">
              <a:solidFill>
                <a:schemeClr val="tx2">
                  <a:lumMod val="10000"/>
                  <a:lumOff val="90000"/>
                </a:schemeClr>
              </a:solidFill>
              <a:round/>
              <a:headEnd/>
              <a:tailEnd/>
            </a:ln>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ＭＳ Ｐゴシック"/>
                <a:cs typeface="+mn-cs"/>
              </a:endParaRPr>
            </a:p>
          </p:txBody>
        </p:sp>
      </p:grpSp>
      <p:sp>
        <p:nvSpPr>
          <p:cNvPr id="94" name="Rectangle 286">
            <a:extLst>
              <a:ext uri="{FF2B5EF4-FFF2-40B4-BE49-F238E27FC236}">
                <a16:creationId xmlns:a16="http://schemas.microsoft.com/office/drawing/2014/main" id="{97B66DE4-F36A-44E9-99F8-1415E0C7A79F}"/>
              </a:ext>
            </a:extLst>
          </p:cNvPr>
          <p:cNvSpPr txBox="1">
            <a:spLocks noChangeArrowheads="1"/>
          </p:cNvSpPr>
          <p:nvPr>
            <p:custDataLst>
              <p:tags r:id="rId13"/>
            </p:custDataLst>
          </p:nvPr>
        </p:nvSpPr>
        <p:spPr bwMode="auto">
          <a:xfrm>
            <a:off x="4845340" y="4644076"/>
            <a:ext cx="1070689" cy="650814"/>
          </a:xfrm>
          <a:prstGeom prst="rect">
            <a:avLst/>
          </a:prstGeom>
          <a:solidFill>
            <a:schemeClr val="accent2"/>
          </a:solidFill>
          <a:ln>
            <a:noFill/>
          </a:ln>
          <a:effectLst/>
        </p:spPr>
        <p:txBody>
          <a:bodyPr vert="horz" wrap="square" lIns="0" tIns="0" rIns="0" bIns="73462"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691624" rtl="0" eaLnBrk="1" fontAlgn="base" latinLnBrk="0" hangingPunct="1">
              <a:lnSpc>
                <a:spcPct val="100000"/>
              </a:lnSpc>
              <a:spcBef>
                <a:spcPct val="0"/>
              </a:spcBef>
              <a:spcAft>
                <a:spcPct val="0"/>
              </a:spcAft>
              <a:buClr>
                <a:srgbClr val="003C54"/>
              </a:buClr>
              <a:buSzTx/>
              <a:buFontTx/>
              <a:buNone/>
              <a:tabLst/>
              <a:defRPr/>
            </a:pP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Opvolgen</a:t>
            </a: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 </a:t>
            </a: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acties</a:t>
            </a: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 </a:t>
            </a: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na</a:t>
            </a: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 het </a:t>
            </a:r>
            <a:r>
              <a:rPr kumimoji="0" lang="en-US" sz="1200" b="1" i="0" u="none" strike="noStrike" kern="1200" cap="none" spc="0" normalizeH="0" baseline="0" noProof="0" err="1">
                <a:ln>
                  <a:noFill/>
                </a:ln>
                <a:solidFill>
                  <a:srgbClr val="000000"/>
                </a:solidFill>
                <a:effectLst/>
                <a:uLnTx/>
                <a:uFillTx/>
                <a:latin typeface="Arial"/>
                <a:ea typeface="ＭＳ Ｐゴシック"/>
                <a:cs typeface="+mn-cs"/>
              </a:rPr>
              <a:t>gesprek</a:t>
            </a:r>
            <a:endParaRPr kumimoji="0" lang="en-US" sz="1200" b="1"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95" name="Rectangle 286">
            <a:extLst>
              <a:ext uri="{FF2B5EF4-FFF2-40B4-BE49-F238E27FC236}">
                <a16:creationId xmlns:a16="http://schemas.microsoft.com/office/drawing/2014/main" id="{5E789610-28A6-4179-BAB8-F35373CF8B13}"/>
              </a:ext>
            </a:extLst>
          </p:cNvPr>
          <p:cNvSpPr txBox="1">
            <a:spLocks noChangeArrowheads="1"/>
          </p:cNvSpPr>
          <p:nvPr>
            <p:custDataLst>
              <p:tags r:id="rId14"/>
            </p:custDataLst>
          </p:nvPr>
        </p:nvSpPr>
        <p:spPr bwMode="auto">
          <a:xfrm>
            <a:off x="3937147" y="3495483"/>
            <a:ext cx="1000584" cy="184666"/>
          </a:xfrm>
          <a:prstGeom prst="rect">
            <a:avLst/>
          </a:prstGeom>
          <a:solidFill>
            <a:schemeClr val="accent2"/>
          </a:solidFill>
          <a:ln>
            <a:noFill/>
          </a:ln>
          <a:effec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691624" rtl="0" eaLnBrk="1" fontAlgn="base" latinLnBrk="0" hangingPunct="1">
              <a:lnSpc>
                <a:spcPct val="100000"/>
              </a:lnSpc>
              <a:spcBef>
                <a:spcPct val="0"/>
              </a:spcBef>
              <a:spcAft>
                <a:spcPct val="0"/>
              </a:spcAft>
              <a:buClr>
                <a:srgbClr val="003C54"/>
              </a:buClr>
              <a:buSzTx/>
              <a:buFontTx/>
              <a:buNone/>
              <a:tabLst/>
              <a:defRPr/>
            </a:pPr>
            <a:r>
              <a:rPr kumimoji="0" lang="en-US" sz="1200" b="1" i="0" u="none" strike="noStrike" kern="1200" cap="none" spc="0" normalizeH="0" baseline="0" noProof="0">
                <a:ln>
                  <a:noFill/>
                </a:ln>
                <a:solidFill>
                  <a:srgbClr val="000000"/>
                </a:solidFill>
                <a:effectLst/>
                <a:uLnTx/>
                <a:uFillTx/>
                <a:latin typeface="Arial"/>
                <a:ea typeface="ＭＳ Ｐゴシック"/>
                <a:cs typeface="+mn-cs"/>
              </a:rPr>
              <a:t>Waarborgen</a:t>
            </a:r>
          </a:p>
        </p:txBody>
      </p:sp>
      <p:sp>
        <p:nvSpPr>
          <p:cNvPr id="109" name="TextBox 108">
            <a:extLst>
              <a:ext uri="{FF2B5EF4-FFF2-40B4-BE49-F238E27FC236}">
                <a16:creationId xmlns:a16="http://schemas.microsoft.com/office/drawing/2014/main" id="{6087C001-7015-452A-A000-DF6A2CC5836F}"/>
              </a:ext>
            </a:extLst>
          </p:cNvPr>
          <p:cNvSpPr txBox="1">
            <a:spLocks/>
          </p:cNvSpPr>
          <p:nvPr/>
        </p:nvSpPr>
        <p:spPr>
          <a:xfrm>
            <a:off x="8491874" y="4929049"/>
            <a:ext cx="3145311" cy="1256375"/>
          </a:xfrm>
          <a:prstGeom prst="rect">
            <a:avLst/>
          </a:prstGeom>
          <a:noFill/>
          <a:ln w="3175">
            <a:solidFill>
              <a:schemeClr val="bg1">
                <a:lumMod val="50000"/>
              </a:schemeClr>
            </a:solidFill>
            <a:miter lim="800000"/>
            <a:headEnd/>
            <a:tailEnd/>
          </a:ln>
          <a:effectLst/>
        </p:spPr>
        <p:txBody>
          <a:bodyPr vert="horz" wrap="square" lIns="73472" tIns="73472" rIns="73472" bIns="73472" numCol="1" anchor="t" anchorCtr="0" compatLnSpc="1">
            <a:prstTxWarp prst="textNoShape">
              <a:avLst/>
            </a:prstTxWarp>
            <a:spAutoFit/>
          </a:bodyPr>
          <a:lstStyle>
            <a:defPPr>
              <a:defRPr lang="en-US"/>
            </a:defPPr>
            <a:lvl1pPr marL="0" lvl="0" indent="0" defTabSz="877533" eaLnBrk="1" hangingPunct="1">
              <a:buClr>
                <a:schemeClr val="tx2"/>
              </a:buClr>
              <a:defRPr sz="1200" b="1" baseline="0">
                <a:latin typeface="+mn-lt"/>
              </a:defRPr>
            </a:lvl1pPr>
            <a:lvl2pPr marL="176415" lvl="1" indent="-176415" defTabSz="877533" eaLnBrk="1" hangingPunct="1">
              <a:buClr>
                <a:schemeClr val="tx1"/>
              </a:buClr>
              <a:buSzPct val="100000"/>
              <a:buFont typeface="Arial" pitchFamily="34" charset="0"/>
              <a:buChar char="•"/>
              <a:defRPr sz="1200"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l" defTabSz="877533" rtl="0" eaLnBrk="1" fontAlgn="auto" latinLnBrk="0" hangingPunct="1">
              <a:lnSpc>
                <a:spcPct val="100000"/>
              </a:lnSpc>
              <a:spcBef>
                <a:spcPts val="0"/>
              </a:spcBef>
              <a:spcAft>
                <a:spcPts val="0"/>
              </a:spcAft>
              <a:buClr>
                <a:srgbClr val="003C54"/>
              </a:buClr>
              <a:buSzTx/>
              <a:buFontTx/>
              <a:buNone/>
              <a:tabLst/>
              <a:defRPr/>
            </a:pPr>
            <a:r>
              <a:rPr kumimoji="0" lang="nl-NL" sz="1200" b="1" i="0" u="none" strike="noStrike" kern="1200" cap="none" spc="0" normalizeH="0" baseline="0" noProof="0">
                <a:ln>
                  <a:noFill/>
                </a:ln>
                <a:solidFill>
                  <a:srgbClr val="000000"/>
                </a:solidFill>
                <a:effectLst/>
                <a:uLnTx/>
                <a:uFillTx/>
                <a:latin typeface="Arial"/>
                <a:ea typeface="ＭＳ Ｐゴシック"/>
                <a:cs typeface="+mn-cs"/>
              </a:rPr>
              <a:t>Voeren van het goede gesprek</a:t>
            </a:r>
            <a:r>
              <a:rPr kumimoji="0" lang="nl-NL" sz="1200" b="0" i="0" u="none" strike="noStrike" kern="1200" cap="none" spc="0" normalizeH="0" baseline="0" noProof="0">
                <a:ln>
                  <a:noFill/>
                </a:ln>
                <a:effectLst/>
                <a:uLnTx/>
                <a:uFillTx/>
                <a:latin typeface="Arial"/>
                <a:ea typeface="ＭＳ Ｐゴシック"/>
                <a:cs typeface="+mn-cs"/>
              </a:rPr>
              <a:t> </a:t>
            </a:r>
          </a:p>
          <a:p>
            <a:pPr marL="176415" marR="0" lvl="1" indent="-176415" algn="l" defTabSz="877533" rtl="0" eaLnBrk="1" fontAlgn="auto" latinLnBrk="0" hangingPunct="1">
              <a:lnSpc>
                <a:spcPct val="100000"/>
              </a:lnSpc>
              <a:spcBef>
                <a:spcPts val="0"/>
              </a:spcBef>
              <a:spcAft>
                <a:spcPts val="0"/>
              </a:spcAft>
              <a:buClr>
                <a:srgbClr val="000000"/>
              </a:buClr>
              <a:buSzPct val="100000"/>
              <a:buFont typeface="Arial"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Echt gericht op de wensen van de medewerker (leren, ontwikkelen, contractgrootte)</a:t>
            </a:r>
          </a:p>
          <a:p>
            <a:pPr marL="176415" marR="0" lvl="1" indent="-176415" algn="l" defTabSz="877533" rtl="0" eaLnBrk="1" fontAlgn="auto" latinLnBrk="0" hangingPunct="1">
              <a:lnSpc>
                <a:spcPct val="100000"/>
              </a:lnSpc>
              <a:spcBef>
                <a:spcPts val="0"/>
              </a:spcBef>
              <a:spcAft>
                <a:spcPts val="0"/>
              </a:spcAft>
              <a:buClr>
                <a:srgbClr val="000000"/>
              </a:buClr>
              <a:buSzPct val="100000"/>
              <a:buFont typeface="Arial"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Verdieping op contract wensen</a:t>
            </a:r>
          </a:p>
          <a:p>
            <a:pPr marL="176415" marR="0" lvl="1" indent="-176415" algn="l" defTabSz="877533" rtl="0" eaLnBrk="1" fontAlgn="auto" latinLnBrk="0" hangingPunct="1">
              <a:lnSpc>
                <a:spcPct val="100000"/>
              </a:lnSpc>
              <a:spcBef>
                <a:spcPts val="0"/>
              </a:spcBef>
              <a:spcAft>
                <a:spcPts val="0"/>
              </a:spcAft>
              <a:buClr>
                <a:srgbClr val="000000"/>
              </a:buClr>
              <a:buSzPct val="100000"/>
              <a:buFont typeface="Arial"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Vervolgstappen</a:t>
            </a:r>
          </a:p>
        </p:txBody>
      </p:sp>
      <p:sp>
        <p:nvSpPr>
          <p:cNvPr id="117" name="TextBox 116">
            <a:extLst>
              <a:ext uri="{FF2B5EF4-FFF2-40B4-BE49-F238E27FC236}">
                <a16:creationId xmlns:a16="http://schemas.microsoft.com/office/drawing/2014/main" id="{7E15DA58-B49F-42FB-9259-5A2BD0EE0D6F}"/>
              </a:ext>
            </a:extLst>
          </p:cNvPr>
          <p:cNvSpPr txBox="1">
            <a:spLocks/>
          </p:cNvSpPr>
          <p:nvPr/>
        </p:nvSpPr>
        <p:spPr>
          <a:xfrm>
            <a:off x="7875423" y="1154150"/>
            <a:ext cx="3771428" cy="803579"/>
          </a:xfrm>
          <a:prstGeom prst="rect">
            <a:avLst/>
          </a:prstGeom>
          <a:noFill/>
          <a:ln w="3175">
            <a:solidFill>
              <a:schemeClr val="bg1">
                <a:lumMod val="50000"/>
              </a:schemeClr>
            </a:solidFill>
            <a:miter lim="800000"/>
            <a:headEnd/>
            <a:tailEnd/>
          </a:ln>
          <a:effectLst/>
        </p:spPr>
        <p:txBody>
          <a:bodyPr vert="horz" wrap="square" lIns="73472" tIns="73472" rIns="73472" bIns="73472" numCol="1" anchor="t" anchorCtr="0" compatLnSpc="1">
            <a:prstTxWarp prst="textNoShape">
              <a:avLst/>
            </a:prstTxWarp>
            <a:noAutofit/>
          </a:bodyPr>
          <a:lstStyle>
            <a:defPPr>
              <a:defRPr lang="en-US"/>
            </a:defPPr>
            <a:lvl1pPr marL="0" lvl="0" indent="0" defTabSz="877533" eaLnBrk="1" hangingPunct="1">
              <a:buClr>
                <a:schemeClr val="tx2"/>
              </a:buClr>
              <a:defRPr sz="1200" b="1" baseline="0">
                <a:latin typeface="+mn-lt"/>
              </a:defRPr>
            </a:lvl1pPr>
            <a:lvl2pPr marL="176415" lvl="1" indent="-176415" defTabSz="877533" eaLnBrk="1" hangingPunct="1">
              <a:buClr>
                <a:schemeClr val="tx1"/>
              </a:buClr>
              <a:buSzPct val="100000"/>
              <a:buFont typeface="Arial" pitchFamily="34" charset="0"/>
              <a:buChar char="•"/>
              <a:defRPr sz="1200"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179466" marR="0" lvl="1" indent="-179466" algn="l" defTabSz="877533" rtl="0" eaLnBrk="1" fontAlgn="auto" latinLnBrk="0" hangingPunct="1">
              <a:lnSpc>
                <a:spcPct val="100000"/>
              </a:lnSpc>
              <a:spcBef>
                <a:spcPts val="0"/>
              </a:spcBef>
              <a:spcAft>
                <a:spcPts val="0"/>
              </a:spcAft>
              <a:buClr>
                <a:srgbClr val="000000"/>
              </a:buClr>
              <a:buSzPct val="100000"/>
              <a:buFont typeface="Arial" pitchFamily="34" charset="0"/>
              <a:buChar char="•"/>
              <a:tabLst/>
              <a:defRPr/>
            </a:pPr>
            <a:r>
              <a:rPr lang="nl-NL">
                <a:solidFill>
                  <a:srgbClr val="000000"/>
                </a:solidFill>
                <a:latin typeface="Arial"/>
                <a:ea typeface="ＭＳ Ｐゴシック"/>
              </a:rPr>
              <a:t>Interesse vanuit de teamsessies</a:t>
            </a:r>
          </a:p>
          <a:p>
            <a:pPr marL="179466" marR="0" lvl="1" indent="-179466" algn="l" defTabSz="877533" rtl="0" eaLnBrk="1" fontAlgn="auto" latinLnBrk="0" hangingPunct="1">
              <a:lnSpc>
                <a:spcPct val="100000"/>
              </a:lnSpc>
              <a:spcBef>
                <a:spcPts val="0"/>
              </a:spcBef>
              <a:spcAft>
                <a:spcPts val="0"/>
              </a:spcAft>
              <a:buClr>
                <a:srgbClr val="000000"/>
              </a:buClr>
              <a:buSzPct val="100000"/>
              <a:buFont typeface="Arial"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N.a.v. een themasessie</a:t>
            </a:r>
          </a:p>
          <a:p>
            <a:pPr marL="179466" marR="0" lvl="1" indent="-179466" algn="l" defTabSz="877533" rtl="0" eaLnBrk="1" fontAlgn="auto" latinLnBrk="0" hangingPunct="1">
              <a:lnSpc>
                <a:spcPct val="100000"/>
              </a:lnSpc>
              <a:spcBef>
                <a:spcPts val="0"/>
              </a:spcBef>
              <a:spcAft>
                <a:spcPts val="0"/>
              </a:spcAft>
              <a:buClr>
                <a:srgbClr val="000000"/>
              </a:buClr>
              <a:buSzPct val="100000"/>
              <a:buFont typeface="Arial"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Vast onderdeel van een inwerktraject</a:t>
            </a:r>
          </a:p>
        </p:txBody>
      </p:sp>
      <p:sp>
        <p:nvSpPr>
          <p:cNvPr id="119" name="TextBox 118">
            <a:extLst>
              <a:ext uri="{FF2B5EF4-FFF2-40B4-BE49-F238E27FC236}">
                <a16:creationId xmlns:a16="http://schemas.microsoft.com/office/drawing/2014/main" id="{DE358641-4FB0-475F-8D6F-0A66C624FDDF}"/>
              </a:ext>
            </a:extLst>
          </p:cNvPr>
          <p:cNvSpPr txBox="1">
            <a:spLocks/>
          </p:cNvSpPr>
          <p:nvPr/>
        </p:nvSpPr>
        <p:spPr>
          <a:xfrm>
            <a:off x="8491875" y="2642199"/>
            <a:ext cx="3145311" cy="1810372"/>
          </a:xfrm>
          <a:prstGeom prst="rect">
            <a:avLst/>
          </a:prstGeom>
          <a:noFill/>
          <a:ln w="3175">
            <a:solidFill>
              <a:schemeClr val="bg1">
                <a:lumMod val="50000"/>
              </a:schemeClr>
            </a:solidFill>
            <a:miter lim="800000"/>
            <a:headEnd/>
            <a:tailEnd/>
          </a:ln>
          <a:effectLst/>
        </p:spPr>
        <p:txBody>
          <a:bodyPr vert="horz" wrap="square" lIns="73472" tIns="73472" rIns="73472" bIns="73472" numCol="1" anchor="t" anchorCtr="0" compatLnSpc="1">
            <a:prstTxWarp prst="textNoShape">
              <a:avLst/>
            </a:prstTxWarp>
            <a:spAutoFit/>
          </a:bodyPr>
          <a:lstStyle>
            <a:defPPr>
              <a:defRPr lang="en-US"/>
            </a:defPPr>
            <a:lvl1pPr marL="0" lvl="0" indent="0" defTabSz="877533" eaLnBrk="1" hangingPunct="1">
              <a:buClr>
                <a:schemeClr val="tx2"/>
              </a:buClr>
              <a:defRPr sz="1200" b="1" baseline="0">
                <a:latin typeface="+mn-lt"/>
              </a:defRPr>
            </a:lvl1pPr>
            <a:lvl2pPr marL="176415" lvl="1" indent="-176415" defTabSz="877533" eaLnBrk="1" hangingPunct="1">
              <a:buClr>
                <a:schemeClr val="tx1"/>
              </a:buClr>
              <a:buSzPct val="100000"/>
              <a:buFont typeface="Arial" pitchFamily="34" charset="0"/>
              <a:buChar char="•"/>
              <a:defRPr sz="1200"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l" defTabSz="877533" rtl="0" eaLnBrk="1" fontAlgn="auto" latinLnBrk="0" hangingPunct="1">
              <a:lnSpc>
                <a:spcPct val="100000"/>
              </a:lnSpc>
              <a:spcBef>
                <a:spcPts val="0"/>
              </a:spcBef>
              <a:spcAft>
                <a:spcPts val="0"/>
              </a:spcAft>
              <a:buClr>
                <a:srgbClr val="003C54"/>
              </a:buClr>
              <a:buSzTx/>
              <a:buFontTx/>
              <a:buNone/>
              <a:tabLst/>
              <a:defRPr/>
            </a:pPr>
            <a:r>
              <a:rPr kumimoji="0" lang="nl-NL" sz="1200" b="1" i="0" u="none" strike="noStrike" kern="1200" cap="none" spc="0" normalizeH="0" baseline="0" noProof="0">
                <a:ln>
                  <a:noFill/>
                </a:ln>
                <a:solidFill>
                  <a:srgbClr val="000000"/>
                </a:solidFill>
                <a:effectLst/>
                <a:uLnTx/>
                <a:uFillTx/>
                <a:latin typeface="Arial"/>
                <a:ea typeface="ＭＳ Ｐゴシック"/>
                <a:cs typeface="+mn-cs"/>
              </a:rPr>
              <a:t>[Gespreksvoerder Goed Gesprek]: </a:t>
            </a:r>
          </a:p>
          <a:p>
            <a:pPr marL="176415" marR="0" lvl="1" indent="-176415" algn="l" defTabSz="877533" rtl="0" eaLnBrk="1" fontAlgn="auto" latinLnBrk="0" hangingPunct="1">
              <a:lnSpc>
                <a:spcPct val="100000"/>
              </a:lnSpc>
              <a:spcBef>
                <a:spcPts val="0"/>
              </a:spcBef>
              <a:spcAft>
                <a:spcPts val="0"/>
              </a:spcAft>
              <a:buClr>
                <a:srgbClr val="000000"/>
              </a:buClr>
              <a:buSzPct val="100000"/>
              <a:buFont typeface="Arial"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Uitnodigingsmail sturen met aanleiding, achtergrond informatie, verwachtingen en aanmeldproces.</a:t>
            </a:r>
          </a:p>
          <a:p>
            <a:pPr marL="176415" marR="0" lvl="1" indent="-176415" algn="l" defTabSz="877533" rtl="0" eaLnBrk="1" fontAlgn="auto" latinLnBrk="0" hangingPunct="1">
              <a:lnSpc>
                <a:spcPct val="100000"/>
              </a:lnSpc>
              <a:spcBef>
                <a:spcPts val="0"/>
              </a:spcBef>
              <a:spcAft>
                <a:spcPts val="0"/>
              </a:spcAft>
              <a:buClr>
                <a:srgbClr val="000000"/>
              </a:buClr>
              <a:buSzPct val="100000"/>
              <a:buFont typeface="Arial"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Begrijpen van profiel van de medewerker </a:t>
            </a:r>
          </a:p>
          <a:p>
            <a:pPr marL="176415" marR="0" lvl="1" indent="-176415" algn="l" defTabSz="877533" rtl="0" eaLnBrk="1" fontAlgn="auto" latinLnBrk="0" hangingPunct="1">
              <a:lnSpc>
                <a:spcPct val="100000"/>
              </a:lnSpc>
              <a:spcBef>
                <a:spcPts val="0"/>
              </a:spcBef>
              <a:spcAft>
                <a:spcPts val="0"/>
              </a:spcAft>
              <a:buClr>
                <a:srgbClr val="000000"/>
              </a:buClr>
              <a:buSzPct val="100000"/>
              <a:buFont typeface="Arial" pitchFamily="34" charset="0"/>
              <a:buChar char="•"/>
              <a:tabLst/>
              <a:defRPr/>
            </a:pPr>
            <a:endParaRPr kumimoji="0" lang="nl-NL" sz="1200" b="1" i="0" u="none" strike="noStrike" kern="1200" cap="none" spc="0" normalizeH="0" baseline="0" noProof="0">
              <a:ln>
                <a:noFill/>
              </a:ln>
              <a:solidFill>
                <a:srgbClr val="000000"/>
              </a:solidFill>
              <a:effectLst/>
              <a:uLnTx/>
              <a:uFillTx/>
              <a:latin typeface="Arial"/>
              <a:ea typeface="ＭＳ Ｐゴシック"/>
              <a:cs typeface="+mn-cs"/>
            </a:endParaRPr>
          </a:p>
          <a:p>
            <a:pPr marL="0" marR="0" lvl="1" indent="0" algn="l" defTabSz="877533" rtl="0" eaLnBrk="1" fontAlgn="auto" latinLnBrk="0" hangingPunct="1">
              <a:lnSpc>
                <a:spcPct val="100000"/>
              </a:lnSpc>
              <a:spcBef>
                <a:spcPts val="0"/>
              </a:spcBef>
              <a:spcAft>
                <a:spcPts val="0"/>
              </a:spcAft>
              <a:buClr>
                <a:srgbClr val="000000"/>
              </a:buClr>
              <a:buSzPct val="100000"/>
              <a:buFont typeface="Arial" pitchFamily="34" charset="0"/>
              <a:buNone/>
              <a:tabLst/>
              <a:defRPr/>
            </a:pPr>
            <a:r>
              <a:rPr lang="nl-NL" b="1">
                <a:solidFill>
                  <a:srgbClr val="000000"/>
                </a:solidFill>
                <a:latin typeface="Arial"/>
                <a:ea typeface="ＭＳ Ｐゴシック"/>
              </a:rPr>
              <a:t>M</a:t>
            </a:r>
            <a:r>
              <a:rPr kumimoji="0" lang="nl-NL" sz="1200" b="1" i="0" u="none" strike="noStrike" kern="1200" cap="none" spc="0" normalizeH="0" baseline="0" noProof="0">
                <a:ln>
                  <a:noFill/>
                </a:ln>
                <a:solidFill>
                  <a:srgbClr val="000000"/>
                </a:solidFill>
                <a:effectLst/>
                <a:uLnTx/>
                <a:uFillTx/>
                <a:latin typeface="Arial"/>
                <a:ea typeface="ＭＳ Ｐゴシック"/>
                <a:cs typeface="+mn-cs"/>
              </a:rPr>
              <a:t>edewerker:</a:t>
            </a:r>
          </a:p>
          <a:p>
            <a:pPr lvl="1">
              <a:buClr>
                <a:srgbClr val="000000"/>
              </a:buClr>
              <a:defRPr/>
            </a:pPr>
            <a:r>
              <a:rPr lang="nl-NL">
                <a:solidFill>
                  <a:srgbClr val="000000"/>
                </a:solidFill>
                <a:latin typeface="Arial"/>
                <a:ea typeface="ＭＳ Ｐゴシック"/>
              </a:rPr>
              <a:t>Nadenken over hun eigen wensen en behoeften</a:t>
            </a:r>
            <a:endParaRPr kumimoji="0" lang="nl-NL" sz="1200" i="0" u="none" strike="noStrike" kern="1200" cap="none" spc="0" normalizeH="0" baseline="0" noProof="0">
              <a:ln>
                <a:noFill/>
              </a:ln>
              <a:solidFill>
                <a:srgbClr val="000000"/>
              </a:solidFill>
              <a:effectLst/>
              <a:uLnTx/>
              <a:uFillTx/>
              <a:latin typeface="Arial"/>
              <a:ea typeface="ＭＳ Ｐゴシック"/>
              <a:cs typeface="+mn-cs"/>
            </a:endParaRPr>
          </a:p>
        </p:txBody>
      </p:sp>
      <p:cxnSp>
        <p:nvCxnSpPr>
          <p:cNvPr id="128" name="Elbow Connector 127">
            <a:extLst>
              <a:ext uri="{FF2B5EF4-FFF2-40B4-BE49-F238E27FC236}">
                <a16:creationId xmlns:a16="http://schemas.microsoft.com/office/drawing/2014/main" id="{71D8E3F9-2AF7-415E-AFB3-F87FEA10FB5B}"/>
              </a:ext>
            </a:extLst>
          </p:cNvPr>
          <p:cNvCxnSpPr>
            <a:cxnSpLocks/>
            <a:stCxn id="109" idx="1"/>
            <a:endCxn id="83" idx="3"/>
          </p:cNvCxnSpPr>
          <p:nvPr/>
        </p:nvCxnSpPr>
        <p:spPr>
          <a:xfrm rot="10800000">
            <a:off x="7809282" y="4406873"/>
            <a:ext cx="682593" cy="1150364"/>
          </a:xfrm>
          <a:prstGeom prst="bentConnector3">
            <a:avLst>
              <a:gd name="adj1" fmla="val 50000"/>
            </a:avLst>
          </a:prstGeom>
          <a:ln w="3175">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33" name="Elbow Connector 132">
            <a:extLst>
              <a:ext uri="{FF2B5EF4-FFF2-40B4-BE49-F238E27FC236}">
                <a16:creationId xmlns:a16="http://schemas.microsoft.com/office/drawing/2014/main" id="{A47C893E-8674-4901-AD9F-110ED7DCEB47}"/>
              </a:ext>
            </a:extLst>
          </p:cNvPr>
          <p:cNvCxnSpPr>
            <a:cxnSpLocks/>
            <a:endCxn id="90" idx="0"/>
          </p:cNvCxnSpPr>
          <p:nvPr/>
        </p:nvCxnSpPr>
        <p:spPr>
          <a:xfrm rot="10800000" flipV="1">
            <a:off x="5032968" y="1214015"/>
            <a:ext cx="2842456" cy="640241"/>
          </a:xfrm>
          <a:prstGeom prst="bentConnector2">
            <a:avLst/>
          </a:prstGeom>
          <a:ln w="3175">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37" name="Elbow Connector 136">
            <a:extLst>
              <a:ext uri="{FF2B5EF4-FFF2-40B4-BE49-F238E27FC236}">
                <a16:creationId xmlns:a16="http://schemas.microsoft.com/office/drawing/2014/main" id="{D9AADCC7-FDC2-46C4-B3C6-F1FD5AB354FF}"/>
              </a:ext>
            </a:extLst>
          </p:cNvPr>
          <p:cNvCxnSpPr>
            <a:cxnSpLocks/>
          </p:cNvCxnSpPr>
          <p:nvPr/>
        </p:nvCxnSpPr>
        <p:spPr>
          <a:xfrm rot="10800000" flipV="1">
            <a:off x="7786775" y="2733597"/>
            <a:ext cx="692448" cy="92808"/>
          </a:xfrm>
          <a:prstGeom prst="bentConnector3">
            <a:avLst>
              <a:gd name="adj1" fmla="val 50000"/>
            </a:avLst>
          </a:prstGeom>
          <a:ln w="3175">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30" name="TextBox 103">
            <a:extLst>
              <a:ext uri="{FF2B5EF4-FFF2-40B4-BE49-F238E27FC236}">
                <a16:creationId xmlns:a16="http://schemas.microsoft.com/office/drawing/2014/main" id="{D50C3D1F-316F-43DF-AB2B-BC05803FA047}"/>
              </a:ext>
            </a:extLst>
          </p:cNvPr>
          <p:cNvSpPr txBox="1"/>
          <p:nvPr/>
        </p:nvSpPr>
        <p:spPr>
          <a:xfrm>
            <a:off x="405599" y="4750259"/>
            <a:ext cx="3382328" cy="1810372"/>
          </a:xfrm>
          <a:prstGeom prst="rect">
            <a:avLst/>
          </a:prstGeom>
          <a:noFill/>
          <a:ln w="3175">
            <a:solidFill>
              <a:schemeClr val="bg1">
                <a:lumMod val="50000"/>
              </a:schemeClr>
            </a:solidFill>
            <a:miter lim="800000"/>
            <a:headEnd/>
            <a:tailEnd/>
          </a:ln>
          <a:effectLst/>
        </p:spPr>
        <p:txBody>
          <a:bodyPr vert="horz" wrap="square" lIns="73472" tIns="73472" rIns="73472" bIns="73472" numCol="1" anchor="t" anchorCtr="0" compatLnSpc="1">
            <a:prstTxWarp prst="textNoShape">
              <a:avLst/>
            </a:prstTxWarp>
            <a:spAutoFit/>
          </a:bodyPr>
          <a:lstStyle>
            <a:defPPr>
              <a:defRPr lang="en-US"/>
            </a:defPPr>
            <a:lvl1pPr marL="0" lvl="0" indent="0" defTabSz="877533" eaLnBrk="1" hangingPunct="1">
              <a:buClr>
                <a:schemeClr val="tx2"/>
              </a:buClr>
              <a:defRPr sz="1200" b="1" baseline="0">
                <a:latin typeface="+mn-lt"/>
              </a:defRPr>
            </a:lvl1pPr>
            <a:lvl2pPr marL="176415" lvl="1" indent="-176415" defTabSz="877533" eaLnBrk="1" hangingPunct="1">
              <a:buClr>
                <a:schemeClr val="tx1"/>
              </a:buClr>
              <a:buSzPct val="100000"/>
              <a:buFont typeface="Arial" pitchFamily="34" charset="0"/>
              <a:buChar char="•"/>
              <a:defRPr sz="1200"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lvl="1" indent="0">
              <a:buNone/>
            </a:pPr>
            <a:r>
              <a:rPr lang="nl-NL" b="1">
                <a:solidFill>
                  <a:srgbClr val="000000"/>
                </a:solidFill>
              </a:rPr>
              <a:t>[Gespreksvoerder Goed Gesprek]: </a:t>
            </a:r>
          </a:p>
          <a:p>
            <a:pPr lvl="1"/>
            <a:r>
              <a:rPr lang="nl-NL"/>
              <a:t>Terugkoppelen en in gang zetten van afspraken. Eventueel samen met andere betrokken partijen indien passend</a:t>
            </a:r>
          </a:p>
          <a:p>
            <a:pPr lvl="1"/>
            <a:r>
              <a:rPr lang="nl-NL"/>
              <a:t>Gespreksverslag maken </a:t>
            </a:r>
          </a:p>
          <a:p>
            <a:pPr lvl="1"/>
            <a:endParaRPr lang="nl-NL"/>
          </a:p>
          <a:p>
            <a:r>
              <a:rPr lang="nl-NL"/>
              <a:t>Medewerker:</a:t>
            </a:r>
          </a:p>
          <a:p>
            <a:pPr lvl="1"/>
            <a:r>
              <a:rPr lang="nl-NL"/>
              <a:t>Aangeven als voorkeuren veranderd zijn na bezinking van gesprek</a:t>
            </a:r>
          </a:p>
        </p:txBody>
      </p:sp>
      <p:cxnSp>
        <p:nvCxnSpPr>
          <p:cNvPr id="31" name="Straight Arrow Connector 105">
            <a:extLst>
              <a:ext uri="{FF2B5EF4-FFF2-40B4-BE49-F238E27FC236}">
                <a16:creationId xmlns:a16="http://schemas.microsoft.com/office/drawing/2014/main" id="{ACDE2293-6BA7-4140-87B8-47D3FF4052CF}"/>
              </a:ext>
            </a:extLst>
          </p:cNvPr>
          <p:cNvCxnSpPr>
            <a:cxnSpLocks/>
          </p:cNvCxnSpPr>
          <p:nvPr/>
        </p:nvCxnSpPr>
        <p:spPr>
          <a:xfrm flipV="1">
            <a:off x="3787927" y="4840915"/>
            <a:ext cx="989260" cy="801933"/>
          </a:xfrm>
          <a:prstGeom prst="bentConnector3">
            <a:avLst>
              <a:gd name="adj1" fmla="val 50000"/>
            </a:avLst>
          </a:prstGeom>
          <a:ln w="3175">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39" name="TextBox 16">
            <a:extLst>
              <a:ext uri="{FF2B5EF4-FFF2-40B4-BE49-F238E27FC236}">
                <a16:creationId xmlns:a16="http://schemas.microsoft.com/office/drawing/2014/main" id="{C7C5B9C9-96C9-4AC8-9859-9FBFF2A83D40}"/>
              </a:ext>
            </a:extLst>
          </p:cNvPr>
          <p:cNvSpPr txBox="1"/>
          <p:nvPr/>
        </p:nvSpPr>
        <p:spPr>
          <a:xfrm>
            <a:off x="409387" y="2787263"/>
            <a:ext cx="3079139" cy="1810372"/>
          </a:xfrm>
          <a:prstGeom prst="rect">
            <a:avLst/>
          </a:prstGeom>
          <a:noFill/>
          <a:ln w="3175">
            <a:solidFill>
              <a:schemeClr val="bg1">
                <a:lumMod val="50000"/>
              </a:schemeClr>
            </a:solidFill>
            <a:miter lim="800000"/>
            <a:headEnd/>
            <a:tailEnd/>
          </a:ln>
          <a:effectLst/>
        </p:spPr>
        <p:txBody>
          <a:bodyPr vert="horz" wrap="square" lIns="73472" tIns="73472" rIns="73472" bIns="73472" numCol="1" anchor="t" anchorCtr="0" compatLnSpc="1">
            <a:prstTxWarp prst="textNoShape">
              <a:avLst/>
            </a:prstTxWarp>
            <a:spAutoFit/>
          </a:bodyPr>
          <a:lstStyle>
            <a:lvl1pPr marL="0" lvl="0" indent="0" defTabSz="877533" eaLnBrk="1" hangingPunct="1">
              <a:buClr>
                <a:schemeClr val="tx2"/>
              </a:buClr>
              <a:defRPr sz="1568" baseline="0">
                <a:latin typeface="+mn-lt"/>
                <a:sym typeface="+mn-lt"/>
              </a:defRPr>
            </a:lvl1pPr>
            <a:lvl2pPr marL="176415" lvl="1" indent="-176415" defTabSz="877533" eaLnBrk="1" hangingPunct="1">
              <a:buClr>
                <a:schemeClr val="tx1"/>
              </a:buClr>
              <a:buSzPct val="100000"/>
              <a:buFont typeface="Arial" pitchFamily="34" charset="0"/>
              <a:buChar char="•"/>
              <a:defRPr sz="1568" baseline="0">
                <a:latin typeface="+mn-lt"/>
                <a:sym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sym typeface="+mn-lt"/>
              </a:defRPr>
            </a:lvl3pPr>
            <a:lvl4pPr marL="529245" lvl="3" indent="-176415" defTabSz="877533" eaLnBrk="1" hangingPunct="1">
              <a:buClr>
                <a:schemeClr val="tx1"/>
              </a:buClr>
              <a:buSzPct val="100000"/>
              <a:buFont typeface="Arial" pitchFamily="34" charset="0"/>
              <a:buChar char="»"/>
              <a:defRPr sz="1568" baseline="0">
                <a:latin typeface="+mn-lt"/>
                <a:sym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sym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r>
              <a:rPr lang="nl-NL" sz="1200" b="1"/>
              <a:t>Bestuurder / directie:</a:t>
            </a:r>
          </a:p>
          <a:p>
            <a:pPr lvl="1"/>
            <a:r>
              <a:rPr lang="nl-NL" sz="1200"/>
              <a:t>Status van de gevoerde gesprekken</a:t>
            </a:r>
          </a:p>
          <a:p>
            <a:pPr lvl="1"/>
            <a:r>
              <a:rPr lang="nl-NL" sz="1200"/>
              <a:t>Sturen op houden van gesprek </a:t>
            </a:r>
          </a:p>
          <a:p>
            <a:endParaRPr lang="nl-NL" sz="1200" b="1"/>
          </a:p>
          <a:p>
            <a:r>
              <a:rPr lang="nl-NL" sz="1200" b="1"/>
              <a:t>Managers / HR / ... : </a:t>
            </a:r>
            <a:endParaRPr lang="nl-NL" sz="1200"/>
          </a:p>
          <a:p>
            <a:pPr lvl="1"/>
            <a:r>
              <a:rPr lang="nl-NL" sz="1200"/>
              <a:t>Terugkoppelen status van goed gesprek</a:t>
            </a:r>
          </a:p>
          <a:p>
            <a:pPr lvl="1"/>
            <a:endParaRPr lang="nl-NL" sz="1200"/>
          </a:p>
          <a:p>
            <a:pPr marL="0" lvl="1" indent="0">
              <a:buNone/>
            </a:pPr>
            <a:r>
              <a:rPr lang="nl-NL" sz="1200" b="1"/>
              <a:t>Medewerker:</a:t>
            </a:r>
          </a:p>
          <a:p>
            <a:pPr lvl="1"/>
            <a:r>
              <a:rPr lang="nl-NL" sz="1200"/>
              <a:t>Feedback geven over gesprek</a:t>
            </a:r>
          </a:p>
        </p:txBody>
      </p:sp>
      <p:cxnSp>
        <p:nvCxnSpPr>
          <p:cNvPr id="40" name="Straight Arrow Connector 102">
            <a:extLst>
              <a:ext uri="{FF2B5EF4-FFF2-40B4-BE49-F238E27FC236}">
                <a16:creationId xmlns:a16="http://schemas.microsoft.com/office/drawing/2014/main" id="{E1C11815-1A77-4BC7-89E2-325830904C72}"/>
              </a:ext>
            </a:extLst>
          </p:cNvPr>
          <p:cNvCxnSpPr>
            <a:cxnSpLocks/>
            <a:stCxn id="39" idx="3"/>
            <a:endCxn id="95" idx="1"/>
          </p:cNvCxnSpPr>
          <p:nvPr/>
        </p:nvCxnSpPr>
        <p:spPr>
          <a:xfrm flipV="1">
            <a:off x="3488526" y="3587816"/>
            <a:ext cx="448621" cy="104633"/>
          </a:xfrm>
          <a:prstGeom prst="straightConnector1">
            <a:avLst/>
          </a:prstGeom>
          <a:ln w="3175">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5" name="Titel 4">
            <a:extLst>
              <a:ext uri="{FF2B5EF4-FFF2-40B4-BE49-F238E27FC236}">
                <a16:creationId xmlns:a16="http://schemas.microsoft.com/office/drawing/2014/main" id="{BF787037-DE0F-6B44-AE98-E921DB378A14}"/>
              </a:ext>
            </a:extLst>
          </p:cNvPr>
          <p:cNvSpPr>
            <a:spLocks noGrp="1"/>
          </p:cNvSpPr>
          <p:nvPr>
            <p:ph type="title"/>
          </p:nvPr>
        </p:nvSpPr>
        <p:spPr/>
        <p:txBody>
          <a:bodyPr/>
          <a:lstStyle/>
          <a:p>
            <a:r>
              <a:rPr lang="nl-NL"/>
              <a:t>Het Goede Gesprek is meer dan alleen het gesprek voeren: de voorbereiding en opvolging zijn een belangrijk onderdeel</a:t>
            </a:r>
          </a:p>
        </p:txBody>
      </p:sp>
      <p:sp>
        <p:nvSpPr>
          <p:cNvPr id="36" name="Rechthoek 35">
            <a:extLst>
              <a:ext uri="{FF2B5EF4-FFF2-40B4-BE49-F238E27FC236}">
                <a16:creationId xmlns:a16="http://schemas.microsoft.com/office/drawing/2014/main" id="{AA50A46C-5BA7-D445-835A-D81D7F210394}"/>
              </a:ext>
            </a:extLst>
          </p:cNvPr>
          <p:cNvSpPr/>
          <p:nvPr/>
        </p:nvSpPr>
        <p:spPr>
          <a:xfrm>
            <a:off x="-2161544" y="119497"/>
            <a:ext cx="2416442" cy="3572951"/>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b="1" err="1">
                <a:solidFill>
                  <a:schemeClr val="tx1"/>
                </a:solidFill>
              </a:rPr>
              <a:t>To</a:t>
            </a:r>
            <a:r>
              <a:rPr lang="nl-NL" sz="1600" b="1">
                <a:solidFill>
                  <a:schemeClr val="tx1"/>
                </a:solidFill>
              </a:rPr>
              <a:t> do om deze slide instelling specifiek te maken:</a:t>
            </a:r>
          </a:p>
          <a:p>
            <a:pPr algn="ctr"/>
            <a:endParaRPr lang="nl-NL" sz="1600">
              <a:solidFill>
                <a:schemeClr val="tx1"/>
              </a:solidFill>
            </a:endParaRPr>
          </a:p>
          <a:p>
            <a:pPr marL="285750" indent="-285750" algn="ctr">
              <a:buFontTx/>
              <a:buChar char="-"/>
            </a:pPr>
            <a:r>
              <a:rPr lang="nl-NL" sz="1600">
                <a:solidFill>
                  <a:schemeClr val="tx1"/>
                </a:solidFill>
              </a:rPr>
              <a:t>Dit is een voorbeeld planning van het proces rondom GG</a:t>
            </a:r>
          </a:p>
          <a:p>
            <a:pPr marL="285750" indent="-285750" algn="ctr">
              <a:buFontTx/>
              <a:buChar char="-"/>
            </a:pPr>
            <a:r>
              <a:rPr lang="nl-NL" sz="1600">
                <a:solidFill>
                  <a:schemeClr val="tx1"/>
                </a:solidFill>
              </a:rPr>
              <a:t>Instelling specifiek maken, bijvoorbeeld:</a:t>
            </a:r>
          </a:p>
          <a:p>
            <a:pPr marL="285750" indent="-285750" algn="ctr">
              <a:buFont typeface="Arial" panose="020B0604020202020204" pitchFamily="34" charset="0"/>
              <a:buChar char="•"/>
            </a:pPr>
            <a:r>
              <a:rPr lang="nl-NL" sz="1600">
                <a:solidFill>
                  <a:schemeClr val="tx1"/>
                </a:solidFill>
              </a:rPr>
              <a:t>Wie is de gespreksvoerder?</a:t>
            </a:r>
          </a:p>
          <a:p>
            <a:pPr marL="285750" indent="-285750" algn="ctr">
              <a:buFont typeface="Arial" panose="020B0604020202020204" pitchFamily="34" charset="0"/>
              <a:buChar char="•"/>
            </a:pPr>
            <a:r>
              <a:rPr lang="nl-NL" sz="1600">
                <a:solidFill>
                  <a:schemeClr val="tx1"/>
                </a:solidFill>
              </a:rPr>
              <a:t>Telefonisch of per mail uitnodigen?</a:t>
            </a:r>
          </a:p>
          <a:p>
            <a:pPr marL="285750" indent="-285750" algn="ctr">
              <a:buFontTx/>
              <a:buChar char="-"/>
            </a:pPr>
            <a:endParaRPr lang="nl-NL" sz="1600">
              <a:solidFill>
                <a:schemeClr val="tx1"/>
              </a:solidFill>
            </a:endParaRPr>
          </a:p>
        </p:txBody>
      </p:sp>
    </p:spTree>
    <p:extLst>
      <p:ext uri="{BB962C8B-B14F-4D97-AF65-F5344CB8AC3E}">
        <p14:creationId xmlns:p14="http://schemas.microsoft.com/office/powerpoint/2010/main" val="34719547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A496F8-8C05-4D12-AF47-1FDF2735B742}"/>
              </a:ext>
            </a:extLst>
          </p:cNvPr>
          <p:cNvSpPr>
            <a:spLocks noGrp="1"/>
          </p:cNvSpPr>
          <p:nvPr>
            <p:ph type="title"/>
          </p:nvPr>
        </p:nvSpPr>
        <p:spPr>
          <a:xfrm>
            <a:off x="461383" y="311730"/>
            <a:ext cx="11445503" cy="439633"/>
          </a:xfrm>
        </p:spPr>
        <p:txBody>
          <a:bodyPr/>
          <a:lstStyle/>
          <a:p>
            <a:r>
              <a:rPr lang="nl-NL">
                <a:latin typeface="+mj-lt"/>
              </a:rPr>
              <a:t>Plan van </a:t>
            </a:r>
            <a:r>
              <a:rPr lang="nl-NL"/>
              <a:t>aanpak Goed Gesprek: </a:t>
            </a:r>
            <a:r>
              <a:rPr lang="nl-NL">
                <a:latin typeface="+mj-lt"/>
              </a:rPr>
              <a:t>Het proces is opgebouwd in 5 fases</a:t>
            </a:r>
          </a:p>
        </p:txBody>
      </p:sp>
      <p:sp>
        <p:nvSpPr>
          <p:cNvPr id="7" name="Rechthoek 6">
            <a:extLst>
              <a:ext uri="{FF2B5EF4-FFF2-40B4-BE49-F238E27FC236}">
                <a16:creationId xmlns:a16="http://schemas.microsoft.com/office/drawing/2014/main" id="{4C330791-F52D-4E4A-ACD9-ED2E1C8FF631}"/>
              </a:ext>
            </a:extLst>
          </p:cNvPr>
          <p:cNvSpPr/>
          <p:nvPr/>
        </p:nvSpPr>
        <p:spPr>
          <a:xfrm>
            <a:off x="461383" y="4161633"/>
            <a:ext cx="724185" cy="229000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1999" rIns="71999"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a:ln>
                  <a:noFill/>
                </a:ln>
                <a:solidFill>
                  <a:srgbClr val="005777"/>
                </a:solidFill>
                <a:effectLst/>
                <a:uLnTx/>
                <a:uFillTx/>
                <a:latin typeface="Arial"/>
                <a:ea typeface="ＭＳ Ｐゴシック"/>
                <a:cs typeface="+mn-cs"/>
              </a:rPr>
              <a:t>Wat is er nodig</a:t>
            </a:r>
            <a:r>
              <a:rPr lang="nl-NL" sz="1200" b="1">
                <a:solidFill>
                  <a:srgbClr val="005777"/>
                </a:solidFill>
                <a:latin typeface="Arial"/>
                <a:ea typeface="ＭＳ Ｐゴシック"/>
              </a:rPr>
              <a:t>?</a:t>
            </a:r>
            <a:endParaRPr kumimoji="0" lang="nl-NL" sz="1200" b="1" i="0" u="none" strike="noStrike" kern="1200" cap="none" spc="0" normalizeH="0" baseline="0" noProof="0">
              <a:ln>
                <a:noFill/>
              </a:ln>
              <a:solidFill>
                <a:srgbClr val="005777"/>
              </a:solidFill>
              <a:effectLst/>
              <a:uLnTx/>
              <a:uFillTx/>
              <a:latin typeface="Arial"/>
              <a:ea typeface="ＭＳ Ｐゴシック"/>
              <a:cs typeface="+mn-cs"/>
            </a:endParaRPr>
          </a:p>
        </p:txBody>
      </p:sp>
      <p:cxnSp>
        <p:nvCxnSpPr>
          <p:cNvPr id="30" name="Rechte verbindingslijn 29">
            <a:extLst>
              <a:ext uri="{FF2B5EF4-FFF2-40B4-BE49-F238E27FC236}">
                <a16:creationId xmlns:a16="http://schemas.microsoft.com/office/drawing/2014/main" id="{464EC833-86F9-4B80-A4FB-C29F15EF5EA8}"/>
              </a:ext>
            </a:extLst>
          </p:cNvPr>
          <p:cNvCxnSpPr>
            <a:cxnSpLocks/>
          </p:cNvCxnSpPr>
          <p:nvPr/>
        </p:nvCxnSpPr>
        <p:spPr>
          <a:xfrm>
            <a:off x="461383" y="4102779"/>
            <a:ext cx="1152232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3" name="Rechthoek 22">
            <a:extLst>
              <a:ext uri="{FF2B5EF4-FFF2-40B4-BE49-F238E27FC236}">
                <a16:creationId xmlns:a16="http://schemas.microsoft.com/office/drawing/2014/main" id="{5FEA4687-BEE9-4F7B-9B3B-99A2059BECD1}"/>
              </a:ext>
            </a:extLst>
          </p:cNvPr>
          <p:cNvSpPr/>
          <p:nvPr/>
        </p:nvSpPr>
        <p:spPr>
          <a:xfrm>
            <a:off x="461383" y="1550611"/>
            <a:ext cx="724185" cy="249303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1999" rIns="71999"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br>
              <a:rPr kumimoji="0" lang="nl-NL" sz="1200" b="1" i="0" u="none" strike="noStrike" kern="1200" cap="none" spc="0" normalizeH="0" baseline="0" noProof="0">
                <a:ln>
                  <a:noFill/>
                </a:ln>
                <a:solidFill>
                  <a:srgbClr val="005777"/>
                </a:solidFill>
                <a:effectLst/>
                <a:uLnTx/>
                <a:uFillTx/>
                <a:latin typeface="Arial"/>
                <a:ea typeface="ＭＳ Ｐゴシック"/>
                <a:cs typeface="+mn-cs"/>
              </a:rPr>
            </a:br>
            <a:r>
              <a:rPr kumimoji="0" lang="nl-NL" sz="1200" b="1" i="0" u="none" strike="noStrike" kern="1200" cap="none" spc="0" normalizeH="0" baseline="0" noProof="0">
                <a:ln>
                  <a:noFill/>
                </a:ln>
                <a:solidFill>
                  <a:srgbClr val="005777"/>
                </a:solidFill>
                <a:effectLst/>
                <a:uLnTx/>
                <a:uFillTx/>
                <a:latin typeface="Arial"/>
                <a:ea typeface="ＭＳ Ｐゴシック"/>
                <a:cs typeface="+mn-cs"/>
              </a:rPr>
              <a:t>Aanpak</a:t>
            </a:r>
          </a:p>
        </p:txBody>
      </p:sp>
      <p:sp>
        <p:nvSpPr>
          <p:cNvPr id="9" name="Tekstvak 8">
            <a:extLst>
              <a:ext uri="{FF2B5EF4-FFF2-40B4-BE49-F238E27FC236}">
                <a16:creationId xmlns:a16="http://schemas.microsoft.com/office/drawing/2014/main" id="{0C4CAA1B-9640-44D9-8DA6-5C8EEA29AD57}"/>
              </a:ext>
            </a:extLst>
          </p:cNvPr>
          <p:cNvSpPr txBox="1"/>
          <p:nvPr/>
        </p:nvSpPr>
        <p:spPr>
          <a:xfrm>
            <a:off x="1250683" y="1550611"/>
            <a:ext cx="2226587" cy="194925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171449" marR="0" lvl="0" indent="-171449" algn="l" defTabSz="914286"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l-NL" sz="1200">
                <a:solidFill>
                  <a:srgbClr val="000000"/>
                </a:solidFill>
                <a:latin typeface="Arial"/>
                <a:ea typeface="ＭＳ Ｐゴシック"/>
              </a:rPr>
              <a:t>Visie [instelling]: [Op basis van deze visie kan de aanleiding verschillen per instelling]</a:t>
            </a:r>
          </a:p>
          <a:p>
            <a:pPr marL="171449" marR="0" lvl="0" indent="-171449" algn="l" defTabSz="914286"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l-NL" sz="1200">
                <a:solidFill>
                  <a:srgbClr val="000000"/>
                </a:solidFill>
                <a:latin typeface="Arial"/>
                <a:ea typeface="ＭＳ Ｐゴシック"/>
              </a:rPr>
              <a:t>Medewerker vraagt Goed Gesprek aan na bijv. </a:t>
            </a:r>
            <a:r>
              <a:rPr lang="nl-NL" sz="1200">
                <a:latin typeface="Arial"/>
                <a:ea typeface="ＭＳ Ｐゴシック"/>
              </a:rPr>
              <a:t>teamsessie/themasessie</a:t>
            </a:r>
          </a:p>
          <a:p>
            <a:pPr marL="171449" marR="0" lvl="0" indent="-171449" algn="l" defTabSz="914286"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l-NL" sz="1200">
                <a:solidFill>
                  <a:srgbClr val="000000"/>
                </a:solidFill>
                <a:latin typeface="Arial"/>
                <a:ea typeface="ＭＳ Ｐゴシック"/>
              </a:rPr>
              <a:t>Als onderdeel van </a:t>
            </a:r>
            <a:r>
              <a:rPr lang="nl-NL" sz="1200" err="1">
                <a:solidFill>
                  <a:srgbClr val="000000"/>
                </a:solidFill>
                <a:latin typeface="Arial"/>
                <a:ea typeface="ＭＳ Ｐゴシック"/>
              </a:rPr>
              <a:t>onboarding</a:t>
            </a:r>
            <a:endParaRPr lang="nl-NL" sz="1200">
              <a:solidFill>
                <a:srgbClr val="000000"/>
              </a:solidFill>
              <a:latin typeface="Arial"/>
              <a:ea typeface="ＭＳ Ｐゴシック"/>
            </a:endParaRPr>
          </a:p>
          <a:p>
            <a:pPr marL="171449" marR="0" lvl="0" indent="-171449" algn="l" defTabSz="914286"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Op uitnodiging</a:t>
            </a:r>
          </a:p>
          <a:p>
            <a:pPr marL="171449" marR="0" lvl="0" indent="-171449" algn="l" defTabSz="914286"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nl-NL" sz="12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8" name="Pijl: vijfhoek 37">
            <a:extLst>
              <a:ext uri="{FF2B5EF4-FFF2-40B4-BE49-F238E27FC236}">
                <a16:creationId xmlns:a16="http://schemas.microsoft.com/office/drawing/2014/main" id="{EDB78BAE-583E-4DA7-98DB-313DF53AADAE}"/>
              </a:ext>
            </a:extLst>
          </p:cNvPr>
          <p:cNvSpPr/>
          <p:nvPr/>
        </p:nvSpPr>
        <p:spPr>
          <a:xfrm>
            <a:off x="9701522" y="847983"/>
            <a:ext cx="2204353" cy="636742"/>
          </a:xfrm>
          <a:prstGeom prst="homePlate">
            <a:avLst>
              <a:gd name="adj" fmla="val 18241"/>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457143" marR="0" lvl="1" indent="0" algn="l" defTabSz="914286"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srgbClr val="FFFFFF"/>
                </a:solidFill>
                <a:effectLst/>
                <a:uLnTx/>
                <a:uFillTx/>
                <a:latin typeface="Arial"/>
                <a:ea typeface="ＭＳ Ｐゴシック"/>
                <a:cs typeface="+mn-cs"/>
              </a:rPr>
              <a:t>Waarborgen</a:t>
            </a:r>
          </a:p>
        </p:txBody>
      </p:sp>
      <p:sp>
        <p:nvSpPr>
          <p:cNvPr id="22" name="Pijl: vijfhoek 21">
            <a:extLst>
              <a:ext uri="{FF2B5EF4-FFF2-40B4-BE49-F238E27FC236}">
                <a16:creationId xmlns:a16="http://schemas.microsoft.com/office/drawing/2014/main" id="{CAA69614-2EB2-4658-BE4C-F1F987A33CD3}"/>
              </a:ext>
            </a:extLst>
          </p:cNvPr>
          <p:cNvSpPr/>
          <p:nvPr/>
        </p:nvSpPr>
        <p:spPr>
          <a:xfrm>
            <a:off x="7616505" y="847983"/>
            <a:ext cx="2204353" cy="636742"/>
          </a:xfrm>
          <a:prstGeom prst="homePlate">
            <a:avLst>
              <a:gd name="adj" fmla="val 21003"/>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143" marR="0" lvl="1" indent="0" algn="l" defTabSz="914286"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srgbClr val="FFFFFF"/>
                </a:solidFill>
                <a:effectLst/>
                <a:uLnTx/>
                <a:uFillTx/>
                <a:latin typeface="Arial"/>
                <a:ea typeface="ＭＳ Ｐゴシック"/>
                <a:cs typeface="+mn-cs"/>
              </a:rPr>
              <a:t>Opvolgen</a:t>
            </a:r>
          </a:p>
        </p:txBody>
      </p:sp>
      <p:sp>
        <p:nvSpPr>
          <p:cNvPr id="21" name="Pijl: vijfhoek 20">
            <a:extLst>
              <a:ext uri="{FF2B5EF4-FFF2-40B4-BE49-F238E27FC236}">
                <a16:creationId xmlns:a16="http://schemas.microsoft.com/office/drawing/2014/main" id="{3842A38E-0313-4E09-966A-0AE15459F489}"/>
              </a:ext>
            </a:extLst>
          </p:cNvPr>
          <p:cNvSpPr/>
          <p:nvPr/>
        </p:nvSpPr>
        <p:spPr>
          <a:xfrm>
            <a:off x="5613673" y="847983"/>
            <a:ext cx="2139072" cy="636742"/>
          </a:xfrm>
          <a:prstGeom prst="homePlate">
            <a:avLst>
              <a:gd name="adj" fmla="val 23765"/>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143" marR="0" lvl="1" indent="0" algn="l" defTabSz="914286"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srgbClr val="FFFFFF"/>
                </a:solidFill>
                <a:effectLst/>
                <a:uLnTx/>
                <a:uFillTx/>
                <a:latin typeface="Arial"/>
                <a:ea typeface="ＭＳ Ｐゴシック"/>
                <a:cs typeface="+mn-cs"/>
              </a:rPr>
              <a:t>Voeren van gesprek</a:t>
            </a:r>
          </a:p>
        </p:txBody>
      </p:sp>
      <p:sp>
        <p:nvSpPr>
          <p:cNvPr id="4" name="Pijl: vijfhoek 3">
            <a:extLst>
              <a:ext uri="{FF2B5EF4-FFF2-40B4-BE49-F238E27FC236}">
                <a16:creationId xmlns:a16="http://schemas.microsoft.com/office/drawing/2014/main" id="{F3342FF7-A23F-492C-9FA8-4824E5FE104D}"/>
              </a:ext>
            </a:extLst>
          </p:cNvPr>
          <p:cNvSpPr/>
          <p:nvPr/>
        </p:nvSpPr>
        <p:spPr>
          <a:xfrm>
            <a:off x="3471328" y="847983"/>
            <a:ext cx="2226587" cy="636742"/>
          </a:xfrm>
          <a:prstGeom prst="homePlate">
            <a:avLst>
              <a:gd name="adj" fmla="val 14099"/>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nl-NL" sz="1100">
                <a:solidFill>
                  <a:srgbClr val="FFFFFF"/>
                </a:solidFill>
                <a:latin typeface="Arial"/>
                <a:ea typeface="ＭＳ Ｐゴシック"/>
              </a:rPr>
              <a:t>Voorbereiding</a:t>
            </a:r>
          </a:p>
        </p:txBody>
      </p:sp>
      <p:pic>
        <p:nvPicPr>
          <p:cNvPr id="45" name="Graphic 44" descr="Chatten">
            <a:extLst>
              <a:ext uri="{FF2B5EF4-FFF2-40B4-BE49-F238E27FC236}">
                <a16:creationId xmlns:a16="http://schemas.microsoft.com/office/drawing/2014/main" id="{688373AD-34A7-43B2-8BA0-BF65C0278C9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07568" y="974854"/>
            <a:ext cx="337362" cy="358116"/>
          </a:xfrm>
          <a:prstGeom prst="rect">
            <a:avLst/>
          </a:prstGeom>
        </p:spPr>
      </p:pic>
      <p:pic>
        <p:nvPicPr>
          <p:cNvPr id="47" name="Graphic 46" descr="Vergadering">
            <a:extLst>
              <a:ext uri="{FF2B5EF4-FFF2-40B4-BE49-F238E27FC236}">
                <a16:creationId xmlns:a16="http://schemas.microsoft.com/office/drawing/2014/main" id="{8B7E7799-E87B-4D06-A5FB-777E27A7491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08759" y="980434"/>
            <a:ext cx="332105" cy="352536"/>
          </a:xfrm>
          <a:prstGeom prst="rect">
            <a:avLst/>
          </a:prstGeom>
        </p:spPr>
      </p:pic>
      <p:pic>
        <p:nvPicPr>
          <p:cNvPr id="51" name="Graphic 50" descr="Handdruk">
            <a:extLst>
              <a:ext uri="{FF2B5EF4-FFF2-40B4-BE49-F238E27FC236}">
                <a16:creationId xmlns:a16="http://schemas.microsoft.com/office/drawing/2014/main" id="{53B97450-26FD-4DD1-8EE4-E20E572CF02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88055" y="1006957"/>
            <a:ext cx="332105" cy="352536"/>
          </a:xfrm>
          <a:prstGeom prst="rect">
            <a:avLst/>
          </a:prstGeom>
        </p:spPr>
      </p:pic>
      <p:pic>
        <p:nvPicPr>
          <p:cNvPr id="53" name="Graphic 52" descr="Controlelijst">
            <a:extLst>
              <a:ext uri="{FF2B5EF4-FFF2-40B4-BE49-F238E27FC236}">
                <a16:creationId xmlns:a16="http://schemas.microsoft.com/office/drawing/2014/main" id="{45B2BAB6-A6E0-4049-B616-F7D79CAAEEB7}"/>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853636" y="999906"/>
            <a:ext cx="332105" cy="352536"/>
          </a:xfrm>
          <a:prstGeom prst="rect">
            <a:avLst/>
          </a:prstGeom>
        </p:spPr>
      </p:pic>
      <p:sp>
        <p:nvSpPr>
          <p:cNvPr id="35" name="Tekstvak 34">
            <a:extLst>
              <a:ext uri="{FF2B5EF4-FFF2-40B4-BE49-F238E27FC236}">
                <a16:creationId xmlns:a16="http://schemas.microsoft.com/office/drawing/2014/main" id="{319410EE-E2A1-47C0-84C2-48FB57BDEA89}"/>
              </a:ext>
            </a:extLst>
          </p:cNvPr>
          <p:cNvSpPr txBox="1"/>
          <p:nvPr/>
        </p:nvSpPr>
        <p:spPr>
          <a:xfrm>
            <a:off x="3551524" y="4200379"/>
            <a:ext cx="2105267" cy="114646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171449" marR="0" lvl="0" indent="-171449" algn="l" defTabSz="914286"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l-NL" sz="1200">
                <a:solidFill>
                  <a:srgbClr val="000000"/>
                </a:solidFill>
                <a:latin typeface="Arial"/>
                <a:ea typeface="ＭＳ Ｐゴシック"/>
              </a:rPr>
              <a:t>Een HR omgeving waar relevante informatie te vinden is over HPP</a:t>
            </a:r>
          </a:p>
          <a:p>
            <a:pPr marL="171449" marR="0" lvl="0" indent="-171449" algn="l" defTabSz="914286"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Vanuit HPP is er </a:t>
            </a:r>
            <a:r>
              <a:rPr kumimoji="0" lang="nl-NL" sz="1200" b="0" i="0" u="none" strike="noStrike" kern="1200" cap="none" spc="0" normalizeH="0" baseline="0" noProof="0" err="1">
                <a:ln>
                  <a:noFill/>
                </a:ln>
                <a:solidFill>
                  <a:srgbClr val="000000"/>
                </a:solidFill>
                <a:effectLst/>
                <a:uLnTx/>
                <a:uFillTx/>
                <a:latin typeface="Arial"/>
                <a:ea typeface="ＭＳ Ｐゴシック"/>
                <a:cs typeface="+mn-cs"/>
              </a:rPr>
              <a:t>ee</a:t>
            </a:r>
            <a:r>
              <a:rPr lang="nl-NL" sz="1200">
                <a:solidFill>
                  <a:srgbClr val="000000"/>
                </a:solidFill>
                <a:latin typeface="Arial"/>
                <a:ea typeface="ＭＳ Ｐゴシック"/>
              </a:rPr>
              <a:t>n [voorbereidingsmail] beschikbaar</a:t>
            </a:r>
            <a:endParaRPr kumimoji="0" lang="nl-NL" sz="12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6" name="Tekstvak 35">
            <a:extLst>
              <a:ext uri="{FF2B5EF4-FFF2-40B4-BE49-F238E27FC236}">
                <a16:creationId xmlns:a16="http://schemas.microsoft.com/office/drawing/2014/main" id="{DCF36E3C-4718-42AB-8FF7-B0491AA47F56}"/>
              </a:ext>
            </a:extLst>
          </p:cNvPr>
          <p:cNvSpPr txBox="1"/>
          <p:nvPr/>
        </p:nvSpPr>
        <p:spPr>
          <a:xfrm>
            <a:off x="5656791" y="4200379"/>
            <a:ext cx="1976367" cy="17004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171449" marR="0" lvl="0" indent="-171449" algn="l" defTabSz="914286"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l-NL" sz="1200">
                <a:solidFill>
                  <a:srgbClr val="000000"/>
                </a:solidFill>
                <a:latin typeface="Arial"/>
                <a:ea typeface="ＭＳ Ｐゴシック"/>
              </a:rPr>
              <a:t>Afhankelijk van de voorkeur van de instelling: een Leidraad per </a:t>
            </a:r>
            <a:r>
              <a:rPr lang="nl-NL" sz="1200" i="1">
                <a:solidFill>
                  <a:srgbClr val="000000"/>
                </a:solidFill>
                <a:latin typeface="Arial"/>
                <a:ea typeface="ＭＳ Ｐゴシック"/>
              </a:rPr>
              <a:t>‘type medewerker’ </a:t>
            </a:r>
            <a:r>
              <a:rPr lang="nl-NL" sz="1200">
                <a:solidFill>
                  <a:srgbClr val="000000"/>
                </a:solidFill>
                <a:latin typeface="Arial"/>
                <a:ea typeface="ＭＳ Ｐゴシック"/>
              </a:rPr>
              <a:t>met opbouw van het gesprek,</a:t>
            </a:r>
          </a:p>
          <a:p>
            <a:pPr marL="171449" marR="0" lvl="0" indent="-171449" algn="l" defTabSz="914286"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Een rustige ruimte waar voor 45-60 minuten een gesprek niet gestoord wordt</a:t>
            </a:r>
          </a:p>
        </p:txBody>
      </p:sp>
      <p:sp>
        <p:nvSpPr>
          <p:cNvPr id="31" name="Pijl: vijfhoek 30">
            <a:extLst>
              <a:ext uri="{FF2B5EF4-FFF2-40B4-BE49-F238E27FC236}">
                <a16:creationId xmlns:a16="http://schemas.microsoft.com/office/drawing/2014/main" id="{3D185ACD-ACE5-4673-A006-6C2B0F06F2D6}"/>
              </a:ext>
            </a:extLst>
          </p:cNvPr>
          <p:cNvSpPr/>
          <p:nvPr/>
        </p:nvSpPr>
        <p:spPr>
          <a:xfrm>
            <a:off x="9820859" y="1550611"/>
            <a:ext cx="1963272" cy="1532740"/>
          </a:xfrm>
          <a:prstGeom prst="homePlate">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1449" marR="0" lvl="0" indent="-171449" algn="l" defTabSz="914286"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l-NL" sz="1200">
                <a:solidFill>
                  <a:srgbClr val="000000"/>
                </a:solidFill>
                <a:latin typeface="Arial"/>
                <a:ea typeface="ＭＳ Ｐゴシック"/>
              </a:rPr>
              <a:t>Wanneer passend krijgen medewerkers</a:t>
            </a: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 een herinnering </a:t>
            </a:r>
            <a:r>
              <a:rPr kumimoji="0" lang="nl-NL" sz="1200" b="0" i="0" u="none" strike="noStrike" kern="1200" cap="none" spc="0" normalizeH="0" baseline="0" noProof="0">
                <a:ln>
                  <a:noFill/>
                </a:ln>
                <a:solidFill>
                  <a:schemeClr val="tx1"/>
                </a:solidFill>
                <a:effectLst/>
                <a:uLnTx/>
                <a:uFillTx/>
                <a:latin typeface="Arial"/>
                <a:ea typeface="ＭＳ Ｐゴシック"/>
                <a:cs typeface="+mn-cs"/>
              </a:rPr>
              <a:t>wanneer gesprek gevoerd moet worden in een cyclus van [</a:t>
            </a:r>
            <a:r>
              <a:rPr lang="nl-NL" sz="1200">
                <a:solidFill>
                  <a:schemeClr val="tx1"/>
                </a:solidFill>
                <a:latin typeface="Arial"/>
                <a:ea typeface="ＭＳ Ｐゴシック"/>
              </a:rPr>
              <a:t>X] </a:t>
            </a:r>
            <a:r>
              <a:rPr kumimoji="0" lang="nl-NL" sz="1200" b="0" i="0" u="none" strike="noStrike" kern="1200" cap="none" spc="0" normalizeH="0" baseline="0" noProof="0">
                <a:ln>
                  <a:noFill/>
                </a:ln>
                <a:solidFill>
                  <a:schemeClr val="tx1"/>
                </a:solidFill>
                <a:effectLst/>
                <a:uLnTx/>
                <a:uFillTx/>
                <a:latin typeface="Arial"/>
                <a:ea typeface="ＭＳ Ｐゴシック"/>
                <a:cs typeface="+mn-cs"/>
              </a:rPr>
              <a:t>jaar (afhankelijk voorkeur instelling).</a:t>
            </a:r>
          </a:p>
          <a:p>
            <a:pPr marL="171449" marR="0" lvl="0" indent="-171449" algn="l" defTabSz="914286"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Bepaal met de instelling wat de startfocusgroep is</a:t>
            </a:r>
            <a:r>
              <a:rPr lang="nl-NL" sz="1200">
                <a:solidFill>
                  <a:srgbClr val="000000"/>
                </a:solidFill>
                <a:latin typeface="Arial"/>
                <a:ea typeface="ＭＳ Ｐゴシック"/>
              </a:rPr>
              <a:t>. Dit kan bijv. de groep zijn met de grootse potentie.</a:t>
            </a:r>
            <a:endParaRPr kumimoji="0" lang="nl-NL" sz="12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3" name="Tekstvak 32">
            <a:extLst>
              <a:ext uri="{FF2B5EF4-FFF2-40B4-BE49-F238E27FC236}">
                <a16:creationId xmlns:a16="http://schemas.microsoft.com/office/drawing/2014/main" id="{F9EB4981-09EA-4F7C-8494-02391F6E9392}"/>
              </a:ext>
            </a:extLst>
          </p:cNvPr>
          <p:cNvSpPr txBox="1"/>
          <p:nvPr/>
        </p:nvSpPr>
        <p:spPr>
          <a:xfrm>
            <a:off x="3534872" y="1550612"/>
            <a:ext cx="2176118" cy="210826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171449" marR="0" lvl="0" indent="-171449" algn="l" defTabSz="914286"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Medewerker wordt uitgenodigd en krijgt duidelijke informatie en voorbereiding voor het gesprek</a:t>
            </a:r>
          </a:p>
          <a:p>
            <a:pPr marL="171449" marR="0" lvl="0" indent="-171449" algn="l" defTabSz="914286"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Gespreksvoerde</a:t>
            </a:r>
            <a:r>
              <a:rPr kumimoji="0" lang="nl-NL" sz="1200" b="0" i="0" u="none" strike="noStrike" kern="1200" cap="none" spc="0" normalizeH="0" baseline="0" noProof="0">
                <a:ln>
                  <a:noFill/>
                </a:ln>
                <a:effectLst/>
                <a:uLnTx/>
                <a:uFillTx/>
                <a:latin typeface="Arial"/>
                <a:ea typeface="ＭＳ Ｐゴシック"/>
                <a:cs typeface="+mn-cs"/>
              </a:rPr>
              <a:t>r </a:t>
            </a: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verdiept zich in de medewerker en wat er mogelijk is</a:t>
            </a:r>
          </a:p>
          <a:p>
            <a:pPr marL="171449" marR="0" lvl="0" indent="-171449" algn="l" defTabSz="914286"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l-NL" sz="1200">
                <a:solidFill>
                  <a:srgbClr val="000000"/>
                </a:solidFill>
                <a:latin typeface="Arial"/>
                <a:ea typeface="ＭＳ Ｐゴシック"/>
              </a:rPr>
              <a:t>Gespreksvoerder heeft training gehad in het voeren van persoonlijke gesprekken</a:t>
            </a:r>
          </a:p>
        </p:txBody>
      </p:sp>
      <p:sp>
        <p:nvSpPr>
          <p:cNvPr id="37" name="Tekstvak 36">
            <a:extLst>
              <a:ext uri="{FF2B5EF4-FFF2-40B4-BE49-F238E27FC236}">
                <a16:creationId xmlns:a16="http://schemas.microsoft.com/office/drawing/2014/main" id="{7FCDCA58-BA27-4B63-B6EC-3E1C2B5D2BFC}"/>
              </a:ext>
            </a:extLst>
          </p:cNvPr>
          <p:cNvSpPr txBox="1"/>
          <p:nvPr/>
        </p:nvSpPr>
        <p:spPr>
          <a:xfrm>
            <a:off x="5613673" y="1550611"/>
            <a:ext cx="1865253" cy="114646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171449" marR="0" lvl="0" indent="-171449" algn="l" defTabSz="914286"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Aan de hand van Leidraad voeren gespreksvoerder en medewerker het Goede </a:t>
            </a:r>
            <a:r>
              <a:rPr lang="nl-NL" sz="1200">
                <a:solidFill>
                  <a:srgbClr val="000000"/>
                </a:solidFill>
                <a:latin typeface="Arial"/>
                <a:ea typeface="ＭＳ Ｐゴシック"/>
              </a:rPr>
              <a:t>G</a:t>
            </a:r>
            <a:r>
              <a:rPr kumimoji="0" lang="nl-NL" sz="1200" b="0" i="0" u="none" strike="noStrike" kern="1200" cap="none" spc="0" normalizeH="0" baseline="0" noProof="0" err="1">
                <a:ln>
                  <a:noFill/>
                </a:ln>
                <a:solidFill>
                  <a:srgbClr val="000000"/>
                </a:solidFill>
                <a:effectLst/>
                <a:uLnTx/>
                <a:uFillTx/>
                <a:latin typeface="Arial"/>
                <a:ea typeface="ＭＳ Ｐゴシック"/>
                <a:cs typeface="+mn-cs"/>
              </a:rPr>
              <a:t>esprek</a:t>
            </a: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 </a:t>
            </a:r>
            <a:endParaRPr lang="nl-NL" sz="1200">
              <a:solidFill>
                <a:srgbClr val="000000"/>
              </a:solidFill>
              <a:latin typeface="Arial"/>
              <a:ea typeface="ＭＳ Ｐゴシック"/>
            </a:endParaRPr>
          </a:p>
          <a:p>
            <a:pPr marL="171449" marR="0" lvl="0" indent="-171449" algn="l" defTabSz="914286"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nl-NL" sz="12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9" name="Tekstvak 38">
            <a:extLst>
              <a:ext uri="{FF2B5EF4-FFF2-40B4-BE49-F238E27FC236}">
                <a16:creationId xmlns:a16="http://schemas.microsoft.com/office/drawing/2014/main" id="{2A11AD31-4C6E-4DDA-BF13-E7DABF7933EA}"/>
              </a:ext>
            </a:extLst>
          </p:cNvPr>
          <p:cNvSpPr txBox="1"/>
          <p:nvPr/>
        </p:nvSpPr>
        <p:spPr>
          <a:xfrm>
            <a:off x="7728687" y="1550611"/>
            <a:ext cx="1993086" cy="233140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171449" marR="0" lvl="0" indent="-171449" algn="l" defTabSz="914286"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Vervolg  worden in gang gezet</a:t>
            </a:r>
          </a:p>
          <a:p>
            <a:pPr marL="171449" marR="0" lvl="0" indent="-171449" algn="l" defTabSz="914286"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Gesprekverslag wordt in een dossier gezet (HR omgeving)</a:t>
            </a:r>
          </a:p>
          <a:p>
            <a:pPr marL="171449" marR="0" lvl="0" indent="-171449" algn="l" defTabSz="914286"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l-NL" sz="1200">
                <a:solidFill>
                  <a:srgbClr val="000000"/>
                </a:solidFill>
                <a:latin typeface="Arial"/>
                <a:ea typeface="ＭＳ Ｐゴシック"/>
              </a:rPr>
              <a:t>Eventuele vervolgafspraak maken, bijv. met rooster planner</a:t>
            </a:r>
          </a:p>
          <a:p>
            <a:pPr marL="171449" marR="0" lvl="0" indent="-171449" algn="l" defTabSz="914286"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l-NL" sz="1200">
                <a:solidFill>
                  <a:srgbClr val="000000"/>
                </a:solidFill>
                <a:latin typeface="Arial"/>
                <a:ea typeface="ＭＳ Ｐゴシック"/>
              </a:rPr>
              <a:t>Ergens </a:t>
            </a: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wordt bijgehouden </a:t>
            </a:r>
            <a:r>
              <a:rPr lang="nl-NL" sz="1200">
                <a:solidFill>
                  <a:srgbClr val="000000"/>
                </a:solidFill>
                <a:latin typeface="Arial"/>
                <a:ea typeface="ＭＳ Ｐゴシック"/>
              </a:rPr>
              <a:t>wie hoeveel meer wilt werken (bijvoorbeeld in een spreadsheet)</a:t>
            </a:r>
            <a:endParaRPr kumimoji="0" lang="nl-NL" sz="12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41" name="Tekstvak 40">
            <a:extLst>
              <a:ext uri="{FF2B5EF4-FFF2-40B4-BE49-F238E27FC236}">
                <a16:creationId xmlns:a16="http://schemas.microsoft.com/office/drawing/2014/main" id="{B06E32B4-F3C3-44F2-82A6-878D603050C0}"/>
              </a:ext>
            </a:extLst>
          </p:cNvPr>
          <p:cNvSpPr txBox="1"/>
          <p:nvPr/>
        </p:nvSpPr>
        <p:spPr>
          <a:xfrm>
            <a:off x="7752745" y="4161907"/>
            <a:ext cx="1963272" cy="155427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171449" marR="0" lvl="0" indent="-171449" algn="l" defTabSz="914286"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l-NL" sz="1200">
                <a:solidFill>
                  <a:srgbClr val="000000"/>
                </a:solidFill>
                <a:latin typeface="Arial"/>
                <a:ea typeface="ＭＳ Ｐゴシック"/>
              </a:rPr>
              <a:t>Dossier medewerker in een </a:t>
            </a: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HR omgeving</a:t>
            </a:r>
          </a:p>
          <a:p>
            <a:pPr marL="171449" marR="0" lvl="0" indent="-171449" algn="l" defTabSz="914286"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l-NL" sz="1200">
                <a:solidFill>
                  <a:srgbClr val="000000"/>
                </a:solidFill>
                <a:latin typeface="Arial"/>
                <a:ea typeface="ＭＳ Ｐゴシック"/>
              </a:rPr>
              <a:t>Spreadsheet voor bijhouden welke medewerkers gesproken zijn en hoeveel ze meer willen werken</a:t>
            </a:r>
            <a:endParaRPr kumimoji="0" lang="nl-NL" sz="1200" b="0" i="0" u="none" strike="noStrike" kern="1200" cap="none" spc="0" normalizeH="0" baseline="0" noProof="0">
              <a:ln>
                <a:noFill/>
              </a:ln>
              <a:solidFill>
                <a:srgbClr val="000000"/>
              </a:solidFill>
              <a:effectLst/>
              <a:uLnTx/>
              <a:uFillTx/>
              <a:latin typeface="Arial"/>
              <a:ea typeface="ＭＳ Ｐゴシック"/>
              <a:cs typeface="+mn-cs"/>
            </a:endParaRPr>
          </a:p>
          <a:p>
            <a:pPr marL="171449" marR="0" lvl="0" indent="-171449" algn="l" defTabSz="914286"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nl-NL" sz="12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56" name="Tekstvak 55">
            <a:extLst>
              <a:ext uri="{FF2B5EF4-FFF2-40B4-BE49-F238E27FC236}">
                <a16:creationId xmlns:a16="http://schemas.microsoft.com/office/drawing/2014/main" id="{5D1BE1A1-AACF-41D9-9FBC-F560D682D97B}"/>
              </a:ext>
            </a:extLst>
          </p:cNvPr>
          <p:cNvSpPr txBox="1"/>
          <p:nvPr/>
        </p:nvSpPr>
        <p:spPr>
          <a:xfrm>
            <a:off x="9853636" y="4161633"/>
            <a:ext cx="1976368"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171449" marR="0" lvl="0" indent="-171449" algn="l" defTabSz="914286"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Ervaring met een </a:t>
            </a:r>
            <a:r>
              <a:rPr kumimoji="0" lang="nl-NL" sz="1200" b="0" i="0" u="none" strike="noStrike" kern="1200" cap="none" spc="0" normalizeH="0" baseline="0" noProof="0" err="1">
                <a:ln>
                  <a:noFill/>
                </a:ln>
                <a:solidFill>
                  <a:srgbClr val="000000"/>
                </a:solidFill>
                <a:effectLst/>
                <a:uLnTx/>
                <a:uFillTx/>
                <a:latin typeface="Arial"/>
                <a:ea typeface="ＭＳ Ｐゴシック"/>
                <a:cs typeface="+mn-cs"/>
              </a:rPr>
              <a:t>aanta</a:t>
            </a:r>
            <a:r>
              <a:rPr lang="nl-NL" sz="1200">
                <a:solidFill>
                  <a:srgbClr val="000000"/>
                </a:solidFill>
                <a:latin typeface="Arial"/>
                <a:ea typeface="ＭＳ Ｐゴシック"/>
              </a:rPr>
              <a:t>l Goede Gesprekken</a:t>
            </a:r>
            <a:endParaRPr kumimoji="0" lang="nl-NL" sz="12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 name="Pijl: vijfhoek 2">
            <a:extLst>
              <a:ext uri="{FF2B5EF4-FFF2-40B4-BE49-F238E27FC236}">
                <a16:creationId xmlns:a16="http://schemas.microsoft.com/office/drawing/2014/main" id="{66552802-13A7-4781-9D8D-6E9A39F21808}"/>
              </a:ext>
            </a:extLst>
          </p:cNvPr>
          <p:cNvSpPr/>
          <p:nvPr/>
        </p:nvSpPr>
        <p:spPr>
          <a:xfrm>
            <a:off x="1211415" y="847983"/>
            <a:ext cx="2349291" cy="636742"/>
          </a:xfrm>
          <a:prstGeom prst="homePlate">
            <a:avLst>
              <a:gd name="adj" fmla="val 14099"/>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143" marR="0" lvl="1" indent="0" algn="l" defTabSz="914286"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srgbClr val="FFFFFF"/>
                </a:solidFill>
                <a:effectLst/>
                <a:uLnTx/>
                <a:uFillTx/>
                <a:latin typeface="Arial"/>
                <a:ea typeface="ＭＳ Ｐゴシック"/>
                <a:cs typeface="+mn-cs"/>
              </a:rPr>
              <a:t>Aanleiding </a:t>
            </a:r>
          </a:p>
        </p:txBody>
      </p:sp>
      <p:pic>
        <p:nvPicPr>
          <p:cNvPr id="43" name="Graphic 42" descr="E-mail">
            <a:extLst>
              <a:ext uri="{FF2B5EF4-FFF2-40B4-BE49-F238E27FC236}">
                <a16:creationId xmlns:a16="http://schemas.microsoft.com/office/drawing/2014/main" id="{381FA561-5B95-4D9D-B91E-6F5661D1CDB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294565" y="985845"/>
            <a:ext cx="352536" cy="352536"/>
          </a:xfrm>
          <a:prstGeom prst="rect">
            <a:avLst/>
          </a:prstGeom>
        </p:spPr>
      </p:pic>
      <p:sp>
        <p:nvSpPr>
          <p:cNvPr id="29" name="Tekstvak 28">
            <a:extLst>
              <a:ext uri="{FF2B5EF4-FFF2-40B4-BE49-F238E27FC236}">
                <a16:creationId xmlns:a16="http://schemas.microsoft.com/office/drawing/2014/main" id="{215A5251-5E7C-408B-8715-D126FA3DAA16}"/>
              </a:ext>
            </a:extLst>
          </p:cNvPr>
          <p:cNvSpPr txBox="1"/>
          <p:nvPr/>
        </p:nvSpPr>
        <p:spPr>
          <a:xfrm>
            <a:off x="1294565" y="4200379"/>
            <a:ext cx="2105267" cy="27776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171449" indent="-171449">
              <a:spcAft>
                <a:spcPts val="300"/>
              </a:spcAft>
              <a:buFont typeface="Arial" panose="020B0604020202020204" pitchFamily="34" charset="0"/>
              <a:buChar char="•"/>
              <a:defRPr/>
            </a:pP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Een plek op intranet met alle informatie </a:t>
            </a:r>
            <a:r>
              <a:rPr lang="nl-NL" sz="1200">
                <a:solidFill>
                  <a:srgbClr val="000000"/>
                </a:solidFill>
              </a:rPr>
              <a:t>over visie [instelling] en </a:t>
            </a:r>
            <a:r>
              <a:rPr kumimoji="0" lang="nl-NL" sz="1200" b="0" i="0" u="none" strike="noStrike" kern="1200" cap="none" spc="0" normalizeH="0" baseline="0" noProof="0">
                <a:ln>
                  <a:noFill/>
                </a:ln>
                <a:solidFill>
                  <a:srgbClr val="000000"/>
                </a:solidFill>
                <a:effectLst/>
                <a:uLnTx/>
                <a:uFillTx/>
                <a:latin typeface="Arial"/>
                <a:ea typeface="ＭＳ Ｐゴシック"/>
                <a:cs typeface="+mn-cs"/>
              </a:rPr>
              <a:t> HPP/contractuitbreiding</a:t>
            </a:r>
          </a:p>
          <a:p>
            <a:pPr marL="171449" indent="-171449">
              <a:spcAft>
                <a:spcPts val="300"/>
              </a:spcAft>
              <a:buFont typeface="Arial" panose="020B0604020202020204" pitchFamily="34" charset="0"/>
              <a:buChar char="•"/>
              <a:defRPr/>
            </a:pPr>
            <a:r>
              <a:rPr lang="nl-NL" sz="1200">
                <a:solidFill>
                  <a:srgbClr val="000000"/>
                </a:solidFill>
                <a:latin typeface="Arial"/>
                <a:ea typeface="ＭＳ Ｐゴシック"/>
              </a:rPr>
              <a:t>Duidelijk rolverdeling voor medewerkers. </a:t>
            </a:r>
          </a:p>
          <a:p>
            <a:pPr marL="171449" indent="-171449">
              <a:spcAft>
                <a:spcPts val="300"/>
              </a:spcAft>
              <a:buFont typeface="Arial" panose="020B0604020202020204" pitchFamily="34" charset="0"/>
              <a:buChar char="•"/>
              <a:defRPr/>
            </a:pPr>
            <a:r>
              <a:rPr lang="nl-NL" sz="1200">
                <a:solidFill>
                  <a:srgbClr val="000000"/>
                </a:solidFill>
                <a:latin typeface="Arial"/>
                <a:ea typeface="ＭＳ Ｐゴシック"/>
              </a:rPr>
              <a:t>Medewerkers weten waar ze terecht kunnen als ze een Goed Gesprek willen aanvragen</a:t>
            </a:r>
          </a:p>
          <a:p>
            <a:pPr marL="171449" indent="-171449">
              <a:spcAft>
                <a:spcPts val="300"/>
              </a:spcAft>
              <a:buFont typeface="Arial" panose="020B0604020202020204" pitchFamily="34" charset="0"/>
              <a:buChar char="•"/>
              <a:defRPr/>
            </a:pPr>
            <a:r>
              <a:rPr lang="nl-NL" sz="1200">
                <a:solidFill>
                  <a:srgbClr val="000000"/>
                </a:solidFill>
                <a:latin typeface="Arial"/>
                <a:ea typeface="ＭＳ Ｐゴシック"/>
              </a:rPr>
              <a:t>[Informatiepakket voor medewerkers]</a:t>
            </a:r>
          </a:p>
          <a:p>
            <a:pPr marL="171449" indent="-171449">
              <a:spcAft>
                <a:spcPts val="300"/>
              </a:spcAft>
              <a:buFont typeface="Arial" panose="020B0604020202020204" pitchFamily="34" charset="0"/>
              <a:buChar char="•"/>
              <a:defRPr/>
            </a:pPr>
            <a:endParaRPr kumimoji="0" lang="nl-NL" sz="1200" b="0" i="0" u="none" strike="noStrike" kern="1200" cap="none" spc="0" normalizeH="0" baseline="0" noProof="0">
              <a:ln>
                <a:noFill/>
              </a:ln>
              <a:solidFill>
                <a:srgbClr val="000000"/>
              </a:solidFill>
              <a:effectLst/>
              <a:uLnTx/>
              <a:uFillTx/>
              <a:latin typeface="Arial"/>
              <a:ea typeface="ＭＳ Ｐゴシック"/>
              <a:cs typeface="+mn-cs"/>
            </a:endParaRPr>
          </a:p>
          <a:p>
            <a:pPr marR="0" lvl="0" algn="l" defTabSz="914286" rtl="0" eaLnBrk="1" fontAlgn="auto" latinLnBrk="0" hangingPunct="1">
              <a:lnSpc>
                <a:spcPct val="100000"/>
              </a:lnSpc>
              <a:spcBef>
                <a:spcPts val="0"/>
              </a:spcBef>
              <a:spcAft>
                <a:spcPts val="300"/>
              </a:spcAft>
              <a:buClrTx/>
              <a:buSzTx/>
              <a:tabLst/>
              <a:defRPr/>
            </a:pPr>
            <a:endParaRPr kumimoji="0" lang="nl-NL" sz="12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2" name="Rechthoek 31">
            <a:extLst>
              <a:ext uri="{FF2B5EF4-FFF2-40B4-BE49-F238E27FC236}">
                <a16:creationId xmlns:a16="http://schemas.microsoft.com/office/drawing/2014/main" id="{0C1FD331-C68C-F941-8404-8669A5080330}"/>
              </a:ext>
            </a:extLst>
          </p:cNvPr>
          <p:cNvSpPr/>
          <p:nvPr/>
        </p:nvSpPr>
        <p:spPr>
          <a:xfrm>
            <a:off x="-2473376" y="119496"/>
            <a:ext cx="2728274" cy="4587413"/>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b="1" err="1">
                <a:solidFill>
                  <a:schemeClr val="tx1"/>
                </a:solidFill>
              </a:rPr>
              <a:t>To</a:t>
            </a:r>
            <a:r>
              <a:rPr lang="nl-NL" sz="1600" b="1">
                <a:solidFill>
                  <a:schemeClr val="tx1"/>
                </a:solidFill>
              </a:rPr>
              <a:t> do om deze slide instelling specifiek te maken:</a:t>
            </a:r>
          </a:p>
          <a:p>
            <a:pPr algn="ctr"/>
            <a:endParaRPr lang="nl-NL" sz="1600">
              <a:solidFill>
                <a:schemeClr val="tx1"/>
              </a:solidFill>
            </a:endParaRPr>
          </a:p>
          <a:p>
            <a:pPr algn="ctr"/>
            <a:r>
              <a:rPr lang="nl-NL" sz="1600">
                <a:solidFill>
                  <a:schemeClr val="tx1"/>
                </a:solidFill>
              </a:rPr>
              <a:t>- Dit is een voorbeeld plan van aanpak (een uitgebreidere versie van de vorige slide)</a:t>
            </a:r>
          </a:p>
          <a:p>
            <a:pPr marL="285750" indent="-285750" algn="ctr">
              <a:buFontTx/>
              <a:buChar char="-"/>
            </a:pPr>
            <a:r>
              <a:rPr lang="nl-NL" sz="1600">
                <a:solidFill>
                  <a:schemeClr val="tx1"/>
                </a:solidFill>
              </a:rPr>
              <a:t>Instelling specifiek maken waar nodig</a:t>
            </a:r>
          </a:p>
          <a:p>
            <a:pPr marL="285750" indent="-285750" algn="ctr">
              <a:buFontTx/>
              <a:buChar char="-"/>
            </a:pPr>
            <a:r>
              <a:rPr lang="nl-NL" sz="1600">
                <a:solidFill>
                  <a:schemeClr val="tx1"/>
                </a:solidFill>
              </a:rPr>
              <a:t>Voeg link naar instelling specifieke informatie pakket voor medewerkers toe</a:t>
            </a:r>
          </a:p>
          <a:p>
            <a:pPr marL="285750" indent="-285750" algn="ctr">
              <a:buFontTx/>
              <a:buChar char="-"/>
            </a:pPr>
            <a:r>
              <a:rPr lang="nl-NL" sz="1600">
                <a:solidFill>
                  <a:schemeClr val="tx1"/>
                </a:solidFill>
              </a:rPr>
              <a:t>Voeg link naar instelling  specifieke voorbereidingsmail toe</a:t>
            </a:r>
          </a:p>
          <a:p>
            <a:pPr marL="285750" indent="-285750" algn="ctr">
              <a:buFontTx/>
              <a:buChar char="-"/>
            </a:pPr>
            <a:endParaRPr lang="nl-NL" sz="1600">
              <a:solidFill>
                <a:schemeClr val="tx1"/>
              </a:solidFill>
            </a:endParaRPr>
          </a:p>
        </p:txBody>
      </p:sp>
    </p:spTree>
    <p:extLst>
      <p:ext uri="{BB962C8B-B14F-4D97-AF65-F5344CB8AC3E}">
        <p14:creationId xmlns:p14="http://schemas.microsoft.com/office/powerpoint/2010/main" val="33878337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76CA8F7-28C6-4A94-B312-275ACDECA759}"/>
              </a:ext>
            </a:extLst>
          </p:cNvPr>
          <p:cNvGraphicFramePr>
            <a:graphicFrameLocks noChangeAspect="1"/>
          </p:cNvGraphicFramePr>
          <p:nvPr>
            <p:custDataLst>
              <p:tags r:id="rId3"/>
            </p:custDataLst>
          </p:nvPr>
        </p:nvGraphicFramePr>
        <p:xfrm>
          <a:off x="1678" y="1639"/>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12" imgW="346" imgH="346" progId="TCLayout.ActiveDocument.1">
                  <p:embed/>
                </p:oleObj>
              </mc:Choice>
              <mc:Fallback>
                <p:oleObj name="think-cell Slide" r:id="rId12" imgW="346" imgH="346" progId="TCLayout.ActiveDocument.1">
                  <p:embed/>
                  <p:pic>
                    <p:nvPicPr>
                      <p:cNvPr id="6" name="Object 5" hidden="1">
                        <a:extLst>
                          <a:ext uri="{FF2B5EF4-FFF2-40B4-BE49-F238E27FC236}">
                            <a16:creationId xmlns:a16="http://schemas.microsoft.com/office/drawing/2014/main" id="{F76CA8F7-28C6-4A94-B312-275ACDECA759}"/>
                          </a:ext>
                        </a:extLst>
                      </p:cNvPr>
                      <p:cNvPicPr/>
                      <p:nvPr/>
                    </p:nvPicPr>
                    <p:blipFill>
                      <a:blip r:embed="rId13"/>
                      <a:stretch>
                        <a:fillRect/>
                      </a:stretch>
                    </p:blipFill>
                    <p:spPr>
                      <a:xfrm>
                        <a:off x="1678" y="163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FFE67BB-D64E-4192-9448-C76BBDDB569E}"/>
              </a:ext>
            </a:extLst>
          </p:cNvPr>
          <p:cNvSpPr/>
          <p:nvPr>
            <p:custDataLst>
              <p:tags r:id="rId4"/>
            </p:custDataLst>
          </p:nvPr>
        </p:nvSpPr>
        <p:spPr>
          <a:xfrm>
            <a:off x="91" y="51"/>
            <a:ext cx="158747" cy="158747"/>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Andada" panose="02000000000000000000" pitchFamily="50" charset="0"/>
              <a:ea typeface="ＭＳ Ｐゴシック" panose="020B0600070205080204" pitchFamily="34" charset="-128"/>
              <a:cs typeface="+mn-cs"/>
              <a:sym typeface="Andada" panose="02000000000000000000" pitchFamily="50" charset="0"/>
            </a:endParaRPr>
          </a:p>
        </p:txBody>
      </p:sp>
      <p:sp>
        <p:nvSpPr>
          <p:cNvPr id="21" name="Rectangle 20">
            <a:extLst>
              <a:ext uri="{FF2B5EF4-FFF2-40B4-BE49-F238E27FC236}">
                <a16:creationId xmlns:a16="http://schemas.microsoft.com/office/drawing/2014/main" id="{5C330810-5BA8-4581-9D95-9A200123609F}"/>
              </a:ext>
            </a:extLst>
          </p:cNvPr>
          <p:cNvSpPr/>
          <p:nvPr/>
        </p:nvSpPr>
        <p:spPr>
          <a:xfrm>
            <a:off x="554818" y="523418"/>
            <a:ext cx="11090747" cy="5884958"/>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45719" rIns="91438" bIns="4571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nl-NL" sz="16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24" name="Title 1">
            <a:extLst>
              <a:ext uri="{FF2B5EF4-FFF2-40B4-BE49-F238E27FC236}">
                <a16:creationId xmlns:a16="http://schemas.microsoft.com/office/drawing/2014/main" id="{6356B6A9-8F83-445C-9B61-6FB2E03FD747}"/>
              </a:ext>
            </a:extLst>
          </p:cNvPr>
          <p:cNvSpPr txBox="1">
            <a:spLocks/>
          </p:cNvSpPr>
          <p:nvPr/>
        </p:nvSpPr>
        <p:spPr bwMode="gray">
          <a:xfrm>
            <a:off x="1088211" y="1287948"/>
            <a:ext cx="4005699" cy="387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895350" rtl="0" eaLnBrk="1" fontAlgn="base" hangingPunct="1">
              <a:spcBef>
                <a:spcPct val="0"/>
              </a:spcBef>
              <a:spcAft>
                <a:spcPct val="0"/>
              </a:spcAft>
              <a:tabLst>
                <a:tab pos="444500" algn="l"/>
              </a:tabLst>
              <a:defRPr lang="nl-NL" sz="2800" b="0" baseline="0" noProof="0">
                <a:solidFill>
                  <a:schemeClr val="tx2"/>
                </a:solidFill>
                <a:latin typeface="+mj-lt"/>
                <a:ea typeface="+mj-ea"/>
                <a:cs typeface="+mj-cs"/>
                <a:sym typeface="+mj-lt"/>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444500" algn="l"/>
              </a:tabLst>
              <a:defRPr/>
            </a:pPr>
            <a:r>
              <a:rPr kumimoji="0" lang="nl-NL" sz="2857" b="0" i="0" u="none" strike="noStrike" kern="0" cap="none" spc="0" normalizeH="0" baseline="0" noProof="0">
                <a:ln>
                  <a:noFill/>
                </a:ln>
                <a:solidFill>
                  <a:srgbClr val="003C54"/>
                </a:solidFill>
                <a:effectLst/>
                <a:uLnTx/>
                <a:uFillTx/>
                <a:latin typeface="Andada"/>
                <a:ea typeface="ＭＳ Ｐゴシック"/>
                <a:cs typeface="+mj-cs"/>
                <a:sym typeface="+mj-lt"/>
              </a:rPr>
              <a:t>Inhoud van dit document</a:t>
            </a:r>
          </a:p>
        </p:txBody>
      </p:sp>
      <p:sp>
        <p:nvSpPr>
          <p:cNvPr id="26" name="TrackerNum 6">
            <a:extLst>
              <a:ext uri="{FF2B5EF4-FFF2-40B4-BE49-F238E27FC236}">
                <a16:creationId xmlns:a16="http://schemas.microsoft.com/office/drawing/2014/main" id="{BEF5493F-F23B-4434-AC54-9ECF6459DDCB}"/>
              </a:ext>
            </a:extLst>
          </p:cNvPr>
          <p:cNvSpPr>
            <a:spLocks/>
          </p:cNvSpPr>
          <p:nvPr>
            <p:custDataLst>
              <p:tags r:id="rId5"/>
            </p:custDataLst>
          </p:nvPr>
        </p:nvSpPr>
        <p:spPr>
          <a:xfrm>
            <a:off x="5329084" y="1294531"/>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1</a:t>
            </a:r>
          </a:p>
        </p:txBody>
      </p:sp>
      <p:cxnSp>
        <p:nvCxnSpPr>
          <p:cNvPr id="27" name="Straight Connector 26">
            <a:extLst>
              <a:ext uri="{FF2B5EF4-FFF2-40B4-BE49-F238E27FC236}">
                <a16:creationId xmlns:a16="http://schemas.microsoft.com/office/drawing/2014/main" id="{E875C905-D61A-461F-A7F2-3F5663855E4E}"/>
              </a:ext>
            </a:extLst>
          </p:cNvPr>
          <p:cNvCxnSpPr>
            <a:cxnSpLocks/>
          </p:cNvCxnSpPr>
          <p:nvPr/>
        </p:nvCxnSpPr>
        <p:spPr>
          <a:xfrm flipV="1">
            <a:off x="5907774" y="1219215"/>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55B1E6F-F9E8-46B2-9DF3-5E065571C7CE}"/>
              </a:ext>
            </a:extLst>
          </p:cNvPr>
          <p:cNvSpPr txBox="1">
            <a:spLocks/>
          </p:cNvSpPr>
          <p:nvPr/>
        </p:nvSpPr>
        <p:spPr>
          <a:xfrm>
            <a:off x="6092796" y="1219216"/>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buClr>
                <a:srgbClr val="FFFFFF"/>
              </a:buClr>
              <a:defRPr/>
            </a:pPr>
            <a:r>
              <a:rPr kumimoji="0" lang="nl-NL" b="0" i="0" u="none" strike="noStrike" kern="1200" cap="none" spc="0" normalizeH="0" baseline="0" noProof="0">
                <a:ln>
                  <a:noFill/>
                </a:ln>
                <a:solidFill>
                  <a:schemeClr val="tx1"/>
                </a:solidFill>
                <a:effectLst/>
                <a:uLnTx/>
                <a:uFillTx/>
                <a:latin typeface="Arial"/>
                <a:ea typeface="ＭＳ Ｐゴシック"/>
                <a:cs typeface="+mn-cs"/>
              </a:rPr>
              <a:t>Korte introductie HPP en bevindingen rondom Goed Gesprek</a:t>
            </a:r>
            <a:endParaRPr kumimoji="0" lang="en-US" sz="1837" b="0" i="0" u="none" strike="noStrike" kern="1200" cap="none" spc="0" normalizeH="0" baseline="0" noProof="0">
              <a:ln>
                <a:noFill/>
              </a:ln>
              <a:solidFill>
                <a:schemeClr val="tx1"/>
              </a:solidFill>
              <a:effectLst/>
              <a:uLnTx/>
              <a:uFillTx/>
              <a:latin typeface="Arial"/>
              <a:ea typeface="ＭＳ Ｐゴシック"/>
              <a:cs typeface="+mn-cs"/>
            </a:endParaRPr>
          </a:p>
        </p:txBody>
      </p:sp>
      <p:sp>
        <p:nvSpPr>
          <p:cNvPr id="29" name="TrackerNum 6">
            <a:extLst>
              <a:ext uri="{FF2B5EF4-FFF2-40B4-BE49-F238E27FC236}">
                <a16:creationId xmlns:a16="http://schemas.microsoft.com/office/drawing/2014/main" id="{7A50A923-F3D4-463F-B093-2AE7F87A4C37}"/>
              </a:ext>
            </a:extLst>
          </p:cNvPr>
          <p:cNvSpPr>
            <a:spLocks/>
          </p:cNvSpPr>
          <p:nvPr>
            <p:custDataLst>
              <p:tags r:id="rId6"/>
            </p:custDataLst>
          </p:nvPr>
        </p:nvSpPr>
        <p:spPr>
          <a:xfrm>
            <a:off x="5329084" y="2076688"/>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2</a:t>
            </a:r>
          </a:p>
        </p:txBody>
      </p:sp>
      <p:cxnSp>
        <p:nvCxnSpPr>
          <p:cNvPr id="30" name="Straight Connector 29">
            <a:extLst>
              <a:ext uri="{FF2B5EF4-FFF2-40B4-BE49-F238E27FC236}">
                <a16:creationId xmlns:a16="http://schemas.microsoft.com/office/drawing/2014/main" id="{CC02215F-3F81-40FB-BF77-95F138BA73E5}"/>
              </a:ext>
            </a:extLst>
          </p:cNvPr>
          <p:cNvCxnSpPr>
            <a:cxnSpLocks/>
          </p:cNvCxnSpPr>
          <p:nvPr/>
        </p:nvCxnSpPr>
        <p:spPr>
          <a:xfrm flipV="1">
            <a:off x="5907774" y="2001372"/>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D83E06A2-D1C6-4B34-A6D0-CCF338301330}"/>
              </a:ext>
            </a:extLst>
          </p:cNvPr>
          <p:cNvSpPr txBox="1">
            <a:spLocks/>
          </p:cNvSpPr>
          <p:nvPr/>
        </p:nvSpPr>
        <p:spPr>
          <a:xfrm>
            <a:off x="6092796" y="2802918"/>
            <a:ext cx="5544387" cy="636345"/>
          </a:xfrm>
          <a:prstGeom prst="rect">
            <a:avLst/>
          </a:prstGeom>
          <a:solidFill>
            <a:schemeClr val="accent3"/>
          </a:solid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buClr>
                <a:srgbClr val="FFFFFF"/>
              </a:buClr>
              <a:defRPr/>
            </a:pPr>
            <a:r>
              <a:rPr kumimoji="0" lang="nl-NL" i="0" u="none" strike="noStrike" kern="1200" cap="none" spc="0" normalizeH="0" baseline="0" noProof="0" dirty="0">
                <a:ln>
                  <a:noFill/>
                </a:ln>
                <a:solidFill>
                  <a:schemeClr val="bg1"/>
                </a:solidFill>
                <a:effectLst/>
                <a:uLnTx/>
                <a:uFillTx/>
                <a:latin typeface="Arial"/>
                <a:ea typeface="ＭＳ Ｐゴシック"/>
                <a:cs typeface="+mn-cs"/>
              </a:rPr>
              <a:t>Wat is er allemaal al gebeurd</a:t>
            </a:r>
            <a:r>
              <a:rPr lang="nl-NL" dirty="0">
                <a:solidFill>
                  <a:schemeClr val="bg1"/>
                </a:solidFill>
                <a:latin typeface="Arial"/>
                <a:ea typeface="ＭＳ Ｐゴシック"/>
              </a:rPr>
              <a:t> binnen [instelling] </a:t>
            </a:r>
            <a:r>
              <a:rPr kumimoji="0" lang="nl-NL" i="0" u="none" strike="noStrike" kern="1200" cap="none" spc="0" normalizeH="0" baseline="0" noProof="0" dirty="0">
                <a:ln>
                  <a:noFill/>
                </a:ln>
                <a:solidFill>
                  <a:schemeClr val="bg1"/>
                </a:solidFill>
                <a:effectLst/>
                <a:uLnTx/>
                <a:uFillTx/>
                <a:latin typeface="Arial"/>
                <a:ea typeface="ＭＳ Ｐゴシック"/>
                <a:cs typeface="+mn-cs"/>
              </a:rPr>
              <a:t>tot nu toe t.a.v. Goed Gesprek?</a:t>
            </a:r>
            <a:endParaRPr kumimoji="0" lang="en-US" i="0" u="none" strike="noStrike" kern="1200" cap="none" spc="0" normalizeH="0" baseline="0" noProof="0" dirty="0">
              <a:ln>
                <a:noFill/>
              </a:ln>
              <a:solidFill>
                <a:schemeClr val="bg1"/>
              </a:solidFill>
              <a:effectLst/>
              <a:uLnTx/>
              <a:uFillTx/>
              <a:latin typeface="Arial"/>
              <a:ea typeface="ＭＳ Ｐゴシック"/>
              <a:cs typeface="+mn-cs"/>
            </a:endParaRPr>
          </a:p>
        </p:txBody>
      </p:sp>
      <p:sp>
        <p:nvSpPr>
          <p:cNvPr id="32" name="TrackerNum 6">
            <a:extLst>
              <a:ext uri="{FF2B5EF4-FFF2-40B4-BE49-F238E27FC236}">
                <a16:creationId xmlns:a16="http://schemas.microsoft.com/office/drawing/2014/main" id="{D6756352-BC92-485C-8DE3-D792F317E356}"/>
              </a:ext>
            </a:extLst>
          </p:cNvPr>
          <p:cNvSpPr>
            <a:spLocks/>
          </p:cNvSpPr>
          <p:nvPr>
            <p:custDataLst>
              <p:tags r:id="rId7"/>
            </p:custDataLst>
          </p:nvPr>
        </p:nvSpPr>
        <p:spPr>
          <a:xfrm>
            <a:off x="5329084" y="2858844"/>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3</a:t>
            </a:r>
          </a:p>
        </p:txBody>
      </p:sp>
      <p:cxnSp>
        <p:nvCxnSpPr>
          <p:cNvPr id="33" name="Straight Connector 32">
            <a:extLst>
              <a:ext uri="{FF2B5EF4-FFF2-40B4-BE49-F238E27FC236}">
                <a16:creationId xmlns:a16="http://schemas.microsoft.com/office/drawing/2014/main" id="{FE96002B-1692-4FC1-9B1A-CBCD9F3F9055}"/>
              </a:ext>
            </a:extLst>
          </p:cNvPr>
          <p:cNvCxnSpPr>
            <a:cxnSpLocks/>
          </p:cNvCxnSpPr>
          <p:nvPr/>
        </p:nvCxnSpPr>
        <p:spPr>
          <a:xfrm flipV="1">
            <a:off x="5907774" y="2783528"/>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777AE9E8-2F83-422F-9454-7636ECAB66D1}"/>
              </a:ext>
            </a:extLst>
          </p:cNvPr>
          <p:cNvSpPr txBox="1">
            <a:spLocks/>
          </p:cNvSpPr>
          <p:nvPr/>
        </p:nvSpPr>
        <p:spPr>
          <a:xfrm>
            <a:off x="6092795" y="2001372"/>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l" defTabSz="877533" rtl="0" eaLnBrk="1" fontAlgn="auto" latinLnBrk="0" hangingPunct="1">
              <a:lnSpc>
                <a:spcPct val="100000"/>
              </a:lnSpc>
              <a:spcBef>
                <a:spcPts val="0"/>
              </a:spcBef>
              <a:spcAft>
                <a:spcPts val="0"/>
              </a:spcAft>
              <a:buClr>
                <a:srgbClr val="FFFFFF"/>
              </a:buClr>
              <a:buSzTx/>
              <a:buFontTx/>
              <a:buNone/>
              <a:tabLst/>
              <a:defRPr/>
            </a:pPr>
            <a:r>
              <a:rPr kumimoji="0" lang="nl-NL" sz="1837" b="0" i="0" u="none" strike="noStrike" kern="1200" cap="none" spc="0" normalizeH="0" baseline="0" noProof="0">
                <a:ln>
                  <a:noFill/>
                </a:ln>
                <a:solidFill>
                  <a:schemeClr val="tx1"/>
                </a:solidFill>
                <a:effectLst/>
                <a:uLnTx/>
                <a:uFillTx/>
                <a:latin typeface="Arial"/>
                <a:ea typeface="ＭＳ Ｐゴシック"/>
                <a:cs typeface="+mn-cs"/>
              </a:rPr>
              <a:t>Wat verstaan we onder Goed Gesprek?</a:t>
            </a:r>
            <a:endParaRPr kumimoji="0" lang="en-US" sz="1837" b="0" i="0" u="none" strike="noStrike" kern="1200" cap="none" spc="0" normalizeH="0" baseline="0" noProof="0">
              <a:ln>
                <a:noFill/>
              </a:ln>
              <a:solidFill>
                <a:schemeClr val="tx1"/>
              </a:solidFill>
              <a:effectLst/>
              <a:uLnTx/>
              <a:uFillTx/>
              <a:latin typeface="Arial"/>
              <a:ea typeface="ＭＳ Ｐゴシック"/>
              <a:cs typeface="+mn-cs"/>
            </a:endParaRPr>
          </a:p>
        </p:txBody>
      </p:sp>
      <p:sp>
        <p:nvSpPr>
          <p:cNvPr id="35" name="TrackerNum 6">
            <a:extLst>
              <a:ext uri="{FF2B5EF4-FFF2-40B4-BE49-F238E27FC236}">
                <a16:creationId xmlns:a16="http://schemas.microsoft.com/office/drawing/2014/main" id="{4D3512B7-78F8-4ABB-8348-B694CC90A917}"/>
              </a:ext>
            </a:extLst>
          </p:cNvPr>
          <p:cNvSpPr>
            <a:spLocks/>
          </p:cNvSpPr>
          <p:nvPr>
            <p:custDataLst>
              <p:tags r:id="rId8"/>
            </p:custDataLst>
          </p:nvPr>
        </p:nvSpPr>
        <p:spPr>
          <a:xfrm>
            <a:off x="5329084" y="3641001"/>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4</a:t>
            </a:r>
          </a:p>
        </p:txBody>
      </p:sp>
      <p:cxnSp>
        <p:nvCxnSpPr>
          <p:cNvPr id="36" name="Straight Connector 35">
            <a:extLst>
              <a:ext uri="{FF2B5EF4-FFF2-40B4-BE49-F238E27FC236}">
                <a16:creationId xmlns:a16="http://schemas.microsoft.com/office/drawing/2014/main" id="{6F75CF0D-2D29-450B-B328-73B8ADAD2F5F}"/>
              </a:ext>
            </a:extLst>
          </p:cNvPr>
          <p:cNvCxnSpPr>
            <a:cxnSpLocks/>
          </p:cNvCxnSpPr>
          <p:nvPr/>
        </p:nvCxnSpPr>
        <p:spPr>
          <a:xfrm flipV="1">
            <a:off x="5907774" y="3565685"/>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7724533-EC1D-4292-9541-961C61A39BDC}"/>
              </a:ext>
            </a:extLst>
          </p:cNvPr>
          <p:cNvSpPr txBox="1">
            <a:spLocks/>
          </p:cNvSpPr>
          <p:nvPr/>
        </p:nvSpPr>
        <p:spPr>
          <a:xfrm>
            <a:off x="6101426" y="3565685"/>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buClr>
                <a:srgbClr val="FFFFFF"/>
              </a:buClr>
              <a:defRPr/>
            </a:pPr>
            <a:r>
              <a:rPr lang="nl-NL" sz="1837" b="0">
                <a:solidFill>
                  <a:schemeClr val="tx1"/>
                </a:solidFill>
              </a:rPr>
              <a:t>Hoe wil [instelling] een goed gesprek inrichten voor de korte en middellange termijn? </a:t>
            </a:r>
          </a:p>
        </p:txBody>
      </p:sp>
      <p:cxnSp>
        <p:nvCxnSpPr>
          <p:cNvPr id="20" name="Straight Connector 19">
            <a:extLst>
              <a:ext uri="{FF2B5EF4-FFF2-40B4-BE49-F238E27FC236}">
                <a16:creationId xmlns:a16="http://schemas.microsoft.com/office/drawing/2014/main" id="{56FFB8A7-3266-0047-B76D-5E3FB112BF59}"/>
              </a:ext>
            </a:extLst>
          </p:cNvPr>
          <p:cNvCxnSpPr>
            <a:cxnSpLocks/>
          </p:cNvCxnSpPr>
          <p:nvPr/>
        </p:nvCxnSpPr>
        <p:spPr>
          <a:xfrm flipV="1">
            <a:off x="5914537" y="4397245"/>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TrackerNum 6">
            <a:extLst>
              <a:ext uri="{FF2B5EF4-FFF2-40B4-BE49-F238E27FC236}">
                <a16:creationId xmlns:a16="http://schemas.microsoft.com/office/drawing/2014/main" id="{23C15AF0-FEE0-854A-9B8D-625E9828682E}"/>
              </a:ext>
            </a:extLst>
          </p:cNvPr>
          <p:cNvSpPr>
            <a:spLocks/>
          </p:cNvSpPr>
          <p:nvPr>
            <p:custDataLst>
              <p:tags r:id="rId9"/>
            </p:custDataLst>
          </p:nvPr>
        </p:nvSpPr>
        <p:spPr>
          <a:xfrm>
            <a:off x="5322326" y="4432001"/>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5</a:t>
            </a:r>
          </a:p>
        </p:txBody>
      </p:sp>
      <p:sp>
        <p:nvSpPr>
          <p:cNvPr id="38" name="TextBox 18">
            <a:extLst>
              <a:ext uri="{FF2B5EF4-FFF2-40B4-BE49-F238E27FC236}">
                <a16:creationId xmlns:a16="http://schemas.microsoft.com/office/drawing/2014/main" id="{68624E64-EBBB-4930-9556-9FDE06D55DCD}"/>
              </a:ext>
            </a:extLst>
          </p:cNvPr>
          <p:cNvSpPr txBox="1">
            <a:spLocks/>
          </p:cNvSpPr>
          <p:nvPr/>
        </p:nvSpPr>
        <p:spPr>
          <a:xfrm>
            <a:off x="6101302" y="4386620"/>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buClr>
                <a:srgbClr val="FFFFFF"/>
              </a:buClr>
              <a:defRPr/>
            </a:pPr>
            <a:r>
              <a:rPr lang="nl-NL" sz="1837" b="0">
                <a:solidFill>
                  <a:schemeClr val="tx1"/>
                </a:solidFill>
              </a:rPr>
              <a:t>Lange termijn aanbevelingen</a:t>
            </a:r>
          </a:p>
        </p:txBody>
      </p:sp>
    </p:spTree>
    <p:custDataLst>
      <p:tags r:id="rId2"/>
    </p:custDataLst>
    <p:extLst>
      <p:ext uri="{BB962C8B-B14F-4D97-AF65-F5344CB8AC3E}">
        <p14:creationId xmlns:p14="http://schemas.microsoft.com/office/powerpoint/2010/main" val="17426478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23">
            <a:extLst>
              <a:ext uri="{FF2B5EF4-FFF2-40B4-BE49-F238E27FC236}">
                <a16:creationId xmlns:a16="http://schemas.microsoft.com/office/drawing/2014/main" id="{D4E51AED-2B80-4D0D-90C8-BBB5EE543B23}"/>
              </a:ext>
            </a:extLst>
          </p:cNvPr>
          <p:cNvSpPr txBox="1">
            <a:spLocks/>
          </p:cNvSpPr>
          <p:nvPr/>
        </p:nvSpPr>
        <p:spPr>
          <a:xfrm>
            <a:off x="1847330" y="1471286"/>
            <a:ext cx="8765476" cy="720000"/>
          </a:xfrm>
          <a:prstGeom prst="rect">
            <a:avLst/>
          </a:prstGeom>
          <a:solidFill>
            <a:schemeClr val="accent2">
              <a:lumMod val="20000"/>
              <a:lumOff val="80000"/>
            </a:schemeClr>
          </a:solidFill>
          <a:ln w="9525">
            <a:noFill/>
          </a:ln>
        </p:spPr>
        <p:txBody>
          <a:bodyPr vert="horz" wrap="square" lIns="186592" tIns="46648" rIns="46648" bIns="46648" rtlCol="0" anchor="ctr" anchorCtr="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5350" rtl="0" eaLnBrk="1" fontAlgn="auto" latinLnBrk="0" hangingPunct="1">
              <a:lnSpc>
                <a:spcPct val="100000"/>
              </a:lnSpc>
              <a:spcBef>
                <a:spcPts val="0"/>
              </a:spcBef>
              <a:spcAft>
                <a:spcPts val="0"/>
              </a:spcAft>
              <a:buClr>
                <a:srgbClr val="003C54"/>
              </a:buClr>
              <a:buSzPct val="100000"/>
              <a:buFontTx/>
              <a:buNone/>
              <a:tabLst/>
              <a:defRPr/>
            </a:pPr>
            <a:r>
              <a:rPr lang="nl-NL" sz="1600">
                <a:solidFill>
                  <a:schemeClr val="accent4"/>
                </a:solidFill>
                <a:latin typeface="Arial" panose="020B0604020202020204" pitchFamily="34" charset="0"/>
                <a:ea typeface="ＭＳ Ｐゴシック"/>
                <a:cs typeface="Arial" panose="020B0604020202020204" pitchFamily="34" charset="0"/>
              </a:rPr>
              <a:t>Er is een </a:t>
            </a:r>
            <a:r>
              <a:rPr lang="nl-NL" sz="1600" b="1">
                <a:solidFill>
                  <a:schemeClr val="accent4"/>
                </a:solidFill>
                <a:latin typeface="Arial" panose="020B0604020202020204" pitchFamily="34" charset="0"/>
                <a:ea typeface="ＭＳ Ｐゴシック"/>
                <a:cs typeface="Arial" panose="020B0604020202020204" pitchFamily="34" charset="0"/>
              </a:rPr>
              <a:t>gespreksleidraad</a:t>
            </a:r>
            <a:r>
              <a:rPr lang="nl-NL" sz="1600">
                <a:solidFill>
                  <a:schemeClr val="accent4"/>
                </a:solidFill>
                <a:latin typeface="Arial" panose="020B0604020202020204" pitchFamily="34" charset="0"/>
                <a:ea typeface="ＭＳ Ｐゴシック"/>
                <a:cs typeface="Arial" panose="020B0604020202020204" pitchFamily="34" charset="0"/>
              </a:rPr>
              <a:t> ontwikkeld en getest en er is een standaard uitnodiging opgesteld</a:t>
            </a:r>
            <a:endParaRPr kumimoji="0" lang="nl-NL" sz="1600" i="0" u="none" strike="noStrike" kern="1200" cap="none" spc="0" normalizeH="0" baseline="0" noProof="0">
              <a:ln>
                <a:noFill/>
              </a:ln>
              <a:solidFill>
                <a:schemeClr val="accent4"/>
              </a:solidFill>
              <a:effectLst/>
              <a:uLnTx/>
              <a:uFillTx/>
              <a:latin typeface="Arial" panose="020B0604020202020204" pitchFamily="34" charset="0"/>
              <a:ea typeface="ＭＳ Ｐゴシック"/>
              <a:cs typeface="Arial" panose="020B0604020202020204" pitchFamily="34" charset="0"/>
            </a:endParaRPr>
          </a:p>
        </p:txBody>
      </p:sp>
      <p:sp>
        <p:nvSpPr>
          <p:cNvPr id="5" name="TextBox 25">
            <a:extLst>
              <a:ext uri="{FF2B5EF4-FFF2-40B4-BE49-F238E27FC236}">
                <a16:creationId xmlns:a16="http://schemas.microsoft.com/office/drawing/2014/main" id="{480F6B07-59B2-4B48-80BD-60406763C778}"/>
              </a:ext>
            </a:extLst>
          </p:cNvPr>
          <p:cNvSpPr txBox="1">
            <a:spLocks/>
          </p:cNvSpPr>
          <p:nvPr/>
        </p:nvSpPr>
        <p:spPr>
          <a:xfrm>
            <a:off x="1847329" y="2295893"/>
            <a:ext cx="8765475" cy="720000"/>
          </a:xfrm>
          <a:prstGeom prst="rect">
            <a:avLst/>
          </a:prstGeom>
          <a:solidFill>
            <a:schemeClr val="accent2">
              <a:lumMod val="20000"/>
              <a:lumOff val="80000"/>
            </a:schemeClr>
          </a:solidFill>
          <a:ln w="9525">
            <a:noFill/>
          </a:ln>
        </p:spPr>
        <p:txBody>
          <a:bodyPr vert="horz" wrap="square" lIns="186592" tIns="46648" rIns="46648" bIns="46648" rtlCol="0" anchor="ctr" anchorCtr="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buClr>
                <a:srgbClr val="003C54"/>
              </a:buClr>
              <a:defRPr/>
            </a:pPr>
            <a:r>
              <a:rPr kumimoji="0" lang="nl-NL" sz="1600" i="0" u="none" strike="noStrike" kern="1200" cap="none" spc="0" normalizeH="0" baseline="0" noProof="0">
                <a:ln>
                  <a:noFill/>
                </a:ln>
                <a:solidFill>
                  <a:schemeClr val="accent4"/>
                </a:solidFill>
                <a:effectLst/>
                <a:uLnTx/>
                <a:uFillTx/>
                <a:latin typeface="Arial" panose="020B0604020202020204" pitchFamily="34" charset="0"/>
                <a:ea typeface="ＭＳ Ｐゴシック"/>
                <a:cs typeface="Arial" panose="020B0604020202020204" pitchFamily="34" charset="0"/>
              </a:rPr>
              <a:t>Er zijn </a:t>
            </a:r>
            <a:r>
              <a:rPr kumimoji="0" lang="nl-NL" sz="1600" b="1" i="0" u="none" strike="noStrike" kern="1200" cap="none" spc="0" normalizeH="0" baseline="0" noProof="0">
                <a:ln>
                  <a:noFill/>
                </a:ln>
                <a:solidFill>
                  <a:schemeClr val="accent4"/>
                </a:solidFill>
                <a:effectLst/>
                <a:uLnTx/>
                <a:uFillTx/>
                <a:latin typeface="Arial" panose="020B0604020202020204" pitchFamily="34" charset="0"/>
                <a:ea typeface="ＭＳ Ｐゴシック"/>
                <a:cs typeface="Arial" panose="020B0604020202020204" pitchFamily="34" charset="0"/>
              </a:rPr>
              <a:t>testgesprekken gevoerd  </a:t>
            </a:r>
            <a:r>
              <a:rPr kumimoji="0" lang="nl-NL" sz="1600" i="0" u="none" strike="noStrike" kern="1200" cap="none" spc="0" normalizeH="0" baseline="0" noProof="0">
                <a:ln>
                  <a:noFill/>
                </a:ln>
                <a:solidFill>
                  <a:schemeClr val="accent4"/>
                </a:solidFill>
                <a:effectLst/>
                <a:uLnTx/>
                <a:uFillTx/>
                <a:latin typeface="Arial" panose="020B0604020202020204" pitchFamily="34" charset="0"/>
                <a:ea typeface="ＭＳ Ｐゴシック"/>
                <a:cs typeface="Arial" panose="020B0604020202020204" pitchFamily="34" charset="0"/>
              </a:rPr>
              <a:t>waarbij inzichten zijn opgedaan t.a.v. de overwegingen van zorgmedewerkers (zie volgende slide voor de hoofdpunten hieruit)</a:t>
            </a:r>
          </a:p>
        </p:txBody>
      </p:sp>
      <p:sp>
        <p:nvSpPr>
          <p:cNvPr id="6" name="TextBox 23">
            <a:extLst>
              <a:ext uri="{FF2B5EF4-FFF2-40B4-BE49-F238E27FC236}">
                <a16:creationId xmlns:a16="http://schemas.microsoft.com/office/drawing/2014/main" id="{DE88F41F-8847-46A8-841E-307E60ABB4B4}"/>
              </a:ext>
            </a:extLst>
          </p:cNvPr>
          <p:cNvSpPr txBox="1">
            <a:spLocks/>
          </p:cNvSpPr>
          <p:nvPr/>
        </p:nvSpPr>
        <p:spPr>
          <a:xfrm>
            <a:off x="1847332" y="4784504"/>
            <a:ext cx="8765472" cy="720000"/>
          </a:xfrm>
          <a:prstGeom prst="rect">
            <a:avLst/>
          </a:prstGeom>
          <a:solidFill>
            <a:schemeClr val="accent2">
              <a:lumMod val="20000"/>
              <a:lumOff val="80000"/>
            </a:schemeClr>
          </a:solidFill>
          <a:ln w="9525">
            <a:noFill/>
          </a:ln>
        </p:spPr>
        <p:txBody>
          <a:bodyPr vert="horz" wrap="square" lIns="186592" tIns="46648" rIns="46648" bIns="46648" rtlCol="0" anchor="ctr" anchorCtr="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5350" rtl="0" eaLnBrk="1" fontAlgn="auto" latinLnBrk="0" hangingPunct="1">
              <a:lnSpc>
                <a:spcPct val="100000"/>
              </a:lnSpc>
              <a:spcBef>
                <a:spcPts val="0"/>
              </a:spcBef>
              <a:spcAft>
                <a:spcPts val="0"/>
              </a:spcAft>
              <a:buClr>
                <a:srgbClr val="003C54"/>
              </a:buClr>
              <a:buSzPct val="100000"/>
              <a:buFontTx/>
              <a:buNone/>
              <a:tabLst/>
              <a:defRPr/>
            </a:pPr>
            <a:r>
              <a:rPr lang="nl-NL" sz="1600">
                <a:solidFill>
                  <a:schemeClr val="accent4"/>
                </a:solidFill>
                <a:latin typeface="Arial" panose="020B0604020202020204" pitchFamily="34" charset="0"/>
                <a:ea typeface="ＭＳ Ｐゴシック"/>
                <a:cs typeface="Arial" panose="020B0604020202020204" pitchFamily="34" charset="0"/>
              </a:rPr>
              <a:t>Er zijn uitgangspunten voor een </a:t>
            </a:r>
            <a:r>
              <a:rPr lang="nl-NL" sz="1600" b="1">
                <a:solidFill>
                  <a:schemeClr val="accent4"/>
                </a:solidFill>
                <a:latin typeface="Arial" panose="020B0604020202020204" pitchFamily="34" charset="0"/>
                <a:ea typeface="ＭＳ Ｐゴシック"/>
                <a:cs typeface="Arial" panose="020B0604020202020204" pitchFamily="34" charset="0"/>
              </a:rPr>
              <a:t>visie </a:t>
            </a:r>
            <a:r>
              <a:rPr lang="nl-NL" sz="1600">
                <a:solidFill>
                  <a:schemeClr val="accent4"/>
                </a:solidFill>
                <a:latin typeface="Arial" panose="020B0604020202020204" pitchFamily="34" charset="0"/>
                <a:ea typeface="ＭＳ Ｐゴシック"/>
                <a:cs typeface="Arial" panose="020B0604020202020204" pitchFamily="34" charset="0"/>
              </a:rPr>
              <a:t>Goed Gesprek</a:t>
            </a:r>
            <a:r>
              <a:rPr lang="nl-NL" sz="1600" b="1">
                <a:solidFill>
                  <a:schemeClr val="accent4"/>
                </a:solidFill>
                <a:latin typeface="Arial" panose="020B0604020202020204" pitchFamily="34" charset="0"/>
                <a:ea typeface="ＭＳ Ｐゴシック"/>
                <a:cs typeface="Arial" panose="020B0604020202020204" pitchFamily="34" charset="0"/>
              </a:rPr>
              <a:t> </a:t>
            </a:r>
            <a:r>
              <a:rPr lang="nl-NL" sz="1600">
                <a:solidFill>
                  <a:schemeClr val="accent4"/>
                </a:solidFill>
                <a:latin typeface="Arial" panose="020B0604020202020204" pitchFamily="34" charset="0"/>
                <a:ea typeface="ＭＳ Ｐゴシック"/>
                <a:cs typeface="Arial" panose="020B0604020202020204" pitchFamily="34" charset="0"/>
              </a:rPr>
              <a:t>ontwikkeld</a:t>
            </a:r>
            <a:endParaRPr kumimoji="0" lang="nl-NL" sz="1600" i="0" u="none" strike="noStrike" kern="1200" cap="none" spc="0" normalizeH="0" baseline="0" noProof="0">
              <a:ln>
                <a:noFill/>
              </a:ln>
              <a:solidFill>
                <a:schemeClr val="accent4"/>
              </a:solidFill>
              <a:effectLst/>
              <a:uLnTx/>
              <a:uFillTx/>
              <a:latin typeface="Arial" panose="020B0604020202020204" pitchFamily="34" charset="0"/>
              <a:ea typeface="ＭＳ Ｐゴシック"/>
              <a:cs typeface="Arial" panose="020B0604020202020204" pitchFamily="34" charset="0"/>
            </a:endParaRPr>
          </a:p>
        </p:txBody>
      </p:sp>
      <p:sp>
        <p:nvSpPr>
          <p:cNvPr id="7" name="TextBox 25">
            <a:extLst>
              <a:ext uri="{FF2B5EF4-FFF2-40B4-BE49-F238E27FC236}">
                <a16:creationId xmlns:a16="http://schemas.microsoft.com/office/drawing/2014/main" id="{E9C123BB-BCC0-4AC1-A0B0-0384B0800BA1}"/>
              </a:ext>
            </a:extLst>
          </p:cNvPr>
          <p:cNvSpPr txBox="1">
            <a:spLocks/>
          </p:cNvSpPr>
          <p:nvPr/>
        </p:nvSpPr>
        <p:spPr>
          <a:xfrm>
            <a:off x="1847334" y="3120500"/>
            <a:ext cx="8765474" cy="720000"/>
          </a:xfrm>
          <a:prstGeom prst="rect">
            <a:avLst/>
          </a:prstGeom>
          <a:solidFill>
            <a:schemeClr val="accent2">
              <a:lumMod val="20000"/>
              <a:lumOff val="80000"/>
            </a:schemeClr>
          </a:solidFill>
          <a:ln w="9525">
            <a:noFill/>
          </a:ln>
        </p:spPr>
        <p:txBody>
          <a:bodyPr vert="horz" wrap="square" lIns="186592" tIns="46648" rIns="46648" bIns="46648" rtlCol="0" anchor="ctr" anchorCtr="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buClr>
                <a:srgbClr val="003C54"/>
              </a:buClr>
              <a:defRPr/>
            </a:pPr>
            <a:r>
              <a:rPr lang="nl-NL" sz="1600">
                <a:solidFill>
                  <a:schemeClr val="accent4"/>
                </a:solidFill>
                <a:latin typeface="Arial" panose="020B0604020202020204" pitchFamily="34" charset="0"/>
                <a:ea typeface="ＭＳ Ｐゴシック"/>
                <a:cs typeface="Arial" panose="020B0604020202020204" pitchFamily="34" charset="0"/>
              </a:rPr>
              <a:t>Tot nu toe heeft het Goede Gesprek geleid tot [X] </a:t>
            </a:r>
            <a:r>
              <a:rPr lang="nl-NL" sz="1600" b="1">
                <a:solidFill>
                  <a:schemeClr val="accent4"/>
                </a:solidFill>
                <a:latin typeface="Arial" panose="020B0604020202020204" pitchFamily="34" charset="0"/>
                <a:ea typeface="ＭＳ Ｐゴシック"/>
                <a:cs typeface="Arial" panose="020B0604020202020204" pitchFamily="34" charset="0"/>
              </a:rPr>
              <a:t>contractvergrotingen</a:t>
            </a:r>
            <a:endParaRPr kumimoji="0" lang="nl-NL" sz="1600" b="1" i="0" u="none" strike="noStrike" kern="1200" cap="none" spc="0" normalizeH="0" baseline="0" noProof="0">
              <a:ln>
                <a:noFill/>
              </a:ln>
              <a:solidFill>
                <a:schemeClr val="accent4"/>
              </a:solidFill>
              <a:effectLst/>
              <a:uLnTx/>
              <a:uFillTx/>
              <a:latin typeface="Arial" panose="020B0604020202020204" pitchFamily="34" charset="0"/>
              <a:ea typeface="ＭＳ Ｐゴシック"/>
              <a:cs typeface="Arial" panose="020B0604020202020204" pitchFamily="34" charset="0"/>
            </a:endParaRPr>
          </a:p>
        </p:txBody>
      </p:sp>
      <p:pic>
        <p:nvPicPr>
          <p:cNvPr id="8" name="Graphic 7" descr="Lijst">
            <a:extLst>
              <a:ext uri="{FF2B5EF4-FFF2-40B4-BE49-F238E27FC236}">
                <a16:creationId xmlns:a16="http://schemas.microsoft.com/office/drawing/2014/main" id="{683D8281-2390-42F3-8611-3603BCB9472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6380" y="1553476"/>
            <a:ext cx="648000" cy="648000"/>
          </a:xfrm>
          <a:prstGeom prst="rect">
            <a:avLst/>
          </a:prstGeom>
        </p:spPr>
      </p:pic>
      <p:sp>
        <p:nvSpPr>
          <p:cNvPr id="9" name="TextBox 25">
            <a:extLst>
              <a:ext uri="{FF2B5EF4-FFF2-40B4-BE49-F238E27FC236}">
                <a16:creationId xmlns:a16="http://schemas.microsoft.com/office/drawing/2014/main" id="{8130E080-BAFE-4EBC-811C-00FF17C19BD9}"/>
              </a:ext>
            </a:extLst>
          </p:cNvPr>
          <p:cNvSpPr txBox="1">
            <a:spLocks/>
          </p:cNvSpPr>
          <p:nvPr/>
        </p:nvSpPr>
        <p:spPr>
          <a:xfrm>
            <a:off x="1847329" y="3945107"/>
            <a:ext cx="8765473" cy="720000"/>
          </a:xfrm>
          <a:prstGeom prst="rect">
            <a:avLst/>
          </a:prstGeom>
          <a:solidFill>
            <a:schemeClr val="accent2">
              <a:lumMod val="20000"/>
              <a:lumOff val="80000"/>
            </a:schemeClr>
          </a:solidFill>
          <a:ln w="9525">
            <a:noFill/>
          </a:ln>
        </p:spPr>
        <p:txBody>
          <a:bodyPr vert="horz" wrap="square" lIns="186592" tIns="46648" rIns="46648" bIns="46648" rtlCol="0" anchor="ctr" anchorCtr="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buClr>
                <a:srgbClr val="003C54"/>
              </a:buClr>
              <a:defRPr/>
            </a:pPr>
            <a:r>
              <a:rPr lang="nl-NL" sz="1600">
                <a:solidFill>
                  <a:schemeClr val="accent4"/>
                </a:solidFill>
                <a:latin typeface="Arial" panose="020B0604020202020204" pitchFamily="34" charset="0"/>
                <a:ea typeface="ＭＳ Ｐゴシック"/>
                <a:cs typeface="Arial" panose="020B0604020202020204" pitchFamily="34" charset="0"/>
              </a:rPr>
              <a:t>Er is </a:t>
            </a:r>
            <a:r>
              <a:rPr lang="nl-NL" sz="1600" b="1">
                <a:solidFill>
                  <a:schemeClr val="accent4"/>
                </a:solidFill>
                <a:latin typeface="Arial" panose="020B0604020202020204" pitchFamily="34" charset="0"/>
                <a:ea typeface="ＭＳ Ｐゴシック"/>
                <a:cs typeface="Arial" panose="020B0604020202020204" pitchFamily="34" charset="0"/>
              </a:rPr>
              <a:t>ervaring opgedaan </a:t>
            </a:r>
            <a:r>
              <a:rPr lang="nl-NL" sz="1600">
                <a:solidFill>
                  <a:schemeClr val="accent4"/>
                </a:solidFill>
                <a:latin typeface="Arial" panose="020B0604020202020204" pitchFamily="34" charset="0"/>
                <a:ea typeface="ＭＳ Ｐゴシック"/>
                <a:cs typeface="Arial" panose="020B0604020202020204" pitchFamily="34" charset="0"/>
              </a:rPr>
              <a:t>met het hele traject t.a.v. Goed Gesprek</a:t>
            </a:r>
            <a:endParaRPr kumimoji="0" lang="nl-NL" sz="1600" i="0" u="none" strike="noStrike" kern="1200" cap="none" spc="0" normalizeH="0" baseline="0" noProof="0">
              <a:ln>
                <a:noFill/>
              </a:ln>
              <a:solidFill>
                <a:schemeClr val="accent4"/>
              </a:solidFill>
              <a:effectLst/>
              <a:uLnTx/>
              <a:uFillTx/>
              <a:latin typeface="Arial" panose="020B0604020202020204" pitchFamily="34" charset="0"/>
              <a:ea typeface="ＭＳ Ｐゴシック"/>
              <a:cs typeface="Arial" panose="020B0604020202020204" pitchFamily="34" charset="0"/>
            </a:endParaRPr>
          </a:p>
        </p:txBody>
      </p:sp>
      <p:pic>
        <p:nvPicPr>
          <p:cNvPr id="12" name="CustomIcon">
            <a:extLst>
              <a:ext uri="{FF2B5EF4-FFF2-40B4-BE49-F238E27FC236}">
                <a16:creationId xmlns:a16="http://schemas.microsoft.com/office/drawing/2014/main" id="{A2083C62-86AF-490A-B48F-EDF1161C1BDD}"/>
              </a:ext>
            </a:extLst>
          </p:cNvPr>
          <p:cNvPicPr>
            <a:picLocks noChangeAspect="1"/>
          </p:cNvPicPr>
          <p:nvPr>
            <p:custDataLst>
              <p:tags r:id="rId1"/>
            </p:custDataLst>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6380" y="2353838"/>
            <a:ext cx="648000" cy="648000"/>
          </a:xfrm>
          <a:prstGeom prst="rect">
            <a:avLst/>
          </a:prstGeom>
        </p:spPr>
      </p:pic>
      <p:pic>
        <p:nvPicPr>
          <p:cNvPr id="13" name="Graphic 12" descr="Vergadering">
            <a:extLst>
              <a:ext uri="{FF2B5EF4-FFF2-40B4-BE49-F238E27FC236}">
                <a16:creationId xmlns:a16="http://schemas.microsoft.com/office/drawing/2014/main" id="{F85251B0-DECB-4AAE-B155-A5525FF8764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46380" y="3954562"/>
            <a:ext cx="648000" cy="648000"/>
          </a:xfrm>
          <a:prstGeom prst="rect">
            <a:avLst/>
          </a:prstGeom>
        </p:spPr>
      </p:pic>
      <p:pic>
        <p:nvPicPr>
          <p:cNvPr id="16" name="Graphic 15" descr="Opwaartse trend">
            <a:extLst>
              <a:ext uri="{FF2B5EF4-FFF2-40B4-BE49-F238E27FC236}">
                <a16:creationId xmlns:a16="http://schemas.microsoft.com/office/drawing/2014/main" id="{AFD58806-1D93-4850-B8C3-BBBD7C2BCA7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46384" y="3154200"/>
            <a:ext cx="648000" cy="648000"/>
          </a:xfrm>
          <a:prstGeom prst="rect">
            <a:avLst/>
          </a:prstGeom>
        </p:spPr>
      </p:pic>
      <p:pic>
        <p:nvPicPr>
          <p:cNvPr id="18" name="Graphic 17" descr="Document">
            <a:extLst>
              <a:ext uri="{FF2B5EF4-FFF2-40B4-BE49-F238E27FC236}">
                <a16:creationId xmlns:a16="http://schemas.microsoft.com/office/drawing/2014/main" id="{56D511CC-7F64-4068-B6C5-17B1BC749E4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46382" y="4769714"/>
            <a:ext cx="648000" cy="648000"/>
          </a:xfrm>
          <a:prstGeom prst="rect">
            <a:avLst/>
          </a:prstGeom>
        </p:spPr>
      </p:pic>
      <p:sp>
        <p:nvSpPr>
          <p:cNvPr id="3" name="Titel 2">
            <a:extLst>
              <a:ext uri="{FF2B5EF4-FFF2-40B4-BE49-F238E27FC236}">
                <a16:creationId xmlns:a16="http://schemas.microsoft.com/office/drawing/2014/main" id="{5FC03F4D-918A-BD4D-8A7F-A3B6C7A7DD8F}"/>
              </a:ext>
            </a:extLst>
          </p:cNvPr>
          <p:cNvSpPr>
            <a:spLocks noGrp="1"/>
          </p:cNvSpPr>
          <p:nvPr>
            <p:ph type="title"/>
          </p:nvPr>
        </p:nvSpPr>
        <p:spPr/>
        <p:txBody>
          <a:bodyPr/>
          <a:lstStyle/>
          <a:p>
            <a:r>
              <a:rPr lang="nl-NL"/>
              <a:t>Terugblik: Wat heeft ‘Goed Gesprek’ tot nu toe gebracht?</a:t>
            </a:r>
          </a:p>
        </p:txBody>
      </p:sp>
      <p:sp>
        <p:nvSpPr>
          <p:cNvPr id="17" name="Rechthoek 16">
            <a:extLst>
              <a:ext uri="{FF2B5EF4-FFF2-40B4-BE49-F238E27FC236}">
                <a16:creationId xmlns:a16="http://schemas.microsoft.com/office/drawing/2014/main" id="{0C8F5561-47F2-3C46-855D-38873662A9D2}"/>
              </a:ext>
            </a:extLst>
          </p:cNvPr>
          <p:cNvSpPr/>
          <p:nvPr/>
        </p:nvSpPr>
        <p:spPr>
          <a:xfrm>
            <a:off x="-2338466" y="119498"/>
            <a:ext cx="2593364" cy="3682702"/>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b="1" err="1">
                <a:solidFill>
                  <a:schemeClr val="tx1"/>
                </a:solidFill>
              </a:rPr>
              <a:t>To</a:t>
            </a:r>
            <a:r>
              <a:rPr lang="nl-NL" sz="1600" b="1">
                <a:solidFill>
                  <a:schemeClr val="tx1"/>
                </a:solidFill>
              </a:rPr>
              <a:t> do om deze slide instelling specifiek te maken:</a:t>
            </a:r>
          </a:p>
          <a:p>
            <a:pPr algn="ctr"/>
            <a:endParaRPr lang="nl-NL" sz="1600">
              <a:solidFill>
                <a:schemeClr val="tx1"/>
              </a:solidFill>
            </a:endParaRPr>
          </a:p>
          <a:p>
            <a:pPr marL="285750" indent="-285750" algn="ctr">
              <a:buFontTx/>
              <a:buChar char="-"/>
            </a:pPr>
            <a:r>
              <a:rPr lang="nl-NL" sz="1600">
                <a:solidFill>
                  <a:schemeClr val="tx1"/>
                </a:solidFill>
              </a:rPr>
              <a:t>Instelling specifiek maken waar nodig, bijv.:</a:t>
            </a:r>
          </a:p>
          <a:p>
            <a:pPr marL="285750" indent="-285750" algn="ctr">
              <a:buFont typeface="Arial" panose="020B0604020202020204" pitchFamily="34" charset="0"/>
              <a:buChar char="•"/>
            </a:pPr>
            <a:r>
              <a:rPr lang="nl-NL" sz="1600">
                <a:solidFill>
                  <a:schemeClr val="tx1"/>
                </a:solidFill>
              </a:rPr>
              <a:t>Aantal contractuitbreidingen</a:t>
            </a:r>
          </a:p>
          <a:p>
            <a:pPr algn="ctr"/>
            <a:r>
              <a:rPr lang="nl-NL" sz="1600">
                <a:solidFill>
                  <a:schemeClr val="tx1"/>
                </a:solidFill>
              </a:rPr>
              <a:t>- Eventueel aanvullen met meer instelling specifieke veranderingen (zoals aannemen van een HPP HR specialist)</a:t>
            </a:r>
          </a:p>
        </p:txBody>
      </p:sp>
    </p:spTree>
    <p:extLst>
      <p:ext uri="{BB962C8B-B14F-4D97-AF65-F5344CB8AC3E}">
        <p14:creationId xmlns:p14="http://schemas.microsoft.com/office/powerpoint/2010/main" val="35623561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hoek 3">
            <a:extLst>
              <a:ext uri="{FF2B5EF4-FFF2-40B4-BE49-F238E27FC236}">
                <a16:creationId xmlns:a16="http://schemas.microsoft.com/office/drawing/2014/main" id="{0070842C-CD14-4C6F-9FCA-12FBFEEE0322}"/>
              </a:ext>
            </a:extLst>
          </p:cNvPr>
          <p:cNvSpPr/>
          <p:nvPr/>
        </p:nvSpPr>
        <p:spPr>
          <a:xfrm>
            <a:off x="832207" y="1139254"/>
            <a:ext cx="10623477" cy="5245893"/>
          </a:xfrm>
          <a:prstGeom prst="rect">
            <a:avLst/>
          </a:prstGeom>
          <a:solidFill>
            <a:schemeClr val="bg2"/>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solidFill>
                <a:schemeClr val="tx1"/>
              </a:solidFill>
            </a:endParaRPr>
          </a:p>
        </p:txBody>
      </p:sp>
      <p:sp>
        <p:nvSpPr>
          <p:cNvPr id="16" name="Tekstvak 15">
            <a:extLst>
              <a:ext uri="{FF2B5EF4-FFF2-40B4-BE49-F238E27FC236}">
                <a16:creationId xmlns:a16="http://schemas.microsoft.com/office/drawing/2014/main" id="{15A7649A-ED9A-4CC8-BF14-7505B0D939DD}"/>
              </a:ext>
            </a:extLst>
          </p:cNvPr>
          <p:cNvSpPr txBox="1"/>
          <p:nvPr/>
        </p:nvSpPr>
        <p:spPr>
          <a:xfrm>
            <a:off x="921869" y="1269841"/>
            <a:ext cx="10437924" cy="5027526"/>
          </a:xfrm>
          <a:prstGeom prst="rect">
            <a:avLst/>
          </a:prstGeom>
          <a:noFill/>
          <a:ln w="19050">
            <a:noFill/>
            <a:miter lim="800000"/>
            <a:headEnd/>
            <a:tailEnd/>
          </a:ln>
          <a:effectLst/>
        </p:spPr>
        <p:txBody>
          <a:bodyPr vert="horz" wrap="square" lIns="143996" tIns="72005" rIns="72005" bIns="72005" numCol="1" rtlCol="0" anchor="t" anchorCtr="0" compatLnSpc="1">
            <a:prstTxWarp prst="textNoShape">
              <a:avLst/>
            </a:prstTxWarp>
            <a:noAutofit/>
          </a:bodyPr>
          <a:lstStyle/>
          <a:p>
            <a:pPr marL="291464" indent="-291464">
              <a:spcBef>
                <a:spcPts val="300"/>
              </a:spcBef>
              <a:spcAft>
                <a:spcPts val="600"/>
              </a:spcAft>
              <a:buFont typeface="Arial" panose="020B0604020202020204" pitchFamily="34" charset="0"/>
              <a:buChar char="•"/>
            </a:pPr>
            <a:r>
              <a:rPr lang="nl-NL" sz="1600">
                <a:cs typeface="Arial"/>
              </a:rPr>
              <a:t>De gevoerde Goede Gesprekken waren </a:t>
            </a:r>
            <a:r>
              <a:rPr lang="nl-NL" sz="1600" b="1">
                <a:solidFill>
                  <a:schemeClr val="accent4"/>
                </a:solidFill>
                <a:cs typeface="Arial"/>
              </a:rPr>
              <a:t>prettige en open gesprekken</a:t>
            </a:r>
          </a:p>
          <a:p>
            <a:pPr marL="291464" indent="-291464">
              <a:spcBef>
                <a:spcPts val="300"/>
              </a:spcBef>
              <a:spcAft>
                <a:spcPts val="600"/>
              </a:spcAft>
              <a:buFont typeface="Arial" panose="020B0604020202020204" pitchFamily="34" charset="0"/>
              <a:buChar char="•"/>
            </a:pPr>
            <a:r>
              <a:rPr lang="nl-NL" sz="1600">
                <a:cs typeface="Arial"/>
              </a:rPr>
              <a:t>De Goede Gesprekken werden ervaren </a:t>
            </a:r>
            <a:r>
              <a:rPr lang="nl-NL" sz="1600" b="1">
                <a:solidFill>
                  <a:schemeClr val="accent4"/>
                </a:solidFill>
                <a:cs typeface="Arial"/>
              </a:rPr>
              <a:t>als breder dan alleen een gesprek over contract uitbereiding en roostering</a:t>
            </a:r>
            <a:r>
              <a:rPr lang="nl-NL" sz="1600">
                <a:cs typeface="Arial"/>
              </a:rPr>
              <a:t>. Het gaat ook over iemands </a:t>
            </a:r>
            <a:r>
              <a:rPr lang="nl-NL" sz="1600" b="1">
                <a:solidFill>
                  <a:schemeClr val="accent4"/>
                </a:solidFill>
                <a:cs typeface="Arial"/>
              </a:rPr>
              <a:t>persoonlijke situatie</a:t>
            </a:r>
            <a:r>
              <a:rPr lang="nl-NL" sz="1600">
                <a:solidFill>
                  <a:schemeClr val="accent4"/>
                </a:solidFill>
                <a:cs typeface="Arial"/>
              </a:rPr>
              <a:t> </a:t>
            </a:r>
            <a:r>
              <a:rPr lang="nl-NL" sz="1600">
                <a:cs typeface="Arial"/>
              </a:rPr>
              <a:t>waarover je samen in gesprek gaat m.b.t. passende oplossingen en mogelijkheden</a:t>
            </a:r>
          </a:p>
          <a:p>
            <a:pPr marL="291464" indent="-291464">
              <a:spcBef>
                <a:spcPts val="300"/>
              </a:spcBef>
              <a:spcAft>
                <a:spcPts val="600"/>
              </a:spcAft>
              <a:buFont typeface="Arial" panose="020B0604020202020204" pitchFamily="34" charset="0"/>
              <a:buChar char="•"/>
            </a:pPr>
            <a:r>
              <a:rPr lang="nl-NL" sz="1600" b="1">
                <a:solidFill>
                  <a:schemeClr val="accent4"/>
                </a:solidFill>
                <a:cs typeface="Arial"/>
              </a:rPr>
              <a:t>De ontwikkelde leidraad is een goede ondersteuning </a:t>
            </a:r>
            <a:r>
              <a:rPr lang="nl-NL" sz="1600">
                <a:ea typeface="ＭＳ Ｐゴシック"/>
                <a:cs typeface="Arial"/>
              </a:rPr>
              <a:t>voor het gesprek. Met het middenstuk kun je flexibel omgaan omdat dat medewerker zelf ook veel input levert. Het helpt wel om te waarborgen dat alle onderwerpen aan bod komen</a:t>
            </a:r>
          </a:p>
          <a:p>
            <a:pPr marL="291464" indent="-291464">
              <a:spcBef>
                <a:spcPts val="300"/>
              </a:spcBef>
              <a:spcAft>
                <a:spcPts val="600"/>
              </a:spcAft>
              <a:buFont typeface="Arial" panose="020B0604020202020204" pitchFamily="34" charset="0"/>
              <a:buChar char="•"/>
            </a:pPr>
            <a:r>
              <a:rPr lang="nl-NL" sz="1600">
                <a:ea typeface="ＭＳ Ｐゴシック"/>
                <a:cs typeface="Arial"/>
              </a:rPr>
              <a:t>De meest genoemde </a:t>
            </a:r>
            <a:r>
              <a:rPr lang="nl-NL" sz="1600" b="1">
                <a:solidFill>
                  <a:schemeClr val="accent4"/>
                </a:solidFill>
                <a:ea typeface="ＭＳ Ｐゴシック"/>
                <a:cs typeface="Arial"/>
              </a:rPr>
              <a:t>voorwaarden</a:t>
            </a:r>
            <a:r>
              <a:rPr lang="nl-NL" sz="1600" b="1">
                <a:ea typeface="ＭＳ Ｐゴシック"/>
                <a:cs typeface="Arial"/>
              </a:rPr>
              <a:t> </a:t>
            </a:r>
            <a:r>
              <a:rPr lang="nl-NL" sz="1600">
                <a:ea typeface="ＭＳ Ｐゴシック"/>
                <a:cs typeface="Arial"/>
              </a:rPr>
              <a:t>voor contract uitbereiding zijn: een </a:t>
            </a:r>
            <a:r>
              <a:rPr lang="nl-NL" sz="1600" b="1">
                <a:solidFill>
                  <a:schemeClr val="accent4"/>
                </a:solidFill>
                <a:ea typeface="ＭＳ Ｐゴシック"/>
                <a:cs typeface="Arial"/>
              </a:rPr>
              <a:t>gezond rooster</a:t>
            </a:r>
            <a:r>
              <a:rPr lang="nl-NL" sz="1600">
                <a:ea typeface="ＭＳ Ｐゴシック"/>
                <a:cs typeface="Arial"/>
              </a:rPr>
              <a:t>, mogelijkheid tot </a:t>
            </a:r>
            <a:r>
              <a:rPr lang="nl-NL" sz="1600" b="1">
                <a:solidFill>
                  <a:schemeClr val="accent4"/>
                </a:solidFill>
                <a:ea typeface="ＭＳ Ｐゴシック"/>
                <a:cs typeface="Arial"/>
              </a:rPr>
              <a:t>langere diensten</a:t>
            </a:r>
            <a:r>
              <a:rPr lang="nl-NL" sz="1600">
                <a:solidFill>
                  <a:schemeClr val="accent4"/>
                </a:solidFill>
                <a:ea typeface="ＭＳ Ｐゴシック"/>
                <a:cs typeface="Arial"/>
              </a:rPr>
              <a:t>, </a:t>
            </a:r>
            <a:r>
              <a:rPr lang="nl-NL" sz="1600" b="1">
                <a:solidFill>
                  <a:schemeClr val="accent4"/>
                </a:solidFill>
                <a:ea typeface="ＭＳ Ｐゴシック"/>
                <a:cs typeface="Arial"/>
              </a:rPr>
              <a:t>uitdagende diensten</a:t>
            </a:r>
            <a:r>
              <a:rPr lang="nl-NL" sz="1600" b="1">
                <a:ea typeface="ＭＳ Ｐゴシック"/>
                <a:cs typeface="Arial"/>
              </a:rPr>
              <a:t> </a:t>
            </a:r>
            <a:r>
              <a:rPr lang="nl-NL" sz="1600">
                <a:ea typeface="ＭＳ Ｐゴシック"/>
                <a:cs typeface="Arial"/>
              </a:rPr>
              <a:t>(meerdere wijken/complexe zorg), de </a:t>
            </a:r>
            <a:r>
              <a:rPr lang="nl-NL" sz="1600" b="1">
                <a:solidFill>
                  <a:schemeClr val="accent4"/>
                </a:solidFill>
                <a:ea typeface="ＭＳ Ｐゴシック"/>
                <a:cs typeface="Arial"/>
              </a:rPr>
              <a:t>mogelijkheid om het aantal uren weer terug te draaien</a:t>
            </a:r>
          </a:p>
          <a:p>
            <a:pPr marL="291464" indent="-291464">
              <a:spcBef>
                <a:spcPts val="300"/>
              </a:spcBef>
              <a:spcAft>
                <a:spcPts val="600"/>
              </a:spcAft>
              <a:buFont typeface="Arial" panose="020B0604020202020204" pitchFamily="34" charset="0"/>
              <a:buChar char="•"/>
            </a:pPr>
            <a:r>
              <a:rPr lang="nl-NL" sz="1600">
                <a:ea typeface="ＭＳ Ｐゴシック"/>
                <a:cs typeface="Arial"/>
              </a:rPr>
              <a:t>Het belangrijkste </a:t>
            </a:r>
            <a:r>
              <a:rPr lang="nl-NL" sz="1600" b="1">
                <a:solidFill>
                  <a:schemeClr val="accent4"/>
                </a:solidFill>
                <a:ea typeface="ＭＳ Ｐゴシック"/>
                <a:cs typeface="Arial"/>
              </a:rPr>
              <a:t>risico</a:t>
            </a:r>
            <a:r>
              <a:rPr lang="nl-NL" sz="1600">
                <a:ea typeface="ＭＳ Ｐゴシック"/>
                <a:cs typeface="Arial"/>
              </a:rPr>
              <a:t> wat naar voren kwam was dat medewerkers bij een groter rooster </a:t>
            </a:r>
            <a:r>
              <a:rPr lang="nl-NL" sz="1600" b="1">
                <a:solidFill>
                  <a:schemeClr val="accent4"/>
                </a:solidFill>
                <a:ea typeface="ＭＳ Ｐゴシック"/>
                <a:cs typeface="Arial"/>
              </a:rPr>
              <a:t>nog meer min-uren oplopen</a:t>
            </a:r>
          </a:p>
          <a:p>
            <a:pPr marL="291464" indent="-291464">
              <a:spcBef>
                <a:spcPts val="300"/>
              </a:spcBef>
              <a:spcAft>
                <a:spcPts val="600"/>
              </a:spcAft>
              <a:buFont typeface="Arial" panose="020B0604020202020204" pitchFamily="34" charset="0"/>
              <a:buChar char="•"/>
            </a:pPr>
            <a:r>
              <a:rPr lang="nl-NL" sz="1600" b="1">
                <a:solidFill>
                  <a:schemeClr val="accent4"/>
                </a:solidFill>
                <a:ea typeface="ＭＳ Ｐゴシック"/>
                <a:cs typeface="Arial"/>
              </a:rPr>
              <a:t>‘Mond-op-mond reclame’ </a:t>
            </a:r>
            <a:r>
              <a:rPr lang="nl-NL" sz="1600">
                <a:ea typeface="ＭＳ Ｐゴシック"/>
                <a:cs typeface="Arial"/>
              </a:rPr>
              <a:t>was voor de helft van de medewerkers aanleiding om het Goede Gesprek aan te gaan</a:t>
            </a:r>
          </a:p>
          <a:p>
            <a:pPr marL="291464" indent="-291464">
              <a:spcBef>
                <a:spcPts val="300"/>
              </a:spcBef>
              <a:spcAft>
                <a:spcPts val="600"/>
              </a:spcAft>
              <a:buFont typeface="Arial" panose="020B0604020202020204" pitchFamily="34" charset="0"/>
              <a:buChar char="•"/>
            </a:pPr>
            <a:r>
              <a:rPr lang="nl-NL" sz="1600">
                <a:ea typeface="ＭＳ Ｐゴシック"/>
                <a:cs typeface="Arial"/>
              </a:rPr>
              <a:t>Een deel van de medewerkers zou het liefste </a:t>
            </a:r>
            <a:r>
              <a:rPr lang="nl-NL" sz="1600" b="1">
                <a:solidFill>
                  <a:schemeClr val="accent4"/>
                </a:solidFill>
                <a:ea typeface="ＭＳ Ｐゴシック"/>
                <a:cs typeface="Arial"/>
              </a:rPr>
              <a:t>per direct </a:t>
            </a:r>
            <a:r>
              <a:rPr lang="nl-NL" sz="1600">
                <a:ea typeface="ＭＳ Ｐゴシック"/>
                <a:cs typeface="Arial"/>
              </a:rPr>
              <a:t>al over gaan naar een </a:t>
            </a:r>
            <a:r>
              <a:rPr lang="nl-NL" sz="1600" b="1">
                <a:solidFill>
                  <a:schemeClr val="accent4"/>
                </a:solidFill>
                <a:ea typeface="ＭＳ Ｐゴシック"/>
                <a:cs typeface="Arial"/>
              </a:rPr>
              <a:t>groter contract</a:t>
            </a:r>
          </a:p>
          <a:p>
            <a:pPr marL="291464" indent="-291464">
              <a:spcBef>
                <a:spcPts val="300"/>
              </a:spcBef>
              <a:spcAft>
                <a:spcPts val="600"/>
              </a:spcAft>
              <a:buFont typeface="Arial" panose="020B0604020202020204" pitchFamily="34" charset="0"/>
              <a:buChar char="•"/>
            </a:pPr>
            <a:r>
              <a:rPr lang="nl-NL" sz="1600">
                <a:ea typeface="ＭＳ Ｐゴシック"/>
                <a:cs typeface="Arial"/>
              </a:rPr>
              <a:t>De testgesprekken duurde gemiddeld 45 min. Om te waarborgen dat er voldoende tijd beschikbaar is zal voor de toekomstige goede gesprekken in </a:t>
            </a:r>
            <a:r>
              <a:rPr lang="nl-NL" sz="1600" b="1">
                <a:solidFill>
                  <a:schemeClr val="accent4"/>
                </a:solidFill>
                <a:ea typeface="ＭＳ Ｐゴシック"/>
                <a:cs typeface="Arial"/>
              </a:rPr>
              <a:t>eerste instantie 60 min</a:t>
            </a:r>
            <a:r>
              <a:rPr lang="nl-NL" sz="1600" b="1">
                <a:ea typeface="ＭＳ Ｐゴシック"/>
                <a:cs typeface="Arial"/>
              </a:rPr>
              <a:t> </a:t>
            </a:r>
            <a:r>
              <a:rPr lang="nl-NL" sz="1600">
                <a:ea typeface="ＭＳ Ｐゴシック"/>
                <a:cs typeface="Arial"/>
              </a:rPr>
              <a:t>worden ingepland.</a:t>
            </a:r>
          </a:p>
        </p:txBody>
      </p:sp>
      <p:sp>
        <p:nvSpPr>
          <p:cNvPr id="3" name="Titel 2">
            <a:extLst>
              <a:ext uri="{FF2B5EF4-FFF2-40B4-BE49-F238E27FC236}">
                <a16:creationId xmlns:a16="http://schemas.microsoft.com/office/drawing/2014/main" id="{5A701E30-BF94-4E4D-925F-4D0DB5F2FD1F}"/>
              </a:ext>
            </a:extLst>
          </p:cNvPr>
          <p:cNvSpPr>
            <a:spLocks noGrp="1"/>
          </p:cNvSpPr>
          <p:nvPr>
            <p:ph type="title"/>
          </p:nvPr>
        </p:nvSpPr>
        <p:spPr/>
        <p:txBody>
          <a:bodyPr/>
          <a:lstStyle/>
          <a:p>
            <a:r>
              <a:rPr lang="nl-NL"/>
              <a:t>Inzichten vanuit de eerste testgesprekken voor ‘Goed Gesprek’</a:t>
            </a:r>
          </a:p>
        </p:txBody>
      </p:sp>
      <p:sp>
        <p:nvSpPr>
          <p:cNvPr id="6" name="Rechthoek 5">
            <a:extLst>
              <a:ext uri="{FF2B5EF4-FFF2-40B4-BE49-F238E27FC236}">
                <a16:creationId xmlns:a16="http://schemas.microsoft.com/office/drawing/2014/main" id="{704D3066-0EB9-8146-8881-10769EF6BFC9}"/>
              </a:ext>
            </a:extLst>
          </p:cNvPr>
          <p:cNvSpPr/>
          <p:nvPr/>
        </p:nvSpPr>
        <p:spPr>
          <a:xfrm>
            <a:off x="-1648854" y="119497"/>
            <a:ext cx="1903751" cy="2728633"/>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b="1" err="1">
                <a:solidFill>
                  <a:schemeClr val="tx1"/>
                </a:solidFill>
              </a:rPr>
              <a:t>To</a:t>
            </a:r>
            <a:r>
              <a:rPr lang="nl-NL" sz="1600" b="1">
                <a:solidFill>
                  <a:schemeClr val="tx1"/>
                </a:solidFill>
              </a:rPr>
              <a:t> do om deze slide instelling specifiek te maken:</a:t>
            </a:r>
          </a:p>
          <a:p>
            <a:pPr algn="ctr"/>
            <a:endParaRPr lang="nl-NL" sz="1600">
              <a:solidFill>
                <a:schemeClr val="tx1"/>
              </a:solidFill>
            </a:endParaRPr>
          </a:p>
          <a:p>
            <a:pPr algn="ctr"/>
            <a:r>
              <a:rPr lang="nl-NL" sz="1600">
                <a:solidFill>
                  <a:schemeClr val="tx1"/>
                </a:solidFill>
              </a:rPr>
              <a:t>- Dit zijn voorbeeld inzichten die instelling specifiek gemaakt kunnen worden</a:t>
            </a:r>
          </a:p>
        </p:txBody>
      </p:sp>
    </p:spTree>
    <p:extLst>
      <p:ext uri="{BB962C8B-B14F-4D97-AF65-F5344CB8AC3E}">
        <p14:creationId xmlns:p14="http://schemas.microsoft.com/office/powerpoint/2010/main" val="31992253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hoek 12">
            <a:extLst>
              <a:ext uri="{FF2B5EF4-FFF2-40B4-BE49-F238E27FC236}">
                <a16:creationId xmlns:a16="http://schemas.microsoft.com/office/drawing/2014/main" id="{55A61FBC-2D1B-7840-A276-C7B4CEBBA2D9}"/>
              </a:ext>
            </a:extLst>
          </p:cNvPr>
          <p:cNvSpPr/>
          <p:nvPr/>
        </p:nvSpPr>
        <p:spPr>
          <a:xfrm>
            <a:off x="832207" y="1190961"/>
            <a:ext cx="10623477" cy="4973128"/>
          </a:xfrm>
          <a:prstGeom prst="rect">
            <a:avLst/>
          </a:prstGeom>
          <a:solidFill>
            <a:schemeClr val="bg2"/>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solidFill>
                <a:schemeClr val="tx1"/>
              </a:solidFill>
            </a:endParaRPr>
          </a:p>
        </p:txBody>
      </p:sp>
      <p:sp>
        <p:nvSpPr>
          <p:cNvPr id="9" name="Rechthoek 8">
            <a:extLst>
              <a:ext uri="{FF2B5EF4-FFF2-40B4-BE49-F238E27FC236}">
                <a16:creationId xmlns:a16="http://schemas.microsoft.com/office/drawing/2014/main" id="{5D1DBC3A-5915-40BD-8522-84ADE50BAB02}"/>
              </a:ext>
            </a:extLst>
          </p:cNvPr>
          <p:cNvSpPr/>
          <p:nvPr/>
        </p:nvSpPr>
        <p:spPr>
          <a:xfrm>
            <a:off x="1313264" y="1386388"/>
            <a:ext cx="9652832" cy="4582274"/>
          </a:xfrm>
          <a:prstGeom prst="rect">
            <a:avLst/>
          </a:prstGeom>
          <a:no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i="1">
                <a:solidFill>
                  <a:schemeClr val="tx1"/>
                </a:solidFill>
                <a:ea typeface="Calibri" panose="020F0502020204030204" pitchFamily="34" charset="0"/>
              </a:rPr>
              <a:t>Omdat mijn team mee doet aan Het Potentieel Pakken kwam ik in de gelegenheid om via een Goed Gesprek te kijken hoe ik meer uren zou kunnen gaan werken zonder dat dit ten koste gaat van mijn privéleven en rustmomenten.</a:t>
            </a:r>
            <a:br>
              <a:rPr lang="nl-NL" sz="1600" i="1">
                <a:solidFill>
                  <a:schemeClr val="tx1"/>
                </a:solidFill>
                <a:ea typeface="Calibri" panose="020F0502020204030204" pitchFamily="34" charset="0"/>
              </a:rPr>
            </a:br>
            <a:br>
              <a:rPr lang="nl-NL" sz="1600" i="1">
                <a:solidFill>
                  <a:schemeClr val="tx1"/>
                </a:solidFill>
                <a:ea typeface="Calibri" panose="020F0502020204030204" pitchFamily="34" charset="0"/>
              </a:rPr>
            </a:br>
            <a:r>
              <a:rPr lang="nl-NL" sz="1600" i="1">
                <a:solidFill>
                  <a:schemeClr val="tx1"/>
                </a:solidFill>
                <a:ea typeface="Calibri" panose="020F0502020204030204" pitchFamily="34" charset="0"/>
              </a:rPr>
              <a:t>Ik kwam erachter dat het voor mij mogelijk is om 4 uur per week meer te gaan werken. Mijn contract is toen van 24 naar 28 uur per week gegaan. Omdat ik onregelmatige diensten werk is het niet altijd makkelijk, want je wilt niet alleen de diensten opvullen die niet graag gedaan worden, zoals de vrijdagavond. Wij hebben om het weekend dienst, dus die diensten staan al mooi vast.</a:t>
            </a:r>
            <a:br>
              <a:rPr lang="nl-NL" sz="1600" i="1">
                <a:solidFill>
                  <a:schemeClr val="tx1"/>
                </a:solidFill>
                <a:ea typeface="Calibri" panose="020F0502020204030204" pitchFamily="34" charset="0"/>
              </a:rPr>
            </a:br>
            <a:br>
              <a:rPr lang="nl-NL" sz="1600" i="1">
                <a:solidFill>
                  <a:schemeClr val="tx1"/>
                </a:solidFill>
                <a:ea typeface="Calibri" panose="020F0502020204030204" pitchFamily="34" charset="0"/>
              </a:rPr>
            </a:br>
            <a:r>
              <a:rPr lang="nl-NL" sz="1600" i="1">
                <a:solidFill>
                  <a:schemeClr val="tx1"/>
                </a:solidFill>
                <a:ea typeface="Calibri" panose="020F0502020204030204" pitchFamily="34" charset="0"/>
              </a:rPr>
              <a:t>Wat mij heeft geholpen is dat ik handvatten heb gekregen om voor mijzelf op te komen en met de planner in overleg te gaan over welk dagdeel ik extra kan werken. Thuis heb ik ook goed gekeken en ik kwam erachter dat als ik de woensdagavonden van de oneven naar even weken laat verzetten, dat ik het dan red om extra te werken. Dat moet natuurlijk in overleg met de andere collega’s, maar waar een wil is, is ook een weg!</a:t>
            </a:r>
            <a:endParaRPr lang="nl-NL" sz="1800" i="1">
              <a:solidFill>
                <a:schemeClr val="tx1"/>
              </a:solidFill>
            </a:endParaRPr>
          </a:p>
        </p:txBody>
      </p:sp>
      <p:grpSp>
        <p:nvGrpSpPr>
          <p:cNvPr id="10" name="Group 108">
            <a:extLst>
              <a:ext uri="{FF2B5EF4-FFF2-40B4-BE49-F238E27FC236}">
                <a16:creationId xmlns:a16="http://schemas.microsoft.com/office/drawing/2014/main" id="{E2A990B9-DFB6-4D79-B3FD-BC1638EDCC1D}"/>
              </a:ext>
            </a:extLst>
          </p:cNvPr>
          <p:cNvGrpSpPr/>
          <p:nvPr/>
        </p:nvGrpSpPr>
        <p:grpSpPr>
          <a:xfrm>
            <a:off x="10725567" y="5448756"/>
            <a:ext cx="456758" cy="351890"/>
            <a:chOff x="3479801" y="2351527"/>
            <a:chExt cx="555625" cy="414338"/>
          </a:xfrm>
          <a:solidFill>
            <a:schemeClr val="accent4"/>
          </a:solidFill>
        </p:grpSpPr>
        <p:sp>
          <p:nvSpPr>
            <p:cNvPr id="11" name="Freeform 553">
              <a:extLst>
                <a:ext uri="{FF2B5EF4-FFF2-40B4-BE49-F238E27FC236}">
                  <a16:creationId xmlns:a16="http://schemas.microsoft.com/office/drawing/2014/main" id="{43531C02-FBB7-49FA-8DDE-007ECDD03446}"/>
                </a:ext>
              </a:extLst>
            </p:cNvPr>
            <p:cNvSpPr>
              <a:spLocks/>
            </p:cNvSpPr>
            <p:nvPr/>
          </p:nvSpPr>
          <p:spPr bwMode="auto">
            <a:xfrm flipH="1" flipV="1">
              <a:off x="3784601" y="2351527"/>
              <a:ext cx="250825" cy="414338"/>
            </a:xfrm>
            <a:custGeom>
              <a:avLst/>
              <a:gdLst>
                <a:gd name="T0" fmla="*/ 528 w 582"/>
                <a:gd name="T1" fmla="*/ 0 h 968"/>
                <a:gd name="T2" fmla="*/ 528 w 582"/>
                <a:gd name="T3" fmla="*/ 70 h 968"/>
                <a:gd name="T4" fmla="*/ 210 w 582"/>
                <a:gd name="T5" fmla="*/ 516 h 968"/>
                <a:gd name="T6" fmla="*/ 240 w 582"/>
                <a:gd name="T7" fmla="*/ 538 h 968"/>
                <a:gd name="T8" fmla="*/ 366 w 582"/>
                <a:gd name="T9" fmla="*/ 496 h 968"/>
                <a:gd name="T10" fmla="*/ 578 w 582"/>
                <a:gd name="T11" fmla="*/ 730 h 968"/>
                <a:gd name="T12" fmla="*/ 320 w 582"/>
                <a:gd name="T13" fmla="*/ 968 h 968"/>
                <a:gd name="T14" fmla="*/ 28 w 582"/>
                <a:gd name="T15" fmla="*/ 566 h 968"/>
                <a:gd name="T16" fmla="*/ 528 w 582"/>
                <a:gd name="T17" fmla="*/ 0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2" h="968">
                  <a:moveTo>
                    <a:pt x="528" y="0"/>
                  </a:moveTo>
                  <a:cubicBezTo>
                    <a:pt x="528" y="35"/>
                    <a:pt x="528" y="70"/>
                    <a:pt x="528" y="70"/>
                  </a:cubicBezTo>
                  <a:cubicBezTo>
                    <a:pt x="528" y="70"/>
                    <a:pt x="202" y="171"/>
                    <a:pt x="210" y="516"/>
                  </a:cubicBezTo>
                  <a:cubicBezTo>
                    <a:pt x="210" y="516"/>
                    <a:pt x="207" y="550"/>
                    <a:pt x="240" y="538"/>
                  </a:cubicBezTo>
                  <a:cubicBezTo>
                    <a:pt x="240" y="538"/>
                    <a:pt x="289" y="493"/>
                    <a:pt x="366" y="496"/>
                  </a:cubicBezTo>
                  <a:cubicBezTo>
                    <a:pt x="366" y="496"/>
                    <a:pt x="582" y="505"/>
                    <a:pt x="578" y="730"/>
                  </a:cubicBezTo>
                  <a:cubicBezTo>
                    <a:pt x="578" y="730"/>
                    <a:pt x="560" y="962"/>
                    <a:pt x="320" y="968"/>
                  </a:cubicBezTo>
                  <a:cubicBezTo>
                    <a:pt x="0" y="936"/>
                    <a:pt x="28" y="566"/>
                    <a:pt x="28" y="566"/>
                  </a:cubicBezTo>
                  <a:cubicBezTo>
                    <a:pt x="28" y="566"/>
                    <a:pt x="7" y="180"/>
                    <a:pt x="528" y="0"/>
                  </a:cubicBezTo>
                  <a:close/>
                </a:path>
              </a:pathLst>
            </a:custGeom>
            <a:grpFill/>
            <a:ln>
              <a:noFill/>
            </a:ln>
            <a:effectLst/>
            <a:extLst>
              <a:ext uri="{91240B29-F687-4F45-9708-019B960494DF}">
                <a14:hiddenLine xmlns:a14="http://schemas.microsoft.com/office/drawing/2010/main" w="9525" cap="flat" cmpd="sng">
                  <a:solidFill>
                    <a:schemeClr val="tx1"/>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3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2" name="Freeform 554">
              <a:extLst>
                <a:ext uri="{FF2B5EF4-FFF2-40B4-BE49-F238E27FC236}">
                  <a16:creationId xmlns:a16="http://schemas.microsoft.com/office/drawing/2014/main" id="{F66EA4E5-31BF-4242-901E-5777A992C8A8}"/>
                </a:ext>
              </a:extLst>
            </p:cNvPr>
            <p:cNvSpPr>
              <a:spLocks/>
            </p:cNvSpPr>
            <p:nvPr/>
          </p:nvSpPr>
          <p:spPr bwMode="auto">
            <a:xfrm flipH="1" flipV="1">
              <a:off x="3479801" y="2351527"/>
              <a:ext cx="250825" cy="414338"/>
            </a:xfrm>
            <a:custGeom>
              <a:avLst/>
              <a:gdLst>
                <a:gd name="T0" fmla="*/ 528 w 582"/>
                <a:gd name="T1" fmla="*/ 0 h 968"/>
                <a:gd name="T2" fmla="*/ 528 w 582"/>
                <a:gd name="T3" fmla="*/ 70 h 968"/>
                <a:gd name="T4" fmla="*/ 210 w 582"/>
                <a:gd name="T5" fmla="*/ 516 h 968"/>
                <a:gd name="T6" fmla="*/ 240 w 582"/>
                <a:gd name="T7" fmla="*/ 538 h 968"/>
                <a:gd name="T8" fmla="*/ 366 w 582"/>
                <a:gd name="T9" fmla="*/ 496 h 968"/>
                <a:gd name="T10" fmla="*/ 578 w 582"/>
                <a:gd name="T11" fmla="*/ 730 h 968"/>
                <a:gd name="T12" fmla="*/ 320 w 582"/>
                <a:gd name="T13" fmla="*/ 968 h 968"/>
                <a:gd name="T14" fmla="*/ 28 w 582"/>
                <a:gd name="T15" fmla="*/ 566 h 968"/>
                <a:gd name="T16" fmla="*/ 528 w 582"/>
                <a:gd name="T17" fmla="*/ 0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2" h="968">
                  <a:moveTo>
                    <a:pt x="528" y="0"/>
                  </a:moveTo>
                  <a:cubicBezTo>
                    <a:pt x="528" y="35"/>
                    <a:pt x="528" y="70"/>
                    <a:pt x="528" y="70"/>
                  </a:cubicBezTo>
                  <a:cubicBezTo>
                    <a:pt x="528" y="70"/>
                    <a:pt x="202" y="171"/>
                    <a:pt x="210" y="516"/>
                  </a:cubicBezTo>
                  <a:cubicBezTo>
                    <a:pt x="210" y="516"/>
                    <a:pt x="207" y="550"/>
                    <a:pt x="240" y="538"/>
                  </a:cubicBezTo>
                  <a:cubicBezTo>
                    <a:pt x="240" y="538"/>
                    <a:pt x="289" y="493"/>
                    <a:pt x="366" y="496"/>
                  </a:cubicBezTo>
                  <a:cubicBezTo>
                    <a:pt x="366" y="496"/>
                    <a:pt x="582" y="505"/>
                    <a:pt x="578" y="730"/>
                  </a:cubicBezTo>
                  <a:cubicBezTo>
                    <a:pt x="578" y="730"/>
                    <a:pt x="560" y="962"/>
                    <a:pt x="320" y="968"/>
                  </a:cubicBezTo>
                  <a:cubicBezTo>
                    <a:pt x="0" y="936"/>
                    <a:pt x="28" y="566"/>
                    <a:pt x="28" y="566"/>
                  </a:cubicBezTo>
                  <a:cubicBezTo>
                    <a:pt x="28" y="566"/>
                    <a:pt x="7" y="180"/>
                    <a:pt x="528" y="0"/>
                  </a:cubicBezTo>
                  <a:close/>
                </a:path>
              </a:pathLst>
            </a:custGeom>
            <a:grpFill/>
            <a:ln>
              <a:noFill/>
            </a:ln>
            <a:effectLst/>
            <a:extLst>
              <a:ext uri="{91240B29-F687-4F45-9708-019B960494DF}">
                <a14:hiddenLine xmlns:a14="http://schemas.microsoft.com/office/drawing/2010/main" w="9525" cap="flat" cmpd="sng">
                  <a:solidFill>
                    <a:schemeClr val="tx1"/>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300" b="0" i="0" u="none" strike="noStrike" kern="1200" cap="none" spc="0" normalizeH="0" baseline="0" noProof="0">
                <a:ln>
                  <a:noFill/>
                </a:ln>
                <a:solidFill>
                  <a:srgbClr val="000000"/>
                </a:solidFill>
                <a:effectLst/>
                <a:uLnTx/>
                <a:uFillTx/>
                <a:latin typeface="Arial"/>
                <a:ea typeface="ＭＳ Ｐゴシック"/>
                <a:cs typeface="+mn-cs"/>
              </a:endParaRPr>
            </a:p>
          </p:txBody>
        </p:sp>
      </p:grpSp>
      <p:grpSp>
        <p:nvGrpSpPr>
          <p:cNvPr id="16" name="Group 108">
            <a:extLst>
              <a:ext uri="{FF2B5EF4-FFF2-40B4-BE49-F238E27FC236}">
                <a16:creationId xmlns:a16="http://schemas.microsoft.com/office/drawing/2014/main" id="{9CCDCA5B-5FE1-46CB-AF00-D9C343DFF95A}"/>
              </a:ext>
            </a:extLst>
          </p:cNvPr>
          <p:cNvGrpSpPr/>
          <p:nvPr/>
        </p:nvGrpSpPr>
        <p:grpSpPr>
          <a:xfrm rot="10800000">
            <a:off x="969639" y="1476884"/>
            <a:ext cx="456758" cy="351890"/>
            <a:chOff x="3479801" y="2351527"/>
            <a:chExt cx="555625" cy="414338"/>
          </a:xfrm>
          <a:solidFill>
            <a:schemeClr val="accent4"/>
          </a:solidFill>
        </p:grpSpPr>
        <p:sp>
          <p:nvSpPr>
            <p:cNvPr id="17" name="Freeform 553">
              <a:extLst>
                <a:ext uri="{FF2B5EF4-FFF2-40B4-BE49-F238E27FC236}">
                  <a16:creationId xmlns:a16="http://schemas.microsoft.com/office/drawing/2014/main" id="{B84F7CC1-D05F-4778-871F-C154285FD048}"/>
                </a:ext>
              </a:extLst>
            </p:cNvPr>
            <p:cNvSpPr>
              <a:spLocks/>
            </p:cNvSpPr>
            <p:nvPr/>
          </p:nvSpPr>
          <p:spPr bwMode="auto">
            <a:xfrm flipH="1" flipV="1">
              <a:off x="3784601" y="2351527"/>
              <a:ext cx="250825" cy="414338"/>
            </a:xfrm>
            <a:custGeom>
              <a:avLst/>
              <a:gdLst>
                <a:gd name="T0" fmla="*/ 528 w 582"/>
                <a:gd name="T1" fmla="*/ 0 h 968"/>
                <a:gd name="T2" fmla="*/ 528 w 582"/>
                <a:gd name="T3" fmla="*/ 70 h 968"/>
                <a:gd name="T4" fmla="*/ 210 w 582"/>
                <a:gd name="T5" fmla="*/ 516 h 968"/>
                <a:gd name="T6" fmla="*/ 240 w 582"/>
                <a:gd name="T7" fmla="*/ 538 h 968"/>
                <a:gd name="T8" fmla="*/ 366 w 582"/>
                <a:gd name="T9" fmla="*/ 496 h 968"/>
                <a:gd name="T10" fmla="*/ 578 w 582"/>
                <a:gd name="T11" fmla="*/ 730 h 968"/>
                <a:gd name="T12" fmla="*/ 320 w 582"/>
                <a:gd name="T13" fmla="*/ 968 h 968"/>
                <a:gd name="T14" fmla="*/ 28 w 582"/>
                <a:gd name="T15" fmla="*/ 566 h 968"/>
                <a:gd name="T16" fmla="*/ 528 w 582"/>
                <a:gd name="T17" fmla="*/ 0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2" h="968">
                  <a:moveTo>
                    <a:pt x="528" y="0"/>
                  </a:moveTo>
                  <a:cubicBezTo>
                    <a:pt x="528" y="35"/>
                    <a:pt x="528" y="70"/>
                    <a:pt x="528" y="70"/>
                  </a:cubicBezTo>
                  <a:cubicBezTo>
                    <a:pt x="528" y="70"/>
                    <a:pt x="202" y="171"/>
                    <a:pt x="210" y="516"/>
                  </a:cubicBezTo>
                  <a:cubicBezTo>
                    <a:pt x="210" y="516"/>
                    <a:pt x="207" y="550"/>
                    <a:pt x="240" y="538"/>
                  </a:cubicBezTo>
                  <a:cubicBezTo>
                    <a:pt x="240" y="538"/>
                    <a:pt x="289" y="493"/>
                    <a:pt x="366" y="496"/>
                  </a:cubicBezTo>
                  <a:cubicBezTo>
                    <a:pt x="366" y="496"/>
                    <a:pt x="582" y="505"/>
                    <a:pt x="578" y="730"/>
                  </a:cubicBezTo>
                  <a:cubicBezTo>
                    <a:pt x="578" y="730"/>
                    <a:pt x="560" y="962"/>
                    <a:pt x="320" y="968"/>
                  </a:cubicBezTo>
                  <a:cubicBezTo>
                    <a:pt x="0" y="936"/>
                    <a:pt x="28" y="566"/>
                    <a:pt x="28" y="566"/>
                  </a:cubicBezTo>
                  <a:cubicBezTo>
                    <a:pt x="28" y="566"/>
                    <a:pt x="7" y="180"/>
                    <a:pt x="528" y="0"/>
                  </a:cubicBezTo>
                  <a:close/>
                </a:path>
              </a:pathLst>
            </a:custGeom>
            <a:grpFill/>
            <a:ln>
              <a:noFill/>
            </a:ln>
            <a:effectLst/>
            <a:extLst>
              <a:ext uri="{91240B29-F687-4F45-9708-019B960494DF}">
                <a14:hiddenLine xmlns:a14="http://schemas.microsoft.com/office/drawing/2010/main" w="9525" cap="flat" cmpd="sng">
                  <a:solidFill>
                    <a:schemeClr val="tx1"/>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3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8" name="Freeform 554">
              <a:extLst>
                <a:ext uri="{FF2B5EF4-FFF2-40B4-BE49-F238E27FC236}">
                  <a16:creationId xmlns:a16="http://schemas.microsoft.com/office/drawing/2014/main" id="{B0259F56-D160-438B-9D38-96EDFC3530A6}"/>
                </a:ext>
              </a:extLst>
            </p:cNvPr>
            <p:cNvSpPr>
              <a:spLocks/>
            </p:cNvSpPr>
            <p:nvPr/>
          </p:nvSpPr>
          <p:spPr bwMode="auto">
            <a:xfrm flipH="1" flipV="1">
              <a:off x="3479801" y="2351527"/>
              <a:ext cx="250825" cy="414338"/>
            </a:xfrm>
            <a:custGeom>
              <a:avLst/>
              <a:gdLst>
                <a:gd name="T0" fmla="*/ 528 w 582"/>
                <a:gd name="T1" fmla="*/ 0 h 968"/>
                <a:gd name="T2" fmla="*/ 528 w 582"/>
                <a:gd name="T3" fmla="*/ 70 h 968"/>
                <a:gd name="T4" fmla="*/ 210 w 582"/>
                <a:gd name="T5" fmla="*/ 516 h 968"/>
                <a:gd name="T6" fmla="*/ 240 w 582"/>
                <a:gd name="T7" fmla="*/ 538 h 968"/>
                <a:gd name="T8" fmla="*/ 366 w 582"/>
                <a:gd name="T9" fmla="*/ 496 h 968"/>
                <a:gd name="T10" fmla="*/ 578 w 582"/>
                <a:gd name="T11" fmla="*/ 730 h 968"/>
                <a:gd name="T12" fmla="*/ 320 w 582"/>
                <a:gd name="T13" fmla="*/ 968 h 968"/>
                <a:gd name="T14" fmla="*/ 28 w 582"/>
                <a:gd name="T15" fmla="*/ 566 h 968"/>
                <a:gd name="T16" fmla="*/ 528 w 582"/>
                <a:gd name="T17" fmla="*/ 0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2" h="968">
                  <a:moveTo>
                    <a:pt x="528" y="0"/>
                  </a:moveTo>
                  <a:cubicBezTo>
                    <a:pt x="528" y="35"/>
                    <a:pt x="528" y="70"/>
                    <a:pt x="528" y="70"/>
                  </a:cubicBezTo>
                  <a:cubicBezTo>
                    <a:pt x="528" y="70"/>
                    <a:pt x="202" y="171"/>
                    <a:pt x="210" y="516"/>
                  </a:cubicBezTo>
                  <a:cubicBezTo>
                    <a:pt x="210" y="516"/>
                    <a:pt x="207" y="550"/>
                    <a:pt x="240" y="538"/>
                  </a:cubicBezTo>
                  <a:cubicBezTo>
                    <a:pt x="240" y="538"/>
                    <a:pt x="289" y="493"/>
                    <a:pt x="366" y="496"/>
                  </a:cubicBezTo>
                  <a:cubicBezTo>
                    <a:pt x="366" y="496"/>
                    <a:pt x="582" y="505"/>
                    <a:pt x="578" y="730"/>
                  </a:cubicBezTo>
                  <a:cubicBezTo>
                    <a:pt x="578" y="730"/>
                    <a:pt x="560" y="962"/>
                    <a:pt x="320" y="968"/>
                  </a:cubicBezTo>
                  <a:cubicBezTo>
                    <a:pt x="0" y="936"/>
                    <a:pt x="28" y="566"/>
                    <a:pt x="28" y="566"/>
                  </a:cubicBezTo>
                  <a:cubicBezTo>
                    <a:pt x="28" y="566"/>
                    <a:pt x="7" y="180"/>
                    <a:pt x="528" y="0"/>
                  </a:cubicBezTo>
                  <a:close/>
                </a:path>
              </a:pathLst>
            </a:custGeom>
            <a:grpFill/>
            <a:ln>
              <a:noFill/>
            </a:ln>
            <a:effectLst/>
            <a:extLst>
              <a:ext uri="{91240B29-F687-4F45-9708-019B960494DF}">
                <a14:hiddenLine xmlns:a14="http://schemas.microsoft.com/office/drawing/2010/main" w="9525" cap="flat" cmpd="sng">
                  <a:solidFill>
                    <a:schemeClr val="tx1"/>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300" b="0" i="0" u="none" strike="noStrike" kern="1200" cap="none" spc="0" normalizeH="0" baseline="0" noProof="0">
                <a:ln>
                  <a:noFill/>
                </a:ln>
                <a:solidFill>
                  <a:srgbClr val="000000"/>
                </a:solidFill>
                <a:effectLst/>
                <a:uLnTx/>
                <a:uFillTx/>
                <a:latin typeface="Arial"/>
                <a:ea typeface="ＭＳ Ｐゴシック"/>
                <a:cs typeface="+mn-cs"/>
              </a:endParaRPr>
            </a:p>
          </p:txBody>
        </p:sp>
      </p:grpSp>
      <p:sp>
        <p:nvSpPr>
          <p:cNvPr id="3" name="Titel 2">
            <a:extLst>
              <a:ext uri="{FF2B5EF4-FFF2-40B4-BE49-F238E27FC236}">
                <a16:creationId xmlns:a16="http://schemas.microsoft.com/office/drawing/2014/main" id="{A9CB953B-2680-0D44-9F88-C415C27CBDF3}"/>
              </a:ext>
            </a:extLst>
          </p:cNvPr>
          <p:cNvSpPr>
            <a:spLocks noGrp="1"/>
          </p:cNvSpPr>
          <p:nvPr>
            <p:ph type="title"/>
          </p:nvPr>
        </p:nvSpPr>
        <p:spPr/>
        <p:txBody>
          <a:bodyPr/>
          <a:lstStyle/>
          <a:p>
            <a:r>
              <a:rPr lang="nl-NL"/>
              <a:t>Ervaring met het Goede Gesprek vanuit een medewerker</a:t>
            </a:r>
          </a:p>
        </p:txBody>
      </p:sp>
      <p:sp>
        <p:nvSpPr>
          <p:cNvPr id="19" name="Rechthoek 18">
            <a:extLst>
              <a:ext uri="{FF2B5EF4-FFF2-40B4-BE49-F238E27FC236}">
                <a16:creationId xmlns:a16="http://schemas.microsoft.com/office/drawing/2014/main" id="{38E80DA5-F8F9-1747-A77C-8E4D803CE5B1}"/>
              </a:ext>
            </a:extLst>
          </p:cNvPr>
          <p:cNvSpPr/>
          <p:nvPr/>
        </p:nvSpPr>
        <p:spPr>
          <a:xfrm>
            <a:off x="-1648854" y="119497"/>
            <a:ext cx="1903751" cy="2728633"/>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b="1" err="1">
                <a:solidFill>
                  <a:schemeClr val="tx1"/>
                </a:solidFill>
              </a:rPr>
              <a:t>To</a:t>
            </a:r>
            <a:r>
              <a:rPr lang="nl-NL" sz="1600" b="1">
                <a:solidFill>
                  <a:schemeClr val="tx1"/>
                </a:solidFill>
              </a:rPr>
              <a:t> do om deze slide instelling specifiek te maken:</a:t>
            </a:r>
          </a:p>
          <a:p>
            <a:pPr algn="ctr"/>
            <a:endParaRPr lang="nl-NL" sz="1600">
              <a:solidFill>
                <a:schemeClr val="tx1"/>
              </a:solidFill>
            </a:endParaRPr>
          </a:p>
          <a:p>
            <a:pPr algn="ctr"/>
            <a:r>
              <a:rPr lang="nl-NL" sz="1600">
                <a:solidFill>
                  <a:schemeClr val="tx1"/>
                </a:solidFill>
              </a:rPr>
              <a:t>- Vervangen voor een instelling specifieke ervaring uit een van de gevoerde Goede Gesprekken</a:t>
            </a:r>
          </a:p>
        </p:txBody>
      </p:sp>
    </p:spTree>
    <p:extLst>
      <p:ext uri="{BB962C8B-B14F-4D97-AF65-F5344CB8AC3E}">
        <p14:creationId xmlns:p14="http://schemas.microsoft.com/office/powerpoint/2010/main" val="12902276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EF16CA76-94E0-4748-88CC-FF01FC323DD6}"/>
              </a:ext>
            </a:extLst>
          </p:cNvPr>
          <p:cNvSpPr/>
          <p:nvPr/>
        </p:nvSpPr>
        <p:spPr>
          <a:xfrm>
            <a:off x="3025423" y="1478953"/>
            <a:ext cx="8233563" cy="3947487"/>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chemeClr val="tx1"/>
              </a:solidFill>
            </a:endParaRPr>
          </a:p>
        </p:txBody>
      </p:sp>
      <p:sp>
        <p:nvSpPr>
          <p:cNvPr id="2" name="Titel 1">
            <a:extLst>
              <a:ext uri="{FF2B5EF4-FFF2-40B4-BE49-F238E27FC236}">
                <a16:creationId xmlns:a16="http://schemas.microsoft.com/office/drawing/2014/main" id="{93247720-70D6-41A6-BCF6-040F4C907F56}"/>
              </a:ext>
            </a:extLst>
          </p:cNvPr>
          <p:cNvSpPr>
            <a:spLocks noGrp="1"/>
          </p:cNvSpPr>
          <p:nvPr>
            <p:ph type="title"/>
          </p:nvPr>
        </p:nvSpPr>
        <p:spPr/>
        <p:txBody>
          <a:bodyPr/>
          <a:lstStyle/>
          <a:p>
            <a:r>
              <a:rPr lang="nl-NL"/>
              <a:t>Doel van dit document</a:t>
            </a:r>
          </a:p>
        </p:txBody>
      </p:sp>
      <p:sp>
        <p:nvSpPr>
          <p:cNvPr id="3" name="Tekstvak 2">
            <a:extLst>
              <a:ext uri="{FF2B5EF4-FFF2-40B4-BE49-F238E27FC236}">
                <a16:creationId xmlns:a16="http://schemas.microsoft.com/office/drawing/2014/main" id="{76B195F9-E1B2-4319-8EFF-EA1763630322}"/>
              </a:ext>
            </a:extLst>
          </p:cNvPr>
          <p:cNvSpPr txBox="1"/>
          <p:nvPr/>
        </p:nvSpPr>
        <p:spPr>
          <a:xfrm>
            <a:off x="3312176" y="1619898"/>
            <a:ext cx="7825516" cy="35394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457200" indent="-457200">
              <a:spcAft>
                <a:spcPts val="1200"/>
              </a:spcAft>
              <a:buFont typeface="+mj-lt"/>
              <a:buAutoNum type="arabicPeriod"/>
            </a:pPr>
            <a:r>
              <a:rPr lang="nl-NL" b="1">
                <a:solidFill>
                  <a:schemeClr val="accent4"/>
                </a:solidFill>
              </a:rPr>
              <a:t>Inzicht in de bevindingen binnen [instelling],</a:t>
            </a:r>
            <a:r>
              <a:rPr lang="nl-NL"/>
              <a:t> zoals de belemmeringen rondom het Goede Gesprek, gedurende Het Potentieel Pakken traject </a:t>
            </a:r>
          </a:p>
          <a:p>
            <a:pPr marL="457200" indent="-457200">
              <a:spcAft>
                <a:spcPts val="1200"/>
              </a:spcAft>
              <a:buFont typeface="+mj-lt"/>
              <a:buAutoNum type="arabicPeriod"/>
            </a:pPr>
            <a:endParaRPr lang="nl-NL"/>
          </a:p>
          <a:p>
            <a:pPr marL="457200" indent="-457200">
              <a:spcAft>
                <a:spcPts val="1200"/>
              </a:spcAft>
              <a:buFont typeface="+mj-lt"/>
              <a:buAutoNum type="arabicPeriod"/>
            </a:pPr>
            <a:r>
              <a:rPr lang="nl-NL" b="1">
                <a:solidFill>
                  <a:schemeClr val="accent4"/>
                </a:solidFill>
              </a:rPr>
              <a:t>Een overzicht geven van wat er binnen [instelling] t.a.v. het Goede Gesprek is gedaan </a:t>
            </a:r>
            <a:r>
              <a:rPr lang="nl-NL"/>
              <a:t>gedurende Het Potentieel Pakken traject</a:t>
            </a:r>
          </a:p>
          <a:p>
            <a:pPr marL="457200" indent="-457200">
              <a:spcAft>
                <a:spcPts val="1200"/>
              </a:spcAft>
              <a:buFont typeface="+mj-lt"/>
              <a:buAutoNum type="arabicPeriod"/>
            </a:pPr>
            <a:endParaRPr lang="nl-NL">
              <a:cs typeface="Arial"/>
            </a:endParaRPr>
          </a:p>
          <a:p>
            <a:pPr marL="457200" indent="-457200">
              <a:spcAft>
                <a:spcPts val="1200"/>
              </a:spcAft>
              <a:buFont typeface="+mj-lt"/>
              <a:buAutoNum type="arabicPeriod"/>
            </a:pPr>
            <a:r>
              <a:rPr lang="nl-NL" b="1">
                <a:solidFill>
                  <a:schemeClr val="accent4"/>
                </a:solidFill>
              </a:rPr>
              <a:t>Aanbevelingen geven waarmee [instelling] op korte en langere termijn aan de slag kan gaan rondom Goed Gesprek</a:t>
            </a:r>
            <a:endParaRPr lang="nl-NL" b="1">
              <a:solidFill>
                <a:schemeClr val="accent4"/>
              </a:solidFill>
              <a:cs typeface="Arial"/>
            </a:endParaRPr>
          </a:p>
        </p:txBody>
      </p:sp>
      <p:pic>
        <p:nvPicPr>
          <p:cNvPr id="6" name="Graphic 5" descr="Roos">
            <a:extLst>
              <a:ext uri="{FF2B5EF4-FFF2-40B4-BE49-F238E27FC236}">
                <a16:creationId xmlns:a16="http://schemas.microsoft.com/office/drawing/2014/main" id="{0E528561-8EAE-4DA5-A1E6-0A7DDE81FA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7486" y="2361907"/>
            <a:ext cx="2415909" cy="2415909"/>
          </a:xfrm>
          <a:prstGeom prst="rect">
            <a:avLst/>
          </a:prstGeom>
        </p:spPr>
      </p:pic>
    </p:spTree>
    <p:extLst>
      <p:ext uri="{BB962C8B-B14F-4D97-AF65-F5344CB8AC3E}">
        <p14:creationId xmlns:p14="http://schemas.microsoft.com/office/powerpoint/2010/main" val="27091470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76CA8F7-28C6-4A94-B312-275ACDECA759}"/>
              </a:ext>
            </a:extLst>
          </p:cNvPr>
          <p:cNvGraphicFramePr>
            <a:graphicFrameLocks noChangeAspect="1"/>
          </p:cNvGraphicFramePr>
          <p:nvPr>
            <p:custDataLst>
              <p:tags r:id="rId3"/>
            </p:custDataLst>
          </p:nvPr>
        </p:nvGraphicFramePr>
        <p:xfrm>
          <a:off x="1678" y="1639"/>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12" imgW="346" imgH="346" progId="TCLayout.ActiveDocument.1">
                  <p:embed/>
                </p:oleObj>
              </mc:Choice>
              <mc:Fallback>
                <p:oleObj name="think-cell Slide" r:id="rId12" imgW="346" imgH="346" progId="TCLayout.ActiveDocument.1">
                  <p:embed/>
                  <p:pic>
                    <p:nvPicPr>
                      <p:cNvPr id="6" name="Object 5" hidden="1">
                        <a:extLst>
                          <a:ext uri="{FF2B5EF4-FFF2-40B4-BE49-F238E27FC236}">
                            <a16:creationId xmlns:a16="http://schemas.microsoft.com/office/drawing/2014/main" id="{F76CA8F7-28C6-4A94-B312-275ACDECA759}"/>
                          </a:ext>
                        </a:extLst>
                      </p:cNvPr>
                      <p:cNvPicPr/>
                      <p:nvPr/>
                    </p:nvPicPr>
                    <p:blipFill>
                      <a:blip r:embed="rId13"/>
                      <a:stretch>
                        <a:fillRect/>
                      </a:stretch>
                    </p:blipFill>
                    <p:spPr>
                      <a:xfrm>
                        <a:off x="1678" y="163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FFE67BB-D64E-4192-9448-C76BBDDB569E}"/>
              </a:ext>
            </a:extLst>
          </p:cNvPr>
          <p:cNvSpPr/>
          <p:nvPr>
            <p:custDataLst>
              <p:tags r:id="rId4"/>
            </p:custDataLst>
          </p:nvPr>
        </p:nvSpPr>
        <p:spPr>
          <a:xfrm>
            <a:off x="91" y="51"/>
            <a:ext cx="158747" cy="158747"/>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Andada" panose="02000000000000000000" pitchFamily="50" charset="0"/>
              <a:ea typeface="ＭＳ Ｐゴシック" panose="020B0600070205080204" pitchFamily="34" charset="-128"/>
              <a:cs typeface="+mn-cs"/>
              <a:sym typeface="Andada" panose="02000000000000000000" pitchFamily="50" charset="0"/>
            </a:endParaRPr>
          </a:p>
        </p:txBody>
      </p:sp>
      <p:sp>
        <p:nvSpPr>
          <p:cNvPr id="21" name="Rectangle 20">
            <a:extLst>
              <a:ext uri="{FF2B5EF4-FFF2-40B4-BE49-F238E27FC236}">
                <a16:creationId xmlns:a16="http://schemas.microsoft.com/office/drawing/2014/main" id="{5C330810-5BA8-4581-9D95-9A200123609F}"/>
              </a:ext>
            </a:extLst>
          </p:cNvPr>
          <p:cNvSpPr/>
          <p:nvPr/>
        </p:nvSpPr>
        <p:spPr>
          <a:xfrm>
            <a:off x="554818" y="523418"/>
            <a:ext cx="11090747" cy="5884958"/>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45719" rIns="91438" bIns="4571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nl-NL" sz="16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24" name="Title 1">
            <a:extLst>
              <a:ext uri="{FF2B5EF4-FFF2-40B4-BE49-F238E27FC236}">
                <a16:creationId xmlns:a16="http://schemas.microsoft.com/office/drawing/2014/main" id="{6356B6A9-8F83-445C-9B61-6FB2E03FD747}"/>
              </a:ext>
            </a:extLst>
          </p:cNvPr>
          <p:cNvSpPr txBox="1">
            <a:spLocks/>
          </p:cNvSpPr>
          <p:nvPr/>
        </p:nvSpPr>
        <p:spPr bwMode="gray">
          <a:xfrm>
            <a:off x="1088211" y="1287948"/>
            <a:ext cx="4005699" cy="387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895350" rtl="0" eaLnBrk="1" fontAlgn="base" hangingPunct="1">
              <a:spcBef>
                <a:spcPct val="0"/>
              </a:spcBef>
              <a:spcAft>
                <a:spcPct val="0"/>
              </a:spcAft>
              <a:tabLst>
                <a:tab pos="444500" algn="l"/>
              </a:tabLst>
              <a:defRPr lang="nl-NL" sz="2800" b="0" baseline="0" noProof="0">
                <a:solidFill>
                  <a:schemeClr val="tx2"/>
                </a:solidFill>
                <a:latin typeface="+mj-lt"/>
                <a:ea typeface="+mj-ea"/>
                <a:cs typeface="+mj-cs"/>
                <a:sym typeface="+mj-lt"/>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444500" algn="l"/>
              </a:tabLst>
              <a:defRPr/>
            </a:pPr>
            <a:r>
              <a:rPr kumimoji="0" lang="nl-NL" sz="2857" b="0" i="0" u="none" strike="noStrike" kern="0" cap="none" spc="0" normalizeH="0" baseline="0" noProof="0">
                <a:ln>
                  <a:noFill/>
                </a:ln>
                <a:solidFill>
                  <a:srgbClr val="003C54"/>
                </a:solidFill>
                <a:effectLst/>
                <a:uLnTx/>
                <a:uFillTx/>
                <a:latin typeface="Andada"/>
                <a:ea typeface="ＭＳ Ｐゴシック"/>
                <a:cs typeface="+mj-cs"/>
                <a:sym typeface="+mj-lt"/>
              </a:rPr>
              <a:t>Inhoud van dit document</a:t>
            </a:r>
          </a:p>
        </p:txBody>
      </p:sp>
      <p:sp>
        <p:nvSpPr>
          <p:cNvPr id="26" name="TrackerNum 6">
            <a:extLst>
              <a:ext uri="{FF2B5EF4-FFF2-40B4-BE49-F238E27FC236}">
                <a16:creationId xmlns:a16="http://schemas.microsoft.com/office/drawing/2014/main" id="{BEF5493F-F23B-4434-AC54-9ECF6459DDCB}"/>
              </a:ext>
            </a:extLst>
          </p:cNvPr>
          <p:cNvSpPr>
            <a:spLocks/>
          </p:cNvSpPr>
          <p:nvPr>
            <p:custDataLst>
              <p:tags r:id="rId5"/>
            </p:custDataLst>
          </p:nvPr>
        </p:nvSpPr>
        <p:spPr>
          <a:xfrm>
            <a:off x="5329084" y="1294531"/>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1</a:t>
            </a:r>
          </a:p>
        </p:txBody>
      </p:sp>
      <p:cxnSp>
        <p:nvCxnSpPr>
          <p:cNvPr id="27" name="Straight Connector 26">
            <a:extLst>
              <a:ext uri="{FF2B5EF4-FFF2-40B4-BE49-F238E27FC236}">
                <a16:creationId xmlns:a16="http://schemas.microsoft.com/office/drawing/2014/main" id="{E875C905-D61A-461F-A7F2-3F5663855E4E}"/>
              </a:ext>
            </a:extLst>
          </p:cNvPr>
          <p:cNvCxnSpPr>
            <a:cxnSpLocks/>
          </p:cNvCxnSpPr>
          <p:nvPr/>
        </p:nvCxnSpPr>
        <p:spPr>
          <a:xfrm flipV="1">
            <a:off x="5907774" y="1219215"/>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55B1E6F-F9E8-46B2-9DF3-5E065571C7CE}"/>
              </a:ext>
            </a:extLst>
          </p:cNvPr>
          <p:cNvSpPr txBox="1">
            <a:spLocks/>
          </p:cNvSpPr>
          <p:nvPr/>
        </p:nvSpPr>
        <p:spPr>
          <a:xfrm>
            <a:off x="6092796" y="1219216"/>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buClr>
                <a:srgbClr val="FFFFFF"/>
              </a:buClr>
              <a:defRPr/>
            </a:pPr>
            <a:r>
              <a:rPr kumimoji="0" lang="nl-NL" b="0" i="0" u="none" strike="noStrike" kern="1200" cap="none" spc="0" normalizeH="0" baseline="0" noProof="0">
                <a:ln>
                  <a:noFill/>
                </a:ln>
                <a:solidFill>
                  <a:schemeClr val="tx1"/>
                </a:solidFill>
                <a:effectLst/>
                <a:uLnTx/>
                <a:uFillTx/>
                <a:latin typeface="Arial"/>
                <a:ea typeface="ＭＳ Ｐゴシック"/>
                <a:cs typeface="+mn-cs"/>
              </a:rPr>
              <a:t>Korte introductie HPP en bevindingen rondom Goed Gesprek</a:t>
            </a:r>
            <a:endParaRPr kumimoji="0" lang="en-US" sz="1837" b="0" i="0" u="none" strike="noStrike" kern="1200" cap="none" spc="0" normalizeH="0" baseline="0" noProof="0">
              <a:ln>
                <a:noFill/>
              </a:ln>
              <a:solidFill>
                <a:schemeClr val="tx1"/>
              </a:solidFill>
              <a:effectLst/>
              <a:uLnTx/>
              <a:uFillTx/>
              <a:latin typeface="Arial"/>
              <a:ea typeface="ＭＳ Ｐゴシック"/>
              <a:cs typeface="+mn-cs"/>
            </a:endParaRPr>
          </a:p>
        </p:txBody>
      </p:sp>
      <p:sp>
        <p:nvSpPr>
          <p:cNvPr id="29" name="TrackerNum 6">
            <a:extLst>
              <a:ext uri="{FF2B5EF4-FFF2-40B4-BE49-F238E27FC236}">
                <a16:creationId xmlns:a16="http://schemas.microsoft.com/office/drawing/2014/main" id="{7A50A923-F3D4-463F-B093-2AE7F87A4C37}"/>
              </a:ext>
            </a:extLst>
          </p:cNvPr>
          <p:cNvSpPr>
            <a:spLocks/>
          </p:cNvSpPr>
          <p:nvPr>
            <p:custDataLst>
              <p:tags r:id="rId6"/>
            </p:custDataLst>
          </p:nvPr>
        </p:nvSpPr>
        <p:spPr>
          <a:xfrm>
            <a:off x="5329084" y="2076688"/>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2</a:t>
            </a:r>
          </a:p>
        </p:txBody>
      </p:sp>
      <p:cxnSp>
        <p:nvCxnSpPr>
          <p:cNvPr id="30" name="Straight Connector 29">
            <a:extLst>
              <a:ext uri="{FF2B5EF4-FFF2-40B4-BE49-F238E27FC236}">
                <a16:creationId xmlns:a16="http://schemas.microsoft.com/office/drawing/2014/main" id="{CC02215F-3F81-40FB-BF77-95F138BA73E5}"/>
              </a:ext>
            </a:extLst>
          </p:cNvPr>
          <p:cNvCxnSpPr>
            <a:cxnSpLocks/>
          </p:cNvCxnSpPr>
          <p:nvPr/>
        </p:nvCxnSpPr>
        <p:spPr>
          <a:xfrm flipV="1">
            <a:off x="5907774" y="2001372"/>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D83E06A2-D1C6-4B34-A6D0-CCF338301330}"/>
              </a:ext>
            </a:extLst>
          </p:cNvPr>
          <p:cNvSpPr txBox="1">
            <a:spLocks/>
          </p:cNvSpPr>
          <p:nvPr/>
        </p:nvSpPr>
        <p:spPr>
          <a:xfrm>
            <a:off x="6092796" y="2777308"/>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buClr>
                <a:srgbClr val="FFFFFF"/>
              </a:buClr>
              <a:defRPr/>
            </a:pPr>
            <a:r>
              <a:rPr kumimoji="0" lang="nl-NL" b="0" i="0" u="none" strike="noStrike" kern="1200" cap="none" spc="0" normalizeH="0" baseline="0" noProof="0" dirty="0">
                <a:ln>
                  <a:noFill/>
                </a:ln>
                <a:solidFill>
                  <a:schemeClr val="tx1"/>
                </a:solidFill>
                <a:effectLst/>
                <a:uLnTx/>
                <a:uFillTx/>
                <a:latin typeface="Arial"/>
                <a:ea typeface="ＭＳ Ｐゴシック"/>
                <a:cs typeface="+mn-cs"/>
              </a:rPr>
              <a:t>Wat is er allemaal al gebeurd</a:t>
            </a:r>
            <a:r>
              <a:rPr lang="nl-NL" b="0" dirty="0">
                <a:solidFill>
                  <a:schemeClr val="tx1"/>
                </a:solidFill>
                <a:latin typeface="Arial"/>
                <a:ea typeface="ＭＳ Ｐゴシック"/>
              </a:rPr>
              <a:t> binnen [instelling] </a:t>
            </a:r>
            <a:r>
              <a:rPr kumimoji="0" lang="nl-NL" b="0" i="0" u="none" strike="noStrike" kern="1200" cap="none" spc="0" normalizeH="0" baseline="0" noProof="0" dirty="0">
                <a:ln>
                  <a:noFill/>
                </a:ln>
                <a:solidFill>
                  <a:schemeClr val="tx1"/>
                </a:solidFill>
                <a:effectLst/>
                <a:uLnTx/>
                <a:uFillTx/>
                <a:latin typeface="Arial"/>
                <a:ea typeface="ＭＳ Ｐゴシック"/>
                <a:cs typeface="+mn-cs"/>
              </a:rPr>
              <a:t>tot nu toe t.a.v. Goed Gesprek?</a:t>
            </a:r>
            <a:endParaRPr kumimoji="0" lang="en-US" b="0" i="0" u="none" strike="noStrike" kern="1200" cap="none" spc="0" normalizeH="0" baseline="0" noProof="0" dirty="0">
              <a:ln>
                <a:noFill/>
              </a:ln>
              <a:solidFill>
                <a:schemeClr val="tx1"/>
              </a:solidFill>
              <a:effectLst/>
              <a:uLnTx/>
              <a:uFillTx/>
              <a:latin typeface="Arial"/>
              <a:ea typeface="ＭＳ Ｐゴシック"/>
              <a:cs typeface="+mn-cs"/>
            </a:endParaRPr>
          </a:p>
        </p:txBody>
      </p:sp>
      <p:sp>
        <p:nvSpPr>
          <p:cNvPr id="32" name="TrackerNum 6">
            <a:extLst>
              <a:ext uri="{FF2B5EF4-FFF2-40B4-BE49-F238E27FC236}">
                <a16:creationId xmlns:a16="http://schemas.microsoft.com/office/drawing/2014/main" id="{D6756352-BC92-485C-8DE3-D792F317E356}"/>
              </a:ext>
            </a:extLst>
          </p:cNvPr>
          <p:cNvSpPr>
            <a:spLocks/>
          </p:cNvSpPr>
          <p:nvPr>
            <p:custDataLst>
              <p:tags r:id="rId7"/>
            </p:custDataLst>
          </p:nvPr>
        </p:nvSpPr>
        <p:spPr>
          <a:xfrm>
            <a:off x="5329084" y="2858844"/>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3</a:t>
            </a:r>
          </a:p>
        </p:txBody>
      </p:sp>
      <p:cxnSp>
        <p:nvCxnSpPr>
          <p:cNvPr id="33" name="Straight Connector 32">
            <a:extLst>
              <a:ext uri="{FF2B5EF4-FFF2-40B4-BE49-F238E27FC236}">
                <a16:creationId xmlns:a16="http://schemas.microsoft.com/office/drawing/2014/main" id="{FE96002B-1692-4FC1-9B1A-CBCD9F3F9055}"/>
              </a:ext>
            </a:extLst>
          </p:cNvPr>
          <p:cNvCxnSpPr>
            <a:cxnSpLocks/>
          </p:cNvCxnSpPr>
          <p:nvPr/>
        </p:nvCxnSpPr>
        <p:spPr>
          <a:xfrm flipV="1">
            <a:off x="5907774" y="2783528"/>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777AE9E8-2F83-422F-9454-7636ECAB66D1}"/>
              </a:ext>
            </a:extLst>
          </p:cNvPr>
          <p:cNvSpPr txBox="1">
            <a:spLocks/>
          </p:cNvSpPr>
          <p:nvPr/>
        </p:nvSpPr>
        <p:spPr>
          <a:xfrm>
            <a:off x="6081779" y="1998262"/>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l" defTabSz="877533" rtl="0" eaLnBrk="1" fontAlgn="auto" latinLnBrk="0" hangingPunct="1">
              <a:lnSpc>
                <a:spcPct val="100000"/>
              </a:lnSpc>
              <a:spcBef>
                <a:spcPts val="0"/>
              </a:spcBef>
              <a:spcAft>
                <a:spcPts val="0"/>
              </a:spcAft>
              <a:buClr>
                <a:srgbClr val="FFFFFF"/>
              </a:buClr>
              <a:buSzTx/>
              <a:buFontTx/>
              <a:buNone/>
              <a:tabLst/>
              <a:defRPr/>
            </a:pPr>
            <a:r>
              <a:rPr kumimoji="0" lang="nl-NL" sz="1837" b="0" i="0" u="none" strike="noStrike" kern="1200" cap="none" spc="0" normalizeH="0" baseline="0" noProof="0">
                <a:ln>
                  <a:noFill/>
                </a:ln>
                <a:solidFill>
                  <a:schemeClr val="tx1"/>
                </a:solidFill>
                <a:effectLst/>
                <a:uLnTx/>
                <a:uFillTx/>
                <a:latin typeface="Arial"/>
                <a:ea typeface="ＭＳ Ｐゴシック"/>
                <a:cs typeface="+mn-cs"/>
              </a:rPr>
              <a:t>Wat verstaan we onder Goed Gesprek?</a:t>
            </a:r>
            <a:endParaRPr kumimoji="0" lang="en-US" sz="1837" b="0" i="0" u="none" strike="noStrike" kern="1200" cap="none" spc="0" normalizeH="0" baseline="0" noProof="0">
              <a:ln>
                <a:noFill/>
              </a:ln>
              <a:solidFill>
                <a:schemeClr val="tx1"/>
              </a:solidFill>
              <a:effectLst/>
              <a:uLnTx/>
              <a:uFillTx/>
              <a:latin typeface="Arial"/>
              <a:ea typeface="ＭＳ Ｐゴシック"/>
              <a:cs typeface="+mn-cs"/>
            </a:endParaRPr>
          </a:p>
        </p:txBody>
      </p:sp>
      <p:sp>
        <p:nvSpPr>
          <p:cNvPr id="35" name="TrackerNum 6">
            <a:extLst>
              <a:ext uri="{FF2B5EF4-FFF2-40B4-BE49-F238E27FC236}">
                <a16:creationId xmlns:a16="http://schemas.microsoft.com/office/drawing/2014/main" id="{4D3512B7-78F8-4ABB-8348-B694CC90A917}"/>
              </a:ext>
            </a:extLst>
          </p:cNvPr>
          <p:cNvSpPr>
            <a:spLocks/>
          </p:cNvSpPr>
          <p:nvPr>
            <p:custDataLst>
              <p:tags r:id="rId8"/>
            </p:custDataLst>
          </p:nvPr>
        </p:nvSpPr>
        <p:spPr>
          <a:xfrm>
            <a:off x="5329084" y="3641001"/>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4</a:t>
            </a:r>
          </a:p>
        </p:txBody>
      </p:sp>
      <p:cxnSp>
        <p:nvCxnSpPr>
          <p:cNvPr id="36" name="Straight Connector 35">
            <a:extLst>
              <a:ext uri="{FF2B5EF4-FFF2-40B4-BE49-F238E27FC236}">
                <a16:creationId xmlns:a16="http://schemas.microsoft.com/office/drawing/2014/main" id="{6F75CF0D-2D29-450B-B328-73B8ADAD2F5F}"/>
              </a:ext>
            </a:extLst>
          </p:cNvPr>
          <p:cNvCxnSpPr>
            <a:cxnSpLocks/>
          </p:cNvCxnSpPr>
          <p:nvPr/>
        </p:nvCxnSpPr>
        <p:spPr>
          <a:xfrm flipV="1">
            <a:off x="5907774" y="3565685"/>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7724533-EC1D-4292-9541-961C61A39BDC}"/>
              </a:ext>
            </a:extLst>
          </p:cNvPr>
          <p:cNvSpPr txBox="1">
            <a:spLocks/>
          </p:cNvSpPr>
          <p:nvPr/>
        </p:nvSpPr>
        <p:spPr>
          <a:xfrm>
            <a:off x="6092796" y="3565686"/>
            <a:ext cx="5544387" cy="636345"/>
          </a:xfrm>
          <a:prstGeom prst="rect">
            <a:avLst/>
          </a:prstGeom>
          <a:solidFill>
            <a:schemeClr val="accent3"/>
          </a:solid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buClr>
                <a:srgbClr val="FFFFFF"/>
              </a:buClr>
              <a:defRPr/>
            </a:pPr>
            <a:endParaRPr lang="nl-NL" sz="1837">
              <a:solidFill>
                <a:schemeClr val="bg1"/>
              </a:solidFill>
            </a:endParaRPr>
          </a:p>
          <a:p>
            <a:pPr>
              <a:buClr>
                <a:srgbClr val="FFFFFF"/>
              </a:buClr>
              <a:defRPr/>
            </a:pPr>
            <a:r>
              <a:rPr lang="nl-NL" sz="1837">
                <a:solidFill>
                  <a:schemeClr val="bg1"/>
                </a:solidFill>
              </a:rPr>
              <a:t>Hoe wil [instelling] een Goed Gesprek inrichten voor de korte en middellange termijn? </a:t>
            </a:r>
          </a:p>
          <a:p>
            <a:pPr marL="0" marR="0" lvl="0" indent="0" algn="l" defTabSz="877533" rtl="0" eaLnBrk="1" fontAlgn="auto" latinLnBrk="0" hangingPunct="1">
              <a:lnSpc>
                <a:spcPct val="100000"/>
              </a:lnSpc>
              <a:spcBef>
                <a:spcPts val="0"/>
              </a:spcBef>
              <a:spcAft>
                <a:spcPts val="0"/>
              </a:spcAft>
              <a:buClr>
                <a:srgbClr val="FFFFFF"/>
              </a:buClr>
              <a:buSzTx/>
              <a:buFontTx/>
              <a:buNone/>
              <a:tabLst/>
              <a:defRPr/>
            </a:pPr>
            <a:endParaRPr kumimoji="0" lang="nl-NL" sz="1837" i="0" u="none" strike="noStrike" kern="1200" cap="none" spc="0" normalizeH="0" baseline="0">
              <a:ln>
                <a:noFill/>
              </a:ln>
              <a:solidFill>
                <a:schemeClr val="bg1"/>
              </a:solidFill>
              <a:effectLst/>
              <a:uLnTx/>
              <a:uFillTx/>
              <a:latin typeface="Arial"/>
              <a:ea typeface="ＭＳ Ｐゴシック"/>
              <a:cs typeface="+mn-cs"/>
            </a:endParaRPr>
          </a:p>
        </p:txBody>
      </p:sp>
      <p:cxnSp>
        <p:nvCxnSpPr>
          <p:cNvPr id="20" name="Straight Connector 19">
            <a:extLst>
              <a:ext uri="{FF2B5EF4-FFF2-40B4-BE49-F238E27FC236}">
                <a16:creationId xmlns:a16="http://schemas.microsoft.com/office/drawing/2014/main" id="{56FFB8A7-3266-0047-B76D-5E3FB112BF59}"/>
              </a:ext>
            </a:extLst>
          </p:cNvPr>
          <p:cNvCxnSpPr>
            <a:cxnSpLocks/>
          </p:cNvCxnSpPr>
          <p:nvPr/>
        </p:nvCxnSpPr>
        <p:spPr>
          <a:xfrm flipV="1">
            <a:off x="5914537" y="4397245"/>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TrackerNum 6">
            <a:extLst>
              <a:ext uri="{FF2B5EF4-FFF2-40B4-BE49-F238E27FC236}">
                <a16:creationId xmlns:a16="http://schemas.microsoft.com/office/drawing/2014/main" id="{23C15AF0-FEE0-854A-9B8D-625E9828682E}"/>
              </a:ext>
            </a:extLst>
          </p:cNvPr>
          <p:cNvSpPr>
            <a:spLocks/>
          </p:cNvSpPr>
          <p:nvPr>
            <p:custDataLst>
              <p:tags r:id="rId9"/>
            </p:custDataLst>
          </p:nvPr>
        </p:nvSpPr>
        <p:spPr>
          <a:xfrm>
            <a:off x="5322326" y="4432001"/>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5</a:t>
            </a:r>
          </a:p>
        </p:txBody>
      </p:sp>
      <p:sp>
        <p:nvSpPr>
          <p:cNvPr id="38" name="TextBox 18">
            <a:extLst>
              <a:ext uri="{FF2B5EF4-FFF2-40B4-BE49-F238E27FC236}">
                <a16:creationId xmlns:a16="http://schemas.microsoft.com/office/drawing/2014/main" id="{68624E64-EBBB-4930-9556-9FDE06D55DCD}"/>
              </a:ext>
            </a:extLst>
          </p:cNvPr>
          <p:cNvSpPr txBox="1">
            <a:spLocks/>
          </p:cNvSpPr>
          <p:nvPr/>
        </p:nvSpPr>
        <p:spPr>
          <a:xfrm>
            <a:off x="6054142" y="4397246"/>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buClr>
                <a:srgbClr val="FFFFFF"/>
              </a:buClr>
              <a:defRPr/>
            </a:pPr>
            <a:r>
              <a:rPr lang="nl-NL" sz="1837" b="0">
                <a:solidFill>
                  <a:schemeClr val="tx1"/>
                </a:solidFill>
              </a:rPr>
              <a:t>Lange termijn aanbevelingen</a:t>
            </a:r>
          </a:p>
        </p:txBody>
      </p:sp>
    </p:spTree>
    <p:custDataLst>
      <p:tags r:id="rId2"/>
    </p:custDataLst>
    <p:extLst>
      <p:ext uri="{BB962C8B-B14F-4D97-AF65-F5344CB8AC3E}">
        <p14:creationId xmlns:p14="http://schemas.microsoft.com/office/powerpoint/2010/main" val="4071737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hoek 12">
            <a:extLst>
              <a:ext uri="{FF2B5EF4-FFF2-40B4-BE49-F238E27FC236}">
                <a16:creationId xmlns:a16="http://schemas.microsoft.com/office/drawing/2014/main" id="{D5AE4B4D-2FC6-8748-8BEF-581D56812CBD}"/>
              </a:ext>
            </a:extLst>
          </p:cNvPr>
          <p:cNvSpPr/>
          <p:nvPr/>
        </p:nvSpPr>
        <p:spPr>
          <a:xfrm>
            <a:off x="3599775" y="4451033"/>
            <a:ext cx="8037488" cy="1075692"/>
          </a:xfrm>
          <a:prstGeom prst="rect">
            <a:avLst/>
          </a:prstGeom>
          <a:solidFill>
            <a:schemeClr val="bg2"/>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solidFill>
                <a:schemeClr val="tx1"/>
              </a:solidFill>
            </a:endParaRPr>
          </a:p>
        </p:txBody>
      </p:sp>
      <p:sp>
        <p:nvSpPr>
          <p:cNvPr id="9" name="Rechthoek 8">
            <a:extLst>
              <a:ext uri="{FF2B5EF4-FFF2-40B4-BE49-F238E27FC236}">
                <a16:creationId xmlns:a16="http://schemas.microsoft.com/office/drawing/2014/main" id="{991C1F18-A492-4548-90D6-4B9F3E052914}"/>
              </a:ext>
            </a:extLst>
          </p:cNvPr>
          <p:cNvSpPr/>
          <p:nvPr/>
        </p:nvSpPr>
        <p:spPr>
          <a:xfrm>
            <a:off x="3593585" y="3018065"/>
            <a:ext cx="8037488" cy="1315092"/>
          </a:xfrm>
          <a:prstGeom prst="rect">
            <a:avLst/>
          </a:prstGeom>
          <a:solidFill>
            <a:schemeClr val="bg2"/>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b="1">
              <a:solidFill>
                <a:schemeClr val="accent4"/>
              </a:solidFill>
            </a:endParaRPr>
          </a:p>
        </p:txBody>
      </p:sp>
      <p:sp>
        <p:nvSpPr>
          <p:cNvPr id="10" name="Rechthoek 9">
            <a:extLst>
              <a:ext uri="{FF2B5EF4-FFF2-40B4-BE49-F238E27FC236}">
                <a16:creationId xmlns:a16="http://schemas.microsoft.com/office/drawing/2014/main" id="{A2625166-EC3C-47DD-9CF0-C46A9D098230}"/>
              </a:ext>
            </a:extLst>
          </p:cNvPr>
          <p:cNvSpPr/>
          <p:nvPr/>
        </p:nvSpPr>
        <p:spPr>
          <a:xfrm>
            <a:off x="3593585" y="1824497"/>
            <a:ext cx="8043679" cy="1075692"/>
          </a:xfrm>
          <a:prstGeom prst="rect">
            <a:avLst/>
          </a:prstGeom>
          <a:solidFill>
            <a:schemeClr val="bg2"/>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b="1">
              <a:solidFill>
                <a:schemeClr val="accent4"/>
              </a:solidFill>
            </a:endParaRPr>
          </a:p>
        </p:txBody>
      </p:sp>
      <p:sp>
        <p:nvSpPr>
          <p:cNvPr id="2" name="Titel 1">
            <a:extLst>
              <a:ext uri="{FF2B5EF4-FFF2-40B4-BE49-F238E27FC236}">
                <a16:creationId xmlns:a16="http://schemas.microsoft.com/office/drawing/2014/main" id="{5CEF799D-8093-4A32-BAA3-D549E04BD520}"/>
              </a:ext>
            </a:extLst>
          </p:cNvPr>
          <p:cNvSpPr>
            <a:spLocks noGrp="1"/>
          </p:cNvSpPr>
          <p:nvPr>
            <p:ph type="title"/>
          </p:nvPr>
        </p:nvSpPr>
        <p:spPr>
          <a:xfrm>
            <a:off x="554735" y="684387"/>
            <a:ext cx="11082528" cy="439639"/>
          </a:xfrm>
        </p:spPr>
        <p:txBody>
          <a:bodyPr/>
          <a:lstStyle/>
          <a:p>
            <a:r>
              <a:rPr lang="nl-NL">
                <a:latin typeface="+mj-lt"/>
              </a:rPr>
              <a:t>Uitgangspunten ten aanzien van een Goed Gesprek voor de korte en middellange termijn</a:t>
            </a:r>
          </a:p>
        </p:txBody>
      </p:sp>
      <p:sp>
        <p:nvSpPr>
          <p:cNvPr id="4" name="Tekstvak 3">
            <a:extLst>
              <a:ext uri="{FF2B5EF4-FFF2-40B4-BE49-F238E27FC236}">
                <a16:creationId xmlns:a16="http://schemas.microsoft.com/office/drawing/2014/main" id="{A09FFF93-0866-4202-94FB-FB901A1C1DD5}"/>
              </a:ext>
            </a:extLst>
          </p:cNvPr>
          <p:cNvSpPr txBox="1"/>
          <p:nvPr/>
        </p:nvSpPr>
        <p:spPr>
          <a:xfrm>
            <a:off x="3900761" y="2085344"/>
            <a:ext cx="7423135" cy="553998"/>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algn="ctr"/>
            <a:r>
              <a:rPr lang="nl-NL" sz="1800" b="1">
                <a:solidFill>
                  <a:schemeClr val="accent4"/>
                </a:solidFill>
                <a:effectLst/>
                <a:ea typeface="Calibri" panose="020F0502020204030204" pitchFamily="34" charset="0"/>
              </a:rPr>
              <a:t>Een open, breed gesprek over alle factoren die van invloed zijn op de werkbeleving van de medewerker</a:t>
            </a:r>
            <a:endParaRPr lang="nl-NL" sz="1800" b="1">
              <a:solidFill>
                <a:schemeClr val="accent4"/>
              </a:solidFill>
            </a:endParaRPr>
          </a:p>
        </p:txBody>
      </p:sp>
      <p:sp>
        <p:nvSpPr>
          <p:cNvPr id="6" name="Tekstvak 5">
            <a:extLst>
              <a:ext uri="{FF2B5EF4-FFF2-40B4-BE49-F238E27FC236}">
                <a16:creationId xmlns:a16="http://schemas.microsoft.com/office/drawing/2014/main" id="{F0684AC6-35F2-42D5-9922-A69873E325C2}"/>
              </a:ext>
            </a:extLst>
          </p:cNvPr>
          <p:cNvSpPr txBox="1"/>
          <p:nvPr/>
        </p:nvSpPr>
        <p:spPr>
          <a:xfrm>
            <a:off x="3711443" y="3217085"/>
            <a:ext cx="7684158" cy="83099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defPPr>
              <a:defRPr lang="en-US"/>
            </a:defPPr>
            <a:lvl1pPr algn="ctr">
              <a:defRPr sz="2000">
                <a:effectLst/>
                <a:latin typeface="Calibri" panose="020F0502020204030204" pitchFamily="34" charset="0"/>
                <a:ea typeface="Calibri" panose="020F0502020204030204" pitchFamily="34" charset="0"/>
              </a:defRPr>
            </a:lvl1pPr>
          </a:lstStyle>
          <a:p>
            <a:r>
              <a:rPr lang="nl-NL" sz="1800" b="1">
                <a:solidFill>
                  <a:schemeClr val="accent4"/>
                </a:solidFill>
                <a:latin typeface="+mn-lt"/>
              </a:rPr>
              <a:t>Om van daaruit opties aan te dragen die de werkbeleving positief beïnvloeden, passend bij de competenties, ontwikkelwens en het leven van de werknemer op dat moment</a:t>
            </a:r>
          </a:p>
        </p:txBody>
      </p:sp>
      <p:sp>
        <p:nvSpPr>
          <p:cNvPr id="8" name="Tekstvak 7">
            <a:extLst>
              <a:ext uri="{FF2B5EF4-FFF2-40B4-BE49-F238E27FC236}">
                <a16:creationId xmlns:a16="http://schemas.microsoft.com/office/drawing/2014/main" id="{27940392-F992-4F69-82A0-8A9C6963A359}"/>
              </a:ext>
            </a:extLst>
          </p:cNvPr>
          <p:cNvSpPr txBox="1"/>
          <p:nvPr/>
        </p:nvSpPr>
        <p:spPr>
          <a:xfrm>
            <a:off x="3593585" y="4711880"/>
            <a:ext cx="7789117" cy="553998"/>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defPPr>
              <a:defRPr lang="en-US"/>
            </a:defPPr>
            <a:lvl1pPr algn="ctr">
              <a:defRPr sz="2000">
                <a:effectLst/>
                <a:latin typeface="Calibri" panose="020F0502020204030204" pitchFamily="34" charset="0"/>
                <a:ea typeface="Calibri" panose="020F0502020204030204" pitchFamily="34" charset="0"/>
              </a:defRPr>
            </a:lvl1pPr>
          </a:lstStyle>
          <a:p>
            <a:r>
              <a:rPr lang="nl-NL" sz="1800" b="1">
                <a:solidFill>
                  <a:schemeClr val="accent4"/>
                </a:solidFill>
                <a:latin typeface="+mn-lt"/>
              </a:rPr>
              <a:t>Waarbij een realisatie van een groter contract de wens is, maar een ‘passend’ contract (bij levensfase e.d.) ook belangrijk is</a:t>
            </a:r>
          </a:p>
        </p:txBody>
      </p:sp>
      <p:pic>
        <p:nvPicPr>
          <p:cNvPr id="12" name="Picture 2" descr="Waarom is werkplezier belangrijk? - Retentiemanagement">
            <a:extLst>
              <a:ext uri="{FF2B5EF4-FFF2-40B4-BE49-F238E27FC236}">
                <a16:creationId xmlns:a16="http://schemas.microsoft.com/office/drawing/2014/main" id="{E2FD58CB-8133-460F-8BC5-7E6A8329230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3705" y="2444969"/>
            <a:ext cx="2676791" cy="2663407"/>
          </a:xfrm>
          <a:prstGeom prst="rect">
            <a:avLst/>
          </a:prstGeom>
          <a:noFill/>
          <a:extLst>
            <a:ext uri="{909E8E84-426E-40DD-AFC4-6F175D3DCCD1}">
              <a14:hiddenFill xmlns:a14="http://schemas.microsoft.com/office/drawing/2010/main">
                <a:solidFill>
                  <a:srgbClr val="FFFFFF"/>
                </a:solidFill>
              </a14:hiddenFill>
            </a:ext>
          </a:extLst>
        </p:spPr>
      </p:pic>
      <p:sp>
        <p:nvSpPr>
          <p:cNvPr id="14" name="Rechthoek 13">
            <a:extLst>
              <a:ext uri="{FF2B5EF4-FFF2-40B4-BE49-F238E27FC236}">
                <a16:creationId xmlns:a16="http://schemas.microsoft.com/office/drawing/2014/main" id="{F3B8E7B8-5697-4A7C-A19F-6F067DC70361}"/>
              </a:ext>
            </a:extLst>
          </p:cNvPr>
          <p:cNvSpPr/>
          <p:nvPr/>
        </p:nvSpPr>
        <p:spPr>
          <a:xfrm>
            <a:off x="-1648854" y="119497"/>
            <a:ext cx="1903751" cy="2728633"/>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b="1" err="1">
                <a:solidFill>
                  <a:schemeClr val="tx1"/>
                </a:solidFill>
              </a:rPr>
              <a:t>To</a:t>
            </a:r>
            <a:r>
              <a:rPr lang="nl-NL" sz="1600" b="1">
                <a:solidFill>
                  <a:schemeClr val="tx1"/>
                </a:solidFill>
              </a:rPr>
              <a:t> do om deze slide instelling specifiek te maken:</a:t>
            </a:r>
          </a:p>
          <a:p>
            <a:pPr algn="ctr"/>
            <a:endParaRPr lang="nl-NL" sz="1600">
              <a:solidFill>
                <a:schemeClr val="tx1"/>
              </a:solidFill>
            </a:endParaRPr>
          </a:p>
          <a:p>
            <a:pPr algn="ctr"/>
            <a:r>
              <a:rPr lang="nl-NL" sz="1600">
                <a:solidFill>
                  <a:schemeClr val="tx1"/>
                </a:solidFill>
              </a:rPr>
              <a:t>- Vervangen voor de instelling specifieke visie t.a.v. Goed Gesprek</a:t>
            </a:r>
          </a:p>
        </p:txBody>
      </p:sp>
    </p:spTree>
    <p:extLst>
      <p:ext uri="{BB962C8B-B14F-4D97-AF65-F5344CB8AC3E}">
        <p14:creationId xmlns:p14="http://schemas.microsoft.com/office/powerpoint/2010/main" val="6422063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hthoek 29">
            <a:extLst>
              <a:ext uri="{FF2B5EF4-FFF2-40B4-BE49-F238E27FC236}">
                <a16:creationId xmlns:a16="http://schemas.microsoft.com/office/drawing/2014/main" id="{14BE329F-E7C7-4B06-BD78-DDA98047402B}"/>
              </a:ext>
            </a:extLst>
          </p:cNvPr>
          <p:cNvSpPr/>
          <p:nvPr/>
        </p:nvSpPr>
        <p:spPr>
          <a:xfrm>
            <a:off x="3544989" y="4790758"/>
            <a:ext cx="7931849" cy="696289"/>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nl-NL" sz="1400">
                <a:solidFill>
                  <a:schemeClr val="accent4"/>
                </a:solidFill>
              </a:rPr>
              <a:t>Contractuitbreiding, werkplezier, werk-privé balans, ontwikkelbehoefte, opleiding, vitaliteit etc.</a:t>
            </a:r>
          </a:p>
        </p:txBody>
      </p:sp>
      <p:sp>
        <p:nvSpPr>
          <p:cNvPr id="2" name="Rechthoek 1">
            <a:extLst>
              <a:ext uri="{FF2B5EF4-FFF2-40B4-BE49-F238E27FC236}">
                <a16:creationId xmlns:a16="http://schemas.microsoft.com/office/drawing/2014/main" id="{940B4A15-CF13-43BD-A370-4C4F57E23171}"/>
              </a:ext>
            </a:extLst>
          </p:cNvPr>
          <p:cNvSpPr/>
          <p:nvPr/>
        </p:nvSpPr>
        <p:spPr>
          <a:xfrm>
            <a:off x="3582205" y="1483813"/>
            <a:ext cx="7873030" cy="1008939"/>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chemeClr val="tx1"/>
              </a:solidFill>
            </a:endParaRPr>
          </a:p>
        </p:txBody>
      </p:sp>
      <p:sp>
        <p:nvSpPr>
          <p:cNvPr id="6" name="Rechthoek 5">
            <a:extLst>
              <a:ext uri="{FF2B5EF4-FFF2-40B4-BE49-F238E27FC236}">
                <a16:creationId xmlns:a16="http://schemas.microsoft.com/office/drawing/2014/main" id="{E933570A-FCF1-41DF-8B56-07A634FF5D7E}"/>
              </a:ext>
            </a:extLst>
          </p:cNvPr>
          <p:cNvSpPr/>
          <p:nvPr/>
        </p:nvSpPr>
        <p:spPr>
          <a:xfrm>
            <a:off x="1311432" y="1501308"/>
            <a:ext cx="2030024" cy="9739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14400"/>
            <a:r>
              <a:rPr lang="nl-NL" sz="1400" b="1">
                <a:solidFill>
                  <a:srgbClr val="000000"/>
                </a:solidFill>
                <a:latin typeface="Arial"/>
                <a:ea typeface="ＭＳ Ｐゴシック"/>
              </a:rPr>
              <a:t>Wie is de doelgroep?</a:t>
            </a:r>
          </a:p>
        </p:txBody>
      </p:sp>
      <p:sp>
        <p:nvSpPr>
          <p:cNvPr id="7" name="Rechthoek 6">
            <a:extLst>
              <a:ext uri="{FF2B5EF4-FFF2-40B4-BE49-F238E27FC236}">
                <a16:creationId xmlns:a16="http://schemas.microsoft.com/office/drawing/2014/main" id="{73DD4EFD-C9A7-43C2-A674-30A8C809A2B7}"/>
              </a:ext>
            </a:extLst>
          </p:cNvPr>
          <p:cNvSpPr/>
          <p:nvPr/>
        </p:nvSpPr>
        <p:spPr>
          <a:xfrm>
            <a:off x="1311433" y="2571321"/>
            <a:ext cx="2294428" cy="9739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14400"/>
            <a:r>
              <a:rPr lang="nl-NL" sz="1400" b="1">
                <a:solidFill>
                  <a:srgbClr val="000000"/>
                </a:solidFill>
                <a:latin typeface="Arial"/>
                <a:ea typeface="ＭＳ Ｐゴシック"/>
              </a:rPr>
              <a:t>Wie voert het gesprek?</a:t>
            </a:r>
          </a:p>
        </p:txBody>
      </p:sp>
      <p:sp>
        <p:nvSpPr>
          <p:cNvPr id="8" name="Rechthoek 7">
            <a:extLst>
              <a:ext uri="{FF2B5EF4-FFF2-40B4-BE49-F238E27FC236}">
                <a16:creationId xmlns:a16="http://schemas.microsoft.com/office/drawing/2014/main" id="{195D49E5-EE78-4DE3-AD1F-8B421AFCA72E}"/>
              </a:ext>
            </a:extLst>
          </p:cNvPr>
          <p:cNvSpPr/>
          <p:nvPr/>
        </p:nvSpPr>
        <p:spPr>
          <a:xfrm>
            <a:off x="1333555" y="3667858"/>
            <a:ext cx="2230970" cy="95180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14400"/>
            <a:r>
              <a:rPr lang="nl-NL" sz="1400" b="1">
                <a:solidFill>
                  <a:srgbClr val="000000"/>
                </a:solidFill>
                <a:latin typeface="Arial"/>
                <a:ea typeface="ＭＳ Ｐゴシック"/>
              </a:rPr>
              <a:t>Wanneer zouden goede gesprekken plaats moeten vinden?</a:t>
            </a:r>
          </a:p>
        </p:txBody>
      </p:sp>
      <p:sp>
        <p:nvSpPr>
          <p:cNvPr id="9" name="Rechthoek 8">
            <a:extLst>
              <a:ext uri="{FF2B5EF4-FFF2-40B4-BE49-F238E27FC236}">
                <a16:creationId xmlns:a16="http://schemas.microsoft.com/office/drawing/2014/main" id="{5AE9A7D9-A341-43E7-85E0-6E8E26377B7C}"/>
              </a:ext>
            </a:extLst>
          </p:cNvPr>
          <p:cNvSpPr/>
          <p:nvPr/>
        </p:nvSpPr>
        <p:spPr>
          <a:xfrm>
            <a:off x="1333554" y="4639146"/>
            <a:ext cx="2230971" cy="9739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14400"/>
            <a:r>
              <a:rPr lang="nl-NL" sz="1400" b="1">
                <a:solidFill>
                  <a:srgbClr val="000000"/>
                </a:solidFill>
                <a:latin typeface="Arial"/>
                <a:ea typeface="ＭＳ Ｐゴシック"/>
              </a:rPr>
              <a:t>Welke onderwerpen worden er besproken?</a:t>
            </a:r>
          </a:p>
        </p:txBody>
      </p:sp>
      <p:sp>
        <p:nvSpPr>
          <p:cNvPr id="10" name="Rechthoek 9">
            <a:extLst>
              <a:ext uri="{FF2B5EF4-FFF2-40B4-BE49-F238E27FC236}">
                <a16:creationId xmlns:a16="http://schemas.microsoft.com/office/drawing/2014/main" id="{40A8735F-44CF-47AD-8BA6-756C051AD2F7}"/>
              </a:ext>
            </a:extLst>
          </p:cNvPr>
          <p:cNvSpPr/>
          <p:nvPr/>
        </p:nvSpPr>
        <p:spPr>
          <a:xfrm>
            <a:off x="3582205" y="1493263"/>
            <a:ext cx="8677689" cy="9739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171450" indent="-171450">
              <a:buFont typeface="Arial" panose="020B0604020202020204" pitchFamily="34" charset="0"/>
              <a:buChar char="•"/>
            </a:pPr>
            <a:r>
              <a:rPr lang="nl-NL" sz="1400">
                <a:solidFill>
                  <a:schemeClr val="accent4"/>
                </a:solidFill>
              </a:rPr>
              <a:t>Gesprek is open voor iedereen</a:t>
            </a:r>
          </a:p>
          <a:p>
            <a:pPr marL="171450" indent="-171450">
              <a:buFont typeface="Arial" panose="020B0604020202020204" pitchFamily="34" charset="0"/>
              <a:buChar char="•"/>
            </a:pPr>
            <a:r>
              <a:rPr lang="nl-NL" sz="1400">
                <a:solidFill>
                  <a:schemeClr val="accent4"/>
                </a:solidFill>
              </a:rPr>
              <a:t>Groepen gebaseerd op thema’s (per leeftijdscategorie en levensfase)</a:t>
            </a:r>
          </a:p>
          <a:p>
            <a:pPr marL="171450" indent="-171450">
              <a:buFont typeface="Arial" panose="020B0604020202020204" pitchFamily="34" charset="0"/>
              <a:buChar char="•"/>
            </a:pPr>
            <a:r>
              <a:rPr lang="nl-NL" sz="1400">
                <a:solidFill>
                  <a:schemeClr val="accent4"/>
                </a:solidFill>
              </a:rPr>
              <a:t>Teams die aan de transitie beginnen (de wasstraat)</a:t>
            </a:r>
          </a:p>
          <a:p>
            <a:pPr marL="171450" indent="-171450">
              <a:buFont typeface="Arial" panose="020B0604020202020204" pitchFamily="34" charset="0"/>
              <a:buChar char="•"/>
            </a:pPr>
            <a:r>
              <a:rPr lang="nl-NL" sz="1400">
                <a:solidFill>
                  <a:schemeClr val="accent4"/>
                </a:solidFill>
              </a:rPr>
              <a:t>Nieuwe medewerkers</a:t>
            </a:r>
          </a:p>
        </p:txBody>
      </p:sp>
      <p:grpSp>
        <p:nvGrpSpPr>
          <p:cNvPr id="5" name="Groep 4">
            <a:extLst>
              <a:ext uri="{FF2B5EF4-FFF2-40B4-BE49-F238E27FC236}">
                <a16:creationId xmlns:a16="http://schemas.microsoft.com/office/drawing/2014/main" id="{6AA8C50E-FE15-7A49-A2BF-01190A101256}"/>
              </a:ext>
            </a:extLst>
          </p:cNvPr>
          <p:cNvGrpSpPr/>
          <p:nvPr/>
        </p:nvGrpSpPr>
        <p:grpSpPr>
          <a:xfrm>
            <a:off x="3564525" y="2599981"/>
            <a:ext cx="7910459" cy="925132"/>
            <a:chOff x="3630815" y="2355160"/>
            <a:chExt cx="7910459" cy="925132"/>
          </a:xfrm>
        </p:grpSpPr>
        <p:sp>
          <p:nvSpPr>
            <p:cNvPr id="24" name="Rechthoek 23">
              <a:extLst>
                <a:ext uri="{FF2B5EF4-FFF2-40B4-BE49-F238E27FC236}">
                  <a16:creationId xmlns:a16="http://schemas.microsoft.com/office/drawing/2014/main" id="{DA70339B-9BE1-413C-85C6-CF6472677DC1}"/>
                </a:ext>
              </a:extLst>
            </p:cNvPr>
            <p:cNvSpPr/>
            <p:nvPr/>
          </p:nvSpPr>
          <p:spPr>
            <a:xfrm>
              <a:off x="3648495" y="2355160"/>
              <a:ext cx="7892779" cy="925132"/>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chemeClr val="tx1"/>
                </a:solidFill>
              </a:endParaRPr>
            </a:p>
          </p:txBody>
        </p:sp>
        <p:sp>
          <p:nvSpPr>
            <p:cNvPr id="11" name="Rechthoek 10">
              <a:extLst>
                <a:ext uri="{FF2B5EF4-FFF2-40B4-BE49-F238E27FC236}">
                  <a16:creationId xmlns:a16="http://schemas.microsoft.com/office/drawing/2014/main" id="{8C16FFE5-5016-486E-B66E-419256190E76}"/>
                </a:ext>
              </a:extLst>
            </p:cNvPr>
            <p:cNvSpPr/>
            <p:nvPr/>
          </p:nvSpPr>
          <p:spPr>
            <a:xfrm>
              <a:off x="3630815" y="2411695"/>
              <a:ext cx="7718629" cy="7943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171450" indent="-171450">
                <a:buFont typeface="Arial" panose="020B0604020202020204" pitchFamily="34" charset="0"/>
                <a:buChar char="•"/>
              </a:pPr>
              <a:r>
                <a:rPr lang="nl-NL" sz="1400">
                  <a:solidFill>
                    <a:schemeClr val="accent4"/>
                  </a:solidFill>
                </a:rPr>
                <a:t>Nieuwe HR medewerker leidt groepsvoorlichting en voert 1-op-1 gesprekken</a:t>
              </a:r>
            </a:p>
            <a:p>
              <a:pPr marL="171450" indent="-171450">
                <a:buFont typeface="Arial" panose="020B0604020202020204" pitchFamily="34" charset="0"/>
                <a:buChar char="•"/>
              </a:pPr>
              <a:r>
                <a:rPr lang="nl-NL" sz="1400">
                  <a:solidFill>
                    <a:schemeClr val="accent4"/>
                  </a:solidFill>
                </a:rPr>
                <a:t>Teamcoach is in de lead bij wasstraat</a:t>
              </a:r>
            </a:p>
            <a:p>
              <a:pPr marL="171450" indent="-171450">
                <a:buFont typeface="Arial" panose="020B0604020202020204" pitchFamily="34" charset="0"/>
                <a:buChar char="•"/>
              </a:pPr>
              <a:r>
                <a:rPr lang="nl-NL" sz="1400">
                  <a:solidFill>
                    <a:schemeClr val="accent4"/>
                  </a:solidFill>
                </a:rPr>
                <a:t>Teamrolhouder HR bij nieuwe medewerkers</a:t>
              </a:r>
            </a:p>
          </p:txBody>
        </p:sp>
      </p:grpSp>
      <p:grpSp>
        <p:nvGrpSpPr>
          <p:cNvPr id="4" name="Groep 3">
            <a:extLst>
              <a:ext uri="{FF2B5EF4-FFF2-40B4-BE49-F238E27FC236}">
                <a16:creationId xmlns:a16="http://schemas.microsoft.com/office/drawing/2014/main" id="{075AFB98-03EC-144A-9F44-E2CDE494F357}"/>
              </a:ext>
            </a:extLst>
          </p:cNvPr>
          <p:cNvGrpSpPr/>
          <p:nvPr/>
        </p:nvGrpSpPr>
        <p:grpSpPr>
          <a:xfrm>
            <a:off x="3564525" y="3626704"/>
            <a:ext cx="7892779" cy="1079119"/>
            <a:chOff x="3606960" y="3352281"/>
            <a:chExt cx="7892779" cy="1079119"/>
          </a:xfrm>
        </p:grpSpPr>
        <p:sp>
          <p:nvSpPr>
            <p:cNvPr id="28" name="Rechthoek 27">
              <a:extLst>
                <a:ext uri="{FF2B5EF4-FFF2-40B4-BE49-F238E27FC236}">
                  <a16:creationId xmlns:a16="http://schemas.microsoft.com/office/drawing/2014/main" id="{5D7184DF-B324-4B80-9A7E-01F64A80048A}"/>
                </a:ext>
              </a:extLst>
            </p:cNvPr>
            <p:cNvSpPr/>
            <p:nvPr/>
          </p:nvSpPr>
          <p:spPr>
            <a:xfrm>
              <a:off x="3606960" y="3352281"/>
              <a:ext cx="7892779" cy="1079119"/>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chemeClr val="tx1"/>
                </a:solidFill>
              </a:endParaRPr>
            </a:p>
          </p:txBody>
        </p:sp>
        <p:sp>
          <p:nvSpPr>
            <p:cNvPr id="12" name="Rechthoek 11">
              <a:extLst>
                <a:ext uri="{FF2B5EF4-FFF2-40B4-BE49-F238E27FC236}">
                  <a16:creationId xmlns:a16="http://schemas.microsoft.com/office/drawing/2014/main" id="{39C44298-B7B7-4CBB-8533-76101B05CF48}"/>
                </a:ext>
              </a:extLst>
            </p:cNvPr>
            <p:cNvSpPr/>
            <p:nvPr/>
          </p:nvSpPr>
          <p:spPr>
            <a:xfrm>
              <a:off x="3665779" y="3430005"/>
              <a:ext cx="7215466" cy="9739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171450" indent="-171450">
                <a:buFont typeface="Arial" panose="020B0604020202020204" pitchFamily="34" charset="0"/>
                <a:buChar char="•"/>
              </a:pPr>
              <a:r>
                <a:rPr lang="nl-NL" sz="1400">
                  <a:solidFill>
                    <a:schemeClr val="accent4"/>
                  </a:solidFill>
                </a:rPr>
                <a:t>Wanneer medewerker behoefte heeft aan 1-op-1gesprek</a:t>
              </a:r>
            </a:p>
            <a:p>
              <a:pPr marL="171450" indent="-171450">
                <a:buFont typeface="Arial" panose="020B0604020202020204" pitchFamily="34" charset="0"/>
                <a:buChar char="•"/>
              </a:pPr>
              <a:r>
                <a:rPr lang="nl-NL" sz="1400">
                  <a:solidFill>
                    <a:schemeClr val="accent4"/>
                  </a:solidFill>
                </a:rPr>
                <a:t>Meerdere keren per jaar vinden er groepsvoorlichtingen plaats</a:t>
              </a:r>
            </a:p>
            <a:p>
              <a:pPr marL="171450" indent="-171450">
                <a:buFont typeface="Arial" panose="020B0604020202020204" pitchFamily="34" charset="0"/>
                <a:buChar char="•"/>
              </a:pPr>
              <a:r>
                <a:rPr lang="nl-NL" sz="1400">
                  <a:solidFill>
                    <a:schemeClr val="accent4"/>
                  </a:solidFill>
                </a:rPr>
                <a:t>Nieuwe medewerkers krijgen na 4-6maanden een gesprek over HPP denken</a:t>
              </a:r>
            </a:p>
            <a:p>
              <a:pPr marL="171450" indent="-171450">
                <a:buFont typeface="Arial" panose="020B0604020202020204" pitchFamily="34" charset="0"/>
                <a:buChar char="•"/>
              </a:pPr>
              <a:r>
                <a:rPr lang="nl-NL" sz="1400">
                  <a:solidFill>
                    <a:schemeClr val="accent4"/>
                  </a:solidFill>
                </a:rPr>
                <a:t>Wasstraat vindt plaats gedurende implementatie van HPP</a:t>
              </a:r>
            </a:p>
          </p:txBody>
        </p:sp>
      </p:grpSp>
      <p:grpSp>
        <p:nvGrpSpPr>
          <p:cNvPr id="15" name="Groep 14">
            <a:extLst>
              <a:ext uri="{FF2B5EF4-FFF2-40B4-BE49-F238E27FC236}">
                <a16:creationId xmlns:a16="http://schemas.microsoft.com/office/drawing/2014/main" id="{21A35800-68AF-184B-AE0C-36CCF62A791B}"/>
              </a:ext>
            </a:extLst>
          </p:cNvPr>
          <p:cNvGrpSpPr/>
          <p:nvPr/>
        </p:nvGrpSpPr>
        <p:grpSpPr>
          <a:xfrm>
            <a:off x="3532634" y="5588278"/>
            <a:ext cx="7931849" cy="707441"/>
            <a:chOff x="3540105" y="5629222"/>
            <a:chExt cx="7931849" cy="707441"/>
          </a:xfrm>
        </p:grpSpPr>
        <p:sp>
          <p:nvSpPr>
            <p:cNvPr id="36" name="Rechthoek 35">
              <a:extLst>
                <a:ext uri="{FF2B5EF4-FFF2-40B4-BE49-F238E27FC236}">
                  <a16:creationId xmlns:a16="http://schemas.microsoft.com/office/drawing/2014/main" id="{2550372C-7A87-4CBD-88B5-18F589C8BE48}"/>
                </a:ext>
              </a:extLst>
            </p:cNvPr>
            <p:cNvSpPr/>
            <p:nvPr/>
          </p:nvSpPr>
          <p:spPr>
            <a:xfrm>
              <a:off x="3540105" y="5629222"/>
              <a:ext cx="7931849" cy="707441"/>
            </a:xfrm>
            <a:prstGeom prst="rect">
              <a:avLst/>
            </a:prstGeom>
            <a:solidFill>
              <a:schemeClr val="accent2">
                <a:lumMod val="20000"/>
                <a:lumOff val="80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chemeClr val="tx1"/>
                </a:solidFill>
              </a:endParaRPr>
            </a:p>
          </p:txBody>
        </p:sp>
        <p:sp>
          <p:nvSpPr>
            <p:cNvPr id="48" name="Rechthoek 47">
              <a:extLst>
                <a:ext uri="{FF2B5EF4-FFF2-40B4-BE49-F238E27FC236}">
                  <a16:creationId xmlns:a16="http://schemas.microsoft.com/office/drawing/2014/main" id="{EEF4F3FD-5878-430C-9538-8DA94A5AC74D}"/>
                </a:ext>
              </a:extLst>
            </p:cNvPr>
            <p:cNvSpPr/>
            <p:nvPr/>
          </p:nvSpPr>
          <p:spPr>
            <a:xfrm>
              <a:off x="3570976" y="5732626"/>
              <a:ext cx="7760165" cy="5031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285750" indent="-285750">
                <a:buFont typeface="Arial" panose="020B0604020202020204" pitchFamily="34" charset="0"/>
                <a:buChar char="•"/>
              </a:pPr>
              <a:r>
                <a:rPr lang="nl-NL" sz="1400">
                  <a:solidFill>
                    <a:schemeClr val="accent4"/>
                  </a:solidFill>
                </a:rPr>
                <a:t>Groepsdialoog (per thema en per team) </a:t>
              </a:r>
            </a:p>
            <a:p>
              <a:pPr marL="285750" indent="-285750">
                <a:buFont typeface="Arial" panose="020B0604020202020204" pitchFamily="34" charset="0"/>
                <a:buChar char="•"/>
              </a:pPr>
              <a:r>
                <a:rPr lang="nl-NL" sz="1400">
                  <a:solidFill>
                    <a:schemeClr val="accent4"/>
                  </a:solidFill>
                </a:rPr>
                <a:t>1 op 1 sessie</a:t>
              </a:r>
            </a:p>
          </p:txBody>
        </p:sp>
      </p:grpSp>
      <p:pic>
        <p:nvPicPr>
          <p:cNvPr id="25" name="Graphic 24" descr="Doelgroep">
            <a:extLst>
              <a:ext uri="{FF2B5EF4-FFF2-40B4-BE49-F238E27FC236}">
                <a16:creationId xmlns:a16="http://schemas.microsoft.com/office/drawing/2014/main" id="{BE9BB9FA-8148-4E11-9421-35B23684663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0074" y="1620237"/>
            <a:ext cx="720000" cy="720000"/>
          </a:xfrm>
          <a:prstGeom prst="rect">
            <a:avLst/>
          </a:prstGeom>
        </p:spPr>
      </p:pic>
      <p:pic>
        <p:nvPicPr>
          <p:cNvPr id="26" name="Graphic 25" descr="Callcenter">
            <a:extLst>
              <a:ext uri="{FF2B5EF4-FFF2-40B4-BE49-F238E27FC236}">
                <a16:creationId xmlns:a16="http://schemas.microsoft.com/office/drawing/2014/main" id="{EF4B07CB-1DB3-451E-803B-7ACA5664F9E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1432" y="2709950"/>
            <a:ext cx="720000" cy="720000"/>
          </a:xfrm>
          <a:prstGeom prst="rect">
            <a:avLst/>
          </a:prstGeom>
        </p:spPr>
      </p:pic>
      <p:pic>
        <p:nvPicPr>
          <p:cNvPr id="27" name="Graphic 26" descr="Agenda">
            <a:extLst>
              <a:ext uri="{FF2B5EF4-FFF2-40B4-BE49-F238E27FC236}">
                <a16:creationId xmlns:a16="http://schemas.microsoft.com/office/drawing/2014/main" id="{D1D72641-F55C-4B16-B769-771863C51A2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07380" y="3781220"/>
            <a:ext cx="672246" cy="720000"/>
          </a:xfrm>
          <a:prstGeom prst="rect">
            <a:avLst/>
          </a:prstGeom>
        </p:spPr>
      </p:pic>
      <p:pic>
        <p:nvPicPr>
          <p:cNvPr id="29" name="Graphic 28" descr="Lijst">
            <a:extLst>
              <a:ext uri="{FF2B5EF4-FFF2-40B4-BE49-F238E27FC236}">
                <a16:creationId xmlns:a16="http://schemas.microsoft.com/office/drawing/2014/main" id="{6DE6789C-76BD-4D1C-BA73-02F5F8015BC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54735" y="4778902"/>
            <a:ext cx="720000" cy="720000"/>
          </a:xfrm>
          <a:prstGeom prst="rect">
            <a:avLst/>
          </a:prstGeom>
        </p:spPr>
      </p:pic>
      <p:sp>
        <p:nvSpPr>
          <p:cNvPr id="47" name="Rechthoek 46">
            <a:extLst>
              <a:ext uri="{FF2B5EF4-FFF2-40B4-BE49-F238E27FC236}">
                <a16:creationId xmlns:a16="http://schemas.microsoft.com/office/drawing/2014/main" id="{C8A3D5D7-62C4-4F4C-91BC-4603CF4DD026}"/>
              </a:ext>
            </a:extLst>
          </p:cNvPr>
          <p:cNvSpPr/>
          <p:nvPr/>
        </p:nvSpPr>
        <p:spPr>
          <a:xfrm>
            <a:off x="1332536" y="5500963"/>
            <a:ext cx="2230969" cy="97394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14400"/>
            <a:r>
              <a:rPr lang="nl-NL" sz="1400" b="1">
                <a:solidFill>
                  <a:srgbClr val="000000"/>
                </a:solidFill>
                <a:latin typeface="Arial"/>
                <a:ea typeface="ＭＳ Ｐゴシック"/>
              </a:rPr>
              <a:t>In welke opzet?</a:t>
            </a:r>
          </a:p>
        </p:txBody>
      </p:sp>
      <p:pic>
        <p:nvPicPr>
          <p:cNvPr id="31" name="Graphic 30" descr="Vergadering">
            <a:extLst>
              <a:ext uri="{FF2B5EF4-FFF2-40B4-BE49-F238E27FC236}">
                <a16:creationId xmlns:a16="http://schemas.microsoft.com/office/drawing/2014/main" id="{15E5B86C-090D-432F-A6DB-9503BCCE8740}"/>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90074" y="5617668"/>
            <a:ext cx="720000" cy="720000"/>
          </a:xfrm>
          <a:prstGeom prst="rect">
            <a:avLst/>
          </a:prstGeom>
        </p:spPr>
      </p:pic>
      <p:sp>
        <p:nvSpPr>
          <p:cNvPr id="39" name="Rechthoek 38">
            <a:extLst>
              <a:ext uri="{FF2B5EF4-FFF2-40B4-BE49-F238E27FC236}">
                <a16:creationId xmlns:a16="http://schemas.microsoft.com/office/drawing/2014/main" id="{0B28EF8C-7F5F-BF47-8979-AE7E3D57DBBE}"/>
              </a:ext>
            </a:extLst>
          </p:cNvPr>
          <p:cNvSpPr/>
          <p:nvPr/>
        </p:nvSpPr>
        <p:spPr>
          <a:xfrm>
            <a:off x="-2039530" y="119498"/>
            <a:ext cx="2294427" cy="2908516"/>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b="1" err="1">
                <a:solidFill>
                  <a:schemeClr val="tx1"/>
                </a:solidFill>
              </a:rPr>
              <a:t>To</a:t>
            </a:r>
            <a:r>
              <a:rPr lang="nl-NL" sz="1600" b="1">
                <a:solidFill>
                  <a:schemeClr val="tx1"/>
                </a:solidFill>
              </a:rPr>
              <a:t> do om deze slide instelling specifiek te maken:</a:t>
            </a:r>
          </a:p>
          <a:p>
            <a:pPr algn="ctr"/>
            <a:endParaRPr lang="nl-NL" sz="1600">
              <a:solidFill>
                <a:schemeClr val="tx1"/>
              </a:solidFill>
            </a:endParaRPr>
          </a:p>
          <a:p>
            <a:pPr marL="285750" indent="-285750" algn="ctr">
              <a:buFontTx/>
              <a:buChar char="-"/>
            </a:pPr>
            <a:r>
              <a:rPr lang="nl-NL" sz="1600">
                <a:solidFill>
                  <a:schemeClr val="tx1"/>
                </a:solidFill>
              </a:rPr>
              <a:t>Instelling specifiek maken</a:t>
            </a:r>
          </a:p>
          <a:p>
            <a:pPr marL="285750" indent="-285750" algn="ctr">
              <a:buFontTx/>
              <a:buChar char="-"/>
            </a:pPr>
            <a:r>
              <a:rPr lang="nl-NL" sz="1600">
                <a:solidFill>
                  <a:schemeClr val="tx1"/>
                </a:solidFill>
              </a:rPr>
              <a:t>De input voor deze slide komt ter sprake tijdens de werksessie</a:t>
            </a:r>
          </a:p>
        </p:txBody>
      </p:sp>
      <p:sp>
        <p:nvSpPr>
          <p:cNvPr id="40" name="Titel 1">
            <a:extLst>
              <a:ext uri="{FF2B5EF4-FFF2-40B4-BE49-F238E27FC236}">
                <a16:creationId xmlns:a16="http://schemas.microsoft.com/office/drawing/2014/main" id="{DAFC2002-E356-6C44-828A-93AA9F4B4B3C}"/>
              </a:ext>
            </a:extLst>
          </p:cNvPr>
          <p:cNvSpPr txBox="1">
            <a:spLocks/>
          </p:cNvSpPr>
          <p:nvPr/>
        </p:nvSpPr>
        <p:spPr bwMode="gray">
          <a:xfrm>
            <a:off x="554735" y="684387"/>
            <a:ext cx="11082528"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lgn="l" defTabSz="895236" rtl="0" eaLnBrk="1" fontAlgn="base" hangingPunct="1">
              <a:spcBef>
                <a:spcPct val="0"/>
              </a:spcBef>
              <a:spcAft>
                <a:spcPct val="0"/>
              </a:spcAft>
              <a:tabLst>
                <a:tab pos="444445" algn="l"/>
              </a:tabLst>
              <a:defRPr lang="nl-NL" sz="2800" b="0" baseline="0" noProof="0">
                <a:solidFill>
                  <a:schemeClr val="tx2"/>
                </a:solidFill>
                <a:latin typeface="+mj-lt"/>
                <a:ea typeface="+mj-ea"/>
                <a:cs typeface="+mj-cs"/>
                <a:sym typeface="+mj-lt"/>
              </a:defRPr>
            </a:lvl1pPr>
            <a:lvl2pPr algn="l" defTabSz="895236" rtl="0" eaLnBrk="1" fontAlgn="base" hangingPunct="1">
              <a:spcBef>
                <a:spcPct val="0"/>
              </a:spcBef>
              <a:spcAft>
                <a:spcPct val="0"/>
              </a:spcAft>
              <a:defRPr sz="1900" b="1">
                <a:solidFill>
                  <a:schemeClr val="tx2"/>
                </a:solidFill>
                <a:latin typeface="Arial" charset="0"/>
              </a:defRPr>
            </a:lvl2pPr>
            <a:lvl3pPr algn="l" defTabSz="895236" rtl="0" eaLnBrk="1" fontAlgn="base" hangingPunct="1">
              <a:spcBef>
                <a:spcPct val="0"/>
              </a:spcBef>
              <a:spcAft>
                <a:spcPct val="0"/>
              </a:spcAft>
              <a:defRPr sz="1900" b="1">
                <a:solidFill>
                  <a:schemeClr val="tx2"/>
                </a:solidFill>
                <a:latin typeface="Arial" charset="0"/>
              </a:defRPr>
            </a:lvl3pPr>
            <a:lvl4pPr algn="l" defTabSz="895236" rtl="0" eaLnBrk="1" fontAlgn="base" hangingPunct="1">
              <a:spcBef>
                <a:spcPct val="0"/>
              </a:spcBef>
              <a:spcAft>
                <a:spcPct val="0"/>
              </a:spcAft>
              <a:defRPr sz="1900" b="1">
                <a:solidFill>
                  <a:schemeClr val="tx2"/>
                </a:solidFill>
                <a:latin typeface="Arial" charset="0"/>
              </a:defRPr>
            </a:lvl4pPr>
            <a:lvl5pPr algn="l" defTabSz="895236" rtl="0" eaLnBrk="1" fontAlgn="base" hangingPunct="1">
              <a:spcBef>
                <a:spcPct val="0"/>
              </a:spcBef>
              <a:spcAft>
                <a:spcPct val="0"/>
              </a:spcAft>
              <a:defRPr sz="1900" b="1">
                <a:solidFill>
                  <a:schemeClr val="tx2"/>
                </a:solidFill>
                <a:latin typeface="Arial" charset="0"/>
              </a:defRPr>
            </a:lvl5pPr>
            <a:lvl6pPr marL="457139" algn="l" defTabSz="895236" rtl="0" eaLnBrk="1" fontAlgn="base" hangingPunct="1">
              <a:spcBef>
                <a:spcPct val="0"/>
              </a:spcBef>
              <a:spcAft>
                <a:spcPct val="0"/>
              </a:spcAft>
              <a:defRPr sz="1900" b="1">
                <a:solidFill>
                  <a:schemeClr val="tx2"/>
                </a:solidFill>
                <a:latin typeface="Arial" charset="0"/>
              </a:defRPr>
            </a:lvl6pPr>
            <a:lvl7pPr marL="914282" algn="l" defTabSz="895236" rtl="0" eaLnBrk="1" fontAlgn="base" hangingPunct="1">
              <a:spcBef>
                <a:spcPct val="0"/>
              </a:spcBef>
              <a:spcAft>
                <a:spcPct val="0"/>
              </a:spcAft>
              <a:defRPr sz="1900" b="1">
                <a:solidFill>
                  <a:schemeClr val="tx2"/>
                </a:solidFill>
                <a:latin typeface="Arial" charset="0"/>
              </a:defRPr>
            </a:lvl7pPr>
            <a:lvl8pPr marL="1371424" algn="l" defTabSz="895236" rtl="0" eaLnBrk="1" fontAlgn="base" hangingPunct="1">
              <a:spcBef>
                <a:spcPct val="0"/>
              </a:spcBef>
              <a:spcAft>
                <a:spcPct val="0"/>
              </a:spcAft>
              <a:defRPr sz="1900" b="1">
                <a:solidFill>
                  <a:schemeClr val="tx2"/>
                </a:solidFill>
                <a:latin typeface="Arial" charset="0"/>
              </a:defRPr>
            </a:lvl8pPr>
            <a:lvl9pPr marL="1828566" algn="l" defTabSz="895236" rtl="0" eaLnBrk="1" fontAlgn="base" hangingPunct="1">
              <a:spcBef>
                <a:spcPct val="0"/>
              </a:spcBef>
              <a:spcAft>
                <a:spcPct val="0"/>
              </a:spcAft>
              <a:defRPr sz="1900" b="1">
                <a:solidFill>
                  <a:schemeClr val="tx2"/>
                </a:solidFill>
                <a:latin typeface="Arial" charset="0"/>
              </a:defRPr>
            </a:lvl9pPr>
          </a:lstStyle>
          <a:p>
            <a:r>
              <a:rPr lang="nl-NL"/>
              <a:t>Voor het inrichten van het Goede Gesprek dienen een aantal keuzes gemaakt te worden, die leiden tot een passende vorm en opzet</a:t>
            </a:r>
            <a:endParaRPr lang="nl-NL" kern="0"/>
          </a:p>
        </p:txBody>
      </p:sp>
    </p:spTree>
    <p:extLst>
      <p:ext uri="{BB962C8B-B14F-4D97-AF65-F5344CB8AC3E}">
        <p14:creationId xmlns:p14="http://schemas.microsoft.com/office/powerpoint/2010/main" val="41469037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76CA8F7-28C6-4A94-B312-275ACDECA759}"/>
              </a:ext>
            </a:extLst>
          </p:cNvPr>
          <p:cNvGraphicFramePr>
            <a:graphicFrameLocks noChangeAspect="1"/>
          </p:cNvGraphicFramePr>
          <p:nvPr>
            <p:custDataLst>
              <p:tags r:id="rId3"/>
            </p:custDataLst>
          </p:nvPr>
        </p:nvGraphicFramePr>
        <p:xfrm>
          <a:off x="1678" y="1639"/>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12" imgW="346" imgH="346" progId="TCLayout.ActiveDocument.1">
                  <p:embed/>
                </p:oleObj>
              </mc:Choice>
              <mc:Fallback>
                <p:oleObj name="think-cell Slide" r:id="rId12" imgW="346" imgH="346" progId="TCLayout.ActiveDocument.1">
                  <p:embed/>
                  <p:pic>
                    <p:nvPicPr>
                      <p:cNvPr id="6" name="Object 5" hidden="1">
                        <a:extLst>
                          <a:ext uri="{FF2B5EF4-FFF2-40B4-BE49-F238E27FC236}">
                            <a16:creationId xmlns:a16="http://schemas.microsoft.com/office/drawing/2014/main" id="{F76CA8F7-28C6-4A94-B312-275ACDECA759}"/>
                          </a:ext>
                        </a:extLst>
                      </p:cNvPr>
                      <p:cNvPicPr/>
                      <p:nvPr/>
                    </p:nvPicPr>
                    <p:blipFill>
                      <a:blip r:embed="rId13"/>
                      <a:stretch>
                        <a:fillRect/>
                      </a:stretch>
                    </p:blipFill>
                    <p:spPr>
                      <a:xfrm>
                        <a:off x="1678" y="163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FFE67BB-D64E-4192-9448-C76BBDDB569E}"/>
              </a:ext>
            </a:extLst>
          </p:cNvPr>
          <p:cNvSpPr/>
          <p:nvPr>
            <p:custDataLst>
              <p:tags r:id="rId4"/>
            </p:custDataLst>
          </p:nvPr>
        </p:nvSpPr>
        <p:spPr>
          <a:xfrm>
            <a:off x="91" y="51"/>
            <a:ext cx="158747" cy="158747"/>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Andada" panose="02000000000000000000" pitchFamily="50" charset="0"/>
              <a:ea typeface="ＭＳ Ｐゴシック" panose="020B0600070205080204" pitchFamily="34" charset="-128"/>
              <a:cs typeface="+mn-cs"/>
              <a:sym typeface="Andada" panose="02000000000000000000" pitchFamily="50" charset="0"/>
            </a:endParaRPr>
          </a:p>
        </p:txBody>
      </p:sp>
      <p:sp>
        <p:nvSpPr>
          <p:cNvPr id="21" name="Rectangle 20">
            <a:extLst>
              <a:ext uri="{FF2B5EF4-FFF2-40B4-BE49-F238E27FC236}">
                <a16:creationId xmlns:a16="http://schemas.microsoft.com/office/drawing/2014/main" id="{5C330810-5BA8-4581-9D95-9A200123609F}"/>
              </a:ext>
            </a:extLst>
          </p:cNvPr>
          <p:cNvSpPr/>
          <p:nvPr/>
        </p:nvSpPr>
        <p:spPr>
          <a:xfrm>
            <a:off x="554818" y="523418"/>
            <a:ext cx="11090747" cy="5884958"/>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45719" rIns="91438" bIns="4571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nl-NL" sz="16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24" name="Title 1">
            <a:extLst>
              <a:ext uri="{FF2B5EF4-FFF2-40B4-BE49-F238E27FC236}">
                <a16:creationId xmlns:a16="http://schemas.microsoft.com/office/drawing/2014/main" id="{6356B6A9-8F83-445C-9B61-6FB2E03FD747}"/>
              </a:ext>
            </a:extLst>
          </p:cNvPr>
          <p:cNvSpPr txBox="1">
            <a:spLocks/>
          </p:cNvSpPr>
          <p:nvPr/>
        </p:nvSpPr>
        <p:spPr bwMode="gray">
          <a:xfrm>
            <a:off x="1088211" y="1287948"/>
            <a:ext cx="4005699" cy="387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895350" rtl="0" eaLnBrk="1" fontAlgn="base" hangingPunct="1">
              <a:spcBef>
                <a:spcPct val="0"/>
              </a:spcBef>
              <a:spcAft>
                <a:spcPct val="0"/>
              </a:spcAft>
              <a:tabLst>
                <a:tab pos="444500" algn="l"/>
              </a:tabLst>
              <a:defRPr lang="nl-NL" sz="2800" b="0" baseline="0" noProof="0">
                <a:solidFill>
                  <a:schemeClr val="tx2"/>
                </a:solidFill>
                <a:latin typeface="+mj-lt"/>
                <a:ea typeface="+mj-ea"/>
                <a:cs typeface="+mj-cs"/>
                <a:sym typeface="+mj-lt"/>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444500" algn="l"/>
              </a:tabLst>
              <a:defRPr/>
            </a:pPr>
            <a:r>
              <a:rPr kumimoji="0" lang="nl-NL" sz="2857" b="0" i="0" u="none" strike="noStrike" kern="0" cap="none" spc="0" normalizeH="0" baseline="0" noProof="0">
                <a:ln>
                  <a:noFill/>
                </a:ln>
                <a:solidFill>
                  <a:srgbClr val="003C54"/>
                </a:solidFill>
                <a:effectLst/>
                <a:uLnTx/>
                <a:uFillTx/>
                <a:latin typeface="Andada"/>
                <a:ea typeface="ＭＳ Ｐゴシック"/>
                <a:cs typeface="+mj-cs"/>
                <a:sym typeface="+mj-lt"/>
              </a:rPr>
              <a:t>Inhoud van dit document</a:t>
            </a:r>
          </a:p>
        </p:txBody>
      </p:sp>
      <p:sp>
        <p:nvSpPr>
          <p:cNvPr id="26" name="TrackerNum 6">
            <a:extLst>
              <a:ext uri="{FF2B5EF4-FFF2-40B4-BE49-F238E27FC236}">
                <a16:creationId xmlns:a16="http://schemas.microsoft.com/office/drawing/2014/main" id="{BEF5493F-F23B-4434-AC54-9ECF6459DDCB}"/>
              </a:ext>
            </a:extLst>
          </p:cNvPr>
          <p:cNvSpPr>
            <a:spLocks/>
          </p:cNvSpPr>
          <p:nvPr>
            <p:custDataLst>
              <p:tags r:id="rId5"/>
            </p:custDataLst>
          </p:nvPr>
        </p:nvSpPr>
        <p:spPr>
          <a:xfrm>
            <a:off x="5329084" y="1294531"/>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1</a:t>
            </a:r>
          </a:p>
        </p:txBody>
      </p:sp>
      <p:cxnSp>
        <p:nvCxnSpPr>
          <p:cNvPr id="27" name="Straight Connector 26">
            <a:extLst>
              <a:ext uri="{FF2B5EF4-FFF2-40B4-BE49-F238E27FC236}">
                <a16:creationId xmlns:a16="http://schemas.microsoft.com/office/drawing/2014/main" id="{E875C905-D61A-461F-A7F2-3F5663855E4E}"/>
              </a:ext>
            </a:extLst>
          </p:cNvPr>
          <p:cNvCxnSpPr>
            <a:cxnSpLocks/>
          </p:cNvCxnSpPr>
          <p:nvPr/>
        </p:nvCxnSpPr>
        <p:spPr>
          <a:xfrm flipV="1">
            <a:off x="5907774" y="1219215"/>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55B1E6F-F9E8-46B2-9DF3-5E065571C7CE}"/>
              </a:ext>
            </a:extLst>
          </p:cNvPr>
          <p:cNvSpPr txBox="1">
            <a:spLocks/>
          </p:cNvSpPr>
          <p:nvPr/>
        </p:nvSpPr>
        <p:spPr>
          <a:xfrm>
            <a:off x="6092796" y="1219216"/>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buClr>
                <a:srgbClr val="FFFFFF"/>
              </a:buClr>
              <a:defRPr/>
            </a:pPr>
            <a:r>
              <a:rPr kumimoji="0" lang="nl-NL" b="0" i="0" u="none" strike="noStrike" kern="1200" cap="none" spc="0" normalizeH="0" baseline="0" noProof="0">
                <a:ln>
                  <a:noFill/>
                </a:ln>
                <a:solidFill>
                  <a:schemeClr val="tx1"/>
                </a:solidFill>
                <a:effectLst/>
                <a:uLnTx/>
                <a:uFillTx/>
                <a:latin typeface="Arial"/>
                <a:ea typeface="ＭＳ Ｐゴシック"/>
                <a:cs typeface="+mn-cs"/>
              </a:rPr>
              <a:t>Korte introductie HPP en bevindingen rondom Goed Gesprek</a:t>
            </a:r>
            <a:endParaRPr kumimoji="0" lang="en-US" sz="1837" b="0" i="0" u="none" strike="noStrike" kern="1200" cap="none" spc="0" normalizeH="0" baseline="0" noProof="0">
              <a:ln>
                <a:noFill/>
              </a:ln>
              <a:solidFill>
                <a:schemeClr val="tx1"/>
              </a:solidFill>
              <a:effectLst/>
              <a:uLnTx/>
              <a:uFillTx/>
              <a:latin typeface="Arial"/>
              <a:ea typeface="ＭＳ Ｐゴシック"/>
              <a:cs typeface="+mn-cs"/>
            </a:endParaRPr>
          </a:p>
        </p:txBody>
      </p:sp>
      <p:sp>
        <p:nvSpPr>
          <p:cNvPr id="29" name="TrackerNum 6">
            <a:extLst>
              <a:ext uri="{FF2B5EF4-FFF2-40B4-BE49-F238E27FC236}">
                <a16:creationId xmlns:a16="http://schemas.microsoft.com/office/drawing/2014/main" id="{7A50A923-F3D4-463F-B093-2AE7F87A4C37}"/>
              </a:ext>
            </a:extLst>
          </p:cNvPr>
          <p:cNvSpPr>
            <a:spLocks/>
          </p:cNvSpPr>
          <p:nvPr>
            <p:custDataLst>
              <p:tags r:id="rId6"/>
            </p:custDataLst>
          </p:nvPr>
        </p:nvSpPr>
        <p:spPr>
          <a:xfrm>
            <a:off x="5329084" y="2076688"/>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2</a:t>
            </a:r>
          </a:p>
        </p:txBody>
      </p:sp>
      <p:cxnSp>
        <p:nvCxnSpPr>
          <p:cNvPr id="30" name="Straight Connector 29">
            <a:extLst>
              <a:ext uri="{FF2B5EF4-FFF2-40B4-BE49-F238E27FC236}">
                <a16:creationId xmlns:a16="http://schemas.microsoft.com/office/drawing/2014/main" id="{CC02215F-3F81-40FB-BF77-95F138BA73E5}"/>
              </a:ext>
            </a:extLst>
          </p:cNvPr>
          <p:cNvCxnSpPr>
            <a:cxnSpLocks/>
          </p:cNvCxnSpPr>
          <p:nvPr/>
        </p:nvCxnSpPr>
        <p:spPr>
          <a:xfrm flipV="1">
            <a:off x="5907774" y="2001372"/>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D83E06A2-D1C6-4B34-A6D0-CCF338301330}"/>
              </a:ext>
            </a:extLst>
          </p:cNvPr>
          <p:cNvSpPr txBox="1">
            <a:spLocks/>
          </p:cNvSpPr>
          <p:nvPr/>
        </p:nvSpPr>
        <p:spPr>
          <a:xfrm>
            <a:off x="6092796" y="2859786"/>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buClr>
                <a:srgbClr val="FFFFFF"/>
              </a:buClr>
              <a:defRPr/>
            </a:pPr>
            <a:r>
              <a:rPr kumimoji="0" lang="nl-NL" b="0" i="0" u="none" strike="noStrike" kern="1200" cap="none" spc="0" normalizeH="0" baseline="0" noProof="0" dirty="0">
                <a:ln>
                  <a:noFill/>
                </a:ln>
                <a:solidFill>
                  <a:schemeClr val="tx1"/>
                </a:solidFill>
                <a:effectLst/>
                <a:uLnTx/>
                <a:uFillTx/>
                <a:latin typeface="Arial"/>
                <a:ea typeface="ＭＳ Ｐゴシック"/>
                <a:cs typeface="+mn-cs"/>
              </a:rPr>
              <a:t>Wat is er allemaal al gebeurd</a:t>
            </a:r>
            <a:r>
              <a:rPr lang="nl-NL" b="0" dirty="0">
                <a:solidFill>
                  <a:schemeClr val="tx1"/>
                </a:solidFill>
                <a:latin typeface="Arial"/>
                <a:ea typeface="ＭＳ Ｐゴシック"/>
              </a:rPr>
              <a:t> binnen [instelling] </a:t>
            </a:r>
            <a:r>
              <a:rPr kumimoji="0" lang="nl-NL" b="0" i="0" u="none" strike="noStrike" kern="1200" cap="none" spc="0" normalizeH="0" baseline="0" noProof="0" dirty="0">
                <a:ln>
                  <a:noFill/>
                </a:ln>
                <a:solidFill>
                  <a:schemeClr val="tx1"/>
                </a:solidFill>
                <a:effectLst/>
                <a:uLnTx/>
                <a:uFillTx/>
                <a:latin typeface="Arial"/>
                <a:ea typeface="ＭＳ Ｐゴシック"/>
                <a:cs typeface="+mn-cs"/>
              </a:rPr>
              <a:t>tot nu toe t.a.v. Goed Gesprek?</a:t>
            </a:r>
            <a:endParaRPr kumimoji="0" lang="en-US" b="0" i="0" u="none" strike="noStrike" kern="1200" cap="none" spc="0" normalizeH="0" baseline="0" noProof="0" dirty="0">
              <a:ln>
                <a:noFill/>
              </a:ln>
              <a:solidFill>
                <a:schemeClr val="tx1"/>
              </a:solidFill>
              <a:effectLst/>
              <a:uLnTx/>
              <a:uFillTx/>
              <a:latin typeface="Arial"/>
              <a:ea typeface="ＭＳ Ｐゴシック"/>
              <a:cs typeface="+mn-cs"/>
            </a:endParaRPr>
          </a:p>
        </p:txBody>
      </p:sp>
      <p:sp>
        <p:nvSpPr>
          <p:cNvPr id="32" name="TrackerNum 6">
            <a:extLst>
              <a:ext uri="{FF2B5EF4-FFF2-40B4-BE49-F238E27FC236}">
                <a16:creationId xmlns:a16="http://schemas.microsoft.com/office/drawing/2014/main" id="{D6756352-BC92-485C-8DE3-D792F317E356}"/>
              </a:ext>
            </a:extLst>
          </p:cNvPr>
          <p:cNvSpPr>
            <a:spLocks/>
          </p:cNvSpPr>
          <p:nvPr>
            <p:custDataLst>
              <p:tags r:id="rId7"/>
            </p:custDataLst>
          </p:nvPr>
        </p:nvSpPr>
        <p:spPr>
          <a:xfrm>
            <a:off x="5329084" y="2858844"/>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3</a:t>
            </a:r>
          </a:p>
        </p:txBody>
      </p:sp>
      <p:cxnSp>
        <p:nvCxnSpPr>
          <p:cNvPr id="33" name="Straight Connector 32">
            <a:extLst>
              <a:ext uri="{FF2B5EF4-FFF2-40B4-BE49-F238E27FC236}">
                <a16:creationId xmlns:a16="http://schemas.microsoft.com/office/drawing/2014/main" id="{FE96002B-1692-4FC1-9B1A-CBCD9F3F9055}"/>
              </a:ext>
            </a:extLst>
          </p:cNvPr>
          <p:cNvCxnSpPr>
            <a:cxnSpLocks/>
          </p:cNvCxnSpPr>
          <p:nvPr/>
        </p:nvCxnSpPr>
        <p:spPr>
          <a:xfrm flipV="1">
            <a:off x="5907774" y="2783528"/>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777AE9E8-2F83-422F-9454-7636ECAB66D1}"/>
              </a:ext>
            </a:extLst>
          </p:cNvPr>
          <p:cNvSpPr txBox="1">
            <a:spLocks/>
          </p:cNvSpPr>
          <p:nvPr/>
        </p:nvSpPr>
        <p:spPr>
          <a:xfrm>
            <a:off x="6092795" y="2034142"/>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l" defTabSz="877533" rtl="0" eaLnBrk="1" fontAlgn="auto" latinLnBrk="0" hangingPunct="1">
              <a:lnSpc>
                <a:spcPct val="100000"/>
              </a:lnSpc>
              <a:spcBef>
                <a:spcPts val="0"/>
              </a:spcBef>
              <a:spcAft>
                <a:spcPts val="0"/>
              </a:spcAft>
              <a:buClr>
                <a:srgbClr val="FFFFFF"/>
              </a:buClr>
              <a:buSzTx/>
              <a:buFontTx/>
              <a:buNone/>
              <a:tabLst/>
              <a:defRPr/>
            </a:pPr>
            <a:r>
              <a:rPr kumimoji="0" lang="nl-NL" sz="1837" b="0" i="0" u="none" strike="noStrike" kern="1200" cap="none" spc="0" normalizeH="0" baseline="0" noProof="0">
                <a:ln>
                  <a:noFill/>
                </a:ln>
                <a:solidFill>
                  <a:schemeClr val="tx1"/>
                </a:solidFill>
                <a:effectLst/>
                <a:uLnTx/>
                <a:uFillTx/>
                <a:latin typeface="Arial"/>
                <a:ea typeface="ＭＳ Ｐゴシック"/>
                <a:cs typeface="+mn-cs"/>
              </a:rPr>
              <a:t>Wat verstaan we onder Goed Gesprek?</a:t>
            </a:r>
            <a:endParaRPr kumimoji="0" lang="en-US" sz="1837" b="0" i="0" u="none" strike="noStrike" kern="1200" cap="none" spc="0" normalizeH="0" baseline="0" noProof="0">
              <a:ln>
                <a:noFill/>
              </a:ln>
              <a:solidFill>
                <a:schemeClr val="tx1"/>
              </a:solidFill>
              <a:effectLst/>
              <a:uLnTx/>
              <a:uFillTx/>
              <a:latin typeface="Arial"/>
              <a:ea typeface="ＭＳ Ｐゴシック"/>
              <a:cs typeface="+mn-cs"/>
            </a:endParaRPr>
          </a:p>
        </p:txBody>
      </p:sp>
      <p:sp>
        <p:nvSpPr>
          <p:cNvPr id="35" name="TrackerNum 6">
            <a:extLst>
              <a:ext uri="{FF2B5EF4-FFF2-40B4-BE49-F238E27FC236}">
                <a16:creationId xmlns:a16="http://schemas.microsoft.com/office/drawing/2014/main" id="{4D3512B7-78F8-4ABB-8348-B694CC90A917}"/>
              </a:ext>
            </a:extLst>
          </p:cNvPr>
          <p:cNvSpPr>
            <a:spLocks/>
          </p:cNvSpPr>
          <p:nvPr>
            <p:custDataLst>
              <p:tags r:id="rId8"/>
            </p:custDataLst>
          </p:nvPr>
        </p:nvSpPr>
        <p:spPr>
          <a:xfrm>
            <a:off x="5329084" y="3641001"/>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4</a:t>
            </a:r>
          </a:p>
        </p:txBody>
      </p:sp>
      <p:cxnSp>
        <p:nvCxnSpPr>
          <p:cNvPr id="36" name="Straight Connector 35">
            <a:extLst>
              <a:ext uri="{FF2B5EF4-FFF2-40B4-BE49-F238E27FC236}">
                <a16:creationId xmlns:a16="http://schemas.microsoft.com/office/drawing/2014/main" id="{6F75CF0D-2D29-450B-B328-73B8ADAD2F5F}"/>
              </a:ext>
            </a:extLst>
          </p:cNvPr>
          <p:cNvCxnSpPr>
            <a:cxnSpLocks/>
          </p:cNvCxnSpPr>
          <p:nvPr/>
        </p:nvCxnSpPr>
        <p:spPr>
          <a:xfrm flipV="1">
            <a:off x="5907774" y="3565685"/>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7724533-EC1D-4292-9541-961C61A39BDC}"/>
              </a:ext>
            </a:extLst>
          </p:cNvPr>
          <p:cNvSpPr txBox="1">
            <a:spLocks/>
          </p:cNvSpPr>
          <p:nvPr/>
        </p:nvSpPr>
        <p:spPr>
          <a:xfrm>
            <a:off x="6092796" y="3641001"/>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buClr>
                <a:srgbClr val="FFFFFF"/>
              </a:buClr>
              <a:defRPr/>
            </a:pPr>
            <a:endParaRPr lang="nl-NL" sz="1837" b="0">
              <a:solidFill>
                <a:schemeClr val="tx1"/>
              </a:solidFill>
            </a:endParaRPr>
          </a:p>
          <a:p>
            <a:pPr>
              <a:buClr>
                <a:srgbClr val="FFFFFF"/>
              </a:buClr>
              <a:defRPr/>
            </a:pPr>
            <a:r>
              <a:rPr lang="nl-NL" sz="1837" b="0">
                <a:solidFill>
                  <a:schemeClr val="tx1"/>
                </a:solidFill>
              </a:rPr>
              <a:t>Hoe wil [instelling] een goed gesprek inrichten voor de korte en middellange termijn? </a:t>
            </a:r>
          </a:p>
          <a:p>
            <a:pPr marL="0" marR="0" lvl="0" indent="0" algn="l" defTabSz="877533" rtl="0" eaLnBrk="1" fontAlgn="auto" latinLnBrk="0" hangingPunct="1">
              <a:lnSpc>
                <a:spcPct val="100000"/>
              </a:lnSpc>
              <a:spcBef>
                <a:spcPts val="0"/>
              </a:spcBef>
              <a:spcAft>
                <a:spcPts val="0"/>
              </a:spcAft>
              <a:buClr>
                <a:srgbClr val="FFFFFF"/>
              </a:buClr>
              <a:buSzTx/>
              <a:buFontTx/>
              <a:buNone/>
              <a:tabLst/>
              <a:defRPr/>
            </a:pPr>
            <a:endParaRPr kumimoji="0" lang="nl-NL" sz="1837" b="0" i="0" u="none" strike="noStrike" kern="1200" cap="none" spc="0" normalizeH="0" baseline="0">
              <a:ln>
                <a:noFill/>
              </a:ln>
              <a:solidFill>
                <a:schemeClr val="tx1"/>
              </a:solidFill>
              <a:effectLst/>
              <a:uLnTx/>
              <a:uFillTx/>
              <a:latin typeface="Arial"/>
              <a:ea typeface="ＭＳ Ｐゴシック"/>
              <a:cs typeface="+mn-cs"/>
            </a:endParaRPr>
          </a:p>
        </p:txBody>
      </p:sp>
      <p:cxnSp>
        <p:nvCxnSpPr>
          <p:cNvPr id="20" name="Straight Connector 19">
            <a:extLst>
              <a:ext uri="{FF2B5EF4-FFF2-40B4-BE49-F238E27FC236}">
                <a16:creationId xmlns:a16="http://schemas.microsoft.com/office/drawing/2014/main" id="{56FFB8A7-3266-0047-B76D-5E3FB112BF59}"/>
              </a:ext>
            </a:extLst>
          </p:cNvPr>
          <p:cNvCxnSpPr>
            <a:cxnSpLocks/>
          </p:cNvCxnSpPr>
          <p:nvPr/>
        </p:nvCxnSpPr>
        <p:spPr>
          <a:xfrm flipV="1">
            <a:off x="5914537" y="4397245"/>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TrackerNum 6">
            <a:extLst>
              <a:ext uri="{FF2B5EF4-FFF2-40B4-BE49-F238E27FC236}">
                <a16:creationId xmlns:a16="http://schemas.microsoft.com/office/drawing/2014/main" id="{23C15AF0-FEE0-854A-9B8D-625E9828682E}"/>
              </a:ext>
            </a:extLst>
          </p:cNvPr>
          <p:cNvSpPr>
            <a:spLocks/>
          </p:cNvSpPr>
          <p:nvPr>
            <p:custDataLst>
              <p:tags r:id="rId9"/>
            </p:custDataLst>
          </p:nvPr>
        </p:nvSpPr>
        <p:spPr>
          <a:xfrm>
            <a:off x="5322326" y="4432001"/>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5</a:t>
            </a:r>
          </a:p>
        </p:txBody>
      </p:sp>
      <p:sp>
        <p:nvSpPr>
          <p:cNvPr id="38" name="TextBox 18">
            <a:extLst>
              <a:ext uri="{FF2B5EF4-FFF2-40B4-BE49-F238E27FC236}">
                <a16:creationId xmlns:a16="http://schemas.microsoft.com/office/drawing/2014/main" id="{68624E64-EBBB-4930-9556-9FDE06D55DCD}"/>
              </a:ext>
            </a:extLst>
          </p:cNvPr>
          <p:cNvSpPr txBox="1">
            <a:spLocks/>
          </p:cNvSpPr>
          <p:nvPr/>
        </p:nvSpPr>
        <p:spPr>
          <a:xfrm>
            <a:off x="6142772" y="4456841"/>
            <a:ext cx="5544387" cy="636345"/>
          </a:xfrm>
          <a:prstGeom prst="rect">
            <a:avLst/>
          </a:prstGeom>
          <a:solidFill>
            <a:schemeClr val="accent3"/>
          </a:solid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l" defTabSz="877533" rtl="0" eaLnBrk="1" fontAlgn="auto" latinLnBrk="0" hangingPunct="1">
              <a:lnSpc>
                <a:spcPct val="100000"/>
              </a:lnSpc>
              <a:spcBef>
                <a:spcPts val="0"/>
              </a:spcBef>
              <a:spcAft>
                <a:spcPts val="0"/>
              </a:spcAft>
              <a:buClr>
                <a:srgbClr val="FFFFFF"/>
              </a:buClr>
              <a:buSzTx/>
              <a:buFontTx/>
              <a:buNone/>
              <a:tabLst/>
              <a:defRPr/>
            </a:pPr>
            <a:r>
              <a:rPr kumimoji="0" lang="nl-NL" sz="1837" i="0" u="none" strike="noStrike" kern="1200" cap="none" spc="0" normalizeH="0" baseline="0" noProof="0">
                <a:ln>
                  <a:noFill/>
                </a:ln>
                <a:solidFill>
                  <a:schemeClr val="bg1"/>
                </a:solidFill>
                <a:effectLst/>
                <a:uLnTx/>
                <a:uFillTx/>
                <a:latin typeface="Arial"/>
                <a:ea typeface="ＭＳ Ｐゴシック"/>
                <a:cs typeface="+mn-cs"/>
              </a:rPr>
              <a:t>Lange termijn aanbevelingen</a:t>
            </a:r>
          </a:p>
        </p:txBody>
      </p:sp>
    </p:spTree>
    <p:custDataLst>
      <p:tags r:id="rId2"/>
    </p:custDataLst>
    <p:extLst>
      <p:ext uri="{BB962C8B-B14F-4D97-AF65-F5344CB8AC3E}">
        <p14:creationId xmlns:p14="http://schemas.microsoft.com/office/powerpoint/2010/main" val="4276339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kstvak 6">
            <a:extLst>
              <a:ext uri="{FF2B5EF4-FFF2-40B4-BE49-F238E27FC236}">
                <a16:creationId xmlns:a16="http://schemas.microsoft.com/office/drawing/2014/main" id="{22FD1D67-45E8-444F-97C6-FD5696C73AC1}"/>
              </a:ext>
            </a:extLst>
          </p:cNvPr>
          <p:cNvSpPr txBox="1"/>
          <p:nvPr/>
        </p:nvSpPr>
        <p:spPr>
          <a:xfrm>
            <a:off x="10050632" y="1526132"/>
            <a:ext cx="2244110"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defTabSz="932962" fontAlgn="base">
              <a:spcBef>
                <a:spcPct val="0"/>
              </a:spcBef>
              <a:spcAft>
                <a:spcPct val="0"/>
              </a:spcAft>
            </a:pPr>
            <a:r>
              <a:rPr lang="en-US" sz="1200" b="1" err="1">
                <a:solidFill>
                  <a:srgbClr val="005777"/>
                </a:solidFill>
                <a:latin typeface="Arial" charset="0"/>
                <a:ea typeface="ＭＳ Ｐゴシック"/>
              </a:rPr>
              <a:t>Nieuwe</a:t>
            </a:r>
            <a:r>
              <a:rPr lang="en-US" sz="1200" b="1">
                <a:solidFill>
                  <a:srgbClr val="005777"/>
                </a:solidFill>
                <a:latin typeface="Arial" charset="0"/>
                <a:ea typeface="ＭＳ Ｐゴシック"/>
              </a:rPr>
              <a:t> </a:t>
            </a:r>
            <a:r>
              <a:rPr lang="en-US" sz="1200" b="1" err="1">
                <a:solidFill>
                  <a:srgbClr val="005777"/>
                </a:solidFill>
                <a:latin typeface="Arial" charset="0"/>
                <a:ea typeface="ＭＳ Ｐゴシック"/>
              </a:rPr>
              <a:t>medewerkers</a:t>
            </a:r>
            <a:endParaRPr lang="nl-NL" sz="1200">
              <a:solidFill>
                <a:srgbClr val="005777"/>
              </a:solidFill>
              <a:latin typeface="Arial" charset="0"/>
              <a:ea typeface="ＭＳ Ｐゴシック"/>
            </a:endParaRPr>
          </a:p>
        </p:txBody>
      </p:sp>
      <p:pic>
        <p:nvPicPr>
          <p:cNvPr id="28" name="Graphic 27" descr="Handdruk">
            <a:extLst>
              <a:ext uri="{FF2B5EF4-FFF2-40B4-BE49-F238E27FC236}">
                <a16:creationId xmlns:a16="http://schemas.microsoft.com/office/drawing/2014/main" id="{3BE1B4AF-179B-454B-8059-6FB0EE10B83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286354" y="1386695"/>
            <a:ext cx="640167" cy="640167"/>
          </a:xfrm>
          <a:prstGeom prst="rect">
            <a:avLst/>
          </a:prstGeom>
        </p:spPr>
      </p:pic>
      <p:sp>
        <p:nvSpPr>
          <p:cNvPr id="8" name="Tekstvak 7">
            <a:extLst>
              <a:ext uri="{FF2B5EF4-FFF2-40B4-BE49-F238E27FC236}">
                <a16:creationId xmlns:a16="http://schemas.microsoft.com/office/drawing/2014/main" id="{D3AA3A50-4BDC-4AF8-B2D8-034B21E74482}"/>
              </a:ext>
            </a:extLst>
          </p:cNvPr>
          <p:cNvSpPr txBox="1"/>
          <p:nvPr/>
        </p:nvSpPr>
        <p:spPr>
          <a:xfrm>
            <a:off x="1292662" y="1341466"/>
            <a:ext cx="1985629"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defTabSz="932962" fontAlgn="base">
              <a:spcBef>
                <a:spcPct val="0"/>
              </a:spcBef>
              <a:spcAft>
                <a:spcPct val="0"/>
              </a:spcAft>
            </a:pPr>
            <a:r>
              <a:rPr lang="nl-NL" sz="1200" b="1">
                <a:solidFill>
                  <a:srgbClr val="005777"/>
                </a:solidFill>
                <a:latin typeface="Arial" charset="0"/>
                <a:ea typeface="ＭＳ Ｐゴシック"/>
              </a:rPr>
              <a:t>Geïnteresseerde medewerkers na </a:t>
            </a:r>
            <a:r>
              <a:rPr lang="nl-NL" sz="1200" b="1">
                <a:solidFill>
                  <a:schemeClr val="accent4"/>
                </a:solidFill>
                <a:latin typeface="Arial" charset="0"/>
                <a:ea typeface="ＭＳ Ｐゴシック"/>
              </a:rPr>
              <a:t>een dialoogsessie</a:t>
            </a:r>
          </a:p>
        </p:txBody>
      </p:sp>
      <p:pic>
        <p:nvPicPr>
          <p:cNvPr id="31" name="CustomIcon">
            <a:extLst>
              <a:ext uri="{FF2B5EF4-FFF2-40B4-BE49-F238E27FC236}">
                <a16:creationId xmlns:a16="http://schemas.microsoft.com/office/drawing/2014/main" id="{1476A737-4A48-4559-960A-B12E89F732EF}"/>
              </a:ext>
            </a:extLst>
          </p:cNvPr>
          <p:cNvPicPr>
            <a:picLocks noChangeAspect="1"/>
          </p:cNvPicPr>
          <p:nvPr>
            <p:custDataLst>
              <p:tags r:id="rId1"/>
            </p:custDataLst>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43984" y="1385056"/>
            <a:ext cx="480598" cy="480598"/>
          </a:xfrm>
          <a:prstGeom prst="rect">
            <a:avLst/>
          </a:prstGeom>
        </p:spPr>
      </p:pic>
      <p:cxnSp>
        <p:nvCxnSpPr>
          <p:cNvPr id="34" name="Rechte verbindingslijn 33">
            <a:extLst>
              <a:ext uri="{FF2B5EF4-FFF2-40B4-BE49-F238E27FC236}">
                <a16:creationId xmlns:a16="http://schemas.microsoft.com/office/drawing/2014/main" id="{825C971F-2998-47BC-A567-D393433BC6BC}"/>
              </a:ext>
            </a:extLst>
          </p:cNvPr>
          <p:cNvCxnSpPr>
            <a:cxnSpLocks/>
          </p:cNvCxnSpPr>
          <p:nvPr/>
        </p:nvCxnSpPr>
        <p:spPr>
          <a:xfrm>
            <a:off x="710114" y="2142674"/>
            <a:ext cx="2340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39" name="Tekstvak 38">
            <a:extLst>
              <a:ext uri="{FF2B5EF4-FFF2-40B4-BE49-F238E27FC236}">
                <a16:creationId xmlns:a16="http://schemas.microsoft.com/office/drawing/2014/main" id="{6C82000F-7941-4657-972D-F3249CDF51B6}"/>
              </a:ext>
            </a:extLst>
          </p:cNvPr>
          <p:cNvSpPr txBox="1"/>
          <p:nvPr/>
        </p:nvSpPr>
        <p:spPr>
          <a:xfrm>
            <a:off x="6214802" y="1352946"/>
            <a:ext cx="5246559" cy="1989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285749" indent="-285749" defTabSz="932962" fontAlgn="base">
              <a:spcBef>
                <a:spcPct val="0"/>
              </a:spcBef>
              <a:spcAft>
                <a:spcPts val="600"/>
              </a:spcAft>
              <a:buFont typeface="Arial" panose="020B0604020202020204" pitchFamily="34" charset="0"/>
              <a:buChar char="•"/>
            </a:pPr>
            <a:endParaRPr lang="nl-NL" sz="1326">
              <a:solidFill>
                <a:srgbClr val="000000"/>
              </a:solidFill>
              <a:latin typeface="Arial" charset="0"/>
              <a:ea typeface="ＭＳ Ｐゴシック"/>
            </a:endParaRPr>
          </a:p>
        </p:txBody>
      </p:sp>
      <p:pic>
        <p:nvPicPr>
          <p:cNvPr id="26" name="Graphic 25" descr="Klantbeoordeling">
            <a:extLst>
              <a:ext uri="{FF2B5EF4-FFF2-40B4-BE49-F238E27FC236}">
                <a16:creationId xmlns:a16="http://schemas.microsoft.com/office/drawing/2014/main" id="{25C2B416-9B7D-4B9F-8E2D-75DFC31200C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9405" y="1371542"/>
            <a:ext cx="568378" cy="568378"/>
          </a:xfrm>
          <a:prstGeom prst="rect">
            <a:avLst/>
          </a:prstGeom>
        </p:spPr>
      </p:pic>
      <p:sp>
        <p:nvSpPr>
          <p:cNvPr id="35" name="Tekstvak 34">
            <a:extLst>
              <a:ext uri="{FF2B5EF4-FFF2-40B4-BE49-F238E27FC236}">
                <a16:creationId xmlns:a16="http://schemas.microsoft.com/office/drawing/2014/main" id="{701191AF-60B4-844E-A3B4-5018EAE17F92}"/>
              </a:ext>
            </a:extLst>
          </p:cNvPr>
          <p:cNvSpPr txBox="1"/>
          <p:nvPr/>
        </p:nvSpPr>
        <p:spPr>
          <a:xfrm>
            <a:off x="7248916" y="1377752"/>
            <a:ext cx="1630077"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defTabSz="932962" fontAlgn="base">
              <a:spcBef>
                <a:spcPct val="0"/>
              </a:spcBef>
              <a:spcAft>
                <a:spcPct val="0"/>
              </a:spcAft>
            </a:pPr>
            <a:r>
              <a:rPr lang="nl-NL" sz="1200" b="1">
                <a:solidFill>
                  <a:srgbClr val="005777"/>
                </a:solidFill>
                <a:latin typeface="Arial" charset="0"/>
                <a:ea typeface="ＭＳ Ｐゴシック"/>
              </a:rPr>
              <a:t>Medewerkers die structureel meer uren werken dan hun contracturen</a:t>
            </a:r>
          </a:p>
        </p:txBody>
      </p:sp>
      <p:grpSp>
        <p:nvGrpSpPr>
          <p:cNvPr id="16" name="Groep 15">
            <a:extLst>
              <a:ext uri="{FF2B5EF4-FFF2-40B4-BE49-F238E27FC236}">
                <a16:creationId xmlns:a16="http://schemas.microsoft.com/office/drawing/2014/main" id="{2D418B0A-1E0F-A245-A22C-6BC81E8A1218}"/>
              </a:ext>
            </a:extLst>
          </p:cNvPr>
          <p:cNvGrpSpPr/>
          <p:nvPr/>
        </p:nvGrpSpPr>
        <p:grpSpPr>
          <a:xfrm>
            <a:off x="667820" y="2257166"/>
            <a:ext cx="2373331" cy="3888000"/>
            <a:chOff x="308311" y="4678297"/>
            <a:chExt cx="4022545" cy="3895345"/>
          </a:xfrm>
        </p:grpSpPr>
        <p:sp>
          <p:nvSpPr>
            <p:cNvPr id="64" name="Rechthoek 63">
              <a:extLst>
                <a:ext uri="{FF2B5EF4-FFF2-40B4-BE49-F238E27FC236}">
                  <a16:creationId xmlns:a16="http://schemas.microsoft.com/office/drawing/2014/main" id="{71061DEA-1C3A-2042-A058-9E44DE429C83}"/>
                </a:ext>
              </a:extLst>
            </p:cNvPr>
            <p:cNvSpPr/>
            <p:nvPr/>
          </p:nvSpPr>
          <p:spPr>
            <a:xfrm>
              <a:off x="308311" y="4678297"/>
              <a:ext cx="4022545" cy="3895345"/>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chemeClr val="tx1"/>
                </a:solidFill>
              </a:endParaRPr>
            </a:p>
          </p:txBody>
        </p:sp>
        <p:sp>
          <p:nvSpPr>
            <p:cNvPr id="65" name="Tekstvak 64">
              <a:extLst>
                <a:ext uri="{FF2B5EF4-FFF2-40B4-BE49-F238E27FC236}">
                  <a16:creationId xmlns:a16="http://schemas.microsoft.com/office/drawing/2014/main" id="{E27299CC-B1CB-E642-AC89-33C174B5431A}"/>
                </a:ext>
              </a:extLst>
            </p:cNvPr>
            <p:cNvSpPr txBox="1"/>
            <p:nvPr/>
          </p:nvSpPr>
          <p:spPr>
            <a:xfrm>
              <a:off x="482448" y="4749749"/>
              <a:ext cx="3804897" cy="22201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171450" indent="-171450">
                <a:buFont typeface="Arial" panose="020B0604020202020204" pitchFamily="34" charset="0"/>
                <a:buChar char="•"/>
              </a:pPr>
              <a:r>
                <a:rPr lang="nl-NL" sz="1200">
                  <a:solidFill>
                    <a:srgbClr val="003C54"/>
                  </a:solidFill>
                  <a:cs typeface="Arial"/>
                </a:rPr>
                <a:t>Zorg dat een vaste vraag na elke dialoogsessie wordt of iemand open staat voor een Goed Gesprek</a:t>
              </a:r>
            </a:p>
            <a:p>
              <a:pPr marL="171450" indent="-171450">
                <a:buFont typeface="Arial" panose="020B0604020202020204" pitchFamily="34" charset="0"/>
                <a:buChar char="•"/>
              </a:pPr>
              <a:endParaRPr lang="nl-NL" sz="1200">
                <a:solidFill>
                  <a:srgbClr val="003C54"/>
                </a:solidFill>
                <a:cs typeface="Arial"/>
              </a:endParaRPr>
            </a:p>
            <a:p>
              <a:pPr marL="171450" indent="-171450">
                <a:buFont typeface="Arial" panose="020B0604020202020204" pitchFamily="34" charset="0"/>
                <a:buChar char="•"/>
              </a:pPr>
              <a:r>
                <a:rPr lang="nl-NL" sz="1200">
                  <a:solidFill>
                    <a:schemeClr val="accent4">
                      <a:lumMod val="75000"/>
                    </a:schemeClr>
                  </a:solidFill>
                </a:rPr>
                <a:t>Wanneer een dialoogsessie wordt gepland tijdens een bestaand teamoverleg creëer je hier op een meer laagdrempelige manier aandacht voor</a:t>
              </a:r>
            </a:p>
            <a:p>
              <a:pPr marL="171450" indent="-171450">
                <a:buFont typeface="Arial" panose="020B0604020202020204" pitchFamily="34" charset="0"/>
                <a:buChar char="•"/>
              </a:pPr>
              <a:endParaRPr lang="nl-NL" sz="1200">
                <a:solidFill>
                  <a:schemeClr val="accent4">
                    <a:lumMod val="75000"/>
                  </a:schemeClr>
                </a:solidFill>
              </a:endParaRPr>
            </a:p>
          </p:txBody>
        </p:sp>
      </p:grpSp>
      <p:sp>
        <p:nvSpPr>
          <p:cNvPr id="44" name="Titel 1">
            <a:extLst>
              <a:ext uri="{FF2B5EF4-FFF2-40B4-BE49-F238E27FC236}">
                <a16:creationId xmlns:a16="http://schemas.microsoft.com/office/drawing/2014/main" id="{E108DCB9-13CC-C148-B1D6-985717C0B4E1}"/>
              </a:ext>
            </a:extLst>
          </p:cNvPr>
          <p:cNvSpPr txBox="1">
            <a:spLocks/>
          </p:cNvSpPr>
          <p:nvPr/>
        </p:nvSpPr>
        <p:spPr bwMode="gray">
          <a:xfrm>
            <a:off x="534186" y="489178"/>
            <a:ext cx="11082528"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algn="l" defTabSz="895236" rtl="0" eaLnBrk="1" fontAlgn="base" hangingPunct="1">
              <a:spcBef>
                <a:spcPct val="0"/>
              </a:spcBef>
              <a:spcAft>
                <a:spcPct val="0"/>
              </a:spcAft>
              <a:tabLst>
                <a:tab pos="444445" algn="l"/>
              </a:tabLst>
              <a:defRPr lang="nl-NL" sz="2800" b="0" baseline="0" noProof="0">
                <a:solidFill>
                  <a:schemeClr val="tx2"/>
                </a:solidFill>
                <a:latin typeface="+mj-lt"/>
                <a:ea typeface="+mj-ea"/>
                <a:cs typeface="+mj-cs"/>
                <a:sym typeface="+mj-lt"/>
              </a:defRPr>
            </a:lvl1pPr>
            <a:lvl2pPr algn="l" defTabSz="895236" rtl="0" eaLnBrk="1" fontAlgn="base" hangingPunct="1">
              <a:spcBef>
                <a:spcPct val="0"/>
              </a:spcBef>
              <a:spcAft>
                <a:spcPct val="0"/>
              </a:spcAft>
              <a:defRPr sz="1900" b="1">
                <a:solidFill>
                  <a:schemeClr val="tx2"/>
                </a:solidFill>
                <a:latin typeface="Arial" charset="0"/>
              </a:defRPr>
            </a:lvl2pPr>
            <a:lvl3pPr algn="l" defTabSz="895236" rtl="0" eaLnBrk="1" fontAlgn="base" hangingPunct="1">
              <a:spcBef>
                <a:spcPct val="0"/>
              </a:spcBef>
              <a:spcAft>
                <a:spcPct val="0"/>
              </a:spcAft>
              <a:defRPr sz="1900" b="1">
                <a:solidFill>
                  <a:schemeClr val="tx2"/>
                </a:solidFill>
                <a:latin typeface="Arial" charset="0"/>
              </a:defRPr>
            </a:lvl3pPr>
            <a:lvl4pPr algn="l" defTabSz="895236" rtl="0" eaLnBrk="1" fontAlgn="base" hangingPunct="1">
              <a:spcBef>
                <a:spcPct val="0"/>
              </a:spcBef>
              <a:spcAft>
                <a:spcPct val="0"/>
              </a:spcAft>
              <a:defRPr sz="1900" b="1">
                <a:solidFill>
                  <a:schemeClr val="tx2"/>
                </a:solidFill>
                <a:latin typeface="Arial" charset="0"/>
              </a:defRPr>
            </a:lvl4pPr>
            <a:lvl5pPr algn="l" defTabSz="895236" rtl="0" eaLnBrk="1" fontAlgn="base" hangingPunct="1">
              <a:spcBef>
                <a:spcPct val="0"/>
              </a:spcBef>
              <a:spcAft>
                <a:spcPct val="0"/>
              </a:spcAft>
              <a:defRPr sz="1900" b="1">
                <a:solidFill>
                  <a:schemeClr val="tx2"/>
                </a:solidFill>
                <a:latin typeface="Arial" charset="0"/>
              </a:defRPr>
            </a:lvl5pPr>
            <a:lvl6pPr marL="457139" algn="l" defTabSz="895236" rtl="0" eaLnBrk="1" fontAlgn="base" hangingPunct="1">
              <a:spcBef>
                <a:spcPct val="0"/>
              </a:spcBef>
              <a:spcAft>
                <a:spcPct val="0"/>
              </a:spcAft>
              <a:defRPr sz="1900" b="1">
                <a:solidFill>
                  <a:schemeClr val="tx2"/>
                </a:solidFill>
                <a:latin typeface="Arial" charset="0"/>
              </a:defRPr>
            </a:lvl6pPr>
            <a:lvl7pPr marL="914282" algn="l" defTabSz="895236" rtl="0" eaLnBrk="1" fontAlgn="base" hangingPunct="1">
              <a:spcBef>
                <a:spcPct val="0"/>
              </a:spcBef>
              <a:spcAft>
                <a:spcPct val="0"/>
              </a:spcAft>
              <a:defRPr sz="1900" b="1">
                <a:solidFill>
                  <a:schemeClr val="tx2"/>
                </a:solidFill>
                <a:latin typeface="Arial" charset="0"/>
              </a:defRPr>
            </a:lvl7pPr>
            <a:lvl8pPr marL="1371424" algn="l" defTabSz="895236" rtl="0" eaLnBrk="1" fontAlgn="base" hangingPunct="1">
              <a:spcBef>
                <a:spcPct val="0"/>
              </a:spcBef>
              <a:spcAft>
                <a:spcPct val="0"/>
              </a:spcAft>
              <a:defRPr sz="1900" b="1">
                <a:solidFill>
                  <a:schemeClr val="tx2"/>
                </a:solidFill>
                <a:latin typeface="Arial" charset="0"/>
              </a:defRPr>
            </a:lvl8pPr>
            <a:lvl9pPr marL="1828566" algn="l" defTabSz="895236" rtl="0" eaLnBrk="1" fontAlgn="base" hangingPunct="1">
              <a:spcBef>
                <a:spcPct val="0"/>
              </a:spcBef>
              <a:spcAft>
                <a:spcPct val="0"/>
              </a:spcAft>
              <a:defRPr sz="1900" b="1">
                <a:solidFill>
                  <a:schemeClr val="tx2"/>
                </a:solidFill>
                <a:latin typeface="Arial" charset="0"/>
              </a:defRPr>
            </a:lvl9pPr>
          </a:lstStyle>
          <a:p>
            <a:pPr defTabSz="895228">
              <a:tabLst>
                <a:tab pos="444440" algn="l"/>
              </a:tabLst>
            </a:pPr>
            <a:r>
              <a:rPr lang="nl-NL"/>
              <a:t>Aanbevolen vervolgstappen per medewerkersgroep</a:t>
            </a:r>
            <a:endParaRPr lang="nl-NL" kern="0"/>
          </a:p>
        </p:txBody>
      </p:sp>
      <p:cxnSp>
        <p:nvCxnSpPr>
          <p:cNvPr id="52" name="Rechte verbindingslijn 51">
            <a:extLst>
              <a:ext uri="{FF2B5EF4-FFF2-40B4-BE49-F238E27FC236}">
                <a16:creationId xmlns:a16="http://schemas.microsoft.com/office/drawing/2014/main" id="{9C9C078A-1613-4FF9-A697-D31AE8BA1CDA}"/>
              </a:ext>
            </a:extLst>
          </p:cNvPr>
          <p:cNvCxnSpPr>
            <a:cxnSpLocks/>
          </p:cNvCxnSpPr>
          <p:nvPr/>
        </p:nvCxnSpPr>
        <p:spPr>
          <a:xfrm>
            <a:off x="3580314" y="2142674"/>
            <a:ext cx="2340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0" name="Rechte verbindingslijn 69">
            <a:extLst>
              <a:ext uri="{FF2B5EF4-FFF2-40B4-BE49-F238E27FC236}">
                <a16:creationId xmlns:a16="http://schemas.microsoft.com/office/drawing/2014/main" id="{7A17A7D4-F840-4D0D-A96E-9F45AB72B49F}"/>
              </a:ext>
            </a:extLst>
          </p:cNvPr>
          <p:cNvCxnSpPr>
            <a:cxnSpLocks/>
          </p:cNvCxnSpPr>
          <p:nvPr/>
        </p:nvCxnSpPr>
        <p:spPr>
          <a:xfrm>
            <a:off x="6450514" y="2142674"/>
            <a:ext cx="2340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8" name="Rechte verbindingslijn 87">
            <a:extLst>
              <a:ext uri="{FF2B5EF4-FFF2-40B4-BE49-F238E27FC236}">
                <a16:creationId xmlns:a16="http://schemas.microsoft.com/office/drawing/2014/main" id="{1B5B4623-50BD-4DB2-B953-1174D2549A7E}"/>
              </a:ext>
            </a:extLst>
          </p:cNvPr>
          <p:cNvCxnSpPr>
            <a:cxnSpLocks/>
          </p:cNvCxnSpPr>
          <p:nvPr/>
        </p:nvCxnSpPr>
        <p:spPr>
          <a:xfrm>
            <a:off x="9320714" y="2142674"/>
            <a:ext cx="2340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02" name="Tekstvak 101">
            <a:extLst>
              <a:ext uri="{FF2B5EF4-FFF2-40B4-BE49-F238E27FC236}">
                <a16:creationId xmlns:a16="http://schemas.microsoft.com/office/drawing/2014/main" id="{443AFF3F-EDC9-476B-9262-3962D7E18620}"/>
              </a:ext>
            </a:extLst>
          </p:cNvPr>
          <p:cNvSpPr txBox="1"/>
          <p:nvPr/>
        </p:nvSpPr>
        <p:spPr>
          <a:xfrm>
            <a:off x="4232909" y="1341466"/>
            <a:ext cx="1687831"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defTabSz="932962" fontAlgn="base">
              <a:spcBef>
                <a:spcPct val="0"/>
              </a:spcBef>
              <a:spcAft>
                <a:spcPct val="0"/>
              </a:spcAft>
            </a:pPr>
            <a:r>
              <a:rPr lang="nl-NL" sz="1200" b="1">
                <a:solidFill>
                  <a:srgbClr val="005777"/>
                </a:solidFill>
                <a:latin typeface="Arial" charset="0"/>
                <a:ea typeface="ＭＳ Ｐゴシック"/>
              </a:rPr>
              <a:t>Medewerkers die binnen de algehele potentiegroep vallen</a:t>
            </a:r>
          </a:p>
        </p:txBody>
      </p:sp>
      <p:grpSp>
        <p:nvGrpSpPr>
          <p:cNvPr id="53" name="Groep 52">
            <a:extLst>
              <a:ext uri="{FF2B5EF4-FFF2-40B4-BE49-F238E27FC236}">
                <a16:creationId xmlns:a16="http://schemas.microsoft.com/office/drawing/2014/main" id="{A6A57B08-BB7F-404C-A75B-3C08F36E456C}"/>
              </a:ext>
            </a:extLst>
          </p:cNvPr>
          <p:cNvGrpSpPr/>
          <p:nvPr/>
        </p:nvGrpSpPr>
        <p:grpSpPr>
          <a:xfrm>
            <a:off x="9409411" y="2257166"/>
            <a:ext cx="2378482" cy="3888000"/>
            <a:chOff x="256069" y="4678297"/>
            <a:chExt cx="4031275" cy="4020344"/>
          </a:xfrm>
        </p:grpSpPr>
        <p:sp>
          <p:nvSpPr>
            <p:cNvPr id="61" name="Rechthoek 60">
              <a:extLst>
                <a:ext uri="{FF2B5EF4-FFF2-40B4-BE49-F238E27FC236}">
                  <a16:creationId xmlns:a16="http://schemas.microsoft.com/office/drawing/2014/main" id="{332A97FB-E5FB-49AB-8290-29A82B31425B}"/>
                </a:ext>
              </a:extLst>
            </p:cNvPr>
            <p:cNvSpPr/>
            <p:nvPr/>
          </p:nvSpPr>
          <p:spPr>
            <a:xfrm>
              <a:off x="256069" y="4678297"/>
              <a:ext cx="4022545" cy="4020344"/>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chemeClr val="tx1"/>
                </a:solidFill>
              </a:endParaRPr>
            </a:p>
          </p:txBody>
        </p:sp>
        <p:sp>
          <p:nvSpPr>
            <p:cNvPr id="62" name="Tekstvak 61">
              <a:extLst>
                <a:ext uri="{FF2B5EF4-FFF2-40B4-BE49-F238E27FC236}">
                  <a16:creationId xmlns:a16="http://schemas.microsoft.com/office/drawing/2014/main" id="{DEAFFF53-18D1-4088-B993-2F5A98FA7583}"/>
                </a:ext>
              </a:extLst>
            </p:cNvPr>
            <p:cNvSpPr txBox="1"/>
            <p:nvPr/>
          </p:nvSpPr>
          <p:spPr>
            <a:xfrm>
              <a:off x="482448" y="4749749"/>
              <a:ext cx="3804896" cy="29546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171450" indent="-171450">
                <a:buFont typeface="Arial" panose="020B0604020202020204" pitchFamily="34" charset="0"/>
                <a:buChar char="•"/>
              </a:pPr>
              <a:r>
                <a:rPr lang="nl-NL" sz="1200">
                  <a:solidFill>
                    <a:srgbClr val="003C54"/>
                  </a:solidFill>
                  <a:cs typeface="Arial"/>
                </a:rPr>
                <a:t>Zorg dat recruitment standaard in een arbeidsvoorwaarden gesprek vragen stelt over de contractgrootte en vraagt of een medewerker eventueel direct zou willen starten met een groter contract.</a:t>
              </a:r>
            </a:p>
            <a:p>
              <a:pPr marL="171450" indent="-171450">
                <a:buFont typeface="Arial" panose="020B0604020202020204" pitchFamily="34" charset="0"/>
                <a:buChar char="•"/>
              </a:pPr>
              <a:r>
                <a:rPr lang="nl-NL" sz="1200">
                  <a:solidFill>
                    <a:srgbClr val="003C54"/>
                  </a:solidFill>
                  <a:cs typeface="Arial"/>
                </a:rPr>
                <a:t>Zorg dat wanneer hier negatief op wordt gereageerd dat recruitment wijst op de mogelijkheid om na 6 maanden in dienst een Goed Gesprek aan te gaan over de contractgrootte en of deze nog steeds passend is. </a:t>
              </a:r>
              <a:endParaRPr lang="nl-NL" sz="1200">
                <a:solidFill>
                  <a:schemeClr val="accent4">
                    <a:lumMod val="75000"/>
                  </a:schemeClr>
                </a:solidFill>
              </a:endParaRPr>
            </a:p>
          </p:txBody>
        </p:sp>
      </p:grpSp>
      <p:grpSp>
        <p:nvGrpSpPr>
          <p:cNvPr id="69" name="Groep 68">
            <a:extLst>
              <a:ext uri="{FF2B5EF4-FFF2-40B4-BE49-F238E27FC236}">
                <a16:creationId xmlns:a16="http://schemas.microsoft.com/office/drawing/2014/main" id="{4218E7E8-759F-418E-BCCD-A4658465740B}"/>
              </a:ext>
            </a:extLst>
          </p:cNvPr>
          <p:cNvGrpSpPr/>
          <p:nvPr/>
        </p:nvGrpSpPr>
        <p:grpSpPr>
          <a:xfrm>
            <a:off x="6493831" y="2257166"/>
            <a:ext cx="2378482" cy="3888000"/>
            <a:chOff x="256069" y="4678297"/>
            <a:chExt cx="4031275" cy="3826848"/>
          </a:xfrm>
        </p:grpSpPr>
        <p:sp>
          <p:nvSpPr>
            <p:cNvPr id="73" name="Rechthoek 72">
              <a:extLst>
                <a:ext uri="{FF2B5EF4-FFF2-40B4-BE49-F238E27FC236}">
                  <a16:creationId xmlns:a16="http://schemas.microsoft.com/office/drawing/2014/main" id="{CCB8EB49-7FCA-40AC-A2C3-CE349EEB11AF}"/>
                </a:ext>
              </a:extLst>
            </p:cNvPr>
            <p:cNvSpPr/>
            <p:nvPr/>
          </p:nvSpPr>
          <p:spPr>
            <a:xfrm>
              <a:off x="256069" y="4678297"/>
              <a:ext cx="4022545" cy="3826848"/>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chemeClr val="tx1"/>
                </a:solidFill>
              </a:endParaRPr>
            </a:p>
          </p:txBody>
        </p:sp>
        <p:sp>
          <p:nvSpPr>
            <p:cNvPr id="74" name="Tekstvak 73">
              <a:extLst>
                <a:ext uri="{FF2B5EF4-FFF2-40B4-BE49-F238E27FC236}">
                  <a16:creationId xmlns:a16="http://schemas.microsoft.com/office/drawing/2014/main" id="{F9D2E777-92E8-4B22-8978-58DC3166EC5E}"/>
                </a:ext>
              </a:extLst>
            </p:cNvPr>
            <p:cNvSpPr txBox="1"/>
            <p:nvPr/>
          </p:nvSpPr>
          <p:spPr>
            <a:xfrm>
              <a:off x="482448" y="4749749"/>
              <a:ext cx="3804896" cy="240065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171450" indent="-171450">
                <a:buFont typeface="Arial" panose="020B0604020202020204" pitchFamily="34" charset="0"/>
                <a:buChar char="•"/>
              </a:pPr>
              <a:r>
                <a:rPr lang="nl-NL" sz="1200">
                  <a:solidFill>
                    <a:srgbClr val="003C54"/>
                  </a:solidFill>
                  <a:cs typeface="Arial"/>
                </a:rPr>
                <a:t>Zorg dat de kwartaalrapportages beter worden ingebed binnen de instelling zodat elk kwartaal helder is wie er plusuren werken. Op deze manier kan het gesprek hierover worden aangegaan.</a:t>
              </a:r>
            </a:p>
            <a:p>
              <a:pPr marL="171450" indent="-171450">
                <a:buFont typeface="Arial" panose="020B0604020202020204" pitchFamily="34" charset="0"/>
                <a:buChar char="•"/>
              </a:pPr>
              <a:r>
                <a:rPr lang="nl-NL" sz="1200">
                  <a:solidFill>
                    <a:srgbClr val="003C54"/>
                  </a:solidFill>
                  <a:cs typeface="Arial"/>
                </a:rPr>
                <a:t>Kan naar mogelijke matching tussen medewerkers die </a:t>
              </a:r>
              <a:r>
                <a:rPr lang="nl-NL" sz="1200" err="1">
                  <a:solidFill>
                    <a:srgbClr val="003C54"/>
                  </a:solidFill>
                  <a:cs typeface="Arial"/>
                </a:rPr>
                <a:t>minuren</a:t>
              </a:r>
              <a:r>
                <a:rPr lang="nl-NL" sz="1200">
                  <a:solidFill>
                    <a:srgbClr val="003C54"/>
                  </a:solidFill>
                  <a:cs typeface="Arial"/>
                </a:rPr>
                <a:t> maken en plusuren maken</a:t>
              </a:r>
              <a:endParaRPr lang="nl-NL" sz="1200">
                <a:solidFill>
                  <a:schemeClr val="accent4">
                    <a:lumMod val="75000"/>
                  </a:schemeClr>
                </a:solidFill>
              </a:endParaRPr>
            </a:p>
            <a:p>
              <a:pPr marL="171450" indent="-171450">
                <a:buFont typeface="Arial" panose="020B0604020202020204" pitchFamily="34" charset="0"/>
                <a:buChar char="•"/>
              </a:pPr>
              <a:endParaRPr lang="nl-NL" sz="1200">
                <a:solidFill>
                  <a:schemeClr val="accent4">
                    <a:lumMod val="75000"/>
                  </a:schemeClr>
                </a:solidFill>
              </a:endParaRPr>
            </a:p>
          </p:txBody>
        </p:sp>
      </p:grpSp>
      <p:grpSp>
        <p:nvGrpSpPr>
          <p:cNvPr id="75" name="Groep 74">
            <a:extLst>
              <a:ext uri="{FF2B5EF4-FFF2-40B4-BE49-F238E27FC236}">
                <a16:creationId xmlns:a16="http://schemas.microsoft.com/office/drawing/2014/main" id="{F8C6E6D8-9EA6-4FAF-868D-4E8885AB1085}"/>
              </a:ext>
            </a:extLst>
          </p:cNvPr>
          <p:cNvGrpSpPr/>
          <p:nvPr/>
        </p:nvGrpSpPr>
        <p:grpSpPr>
          <a:xfrm>
            <a:off x="3578250" y="2257166"/>
            <a:ext cx="2378482" cy="3888000"/>
            <a:chOff x="256069" y="4678297"/>
            <a:chExt cx="4031275" cy="3806300"/>
          </a:xfrm>
        </p:grpSpPr>
        <p:sp>
          <p:nvSpPr>
            <p:cNvPr id="76" name="Rechthoek 75">
              <a:extLst>
                <a:ext uri="{FF2B5EF4-FFF2-40B4-BE49-F238E27FC236}">
                  <a16:creationId xmlns:a16="http://schemas.microsoft.com/office/drawing/2014/main" id="{F64ACB69-E57A-401D-980A-F5F4F758B5FE}"/>
                </a:ext>
              </a:extLst>
            </p:cNvPr>
            <p:cNvSpPr/>
            <p:nvPr/>
          </p:nvSpPr>
          <p:spPr>
            <a:xfrm>
              <a:off x="256069" y="4678297"/>
              <a:ext cx="4022545" cy="3806300"/>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solidFill>
                  <a:schemeClr val="tx1"/>
                </a:solidFill>
              </a:endParaRPr>
            </a:p>
          </p:txBody>
        </p:sp>
        <p:sp>
          <p:nvSpPr>
            <p:cNvPr id="77" name="Tekstvak 76">
              <a:extLst>
                <a:ext uri="{FF2B5EF4-FFF2-40B4-BE49-F238E27FC236}">
                  <a16:creationId xmlns:a16="http://schemas.microsoft.com/office/drawing/2014/main" id="{1FE8D4CD-0E84-4993-A4F9-E5093136AA1F}"/>
                </a:ext>
              </a:extLst>
            </p:cNvPr>
            <p:cNvSpPr txBox="1"/>
            <p:nvPr/>
          </p:nvSpPr>
          <p:spPr>
            <a:xfrm>
              <a:off x="482448" y="4749749"/>
              <a:ext cx="3804896" cy="36933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171450" indent="-171450">
                <a:buFont typeface="Arial" panose="020B0604020202020204" pitchFamily="34" charset="0"/>
                <a:buChar char="•"/>
              </a:pPr>
              <a:r>
                <a:rPr lang="nl-NL" sz="1200">
                  <a:solidFill>
                    <a:srgbClr val="003C54"/>
                  </a:solidFill>
                  <a:cs typeface="Arial"/>
                </a:rPr>
                <a:t>Waarschijnlijk maakt deze groep al plusuren. Indien dit het geval is ga dan het gesprek met de medewerker aan over </a:t>
              </a:r>
              <a:r>
                <a:rPr lang="nl-NL" sz="1200" err="1">
                  <a:solidFill>
                    <a:srgbClr val="003C54"/>
                  </a:solidFill>
                  <a:cs typeface="Arial"/>
                </a:rPr>
                <a:t>contractuitbereiding</a:t>
              </a:r>
              <a:endParaRPr lang="nl-NL" sz="1200">
                <a:solidFill>
                  <a:srgbClr val="003C54"/>
                </a:solidFill>
                <a:cs typeface="Arial"/>
              </a:endParaRPr>
            </a:p>
            <a:p>
              <a:pPr marL="171450" indent="-171450">
                <a:buFont typeface="Arial" panose="020B0604020202020204" pitchFamily="34" charset="0"/>
                <a:buChar char="•"/>
              </a:pPr>
              <a:endParaRPr lang="nl-NL" sz="1200">
                <a:solidFill>
                  <a:srgbClr val="003C54"/>
                </a:solidFill>
                <a:cs typeface="Arial"/>
              </a:endParaRPr>
            </a:p>
            <a:p>
              <a:pPr marL="171450" indent="-171450">
                <a:buFont typeface="Arial" panose="020B0604020202020204" pitchFamily="34" charset="0"/>
                <a:buChar char="•"/>
              </a:pPr>
              <a:r>
                <a:rPr lang="nl-NL" sz="1200">
                  <a:solidFill>
                    <a:srgbClr val="003C54"/>
                  </a:solidFill>
                  <a:cs typeface="Arial"/>
                </a:rPr>
                <a:t>Verstuur jaarlijks een algemene mailing vanuit HR centraal om mensen te wijzen op de mogelijkheden van contractvergroting. Hierin zit een klikbutton waarin je wordt doorverwezen naar een ‘HPP pagina’ op het intranet en waar je een goed gesprek kan aanvragen. De potentiegroep 45-55 is de grootste targetgroep voor deze mailing, al wordt de mailing naar iedereen verzonden</a:t>
              </a:r>
            </a:p>
          </p:txBody>
        </p:sp>
      </p:grpSp>
      <p:sp>
        <p:nvSpPr>
          <p:cNvPr id="27" name="Rechthoek 26">
            <a:extLst>
              <a:ext uri="{FF2B5EF4-FFF2-40B4-BE49-F238E27FC236}">
                <a16:creationId xmlns:a16="http://schemas.microsoft.com/office/drawing/2014/main" id="{8C07FEC5-B4FE-4A12-B487-8BBC811B5E53}"/>
              </a:ext>
            </a:extLst>
          </p:cNvPr>
          <p:cNvSpPr/>
          <p:nvPr/>
        </p:nvSpPr>
        <p:spPr>
          <a:xfrm>
            <a:off x="-2563318" y="119497"/>
            <a:ext cx="2818215" cy="4002797"/>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b="1" err="1">
                <a:solidFill>
                  <a:schemeClr val="tx1"/>
                </a:solidFill>
              </a:rPr>
              <a:t>To</a:t>
            </a:r>
            <a:r>
              <a:rPr lang="nl-NL" sz="1600" b="1">
                <a:solidFill>
                  <a:schemeClr val="tx1"/>
                </a:solidFill>
              </a:rPr>
              <a:t> do om deze slide instelling specifiek te maken:</a:t>
            </a:r>
          </a:p>
          <a:p>
            <a:pPr algn="ctr"/>
            <a:endParaRPr lang="nl-NL" sz="1600">
              <a:solidFill>
                <a:schemeClr val="tx1"/>
              </a:solidFill>
            </a:endParaRPr>
          </a:p>
          <a:p>
            <a:pPr marL="285750" indent="-285750" algn="ctr">
              <a:buFontTx/>
              <a:buChar char="-"/>
            </a:pPr>
            <a:r>
              <a:rPr lang="nl-NL" sz="1600">
                <a:solidFill>
                  <a:schemeClr val="tx1"/>
                </a:solidFill>
              </a:rPr>
              <a:t>Indien een instelling verschillende doelgroepen onderscheidt kan </a:t>
            </a:r>
            <a:r>
              <a:rPr lang="nl-NL" sz="1600" err="1">
                <a:solidFill>
                  <a:schemeClr val="tx1"/>
                </a:solidFill>
              </a:rPr>
              <a:t>a.h.v</a:t>
            </a:r>
            <a:r>
              <a:rPr lang="nl-NL" sz="1600">
                <a:solidFill>
                  <a:schemeClr val="tx1"/>
                </a:solidFill>
              </a:rPr>
              <a:t>. deze slide worden ingezoomd op de aanbevelingen per doelgroep</a:t>
            </a:r>
          </a:p>
          <a:p>
            <a:pPr marL="285750" indent="-285750" algn="ctr">
              <a:buFontTx/>
              <a:buChar char="-"/>
            </a:pPr>
            <a:r>
              <a:rPr lang="nl-NL" sz="1600">
                <a:solidFill>
                  <a:schemeClr val="tx1"/>
                </a:solidFill>
              </a:rPr>
              <a:t>Deze slide is dus optioneel (dient nog wel  instelling specifiek gemaakt te worden)</a:t>
            </a:r>
          </a:p>
        </p:txBody>
      </p:sp>
      <p:pic>
        <p:nvPicPr>
          <p:cNvPr id="60" name="Graphic 59" descr="Vergadering">
            <a:extLst>
              <a:ext uri="{FF2B5EF4-FFF2-40B4-BE49-F238E27FC236}">
                <a16:creationId xmlns:a16="http://schemas.microsoft.com/office/drawing/2014/main" id="{8A2A80B6-00B1-1748-8264-19C27A9AC022}"/>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454029" y="1294195"/>
            <a:ext cx="648000" cy="648000"/>
          </a:xfrm>
          <a:prstGeom prst="rect">
            <a:avLst/>
          </a:prstGeom>
        </p:spPr>
      </p:pic>
    </p:spTree>
    <p:extLst>
      <p:ext uri="{BB962C8B-B14F-4D97-AF65-F5344CB8AC3E}">
        <p14:creationId xmlns:p14="http://schemas.microsoft.com/office/powerpoint/2010/main" val="23411644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3D539D-BFB4-4F70-A76A-FFA75DD1FDE6}"/>
              </a:ext>
            </a:extLst>
          </p:cNvPr>
          <p:cNvSpPr>
            <a:spLocks noGrp="1"/>
          </p:cNvSpPr>
          <p:nvPr>
            <p:ph type="title"/>
          </p:nvPr>
        </p:nvSpPr>
        <p:spPr>
          <a:xfrm>
            <a:off x="554737" y="368071"/>
            <a:ext cx="11082528" cy="439639"/>
          </a:xfrm>
        </p:spPr>
        <p:txBody>
          <a:bodyPr/>
          <a:lstStyle/>
          <a:p>
            <a:r>
              <a:rPr lang="nl-NL" dirty="0"/>
              <a:t>Aanbevelingen vervolgstappen algemeen voorbeeld</a:t>
            </a:r>
          </a:p>
        </p:txBody>
      </p:sp>
      <p:sp>
        <p:nvSpPr>
          <p:cNvPr id="21" name="Tekstvak 20">
            <a:extLst>
              <a:ext uri="{FF2B5EF4-FFF2-40B4-BE49-F238E27FC236}">
                <a16:creationId xmlns:a16="http://schemas.microsoft.com/office/drawing/2014/main" id="{AC2DA83A-07DE-468B-B9DB-D2467E327A8C}"/>
              </a:ext>
            </a:extLst>
          </p:cNvPr>
          <p:cNvSpPr txBox="1"/>
          <p:nvPr/>
        </p:nvSpPr>
        <p:spPr>
          <a:xfrm>
            <a:off x="554737" y="878556"/>
            <a:ext cx="1519885"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nl-NL" sz="1300" b="1">
                <a:solidFill>
                  <a:schemeClr val="accent4"/>
                </a:solidFill>
              </a:rPr>
              <a:t>Aanbevelingen</a:t>
            </a:r>
          </a:p>
        </p:txBody>
      </p:sp>
      <p:sp>
        <p:nvSpPr>
          <p:cNvPr id="23" name="Tekstvak 22">
            <a:extLst>
              <a:ext uri="{FF2B5EF4-FFF2-40B4-BE49-F238E27FC236}">
                <a16:creationId xmlns:a16="http://schemas.microsoft.com/office/drawing/2014/main" id="{ABDDE7C7-E64C-42D2-8618-B5D0C2082D11}"/>
              </a:ext>
            </a:extLst>
          </p:cNvPr>
          <p:cNvSpPr txBox="1"/>
          <p:nvPr/>
        </p:nvSpPr>
        <p:spPr>
          <a:xfrm>
            <a:off x="9787953" y="1297706"/>
            <a:ext cx="1687436"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nl-NL" sz="1200"/>
              <a:t>[naam medewerker instelling]</a:t>
            </a:r>
          </a:p>
        </p:txBody>
      </p:sp>
      <p:sp>
        <p:nvSpPr>
          <p:cNvPr id="34" name="Tekstvak 33">
            <a:extLst>
              <a:ext uri="{FF2B5EF4-FFF2-40B4-BE49-F238E27FC236}">
                <a16:creationId xmlns:a16="http://schemas.microsoft.com/office/drawing/2014/main" id="{D8E74FB7-DA7D-461E-86C1-BA1ED5B9BA10}"/>
              </a:ext>
            </a:extLst>
          </p:cNvPr>
          <p:cNvSpPr txBox="1"/>
          <p:nvPr/>
        </p:nvSpPr>
        <p:spPr>
          <a:xfrm>
            <a:off x="9763752" y="2112552"/>
            <a:ext cx="1805251"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nl-NL" sz="1200"/>
              <a:t>[naam medewerker instelling]</a:t>
            </a:r>
          </a:p>
        </p:txBody>
      </p:sp>
      <p:sp>
        <p:nvSpPr>
          <p:cNvPr id="43" name="Rechthoek 42">
            <a:extLst>
              <a:ext uri="{FF2B5EF4-FFF2-40B4-BE49-F238E27FC236}">
                <a16:creationId xmlns:a16="http://schemas.microsoft.com/office/drawing/2014/main" id="{53A265C5-AD8C-4EF5-8B43-72C77F46BFF8}"/>
              </a:ext>
            </a:extLst>
          </p:cNvPr>
          <p:cNvSpPr/>
          <p:nvPr/>
        </p:nvSpPr>
        <p:spPr>
          <a:xfrm>
            <a:off x="359025" y="1945850"/>
            <a:ext cx="2307897" cy="737485"/>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nl-NL" sz="1200">
                <a:solidFill>
                  <a:schemeClr val="accent4">
                    <a:lumMod val="75000"/>
                  </a:schemeClr>
                </a:solidFill>
              </a:rPr>
              <a:t>Werk de </a:t>
            </a:r>
            <a:r>
              <a:rPr lang="nl-NL" sz="1200" b="1">
                <a:solidFill>
                  <a:schemeClr val="accent4">
                    <a:lumMod val="75000"/>
                  </a:schemeClr>
                </a:solidFill>
              </a:rPr>
              <a:t>uitgangspunten langere termijn </a:t>
            </a:r>
            <a:r>
              <a:rPr lang="nl-NL" sz="1200">
                <a:solidFill>
                  <a:schemeClr val="accent4">
                    <a:lumMod val="75000"/>
                  </a:schemeClr>
                </a:solidFill>
              </a:rPr>
              <a:t>verder uit</a:t>
            </a:r>
            <a:endParaRPr lang="nl-NL" sz="1300">
              <a:solidFill>
                <a:schemeClr val="tx1"/>
              </a:solidFill>
            </a:endParaRPr>
          </a:p>
        </p:txBody>
      </p:sp>
      <p:sp>
        <p:nvSpPr>
          <p:cNvPr id="45" name="Rechthoek 44">
            <a:extLst>
              <a:ext uri="{FF2B5EF4-FFF2-40B4-BE49-F238E27FC236}">
                <a16:creationId xmlns:a16="http://schemas.microsoft.com/office/drawing/2014/main" id="{D9E86C91-6CAB-41EF-BB8B-503843BE4041}"/>
              </a:ext>
            </a:extLst>
          </p:cNvPr>
          <p:cNvSpPr/>
          <p:nvPr/>
        </p:nvSpPr>
        <p:spPr>
          <a:xfrm>
            <a:off x="356939" y="1178778"/>
            <a:ext cx="2307897" cy="57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200">
                <a:solidFill>
                  <a:schemeClr val="accent4">
                    <a:lumMod val="75000"/>
                  </a:schemeClr>
                </a:solidFill>
              </a:rPr>
              <a:t>Dit document is bedoeld als </a:t>
            </a:r>
            <a:r>
              <a:rPr lang="nl-NL" sz="1200" b="1">
                <a:solidFill>
                  <a:schemeClr val="accent4">
                    <a:lumMod val="75000"/>
                  </a:schemeClr>
                </a:solidFill>
              </a:rPr>
              <a:t>een levend document voor de toekomst</a:t>
            </a:r>
            <a:r>
              <a:rPr lang="nl-NL" sz="1200">
                <a:solidFill>
                  <a:schemeClr val="accent4">
                    <a:lumMod val="75000"/>
                  </a:schemeClr>
                </a:solidFill>
              </a:rPr>
              <a:t>.</a:t>
            </a:r>
            <a:endParaRPr lang="nl-NL" sz="1300">
              <a:solidFill>
                <a:schemeClr val="tx1"/>
              </a:solidFill>
            </a:endParaRPr>
          </a:p>
        </p:txBody>
      </p:sp>
      <p:grpSp>
        <p:nvGrpSpPr>
          <p:cNvPr id="3" name="Groep 2">
            <a:extLst>
              <a:ext uri="{FF2B5EF4-FFF2-40B4-BE49-F238E27FC236}">
                <a16:creationId xmlns:a16="http://schemas.microsoft.com/office/drawing/2014/main" id="{2C66EDB7-2D23-4093-A29A-5EEA2D267267}"/>
              </a:ext>
            </a:extLst>
          </p:cNvPr>
          <p:cNvGrpSpPr/>
          <p:nvPr/>
        </p:nvGrpSpPr>
        <p:grpSpPr>
          <a:xfrm>
            <a:off x="9777681" y="709117"/>
            <a:ext cx="2033361" cy="421286"/>
            <a:chOff x="10180561" y="709397"/>
            <a:chExt cx="1692125" cy="421286"/>
          </a:xfrm>
        </p:grpSpPr>
        <p:sp>
          <p:nvSpPr>
            <p:cNvPr id="31" name="Tekstvak 30">
              <a:extLst>
                <a:ext uri="{FF2B5EF4-FFF2-40B4-BE49-F238E27FC236}">
                  <a16:creationId xmlns:a16="http://schemas.microsoft.com/office/drawing/2014/main" id="{28233D90-CEB8-4C89-8269-C9AA6FA934A2}"/>
                </a:ext>
              </a:extLst>
            </p:cNvPr>
            <p:cNvSpPr txBox="1"/>
            <p:nvPr/>
          </p:nvSpPr>
          <p:spPr>
            <a:xfrm>
              <a:off x="10180561" y="709397"/>
              <a:ext cx="1692125" cy="4001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nl-NL" sz="1300" b="1">
                  <a:solidFill>
                    <a:schemeClr val="accent4"/>
                  </a:solidFill>
                </a:rPr>
                <a:t>Wie is hier verantwoordelijk voor?</a:t>
              </a:r>
            </a:p>
          </p:txBody>
        </p:sp>
        <p:cxnSp>
          <p:nvCxnSpPr>
            <p:cNvPr id="49" name="Rechte verbindingslijn 48">
              <a:extLst>
                <a:ext uri="{FF2B5EF4-FFF2-40B4-BE49-F238E27FC236}">
                  <a16:creationId xmlns:a16="http://schemas.microsoft.com/office/drawing/2014/main" id="{EE8461B2-3412-42D6-B466-19E885407988}"/>
                </a:ext>
              </a:extLst>
            </p:cNvPr>
            <p:cNvCxnSpPr>
              <a:cxnSpLocks/>
            </p:cNvCxnSpPr>
            <p:nvPr/>
          </p:nvCxnSpPr>
          <p:spPr>
            <a:xfrm>
              <a:off x="10180561" y="1130683"/>
              <a:ext cx="1557782" cy="0"/>
            </a:xfrm>
            <a:prstGeom prst="line">
              <a:avLst/>
            </a:prstGeom>
            <a:ln/>
          </p:spPr>
          <p:style>
            <a:lnRef idx="1">
              <a:schemeClr val="accent4"/>
            </a:lnRef>
            <a:fillRef idx="0">
              <a:schemeClr val="accent4"/>
            </a:fillRef>
            <a:effectRef idx="0">
              <a:schemeClr val="accent4"/>
            </a:effectRef>
            <a:fontRef idx="minor">
              <a:schemeClr val="tx1"/>
            </a:fontRef>
          </p:style>
        </p:cxnSp>
      </p:grpSp>
      <p:cxnSp>
        <p:nvCxnSpPr>
          <p:cNvPr id="54" name="Rechte verbindingslijn 53">
            <a:extLst>
              <a:ext uri="{FF2B5EF4-FFF2-40B4-BE49-F238E27FC236}">
                <a16:creationId xmlns:a16="http://schemas.microsoft.com/office/drawing/2014/main" id="{D31E6D62-F7C1-4F8D-B63F-9381A19DC2A3}"/>
              </a:ext>
            </a:extLst>
          </p:cNvPr>
          <p:cNvCxnSpPr>
            <a:cxnSpLocks/>
          </p:cNvCxnSpPr>
          <p:nvPr/>
        </p:nvCxnSpPr>
        <p:spPr>
          <a:xfrm>
            <a:off x="376661" y="1856342"/>
            <a:ext cx="1104992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 name="Rechte verbindingslijn 57">
            <a:extLst>
              <a:ext uri="{FF2B5EF4-FFF2-40B4-BE49-F238E27FC236}">
                <a16:creationId xmlns:a16="http://schemas.microsoft.com/office/drawing/2014/main" id="{9F04BD0E-CD70-47E3-BBEA-CB15DE4F47FE}"/>
              </a:ext>
            </a:extLst>
          </p:cNvPr>
          <p:cNvCxnSpPr>
            <a:cxnSpLocks/>
          </p:cNvCxnSpPr>
          <p:nvPr/>
        </p:nvCxnSpPr>
        <p:spPr>
          <a:xfrm>
            <a:off x="356938" y="3515860"/>
            <a:ext cx="1118874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0" name="Tekstvak 9">
            <a:extLst>
              <a:ext uri="{FF2B5EF4-FFF2-40B4-BE49-F238E27FC236}">
                <a16:creationId xmlns:a16="http://schemas.microsoft.com/office/drawing/2014/main" id="{5AD37D25-FF08-4BE6-89C8-9D5C0F5CBBC8}"/>
              </a:ext>
            </a:extLst>
          </p:cNvPr>
          <p:cNvSpPr txBox="1"/>
          <p:nvPr/>
        </p:nvSpPr>
        <p:spPr>
          <a:xfrm>
            <a:off x="2873339" y="1304197"/>
            <a:ext cx="6799896"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spcAft>
                <a:spcPts val="600"/>
              </a:spcAft>
            </a:pPr>
            <a:r>
              <a:rPr lang="nl-NL" sz="1200"/>
              <a:t>Ga eerst meer ervaringen op doen met Goede Gesprekken en pas daarna dit document aan op basis van die inzichten.</a:t>
            </a:r>
          </a:p>
        </p:txBody>
      </p:sp>
      <p:sp>
        <p:nvSpPr>
          <p:cNvPr id="24" name="Tekstvak 23">
            <a:extLst>
              <a:ext uri="{FF2B5EF4-FFF2-40B4-BE49-F238E27FC236}">
                <a16:creationId xmlns:a16="http://schemas.microsoft.com/office/drawing/2014/main" id="{E4D1E924-3575-4A5A-A868-48089EABCBF2}"/>
              </a:ext>
            </a:extLst>
          </p:cNvPr>
          <p:cNvSpPr txBox="1"/>
          <p:nvPr/>
        </p:nvSpPr>
        <p:spPr>
          <a:xfrm>
            <a:off x="2873339" y="1967429"/>
            <a:ext cx="6785750" cy="723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spcAft>
                <a:spcPts val="600"/>
              </a:spcAft>
            </a:pPr>
            <a:r>
              <a:rPr lang="nl-NL" sz="1200"/>
              <a:t>Denk na over de vragen:</a:t>
            </a:r>
          </a:p>
          <a:p>
            <a:pPr marL="171450" indent="-171450">
              <a:spcAft>
                <a:spcPts val="600"/>
              </a:spcAft>
              <a:buFont typeface="Arial" panose="020B0604020202020204" pitchFamily="34" charset="0"/>
              <a:buChar char="•"/>
            </a:pPr>
            <a:r>
              <a:rPr lang="nl-NL" sz="1200"/>
              <a:t> Is het gesprek vrijblijvend of niet? (zo nee, hoe krijgt deze ingroeitijd verder vorm)</a:t>
            </a:r>
          </a:p>
          <a:p>
            <a:pPr marL="171450" indent="-171450">
              <a:spcAft>
                <a:spcPts val="600"/>
              </a:spcAft>
              <a:buFont typeface="Arial" panose="020B0604020202020204" pitchFamily="34" charset="0"/>
              <a:buChar char="•"/>
            </a:pPr>
            <a:r>
              <a:rPr lang="nl-NL" sz="1200"/>
              <a:t> Willen we dat iedereen elk jaar een goed gesprek krijgt? (zie bijlage)</a:t>
            </a:r>
          </a:p>
        </p:txBody>
      </p:sp>
      <p:cxnSp>
        <p:nvCxnSpPr>
          <p:cNvPr id="47" name="Rechte verbindingslijn 46">
            <a:extLst>
              <a:ext uri="{FF2B5EF4-FFF2-40B4-BE49-F238E27FC236}">
                <a16:creationId xmlns:a16="http://schemas.microsoft.com/office/drawing/2014/main" id="{C2C73802-CD25-41DC-B9B5-22B8F63C0882}"/>
              </a:ext>
            </a:extLst>
          </p:cNvPr>
          <p:cNvCxnSpPr>
            <a:cxnSpLocks/>
          </p:cNvCxnSpPr>
          <p:nvPr/>
        </p:nvCxnSpPr>
        <p:spPr>
          <a:xfrm>
            <a:off x="324779" y="1109227"/>
            <a:ext cx="9385086" cy="21176"/>
          </a:xfrm>
          <a:prstGeom prst="line">
            <a:avLst/>
          </a:prstGeom>
          <a:ln/>
        </p:spPr>
        <p:style>
          <a:lnRef idx="1">
            <a:schemeClr val="accent4"/>
          </a:lnRef>
          <a:fillRef idx="0">
            <a:schemeClr val="accent4"/>
          </a:fillRef>
          <a:effectRef idx="0">
            <a:schemeClr val="accent4"/>
          </a:effectRef>
          <a:fontRef idx="minor">
            <a:schemeClr val="tx1"/>
          </a:fontRef>
        </p:style>
      </p:cxnSp>
      <p:cxnSp>
        <p:nvCxnSpPr>
          <p:cNvPr id="41" name="Rechte verbindingslijn 40">
            <a:extLst>
              <a:ext uri="{FF2B5EF4-FFF2-40B4-BE49-F238E27FC236}">
                <a16:creationId xmlns:a16="http://schemas.microsoft.com/office/drawing/2014/main" id="{9B3CD48E-41AB-4766-808C-F8AE03E02676}"/>
              </a:ext>
            </a:extLst>
          </p:cNvPr>
          <p:cNvCxnSpPr>
            <a:cxnSpLocks/>
          </p:cNvCxnSpPr>
          <p:nvPr/>
        </p:nvCxnSpPr>
        <p:spPr>
          <a:xfrm>
            <a:off x="346681" y="2762114"/>
            <a:ext cx="1118874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2" name="Tekstvak 41">
            <a:extLst>
              <a:ext uri="{FF2B5EF4-FFF2-40B4-BE49-F238E27FC236}">
                <a16:creationId xmlns:a16="http://schemas.microsoft.com/office/drawing/2014/main" id="{F7B7396E-0CF6-4F95-A24B-3226D9AD34B0}"/>
              </a:ext>
            </a:extLst>
          </p:cNvPr>
          <p:cNvSpPr txBox="1"/>
          <p:nvPr/>
        </p:nvSpPr>
        <p:spPr>
          <a:xfrm>
            <a:off x="9763752" y="2939277"/>
            <a:ext cx="1871926"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nl-NL" sz="1200"/>
              <a:t>[naam medewerker instelling]</a:t>
            </a:r>
          </a:p>
        </p:txBody>
      </p:sp>
      <p:sp>
        <p:nvSpPr>
          <p:cNvPr id="48" name="Tekstvak 47">
            <a:extLst>
              <a:ext uri="{FF2B5EF4-FFF2-40B4-BE49-F238E27FC236}">
                <a16:creationId xmlns:a16="http://schemas.microsoft.com/office/drawing/2014/main" id="{1294146C-16F1-49B2-BAB2-61315B74CE6D}"/>
              </a:ext>
            </a:extLst>
          </p:cNvPr>
          <p:cNvSpPr txBox="1"/>
          <p:nvPr/>
        </p:nvSpPr>
        <p:spPr>
          <a:xfrm>
            <a:off x="9763753" y="4664809"/>
            <a:ext cx="1735839"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nl-NL" sz="1200"/>
              <a:t>[naam medewerker instelling]</a:t>
            </a:r>
          </a:p>
        </p:txBody>
      </p:sp>
      <p:sp>
        <p:nvSpPr>
          <p:cNvPr id="35" name="Rechthoek 34">
            <a:extLst>
              <a:ext uri="{FF2B5EF4-FFF2-40B4-BE49-F238E27FC236}">
                <a16:creationId xmlns:a16="http://schemas.microsoft.com/office/drawing/2014/main" id="{7C685936-C5B7-44FF-93E3-A501FD002317}"/>
              </a:ext>
            </a:extLst>
          </p:cNvPr>
          <p:cNvSpPr/>
          <p:nvPr/>
        </p:nvSpPr>
        <p:spPr>
          <a:xfrm>
            <a:off x="345873" y="2856749"/>
            <a:ext cx="2307897" cy="57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nl-NL" sz="1200">
                <a:solidFill>
                  <a:schemeClr val="accent4">
                    <a:lumMod val="75000"/>
                  </a:schemeClr>
                </a:solidFill>
              </a:rPr>
              <a:t>Benader de medewerkers met het </a:t>
            </a:r>
            <a:r>
              <a:rPr lang="nl-NL" sz="1200" b="1">
                <a:solidFill>
                  <a:schemeClr val="accent4">
                    <a:lumMod val="75000"/>
                  </a:schemeClr>
                </a:solidFill>
              </a:rPr>
              <a:t>meeste potentieel</a:t>
            </a:r>
            <a:endParaRPr lang="nl-NL" sz="1300" b="1">
              <a:solidFill>
                <a:schemeClr val="tx1"/>
              </a:solidFill>
            </a:endParaRPr>
          </a:p>
        </p:txBody>
      </p:sp>
      <p:sp>
        <p:nvSpPr>
          <p:cNvPr id="36" name="Tekstvak 35">
            <a:extLst>
              <a:ext uri="{FF2B5EF4-FFF2-40B4-BE49-F238E27FC236}">
                <a16:creationId xmlns:a16="http://schemas.microsoft.com/office/drawing/2014/main" id="{8E132EC5-DEB2-468C-B0D1-A3724DD71FDA}"/>
              </a:ext>
            </a:extLst>
          </p:cNvPr>
          <p:cNvSpPr txBox="1"/>
          <p:nvPr/>
        </p:nvSpPr>
        <p:spPr>
          <a:xfrm>
            <a:off x="2873339" y="2954666"/>
            <a:ext cx="6785750"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spcAft>
                <a:spcPts val="600"/>
              </a:spcAft>
            </a:pPr>
            <a:r>
              <a:rPr lang="nl-NL" sz="1200"/>
              <a:t>Mochten de aanvragen voor Goede Gesprekken achterblijven, dan kunnen de groepen met het    meeste potentieel (o.b.v. enquête in de Value Case (&lt;30, 45-55)) worden benaderd</a:t>
            </a:r>
          </a:p>
        </p:txBody>
      </p:sp>
      <p:sp>
        <p:nvSpPr>
          <p:cNvPr id="37" name="Rechthoek 36">
            <a:extLst>
              <a:ext uri="{FF2B5EF4-FFF2-40B4-BE49-F238E27FC236}">
                <a16:creationId xmlns:a16="http://schemas.microsoft.com/office/drawing/2014/main" id="{29FBD4A0-D00F-4E7E-9187-A067D4DE8ACD}"/>
              </a:ext>
            </a:extLst>
          </p:cNvPr>
          <p:cNvSpPr/>
          <p:nvPr/>
        </p:nvSpPr>
        <p:spPr>
          <a:xfrm>
            <a:off x="356939" y="3606202"/>
            <a:ext cx="2307897" cy="800477"/>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nl-NL" sz="1200">
                <a:solidFill>
                  <a:schemeClr val="accent4">
                    <a:lumMod val="75000"/>
                  </a:schemeClr>
                </a:solidFill>
              </a:rPr>
              <a:t>Zorg voor een </a:t>
            </a:r>
            <a:r>
              <a:rPr lang="nl-NL" sz="1200" b="1">
                <a:solidFill>
                  <a:schemeClr val="accent4">
                    <a:lumMod val="75000"/>
                  </a:schemeClr>
                </a:solidFill>
              </a:rPr>
              <a:t>digitaal ondersteuningssysteem</a:t>
            </a:r>
            <a:endParaRPr lang="nl-NL" sz="1300" b="1">
              <a:solidFill>
                <a:schemeClr val="tx1"/>
              </a:solidFill>
            </a:endParaRPr>
          </a:p>
        </p:txBody>
      </p:sp>
      <p:sp>
        <p:nvSpPr>
          <p:cNvPr id="40" name="Tekstvak 39">
            <a:extLst>
              <a:ext uri="{FF2B5EF4-FFF2-40B4-BE49-F238E27FC236}">
                <a16:creationId xmlns:a16="http://schemas.microsoft.com/office/drawing/2014/main" id="{BDBF0081-14D5-4A1A-A7D9-54B37F8D3034}"/>
              </a:ext>
            </a:extLst>
          </p:cNvPr>
          <p:cNvSpPr txBox="1"/>
          <p:nvPr/>
        </p:nvSpPr>
        <p:spPr>
          <a:xfrm>
            <a:off x="2873339" y="3667004"/>
            <a:ext cx="6785750"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spcAft>
                <a:spcPts val="600"/>
              </a:spcAft>
            </a:pPr>
            <a:r>
              <a:rPr lang="nl-NL" sz="1200"/>
              <a:t>Onderzoek de mogelijkheden van het huidige HR systeem of hier ‘signalen’ kunnen worden ingebouwd om te zorgen dat er op de juiste momenten een reminder komt voor een Goed Gesprek en of het systeem kan worden gebruikt voor de vastlegging. Wanneer dit niet mogelijk is, onderzoek of er een nieuw systeem mogelijk is of dat dit op een andere manier kan worden ingeregeld. </a:t>
            </a:r>
          </a:p>
        </p:txBody>
      </p:sp>
      <p:cxnSp>
        <p:nvCxnSpPr>
          <p:cNvPr id="46" name="Rechte verbindingslijn 45">
            <a:extLst>
              <a:ext uri="{FF2B5EF4-FFF2-40B4-BE49-F238E27FC236}">
                <a16:creationId xmlns:a16="http://schemas.microsoft.com/office/drawing/2014/main" id="{148D66B2-E563-48EE-8588-68A4D19E5A16}"/>
              </a:ext>
            </a:extLst>
          </p:cNvPr>
          <p:cNvCxnSpPr>
            <a:cxnSpLocks/>
          </p:cNvCxnSpPr>
          <p:nvPr/>
        </p:nvCxnSpPr>
        <p:spPr>
          <a:xfrm>
            <a:off x="376661" y="5258091"/>
            <a:ext cx="1118874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53" name="Rechthoek 52">
            <a:extLst>
              <a:ext uri="{FF2B5EF4-FFF2-40B4-BE49-F238E27FC236}">
                <a16:creationId xmlns:a16="http://schemas.microsoft.com/office/drawing/2014/main" id="{650D5DF7-3F59-4CA1-8258-A1B46F212F0C}"/>
              </a:ext>
            </a:extLst>
          </p:cNvPr>
          <p:cNvSpPr/>
          <p:nvPr/>
        </p:nvSpPr>
        <p:spPr>
          <a:xfrm>
            <a:off x="356939" y="4595123"/>
            <a:ext cx="2307897" cy="57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nl-NL" sz="1200">
                <a:solidFill>
                  <a:schemeClr val="accent4">
                    <a:lumMod val="75000"/>
                  </a:schemeClr>
                </a:solidFill>
              </a:rPr>
              <a:t>Zorg voor een </a:t>
            </a:r>
            <a:r>
              <a:rPr lang="nl-NL" sz="1200" b="1">
                <a:solidFill>
                  <a:schemeClr val="accent4">
                    <a:lumMod val="75000"/>
                  </a:schemeClr>
                </a:solidFill>
              </a:rPr>
              <a:t>leidraad per doelgroep</a:t>
            </a:r>
            <a:endParaRPr lang="nl-NL" sz="1300" b="1">
              <a:solidFill>
                <a:schemeClr val="tx1"/>
              </a:solidFill>
            </a:endParaRPr>
          </a:p>
        </p:txBody>
      </p:sp>
      <p:sp>
        <p:nvSpPr>
          <p:cNvPr id="57" name="Rechthoek 56">
            <a:extLst>
              <a:ext uri="{FF2B5EF4-FFF2-40B4-BE49-F238E27FC236}">
                <a16:creationId xmlns:a16="http://schemas.microsoft.com/office/drawing/2014/main" id="{3472CFD2-C4BA-4F2A-8714-0ED3DE8EFCF0}"/>
              </a:ext>
            </a:extLst>
          </p:cNvPr>
          <p:cNvSpPr/>
          <p:nvPr/>
        </p:nvSpPr>
        <p:spPr>
          <a:xfrm>
            <a:off x="376661" y="5344418"/>
            <a:ext cx="2307897" cy="57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nl-NL" sz="1200">
                <a:solidFill>
                  <a:schemeClr val="accent4">
                    <a:lumMod val="75000"/>
                  </a:schemeClr>
                </a:solidFill>
              </a:rPr>
              <a:t>Zorg voor</a:t>
            </a:r>
            <a:r>
              <a:rPr lang="nl-NL" sz="1200" b="1">
                <a:solidFill>
                  <a:schemeClr val="accent4">
                    <a:lumMod val="75000"/>
                  </a:schemeClr>
                </a:solidFill>
              </a:rPr>
              <a:t> eigenaarschap </a:t>
            </a:r>
            <a:r>
              <a:rPr lang="nl-NL" sz="1200">
                <a:solidFill>
                  <a:schemeClr val="accent4">
                    <a:lumMod val="75000"/>
                  </a:schemeClr>
                </a:solidFill>
              </a:rPr>
              <a:t>binnen het </a:t>
            </a:r>
            <a:r>
              <a:rPr lang="nl-NL" sz="1200" b="1">
                <a:solidFill>
                  <a:schemeClr val="accent4">
                    <a:lumMod val="75000"/>
                  </a:schemeClr>
                </a:solidFill>
              </a:rPr>
              <a:t>management</a:t>
            </a:r>
            <a:endParaRPr lang="nl-NL" sz="1300" b="1">
              <a:solidFill>
                <a:schemeClr val="tx1"/>
              </a:solidFill>
            </a:endParaRPr>
          </a:p>
        </p:txBody>
      </p:sp>
      <p:sp>
        <p:nvSpPr>
          <p:cNvPr id="60" name="Rechthoek 59">
            <a:extLst>
              <a:ext uri="{FF2B5EF4-FFF2-40B4-BE49-F238E27FC236}">
                <a16:creationId xmlns:a16="http://schemas.microsoft.com/office/drawing/2014/main" id="{88CA3783-824B-403F-8253-8407B331E5CC}"/>
              </a:ext>
            </a:extLst>
          </p:cNvPr>
          <p:cNvSpPr/>
          <p:nvPr/>
        </p:nvSpPr>
        <p:spPr>
          <a:xfrm>
            <a:off x="376661" y="6078617"/>
            <a:ext cx="2307897" cy="57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45720" rIns="36000" bIns="45720" rtlCol="0" anchor="ctr"/>
          <a:lstStyle/>
          <a:p>
            <a:pPr algn="ctr"/>
            <a:r>
              <a:rPr lang="nl-NL" sz="1200">
                <a:solidFill>
                  <a:schemeClr val="accent4">
                    <a:lumMod val="75000"/>
                  </a:schemeClr>
                </a:solidFill>
              </a:rPr>
              <a:t>Regel  de volgende punten in binnen de instelling</a:t>
            </a:r>
          </a:p>
        </p:txBody>
      </p:sp>
      <p:cxnSp>
        <p:nvCxnSpPr>
          <p:cNvPr id="61" name="Rechte verbindingslijn 60">
            <a:extLst>
              <a:ext uri="{FF2B5EF4-FFF2-40B4-BE49-F238E27FC236}">
                <a16:creationId xmlns:a16="http://schemas.microsoft.com/office/drawing/2014/main" id="{03DEB001-22AB-4E32-9DFB-D931C8CD032D}"/>
              </a:ext>
            </a:extLst>
          </p:cNvPr>
          <p:cNvCxnSpPr>
            <a:cxnSpLocks/>
          </p:cNvCxnSpPr>
          <p:nvPr/>
        </p:nvCxnSpPr>
        <p:spPr>
          <a:xfrm>
            <a:off x="324779" y="4493647"/>
            <a:ext cx="1118874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8678B452-9434-4745-975D-1F9CE7574821}"/>
              </a:ext>
            </a:extLst>
          </p:cNvPr>
          <p:cNvCxnSpPr>
            <a:cxnSpLocks/>
          </p:cNvCxnSpPr>
          <p:nvPr/>
        </p:nvCxnSpPr>
        <p:spPr>
          <a:xfrm>
            <a:off x="356939" y="6001858"/>
            <a:ext cx="1118874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63" name="Tekstvak 62">
            <a:extLst>
              <a:ext uri="{FF2B5EF4-FFF2-40B4-BE49-F238E27FC236}">
                <a16:creationId xmlns:a16="http://schemas.microsoft.com/office/drawing/2014/main" id="{6E912A54-E29F-465E-8F8D-4EE5F2719C1E}"/>
              </a:ext>
            </a:extLst>
          </p:cNvPr>
          <p:cNvSpPr txBox="1"/>
          <p:nvPr/>
        </p:nvSpPr>
        <p:spPr>
          <a:xfrm>
            <a:off x="9777681" y="5401694"/>
            <a:ext cx="1735839"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nl-NL" sz="1200"/>
              <a:t>[naam medewerker instelling]</a:t>
            </a:r>
          </a:p>
          <a:p>
            <a:endParaRPr lang="nl-NL" sz="1200"/>
          </a:p>
        </p:txBody>
      </p:sp>
      <p:sp>
        <p:nvSpPr>
          <p:cNvPr id="64" name="Tekstvak 63">
            <a:extLst>
              <a:ext uri="{FF2B5EF4-FFF2-40B4-BE49-F238E27FC236}">
                <a16:creationId xmlns:a16="http://schemas.microsoft.com/office/drawing/2014/main" id="{EBD02BA9-77CB-4914-BEFF-E6EEF3A1C9BC}"/>
              </a:ext>
            </a:extLst>
          </p:cNvPr>
          <p:cNvSpPr txBox="1"/>
          <p:nvPr/>
        </p:nvSpPr>
        <p:spPr>
          <a:xfrm>
            <a:off x="9777681" y="6122926"/>
            <a:ext cx="1735839"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nl-NL" sz="1200"/>
              <a:t>[naam medewerker instelling]</a:t>
            </a:r>
          </a:p>
          <a:p>
            <a:endParaRPr lang="nl-NL" sz="1200"/>
          </a:p>
        </p:txBody>
      </p:sp>
      <p:sp>
        <p:nvSpPr>
          <p:cNvPr id="65" name="Tekstvak 64">
            <a:extLst>
              <a:ext uri="{FF2B5EF4-FFF2-40B4-BE49-F238E27FC236}">
                <a16:creationId xmlns:a16="http://schemas.microsoft.com/office/drawing/2014/main" id="{59851809-3DCF-4A18-8C4B-55F8FCE1E2AD}"/>
              </a:ext>
            </a:extLst>
          </p:cNvPr>
          <p:cNvSpPr txBox="1"/>
          <p:nvPr/>
        </p:nvSpPr>
        <p:spPr>
          <a:xfrm>
            <a:off x="9763752" y="3810231"/>
            <a:ext cx="1735839"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nl-NL" sz="1200"/>
              <a:t>[naam medewerker instelling]</a:t>
            </a:r>
          </a:p>
        </p:txBody>
      </p:sp>
      <p:sp>
        <p:nvSpPr>
          <p:cNvPr id="66" name="Tekstvak 65">
            <a:extLst>
              <a:ext uri="{FF2B5EF4-FFF2-40B4-BE49-F238E27FC236}">
                <a16:creationId xmlns:a16="http://schemas.microsoft.com/office/drawing/2014/main" id="{AB4A4EAE-A7B0-49CA-96D4-1362F08BAB7A}"/>
              </a:ext>
            </a:extLst>
          </p:cNvPr>
          <p:cNvSpPr txBox="1"/>
          <p:nvPr/>
        </p:nvSpPr>
        <p:spPr>
          <a:xfrm>
            <a:off x="2873339" y="4683467"/>
            <a:ext cx="6785750"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spcAft>
                <a:spcPts val="600"/>
              </a:spcAft>
            </a:pPr>
            <a:r>
              <a:rPr lang="nl-NL" sz="1200"/>
              <a:t>Laat de basis gelijk maar kijk welke vragen kunnen worden overgeslagen afhankelijk van de manier waarop een medewerker instroomt in het goede gesprek.</a:t>
            </a:r>
          </a:p>
        </p:txBody>
      </p:sp>
      <p:sp>
        <p:nvSpPr>
          <p:cNvPr id="67" name="Tekstvak 66">
            <a:extLst>
              <a:ext uri="{FF2B5EF4-FFF2-40B4-BE49-F238E27FC236}">
                <a16:creationId xmlns:a16="http://schemas.microsoft.com/office/drawing/2014/main" id="{2CBCC74F-131A-4142-80D0-18E735DB2487}"/>
              </a:ext>
            </a:extLst>
          </p:cNvPr>
          <p:cNvSpPr txBox="1"/>
          <p:nvPr/>
        </p:nvSpPr>
        <p:spPr>
          <a:xfrm>
            <a:off x="2887485" y="5336764"/>
            <a:ext cx="6785750"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spcAft>
                <a:spcPts val="600"/>
              </a:spcAft>
            </a:pPr>
            <a:r>
              <a:rPr lang="nl-NL" sz="1200"/>
              <a:t>Zorg dat het onderwerp contract uitbereiding structureel terugkomt op de directieagenda en dat iemand binnen het directieteam expliciet verantwoordelijkheid pakt op dit onderwerp en dit ook structureel afstemt met de betrokkenen vanuit HR</a:t>
            </a:r>
          </a:p>
        </p:txBody>
      </p:sp>
      <p:sp>
        <p:nvSpPr>
          <p:cNvPr id="68" name="Tekstvak 67">
            <a:extLst>
              <a:ext uri="{FF2B5EF4-FFF2-40B4-BE49-F238E27FC236}">
                <a16:creationId xmlns:a16="http://schemas.microsoft.com/office/drawing/2014/main" id="{BB6A6F70-109D-4253-B449-52E8FA3A7EEF}"/>
              </a:ext>
            </a:extLst>
          </p:cNvPr>
          <p:cNvSpPr txBox="1"/>
          <p:nvPr/>
        </p:nvSpPr>
        <p:spPr>
          <a:xfrm>
            <a:off x="2873339" y="6135986"/>
            <a:ext cx="6785750"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spcAft>
                <a:spcPts val="600"/>
              </a:spcAft>
            </a:pPr>
            <a:r>
              <a:rPr lang="nl-NL" sz="1200"/>
              <a:t>Dit zijn: vooraf vragen stellen voor plaatsing vacature, alle wijkteamcoaches op de hoogte stellen van het HPP gedachtengoed en het goede gesprek, bij levensgebeurtenissen indien passend wijzen op de mogelijkheden van Goed Gesprek</a:t>
            </a:r>
          </a:p>
        </p:txBody>
      </p:sp>
      <p:sp>
        <p:nvSpPr>
          <p:cNvPr id="38" name="Rechthoek 37">
            <a:extLst>
              <a:ext uri="{FF2B5EF4-FFF2-40B4-BE49-F238E27FC236}">
                <a16:creationId xmlns:a16="http://schemas.microsoft.com/office/drawing/2014/main" id="{BBB1CDCA-E9E6-3741-BCE1-9C0A8DE594A3}"/>
              </a:ext>
            </a:extLst>
          </p:cNvPr>
          <p:cNvSpPr/>
          <p:nvPr/>
        </p:nvSpPr>
        <p:spPr>
          <a:xfrm>
            <a:off x="-1648854" y="119497"/>
            <a:ext cx="1903751" cy="3199055"/>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b="1" dirty="0" err="1">
                <a:solidFill>
                  <a:schemeClr val="tx1"/>
                </a:solidFill>
              </a:rPr>
              <a:t>To</a:t>
            </a:r>
            <a:r>
              <a:rPr lang="nl-NL" sz="1600" b="1" dirty="0">
                <a:solidFill>
                  <a:schemeClr val="tx1"/>
                </a:solidFill>
              </a:rPr>
              <a:t> do om deze slide instelling specifiek te maken:</a:t>
            </a:r>
          </a:p>
          <a:p>
            <a:pPr algn="ctr"/>
            <a:endParaRPr lang="nl-NL" sz="1600" dirty="0">
              <a:solidFill>
                <a:schemeClr val="tx1"/>
              </a:solidFill>
            </a:endParaRPr>
          </a:p>
          <a:p>
            <a:pPr algn="ctr"/>
            <a:r>
              <a:rPr lang="nl-NL" sz="1600" dirty="0">
                <a:solidFill>
                  <a:schemeClr val="tx1"/>
                </a:solidFill>
              </a:rPr>
              <a:t>- Dit is een voorbeeld van vervolgstappen van instelling x</a:t>
            </a:r>
          </a:p>
          <a:p>
            <a:pPr algn="ctr"/>
            <a:r>
              <a:rPr lang="nl-NL" sz="1600" dirty="0">
                <a:solidFill>
                  <a:schemeClr val="tx1"/>
                </a:solidFill>
              </a:rPr>
              <a:t>- Instelling specifiek maken als geheel</a:t>
            </a:r>
          </a:p>
        </p:txBody>
      </p:sp>
      <p:sp>
        <p:nvSpPr>
          <p:cNvPr id="44" name="Tekstvak 43">
            <a:extLst>
              <a:ext uri="{FF2B5EF4-FFF2-40B4-BE49-F238E27FC236}">
                <a16:creationId xmlns:a16="http://schemas.microsoft.com/office/drawing/2014/main" id="{EC3CEC00-B512-FF4B-9695-39909AA32F63}"/>
              </a:ext>
            </a:extLst>
          </p:cNvPr>
          <p:cNvSpPr txBox="1"/>
          <p:nvPr/>
        </p:nvSpPr>
        <p:spPr>
          <a:xfrm>
            <a:off x="2887485" y="880523"/>
            <a:ext cx="1519885"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nl-NL" sz="1300" b="1">
                <a:solidFill>
                  <a:schemeClr val="accent4"/>
                </a:solidFill>
              </a:rPr>
              <a:t>Tips</a:t>
            </a:r>
          </a:p>
        </p:txBody>
      </p:sp>
    </p:spTree>
    <p:extLst>
      <p:ext uri="{BB962C8B-B14F-4D97-AF65-F5344CB8AC3E}">
        <p14:creationId xmlns:p14="http://schemas.microsoft.com/office/powerpoint/2010/main" val="18075503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3D539D-BFB4-4F70-A76A-FFA75DD1FDE6}"/>
              </a:ext>
            </a:extLst>
          </p:cNvPr>
          <p:cNvSpPr>
            <a:spLocks noGrp="1"/>
          </p:cNvSpPr>
          <p:nvPr>
            <p:ph type="title"/>
          </p:nvPr>
        </p:nvSpPr>
        <p:spPr>
          <a:xfrm>
            <a:off x="521687" y="257903"/>
            <a:ext cx="11082528" cy="439639"/>
          </a:xfrm>
        </p:spPr>
        <p:txBody>
          <a:bodyPr/>
          <a:lstStyle/>
          <a:p>
            <a:r>
              <a:rPr lang="nl-NL" dirty="0"/>
              <a:t>Aanbevolen vervolgstappen algemeen (voorbeeld ‘s Heeren Loo)</a:t>
            </a:r>
          </a:p>
        </p:txBody>
      </p:sp>
      <p:sp>
        <p:nvSpPr>
          <p:cNvPr id="21" name="Tekstvak 20">
            <a:extLst>
              <a:ext uri="{FF2B5EF4-FFF2-40B4-BE49-F238E27FC236}">
                <a16:creationId xmlns:a16="http://schemas.microsoft.com/office/drawing/2014/main" id="{AC2DA83A-07DE-468B-B9DB-D2467E327A8C}"/>
              </a:ext>
            </a:extLst>
          </p:cNvPr>
          <p:cNvSpPr txBox="1"/>
          <p:nvPr/>
        </p:nvSpPr>
        <p:spPr>
          <a:xfrm>
            <a:off x="2809983" y="748323"/>
            <a:ext cx="8288262"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nl-NL" sz="1400" b="1" dirty="0">
                <a:solidFill>
                  <a:schemeClr val="accent4"/>
                </a:solidFill>
              </a:rPr>
              <a:t>Aanbevelingen</a:t>
            </a:r>
          </a:p>
        </p:txBody>
      </p:sp>
      <p:sp>
        <p:nvSpPr>
          <p:cNvPr id="23" name="Tekstvak 22">
            <a:extLst>
              <a:ext uri="{FF2B5EF4-FFF2-40B4-BE49-F238E27FC236}">
                <a16:creationId xmlns:a16="http://schemas.microsoft.com/office/drawing/2014/main" id="{ABDDE7C7-E64C-42D2-8618-B5D0C2082D11}"/>
              </a:ext>
            </a:extLst>
          </p:cNvPr>
          <p:cNvSpPr txBox="1"/>
          <p:nvPr/>
        </p:nvSpPr>
        <p:spPr>
          <a:xfrm>
            <a:off x="9787955" y="1208017"/>
            <a:ext cx="1687436" cy="4001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nl-NL" sz="1300" dirty="0"/>
              <a:t>[naam medewerker instelling]</a:t>
            </a:r>
          </a:p>
        </p:txBody>
      </p:sp>
      <p:sp>
        <p:nvSpPr>
          <p:cNvPr id="34" name="Tekstvak 33">
            <a:extLst>
              <a:ext uri="{FF2B5EF4-FFF2-40B4-BE49-F238E27FC236}">
                <a16:creationId xmlns:a16="http://schemas.microsoft.com/office/drawing/2014/main" id="{D8E74FB7-DA7D-461E-86C1-BA1ED5B9BA10}"/>
              </a:ext>
            </a:extLst>
          </p:cNvPr>
          <p:cNvSpPr txBox="1"/>
          <p:nvPr/>
        </p:nvSpPr>
        <p:spPr>
          <a:xfrm>
            <a:off x="9777681" y="1977122"/>
            <a:ext cx="1805251" cy="6001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nl-NL" sz="1300" dirty="0"/>
              <a:t>[naam medewerker instelling]</a:t>
            </a:r>
          </a:p>
          <a:p>
            <a:endParaRPr lang="nl-NL" sz="1300"/>
          </a:p>
        </p:txBody>
      </p:sp>
      <p:sp>
        <p:nvSpPr>
          <p:cNvPr id="43" name="Rechthoek 42">
            <a:extLst>
              <a:ext uri="{FF2B5EF4-FFF2-40B4-BE49-F238E27FC236}">
                <a16:creationId xmlns:a16="http://schemas.microsoft.com/office/drawing/2014/main" id="{53A265C5-AD8C-4EF5-8B43-72C77F46BFF8}"/>
              </a:ext>
            </a:extLst>
          </p:cNvPr>
          <p:cNvSpPr/>
          <p:nvPr/>
        </p:nvSpPr>
        <p:spPr>
          <a:xfrm>
            <a:off x="376661" y="1867986"/>
            <a:ext cx="2307897" cy="57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nl-NL" sz="1300" b="1" dirty="0">
                <a:solidFill>
                  <a:schemeClr val="accent4">
                    <a:lumMod val="75000"/>
                  </a:schemeClr>
                </a:solidFill>
              </a:rPr>
              <a:t>Beleg HPP binnen de instelling</a:t>
            </a:r>
          </a:p>
        </p:txBody>
      </p:sp>
      <p:sp>
        <p:nvSpPr>
          <p:cNvPr id="45" name="Rechthoek 44">
            <a:extLst>
              <a:ext uri="{FF2B5EF4-FFF2-40B4-BE49-F238E27FC236}">
                <a16:creationId xmlns:a16="http://schemas.microsoft.com/office/drawing/2014/main" id="{D9E86C91-6CAB-41EF-BB8B-503843BE4041}"/>
              </a:ext>
            </a:extLst>
          </p:cNvPr>
          <p:cNvSpPr/>
          <p:nvPr/>
        </p:nvSpPr>
        <p:spPr>
          <a:xfrm>
            <a:off x="376661" y="998878"/>
            <a:ext cx="2307897" cy="57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300" dirty="0">
                <a:solidFill>
                  <a:schemeClr val="accent4">
                    <a:lumMod val="75000"/>
                  </a:schemeClr>
                </a:solidFill>
              </a:rPr>
              <a:t>Pak </a:t>
            </a:r>
            <a:r>
              <a:rPr lang="nl-NL" sz="1300" b="1" dirty="0">
                <a:solidFill>
                  <a:schemeClr val="accent4">
                    <a:lumMod val="75000"/>
                  </a:schemeClr>
                </a:solidFill>
              </a:rPr>
              <a:t>formatieruimte </a:t>
            </a:r>
            <a:r>
              <a:rPr lang="nl-NL" sz="1300" dirty="0">
                <a:solidFill>
                  <a:schemeClr val="accent4">
                    <a:lumMod val="75000"/>
                  </a:schemeClr>
                </a:solidFill>
              </a:rPr>
              <a:t>binnen een team anders aan</a:t>
            </a:r>
          </a:p>
        </p:txBody>
      </p:sp>
      <p:grpSp>
        <p:nvGrpSpPr>
          <p:cNvPr id="3" name="Groep 2">
            <a:extLst>
              <a:ext uri="{FF2B5EF4-FFF2-40B4-BE49-F238E27FC236}">
                <a16:creationId xmlns:a16="http://schemas.microsoft.com/office/drawing/2014/main" id="{2C66EDB7-2D23-4093-A29A-5EEA2D267267}"/>
              </a:ext>
            </a:extLst>
          </p:cNvPr>
          <p:cNvGrpSpPr/>
          <p:nvPr/>
        </p:nvGrpSpPr>
        <p:grpSpPr>
          <a:xfrm>
            <a:off x="9777678" y="634167"/>
            <a:ext cx="2177198" cy="421286"/>
            <a:chOff x="10180561" y="709397"/>
            <a:chExt cx="1811824" cy="421286"/>
          </a:xfrm>
        </p:grpSpPr>
        <p:sp>
          <p:nvSpPr>
            <p:cNvPr id="31" name="Tekstvak 30">
              <a:extLst>
                <a:ext uri="{FF2B5EF4-FFF2-40B4-BE49-F238E27FC236}">
                  <a16:creationId xmlns:a16="http://schemas.microsoft.com/office/drawing/2014/main" id="{28233D90-CEB8-4C89-8269-C9AA6FA934A2}"/>
                </a:ext>
              </a:extLst>
            </p:cNvPr>
            <p:cNvSpPr txBox="1"/>
            <p:nvPr/>
          </p:nvSpPr>
          <p:spPr>
            <a:xfrm>
              <a:off x="10300260" y="709397"/>
              <a:ext cx="1692125" cy="4001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nl-NL" sz="1300" b="1" dirty="0">
                  <a:solidFill>
                    <a:schemeClr val="accent4"/>
                  </a:solidFill>
                </a:rPr>
                <a:t>Wie is hier voor verantwoordelijk?</a:t>
              </a:r>
            </a:p>
          </p:txBody>
        </p:sp>
        <p:cxnSp>
          <p:nvCxnSpPr>
            <p:cNvPr id="49" name="Rechte verbindingslijn 48">
              <a:extLst>
                <a:ext uri="{FF2B5EF4-FFF2-40B4-BE49-F238E27FC236}">
                  <a16:creationId xmlns:a16="http://schemas.microsoft.com/office/drawing/2014/main" id="{EE8461B2-3412-42D6-B466-19E885407988}"/>
                </a:ext>
              </a:extLst>
            </p:cNvPr>
            <p:cNvCxnSpPr>
              <a:cxnSpLocks/>
            </p:cNvCxnSpPr>
            <p:nvPr/>
          </p:nvCxnSpPr>
          <p:spPr>
            <a:xfrm>
              <a:off x="10180561" y="1130683"/>
              <a:ext cx="1557782" cy="0"/>
            </a:xfrm>
            <a:prstGeom prst="line">
              <a:avLst/>
            </a:prstGeom>
            <a:ln/>
          </p:spPr>
          <p:style>
            <a:lnRef idx="1">
              <a:schemeClr val="accent4"/>
            </a:lnRef>
            <a:fillRef idx="0">
              <a:schemeClr val="accent4"/>
            </a:fillRef>
            <a:effectRef idx="0">
              <a:schemeClr val="accent4"/>
            </a:effectRef>
            <a:fontRef idx="minor">
              <a:schemeClr val="tx1"/>
            </a:fontRef>
          </p:style>
        </p:cxnSp>
      </p:grpSp>
      <p:cxnSp>
        <p:nvCxnSpPr>
          <p:cNvPr id="54" name="Rechte verbindingslijn 53">
            <a:extLst>
              <a:ext uri="{FF2B5EF4-FFF2-40B4-BE49-F238E27FC236}">
                <a16:creationId xmlns:a16="http://schemas.microsoft.com/office/drawing/2014/main" id="{D31E6D62-F7C1-4F8D-B63F-9381A19DC2A3}"/>
              </a:ext>
            </a:extLst>
          </p:cNvPr>
          <p:cNvCxnSpPr>
            <a:cxnSpLocks/>
          </p:cNvCxnSpPr>
          <p:nvPr/>
        </p:nvCxnSpPr>
        <p:spPr>
          <a:xfrm>
            <a:off x="376661" y="1721432"/>
            <a:ext cx="1104992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 name="Rechte verbindingslijn 57">
            <a:extLst>
              <a:ext uri="{FF2B5EF4-FFF2-40B4-BE49-F238E27FC236}">
                <a16:creationId xmlns:a16="http://schemas.microsoft.com/office/drawing/2014/main" id="{9F04BD0E-CD70-47E3-BBEA-CB15DE4F47FE}"/>
              </a:ext>
            </a:extLst>
          </p:cNvPr>
          <p:cNvCxnSpPr>
            <a:cxnSpLocks/>
          </p:cNvCxnSpPr>
          <p:nvPr/>
        </p:nvCxnSpPr>
        <p:spPr>
          <a:xfrm>
            <a:off x="457136" y="3459648"/>
            <a:ext cx="1118874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Tekstvak 23">
            <a:extLst>
              <a:ext uri="{FF2B5EF4-FFF2-40B4-BE49-F238E27FC236}">
                <a16:creationId xmlns:a16="http://schemas.microsoft.com/office/drawing/2014/main" id="{E4D1E924-3575-4A5A-A868-48089EABCBF2}"/>
              </a:ext>
            </a:extLst>
          </p:cNvPr>
          <p:cNvSpPr txBox="1"/>
          <p:nvPr/>
        </p:nvSpPr>
        <p:spPr>
          <a:xfrm>
            <a:off x="2809983" y="1882118"/>
            <a:ext cx="6785750" cy="63094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spcAft>
                <a:spcPts val="600"/>
              </a:spcAft>
            </a:pPr>
            <a:r>
              <a:rPr lang="nl-NL" sz="1200" dirty="0"/>
              <a:t>2.Zorg ervoor dat er binnen iedere regio iemand vanuit HR expliciet verantwoordelijk is voor alle taken omtrent HPP.</a:t>
            </a:r>
          </a:p>
          <a:p>
            <a:pPr>
              <a:spcAft>
                <a:spcPts val="600"/>
              </a:spcAft>
            </a:pPr>
            <a:r>
              <a:rPr lang="nl-NL" sz="1200" dirty="0"/>
              <a:t>3. Zorg voor expliciete ambassadeurs op HR centraal niveau waarmee overleg kan plaatsvinden   </a:t>
            </a:r>
          </a:p>
        </p:txBody>
      </p:sp>
      <p:cxnSp>
        <p:nvCxnSpPr>
          <p:cNvPr id="47" name="Rechte verbindingslijn 46">
            <a:extLst>
              <a:ext uri="{FF2B5EF4-FFF2-40B4-BE49-F238E27FC236}">
                <a16:creationId xmlns:a16="http://schemas.microsoft.com/office/drawing/2014/main" id="{C2C73802-CD25-41DC-B9B5-22B8F63C0882}"/>
              </a:ext>
            </a:extLst>
          </p:cNvPr>
          <p:cNvCxnSpPr>
            <a:cxnSpLocks/>
          </p:cNvCxnSpPr>
          <p:nvPr/>
        </p:nvCxnSpPr>
        <p:spPr>
          <a:xfrm>
            <a:off x="2809983" y="1055453"/>
            <a:ext cx="6799896" cy="0"/>
          </a:xfrm>
          <a:prstGeom prst="line">
            <a:avLst/>
          </a:prstGeom>
          <a:ln/>
        </p:spPr>
        <p:style>
          <a:lnRef idx="1">
            <a:schemeClr val="accent4"/>
          </a:lnRef>
          <a:fillRef idx="0">
            <a:schemeClr val="accent4"/>
          </a:fillRef>
          <a:effectRef idx="0">
            <a:schemeClr val="accent4"/>
          </a:effectRef>
          <a:fontRef idx="minor">
            <a:schemeClr val="tx1"/>
          </a:fontRef>
        </p:style>
      </p:cxnSp>
      <p:cxnSp>
        <p:nvCxnSpPr>
          <p:cNvPr id="41" name="Rechte verbindingslijn 40">
            <a:extLst>
              <a:ext uri="{FF2B5EF4-FFF2-40B4-BE49-F238E27FC236}">
                <a16:creationId xmlns:a16="http://schemas.microsoft.com/office/drawing/2014/main" id="{9B3CD48E-41AB-4766-808C-F8AE03E02676}"/>
              </a:ext>
            </a:extLst>
          </p:cNvPr>
          <p:cNvCxnSpPr>
            <a:cxnSpLocks/>
          </p:cNvCxnSpPr>
          <p:nvPr/>
        </p:nvCxnSpPr>
        <p:spPr>
          <a:xfrm>
            <a:off x="539328" y="2590540"/>
            <a:ext cx="1118874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2" name="Tekstvak 41">
            <a:extLst>
              <a:ext uri="{FF2B5EF4-FFF2-40B4-BE49-F238E27FC236}">
                <a16:creationId xmlns:a16="http://schemas.microsoft.com/office/drawing/2014/main" id="{F7B7396E-0CF6-4F95-A24B-3226D9AD34B0}"/>
              </a:ext>
            </a:extLst>
          </p:cNvPr>
          <p:cNvSpPr txBox="1"/>
          <p:nvPr/>
        </p:nvSpPr>
        <p:spPr>
          <a:xfrm>
            <a:off x="9777681" y="2833265"/>
            <a:ext cx="1871926" cy="6001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nl-NL" sz="1300" dirty="0"/>
              <a:t>[naam medewerker instelling]</a:t>
            </a:r>
          </a:p>
          <a:p>
            <a:endParaRPr lang="nl-NL" sz="1300"/>
          </a:p>
        </p:txBody>
      </p:sp>
      <p:sp>
        <p:nvSpPr>
          <p:cNvPr id="48" name="Tekstvak 47">
            <a:extLst>
              <a:ext uri="{FF2B5EF4-FFF2-40B4-BE49-F238E27FC236}">
                <a16:creationId xmlns:a16="http://schemas.microsoft.com/office/drawing/2014/main" id="{1294146C-16F1-49B2-BAB2-61315B74CE6D}"/>
              </a:ext>
            </a:extLst>
          </p:cNvPr>
          <p:cNvSpPr txBox="1"/>
          <p:nvPr/>
        </p:nvSpPr>
        <p:spPr>
          <a:xfrm>
            <a:off x="9777681" y="4545551"/>
            <a:ext cx="1735839" cy="6001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nl-NL" sz="1300" dirty="0"/>
              <a:t>[naam medewerker instelling]</a:t>
            </a:r>
          </a:p>
          <a:p>
            <a:endParaRPr lang="nl-NL" sz="1300"/>
          </a:p>
        </p:txBody>
      </p:sp>
      <p:sp>
        <p:nvSpPr>
          <p:cNvPr id="35" name="Rechthoek 34">
            <a:extLst>
              <a:ext uri="{FF2B5EF4-FFF2-40B4-BE49-F238E27FC236}">
                <a16:creationId xmlns:a16="http://schemas.microsoft.com/office/drawing/2014/main" id="{7C685936-C5B7-44FF-93E3-A501FD002317}"/>
              </a:ext>
            </a:extLst>
          </p:cNvPr>
          <p:cNvSpPr/>
          <p:nvPr/>
        </p:nvSpPr>
        <p:spPr>
          <a:xfrm>
            <a:off x="376661" y="2737094"/>
            <a:ext cx="2307897" cy="57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nl-NL" sz="1300" dirty="0">
                <a:solidFill>
                  <a:schemeClr val="accent4">
                    <a:lumMod val="75000"/>
                  </a:schemeClr>
                </a:solidFill>
              </a:rPr>
              <a:t>Tijdens de jaargesprekken vragen naar </a:t>
            </a:r>
            <a:r>
              <a:rPr lang="nl-NL" sz="1300" b="1" dirty="0" err="1">
                <a:solidFill>
                  <a:schemeClr val="accent4">
                    <a:lumMod val="75000"/>
                  </a:schemeClr>
                </a:solidFill>
              </a:rPr>
              <a:t>contractuitbereiding</a:t>
            </a:r>
            <a:endParaRPr lang="nl-NL" sz="1300" b="1" dirty="0">
              <a:solidFill>
                <a:schemeClr val="accent4">
                  <a:lumMod val="75000"/>
                </a:schemeClr>
              </a:solidFill>
            </a:endParaRPr>
          </a:p>
        </p:txBody>
      </p:sp>
      <p:sp>
        <p:nvSpPr>
          <p:cNvPr id="36" name="Tekstvak 35">
            <a:extLst>
              <a:ext uri="{FF2B5EF4-FFF2-40B4-BE49-F238E27FC236}">
                <a16:creationId xmlns:a16="http://schemas.microsoft.com/office/drawing/2014/main" id="{8E132EC5-DEB2-468C-B0D1-A3724DD71FDA}"/>
              </a:ext>
            </a:extLst>
          </p:cNvPr>
          <p:cNvSpPr txBox="1"/>
          <p:nvPr/>
        </p:nvSpPr>
        <p:spPr>
          <a:xfrm>
            <a:off x="2809983" y="2661241"/>
            <a:ext cx="6785750" cy="8156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spcAft>
                <a:spcPts val="600"/>
              </a:spcAft>
            </a:pPr>
            <a:r>
              <a:rPr lang="nl-NL" sz="1200" dirty="0"/>
              <a:t>4. Tijdens de jaargesprekken kan er standaard worden gevraagd naar </a:t>
            </a:r>
            <a:r>
              <a:rPr lang="nl-NL" sz="1200" dirty="0" err="1"/>
              <a:t>contractuitbereiding</a:t>
            </a:r>
            <a:r>
              <a:rPr lang="nl-NL" sz="1200" dirty="0"/>
              <a:t> en kan er worden gewezen op de mogelijkheid tot Goed Gesprek</a:t>
            </a:r>
          </a:p>
          <a:p>
            <a:pPr>
              <a:spcAft>
                <a:spcPts val="600"/>
              </a:spcAft>
            </a:pPr>
            <a:r>
              <a:rPr lang="nl-NL" sz="1200" dirty="0"/>
              <a:t>5. Het Goede Gesprek zelf zal op een separaat moment worden gepland buiten de jaargesprekken om  </a:t>
            </a:r>
          </a:p>
        </p:txBody>
      </p:sp>
      <p:sp>
        <p:nvSpPr>
          <p:cNvPr id="37" name="Rechthoek 36">
            <a:extLst>
              <a:ext uri="{FF2B5EF4-FFF2-40B4-BE49-F238E27FC236}">
                <a16:creationId xmlns:a16="http://schemas.microsoft.com/office/drawing/2014/main" id="{29FBD4A0-D00F-4E7E-9187-A067D4DE8ACD}"/>
              </a:ext>
            </a:extLst>
          </p:cNvPr>
          <p:cNvSpPr/>
          <p:nvPr/>
        </p:nvSpPr>
        <p:spPr>
          <a:xfrm>
            <a:off x="376661" y="3606202"/>
            <a:ext cx="2307897" cy="57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nl-NL" sz="1300" dirty="0">
                <a:solidFill>
                  <a:schemeClr val="accent4">
                    <a:lumMod val="75000"/>
                  </a:schemeClr>
                </a:solidFill>
              </a:rPr>
              <a:t>Beschouw dit document als een </a:t>
            </a:r>
            <a:r>
              <a:rPr lang="nl-NL" sz="1300" b="1" dirty="0">
                <a:solidFill>
                  <a:schemeClr val="accent4">
                    <a:lumMod val="75000"/>
                  </a:schemeClr>
                </a:solidFill>
              </a:rPr>
              <a:t>levend document </a:t>
            </a:r>
            <a:r>
              <a:rPr lang="nl-NL" sz="1300" dirty="0">
                <a:solidFill>
                  <a:schemeClr val="accent4">
                    <a:lumMod val="75000"/>
                  </a:schemeClr>
                </a:solidFill>
              </a:rPr>
              <a:t>voor de toekomst</a:t>
            </a:r>
          </a:p>
        </p:txBody>
      </p:sp>
      <p:sp>
        <p:nvSpPr>
          <p:cNvPr id="40" name="Tekstvak 39">
            <a:extLst>
              <a:ext uri="{FF2B5EF4-FFF2-40B4-BE49-F238E27FC236}">
                <a16:creationId xmlns:a16="http://schemas.microsoft.com/office/drawing/2014/main" id="{BDBF0081-14D5-4A1A-A7D9-54B37F8D3034}"/>
              </a:ext>
            </a:extLst>
          </p:cNvPr>
          <p:cNvSpPr txBox="1"/>
          <p:nvPr/>
        </p:nvSpPr>
        <p:spPr>
          <a:xfrm>
            <a:off x="2809983" y="3635575"/>
            <a:ext cx="6785750"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spcAft>
                <a:spcPts val="600"/>
              </a:spcAft>
            </a:pPr>
            <a:r>
              <a:rPr lang="nl-NL" sz="1200" dirty="0"/>
              <a:t>6. Naarmate er meer ervaring wordt opgedaan met Goede Gesprekken, kan dit document worden aangepast met deze inzichten. Ook kan de uitrol en de aanpak omtrent Goed Gesprek licht gaan verschillen tussen regio’s mocht dit passend zijn.  </a:t>
            </a:r>
          </a:p>
        </p:txBody>
      </p:sp>
      <p:cxnSp>
        <p:nvCxnSpPr>
          <p:cNvPr id="46" name="Rechte verbindingslijn 45">
            <a:extLst>
              <a:ext uri="{FF2B5EF4-FFF2-40B4-BE49-F238E27FC236}">
                <a16:creationId xmlns:a16="http://schemas.microsoft.com/office/drawing/2014/main" id="{148D66B2-E563-48EE-8588-68A4D19E5A16}"/>
              </a:ext>
            </a:extLst>
          </p:cNvPr>
          <p:cNvCxnSpPr>
            <a:cxnSpLocks/>
          </p:cNvCxnSpPr>
          <p:nvPr/>
        </p:nvCxnSpPr>
        <p:spPr>
          <a:xfrm>
            <a:off x="475974" y="5197864"/>
            <a:ext cx="1118874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53" name="Rechthoek 52">
            <a:extLst>
              <a:ext uri="{FF2B5EF4-FFF2-40B4-BE49-F238E27FC236}">
                <a16:creationId xmlns:a16="http://schemas.microsoft.com/office/drawing/2014/main" id="{650D5DF7-3F59-4CA1-8258-A1B46F212F0C}"/>
              </a:ext>
            </a:extLst>
          </p:cNvPr>
          <p:cNvSpPr/>
          <p:nvPr/>
        </p:nvSpPr>
        <p:spPr>
          <a:xfrm>
            <a:off x="376661" y="4475310"/>
            <a:ext cx="2307897" cy="57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nl-NL" sz="1300" dirty="0">
                <a:solidFill>
                  <a:schemeClr val="accent4">
                    <a:lumMod val="75000"/>
                  </a:schemeClr>
                </a:solidFill>
              </a:rPr>
              <a:t>Verwerk de Goed Gesprek ambities in  het </a:t>
            </a:r>
            <a:r>
              <a:rPr lang="nl-NL" sz="1300" b="1" dirty="0">
                <a:solidFill>
                  <a:schemeClr val="accent4">
                    <a:lumMod val="75000"/>
                  </a:schemeClr>
                </a:solidFill>
              </a:rPr>
              <a:t>digitale ondersteuningssysteem</a:t>
            </a:r>
          </a:p>
        </p:txBody>
      </p:sp>
      <p:sp>
        <p:nvSpPr>
          <p:cNvPr id="57" name="Rechthoek 56">
            <a:extLst>
              <a:ext uri="{FF2B5EF4-FFF2-40B4-BE49-F238E27FC236}">
                <a16:creationId xmlns:a16="http://schemas.microsoft.com/office/drawing/2014/main" id="{3472CFD2-C4BA-4F2A-8714-0ED3DE8EFCF0}"/>
              </a:ext>
            </a:extLst>
          </p:cNvPr>
          <p:cNvSpPr/>
          <p:nvPr/>
        </p:nvSpPr>
        <p:spPr>
          <a:xfrm>
            <a:off x="376661" y="5344418"/>
            <a:ext cx="2307897" cy="57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nl-NL" sz="1300" dirty="0">
                <a:solidFill>
                  <a:schemeClr val="accent4">
                    <a:lumMod val="75000"/>
                  </a:schemeClr>
                </a:solidFill>
              </a:rPr>
              <a:t>Zorg voor een </a:t>
            </a:r>
            <a:r>
              <a:rPr lang="nl-NL" sz="1300" b="1" dirty="0">
                <a:solidFill>
                  <a:schemeClr val="accent4">
                    <a:lumMod val="75000"/>
                  </a:schemeClr>
                </a:solidFill>
              </a:rPr>
              <a:t>leidraad per doelgroep</a:t>
            </a:r>
          </a:p>
        </p:txBody>
      </p:sp>
      <p:sp>
        <p:nvSpPr>
          <p:cNvPr id="60" name="Rechthoek 59">
            <a:extLst>
              <a:ext uri="{FF2B5EF4-FFF2-40B4-BE49-F238E27FC236}">
                <a16:creationId xmlns:a16="http://schemas.microsoft.com/office/drawing/2014/main" id="{88CA3783-824B-403F-8253-8407B331E5CC}"/>
              </a:ext>
            </a:extLst>
          </p:cNvPr>
          <p:cNvSpPr/>
          <p:nvPr/>
        </p:nvSpPr>
        <p:spPr>
          <a:xfrm>
            <a:off x="376661" y="6213527"/>
            <a:ext cx="2307897" cy="576000"/>
          </a:xfrm>
          <a:prstGeom prst="rect">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nl-NL" sz="1200" dirty="0">
                <a:solidFill>
                  <a:schemeClr val="accent4">
                    <a:lumMod val="75000"/>
                  </a:schemeClr>
                </a:solidFill>
              </a:rPr>
              <a:t>Denk na over een </a:t>
            </a:r>
            <a:r>
              <a:rPr lang="nl-NL" sz="1200" b="1" dirty="0">
                <a:solidFill>
                  <a:schemeClr val="accent4">
                    <a:lumMod val="75000"/>
                  </a:schemeClr>
                </a:solidFill>
              </a:rPr>
              <a:t>communicatiestrategie</a:t>
            </a:r>
            <a:endParaRPr lang="nl-NL" sz="1200" dirty="0">
              <a:solidFill>
                <a:schemeClr val="accent4">
                  <a:lumMod val="75000"/>
                </a:schemeClr>
              </a:solidFill>
            </a:endParaRPr>
          </a:p>
        </p:txBody>
      </p:sp>
      <p:cxnSp>
        <p:nvCxnSpPr>
          <p:cNvPr id="61" name="Rechte verbindingslijn 60">
            <a:extLst>
              <a:ext uri="{FF2B5EF4-FFF2-40B4-BE49-F238E27FC236}">
                <a16:creationId xmlns:a16="http://schemas.microsoft.com/office/drawing/2014/main" id="{03DEB001-22AB-4E32-9DFB-D931C8CD032D}"/>
              </a:ext>
            </a:extLst>
          </p:cNvPr>
          <p:cNvCxnSpPr>
            <a:cxnSpLocks/>
          </p:cNvCxnSpPr>
          <p:nvPr/>
        </p:nvCxnSpPr>
        <p:spPr>
          <a:xfrm>
            <a:off x="475972" y="4328756"/>
            <a:ext cx="1118874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8678B452-9434-4745-975D-1F9CE7574821}"/>
              </a:ext>
            </a:extLst>
          </p:cNvPr>
          <p:cNvCxnSpPr>
            <a:cxnSpLocks/>
          </p:cNvCxnSpPr>
          <p:nvPr/>
        </p:nvCxnSpPr>
        <p:spPr>
          <a:xfrm>
            <a:off x="535909" y="6066972"/>
            <a:ext cx="1118874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63" name="Tekstvak 62">
            <a:extLst>
              <a:ext uri="{FF2B5EF4-FFF2-40B4-BE49-F238E27FC236}">
                <a16:creationId xmlns:a16="http://schemas.microsoft.com/office/drawing/2014/main" id="{6E912A54-E29F-465E-8F8D-4EE5F2719C1E}"/>
              </a:ext>
            </a:extLst>
          </p:cNvPr>
          <p:cNvSpPr txBox="1"/>
          <p:nvPr/>
        </p:nvSpPr>
        <p:spPr>
          <a:xfrm>
            <a:off x="9777681" y="5401694"/>
            <a:ext cx="1735839" cy="6001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nl-NL" sz="1300" dirty="0"/>
              <a:t>[naam medewerker instelling]</a:t>
            </a:r>
          </a:p>
          <a:p>
            <a:endParaRPr lang="nl-NL" sz="1300"/>
          </a:p>
        </p:txBody>
      </p:sp>
      <p:sp>
        <p:nvSpPr>
          <p:cNvPr id="64" name="Tekstvak 63">
            <a:extLst>
              <a:ext uri="{FF2B5EF4-FFF2-40B4-BE49-F238E27FC236}">
                <a16:creationId xmlns:a16="http://schemas.microsoft.com/office/drawing/2014/main" id="{EBD02BA9-77CB-4914-BEFF-E6EEF3A1C9BC}"/>
              </a:ext>
            </a:extLst>
          </p:cNvPr>
          <p:cNvSpPr txBox="1"/>
          <p:nvPr/>
        </p:nvSpPr>
        <p:spPr>
          <a:xfrm>
            <a:off x="9777681" y="6257836"/>
            <a:ext cx="1735839"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nl-NL" sz="1300" dirty="0"/>
              <a:t>Annemiek Groeneweg</a:t>
            </a:r>
          </a:p>
        </p:txBody>
      </p:sp>
      <p:sp>
        <p:nvSpPr>
          <p:cNvPr id="65" name="Tekstvak 64">
            <a:extLst>
              <a:ext uri="{FF2B5EF4-FFF2-40B4-BE49-F238E27FC236}">
                <a16:creationId xmlns:a16="http://schemas.microsoft.com/office/drawing/2014/main" id="{59851809-3DCF-4A18-8C4B-55F8FCE1E2AD}"/>
              </a:ext>
            </a:extLst>
          </p:cNvPr>
          <p:cNvSpPr txBox="1"/>
          <p:nvPr/>
        </p:nvSpPr>
        <p:spPr>
          <a:xfrm>
            <a:off x="9777681" y="3689408"/>
            <a:ext cx="1735839" cy="6001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nl-NL" sz="1300" dirty="0"/>
              <a:t>[naam medewerker instelling]</a:t>
            </a:r>
          </a:p>
          <a:p>
            <a:endParaRPr lang="nl-NL" sz="1300"/>
          </a:p>
        </p:txBody>
      </p:sp>
      <p:sp>
        <p:nvSpPr>
          <p:cNvPr id="66" name="Tekstvak 65">
            <a:extLst>
              <a:ext uri="{FF2B5EF4-FFF2-40B4-BE49-F238E27FC236}">
                <a16:creationId xmlns:a16="http://schemas.microsoft.com/office/drawing/2014/main" id="{AB4A4EAE-A7B0-49CA-96D4-1362F08BAB7A}"/>
              </a:ext>
            </a:extLst>
          </p:cNvPr>
          <p:cNvSpPr txBox="1"/>
          <p:nvPr/>
        </p:nvSpPr>
        <p:spPr>
          <a:xfrm>
            <a:off x="2809983" y="4414698"/>
            <a:ext cx="6785750"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spcAft>
                <a:spcPts val="600"/>
              </a:spcAft>
            </a:pPr>
            <a:r>
              <a:rPr lang="nl-NL" sz="1200" dirty="0"/>
              <a:t>7 Onderzoek de mogelijkheden van het huidige HR systeem of hier ‘signalen’ kunnen worden ingebouwd om te zorgen dat er op de juiste momenten een reminder komt voor een Goed Gesprek en of het systeem kan worden gebruikt voor de vastlegging van de eventuele afspraken die worden gemaakt in een Goed Gesprek</a:t>
            </a:r>
          </a:p>
        </p:txBody>
      </p:sp>
      <p:sp>
        <p:nvSpPr>
          <p:cNvPr id="67" name="Tekstvak 66">
            <a:extLst>
              <a:ext uri="{FF2B5EF4-FFF2-40B4-BE49-F238E27FC236}">
                <a16:creationId xmlns:a16="http://schemas.microsoft.com/office/drawing/2014/main" id="{2CBCC74F-131A-4142-80D0-18E735DB2487}"/>
              </a:ext>
            </a:extLst>
          </p:cNvPr>
          <p:cNvSpPr txBox="1"/>
          <p:nvPr/>
        </p:nvSpPr>
        <p:spPr>
          <a:xfrm>
            <a:off x="2809983" y="5358208"/>
            <a:ext cx="6785750" cy="63094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spcAft>
                <a:spcPts val="600"/>
              </a:spcAft>
            </a:pPr>
            <a:r>
              <a:rPr lang="nl-NL" sz="1200" dirty="0"/>
              <a:t>8 Laat de basis gelijk maar kijk welke vragen kunnen worden overgeslagen afhankelijk van de manier waarop een medewerker instroomt in het goede gesprek. </a:t>
            </a:r>
          </a:p>
          <a:p>
            <a:pPr>
              <a:spcAft>
                <a:spcPts val="600"/>
              </a:spcAft>
            </a:pPr>
            <a:r>
              <a:rPr lang="nl-NL" sz="1200" dirty="0"/>
              <a:t>9. Zorg dat deze leidraden bekend zijn bij de managers, bijv. door verspreiding in een rayonoverleg</a:t>
            </a:r>
          </a:p>
        </p:txBody>
      </p:sp>
      <p:sp>
        <p:nvSpPr>
          <p:cNvPr id="68" name="Tekstvak 67">
            <a:extLst>
              <a:ext uri="{FF2B5EF4-FFF2-40B4-BE49-F238E27FC236}">
                <a16:creationId xmlns:a16="http://schemas.microsoft.com/office/drawing/2014/main" id="{BB6A6F70-109D-4253-B449-52E8FA3A7EEF}"/>
              </a:ext>
            </a:extLst>
          </p:cNvPr>
          <p:cNvSpPr txBox="1"/>
          <p:nvPr/>
        </p:nvSpPr>
        <p:spPr>
          <a:xfrm>
            <a:off x="2809983" y="6198977"/>
            <a:ext cx="6785750"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spcAft>
                <a:spcPts val="600"/>
              </a:spcAft>
            </a:pPr>
            <a:r>
              <a:rPr lang="nl-NL" sz="1200" dirty="0"/>
              <a:t>10. Verder uitwerken op welke manier het Goede Gesprek ingebed gaat worden en hoe de communicatie strategie wordt vormgegeven. Verantwoordelijkheid ten aanzien hiervan helder beleggen op zowel de HR kalender als de communicatie kalender. </a:t>
            </a:r>
          </a:p>
        </p:txBody>
      </p:sp>
      <p:sp>
        <p:nvSpPr>
          <p:cNvPr id="38" name="Tekstvak 37">
            <a:extLst>
              <a:ext uri="{FF2B5EF4-FFF2-40B4-BE49-F238E27FC236}">
                <a16:creationId xmlns:a16="http://schemas.microsoft.com/office/drawing/2014/main" id="{6E08755B-1BA4-41DD-B502-3FE453477CDD}"/>
              </a:ext>
            </a:extLst>
          </p:cNvPr>
          <p:cNvSpPr txBox="1"/>
          <p:nvPr/>
        </p:nvSpPr>
        <p:spPr>
          <a:xfrm>
            <a:off x="2809983" y="1099568"/>
            <a:ext cx="6899095"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spcAft>
                <a:spcPts val="600"/>
              </a:spcAft>
            </a:pPr>
            <a:r>
              <a:rPr lang="nl-NL" sz="1200" dirty="0"/>
              <a:t>1.Wanneer er in een team formatieruimte ontstaat is het belangrijk om eerst te onderzoeken of deze niet kan worden ingevuld door contractvergroting binnen het team of buiten het team. Zorg dus dat er een vast proces ontstaat waarbij dit eerst wordt onderzocht voordat er een vacature wordt uitgezet.  </a:t>
            </a:r>
          </a:p>
        </p:txBody>
      </p:sp>
      <p:sp>
        <p:nvSpPr>
          <p:cNvPr id="39" name="Rechthoek 38">
            <a:extLst>
              <a:ext uri="{FF2B5EF4-FFF2-40B4-BE49-F238E27FC236}">
                <a16:creationId xmlns:a16="http://schemas.microsoft.com/office/drawing/2014/main" id="{19FFB02E-2033-4FF9-AAF6-28E2600EEDDC}"/>
              </a:ext>
            </a:extLst>
          </p:cNvPr>
          <p:cNvSpPr/>
          <p:nvPr/>
        </p:nvSpPr>
        <p:spPr>
          <a:xfrm>
            <a:off x="-2052998" y="119497"/>
            <a:ext cx="2307896" cy="3199055"/>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b="1" dirty="0" err="1">
                <a:solidFill>
                  <a:schemeClr val="tx1"/>
                </a:solidFill>
              </a:rPr>
              <a:t>To</a:t>
            </a:r>
            <a:r>
              <a:rPr lang="nl-NL" sz="1600" b="1" dirty="0">
                <a:solidFill>
                  <a:schemeClr val="tx1"/>
                </a:solidFill>
              </a:rPr>
              <a:t> do om deze slide instelling specifiek te maken:</a:t>
            </a:r>
          </a:p>
          <a:p>
            <a:pPr algn="ctr"/>
            <a:endParaRPr lang="nl-NL" sz="1600">
              <a:solidFill>
                <a:schemeClr val="tx1"/>
              </a:solidFill>
            </a:endParaRPr>
          </a:p>
          <a:p>
            <a:pPr algn="ctr"/>
            <a:r>
              <a:rPr lang="nl-NL" sz="1600" dirty="0">
                <a:solidFill>
                  <a:schemeClr val="tx1"/>
                </a:solidFill>
              </a:rPr>
              <a:t>- Dit is een voorbeeld van vervolgstappen van SHL</a:t>
            </a:r>
          </a:p>
          <a:p>
            <a:pPr algn="ctr"/>
            <a:r>
              <a:rPr lang="nl-NL" sz="1600" dirty="0">
                <a:solidFill>
                  <a:schemeClr val="tx1"/>
                </a:solidFill>
              </a:rPr>
              <a:t>- Instelling specifiek maken als geheel</a:t>
            </a:r>
          </a:p>
        </p:txBody>
      </p:sp>
    </p:spTree>
    <p:extLst>
      <p:ext uri="{BB962C8B-B14F-4D97-AF65-F5344CB8AC3E}">
        <p14:creationId xmlns:p14="http://schemas.microsoft.com/office/powerpoint/2010/main" val="21783481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0">
            <a:extLst>
              <a:ext uri="{FF2B5EF4-FFF2-40B4-BE49-F238E27FC236}">
                <a16:creationId xmlns:a16="http://schemas.microsoft.com/office/drawing/2014/main" id="{9100EB8A-2AF1-4786-B43E-C83675C31FCF}"/>
              </a:ext>
            </a:extLst>
          </p:cNvPr>
          <p:cNvSpPr/>
          <p:nvPr/>
        </p:nvSpPr>
        <p:spPr>
          <a:xfrm>
            <a:off x="554818" y="523418"/>
            <a:ext cx="11090747" cy="5884958"/>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45719" rIns="91438" bIns="4571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nl-NL" sz="16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4" name="Title 1">
            <a:extLst>
              <a:ext uri="{FF2B5EF4-FFF2-40B4-BE49-F238E27FC236}">
                <a16:creationId xmlns:a16="http://schemas.microsoft.com/office/drawing/2014/main" id="{979854CC-45FC-514B-977F-3D95A5945827}"/>
              </a:ext>
            </a:extLst>
          </p:cNvPr>
          <p:cNvSpPr txBox="1">
            <a:spLocks/>
          </p:cNvSpPr>
          <p:nvPr/>
        </p:nvSpPr>
        <p:spPr bwMode="gray">
          <a:xfrm>
            <a:off x="1088211" y="1287948"/>
            <a:ext cx="4005699" cy="387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895350" rtl="0" eaLnBrk="1" fontAlgn="base" hangingPunct="1">
              <a:spcBef>
                <a:spcPct val="0"/>
              </a:spcBef>
              <a:spcAft>
                <a:spcPct val="0"/>
              </a:spcAft>
              <a:tabLst>
                <a:tab pos="444500" algn="l"/>
              </a:tabLst>
              <a:defRPr lang="nl-NL" sz="2800" b="0" baseline="0" noProof="0">
                <a:solidFill>
                  <a:schemeClr val="tx2"/>
                </a:solidFill>
                <a:latin typeface="+mj-lt"/>
                <a:ea typeface="+mj-ea"/>
                <a:cs typeface="+mj-cs"/>
                <a:sym typeface="+mj-lt"/>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444500" algn="l"/>
              </a:tabLst>
              <a:defRPr/>
            </a:pPr>
            <a:r>
              <a:rPr kumimoji="0" lang="nl-NL" sz="2857" b="0" i="0" u="none" strike="noStrike" kern="0" cap="none" spc="0" normalizeH="0" baseline="0" noProof="0" dirty="0">
                <a:ln>
                  <a:noFill/>
                </a:ln>
                <a:solidFill>
                  <a:srgbClr val="003C54"/>
                </a:solidFill>
                <a:effectLst/>
                <a:uLnTx/>
                <a:uFillTx/>
                <a:latin typeface="Andada"/>
                <a:ea typeface="ＭＳ Ｐゴシック"/>
                <a:cs typeface="+mj-cs"/>
                <a:sym typeface="+mj-lt"/>
              </a:rPr>
              <a:t>Bijlagen</a:t>
            </a:r>
          </a:p>
        </p:txBody>
      </p:sp>
    </p:spTree>
    <p:extLst>
      <p:ext uri="{BB962C8B-B14F-4D97-AF65-F5344CB8AC3E}">
        <p14:creationId xmlns:p14="http://schemas.microsoft.com/office/powerpoint/2010/main" val="4824517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171CE-9D77-4C85-988E-AD7EE4C072A5}"/>
              </a:ext>
            </a:extLst>
          </p:cNvPr>
          <p:cNvSpPr>
            <a:spLocks noGrp="1"/>
          </p:cNvSpPr>
          <p:nvPr>
            <p:ph type="title"/>
          </p:nvPr>
        </p:nvSpPr>
        <p:spPr/>
        <p:txBody>
          <a:bodyPr anchor="t"/>
          <a:lstStyle/>
          <a:p>
            <a:r>
              <a:rPr lang="nl-NL" dirty="0"/>
              <a:t>Wat weten we van de groepen die sowieso of misschien meer willen werken? </a:t>
            </a:r>
          </a:p>
        </p:txBody>
      </p:sp>
      <p:sp>
        <p:nvSpPr>
          <p:cNvPr id="41" name="Rectangle 40">
            <a:extLst>
              <a:ext uri="{FF2B5EF4-FFF2-40B4-BE49-F238E27FC236}">
                <a16:creationId xmlns:a16="http://schemas.microsoft.com/office/drawing/2014/main" id="{B56AFC04-D799-494D-9D62-F97EA1D1A590}"/>
              </a:ext>
            </a:extLst>
          </p:cNvPr>
          <p:cNvSpPr>
            <a:spLocks/>
          </p:cNvSpPr>
          <p:nvPr/>
        </p:nvSpPr>
        <p:spPr>
          <a:xfrm>
            <a:off x="1436195" y="1309739"/>
            <a:ext cx="4354480" cy="2830876"/>
          </a:xfrm>
          <a:prstGeom prst="rect">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a:ln>
                <a:noFill/>
              </a:ln>
              <a:solidFill>
                <a:srgbClr val="000000"/>
              </a:solidFill>
              <a:effectLst/>
              <a:uLnTx/>
              <a:uFillTx/>
              <a:latin typeface="Arial"/>
              <a:ea typeface="ＭＳ Ｐゴシック"/>
              <a:cs typeface="+mn-cs"/>
            </a:endParaRPr>
          </a:p>
        </p:txBody>
      </p:sp>
      <p:pic>
        <p:nvPicPr>
          <p:cNvPr id="28" name="CustomIcon">
            <a:extLst>
              <a:ext uri="{FF2B5EF4-FFF2-40B4-BE49-F238E27FC236}">
                <a16:creationId xmlns:a16="http://schemas.microsoft.com/office/drawing/2014/main" id="{5D52FF26-7043-40D5-A9D0-D0658461A7DE}"/>
              </a:ext>
            </a:extLst>
          </p:cNvPr>
          <p:cNvPicPr>
            <a:picLocks/>
          </p:cNvPicPr>
          <p:nvPr>
            <p:custDataLst>
              <p:tags r:id="rId1"/>
            </p:custDataLst>
          </p:nvPr>
        </p:nvPicPr>
        <p:blipFill>
          <a:blip r:embed="rId10">
            <a:extLst>
              <a:ext uri="{96DAC541-7B7A-43D3-8B79-37D633B846F1}">
                <asvg:svgBlip xmlns:asvg="http://schemas.microsoft.com/office/drawing/2016/SVG/main" r:embed="rId11"/>
              </a:ext>
            </a:extLst>
          </a:blip>
          <a:stretch>
            <a:fillRect/>
          </a:stretch>
        </p:blipFill>
        <p:spPr>
          <a:xfrm>
            <a:off x="1879114" y="1529909"/>
            <a:ext cx="967680" cy="799519"/>
          </a:xfrm>
          <a:prstGeom prst="rect">
            <a:avLst/>
          </a:prstGeom>
        </p:spPr>
      </p:pic>
      <p:sp>
        <p:nvSpPr>
          <p:cNvPr id="5" name="TextBox 4">
            <a:extLst>
              <a:ext uri="{FF2B5EF4-FFF2-40B4-BE49-F238E27FC236}">
                <a16:creationId xmlns:a16="http://schemas.microsoft.com/office/drawing/2014/main" id="{DEE3CAC4-296B-4D26-8BEB-12B6C9CEEB4F}"/>
              </a:ext>
            </a:extLst>
          </p:cNvPr>
          <p:cNvSpPr txBox="1">
            <a:spLocks/>
          </p:cNvSpPr>
          <p:nvPr/>
        </p:nvSpPr>
        <p:spPr>
          <a:xfrm>
            <a:off x="2959398" y="1612873"/>
            <a:ext cx="2658620" cy="3167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77533" eaLnBrk="1" hangingPunct="1">
              <a:buClr>
                <a:schemeClr val="tx2"/>
              </a:buClr>
              <a:defRPr sz="1568" baseline="0">
                <a:latin typeface="+mn-lt"/>
                <a:sym typeface="+mn-lt"/>
              </a:defRPr>
            </a:lvl1pPr>
            <a:lvl2pPr marL="176415" lvl="1" indent="-176415" defTabSz="877533" eaLnBrk="1" hangingPunct="1">
              <a:buClr>
                <a:schemeClr val="tx1"/>
              </a:buClr>
              <a:buSzPct val="100000"/>
              <a:buFont typeface="Arial" pitchFamily="34" charset="0"/>
              <a:buChar char="•"/>
              <a:defRPr sz="1568" baseline="0">
                <a:latin typeface="+mn-lt"/>
                <a:sym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sym typeface="+mn-lt"/>
              </a:defRPr>
            </a:lvl3pPr>
            <a:lvl4pPr marL="529245" lvl="3" indent="-176415" defTabSz="877533" eaLnBrk="1" hangingPunct="1">
              <a:buClr>
                <a:schemeClr val="tx1"/>
              </a:buClr>
              <a:buSzPct val="100000"/>
              <a:buFont typeface="Arial" pitchFamily="34" charset="0"/>
              <a:buChar char="»"/>
              <a:defRPr sz="1568" baseline="0">
                <a:latin typeface="+mn-lt"/>
                <a:sym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sym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l" defTabSz="877533" rtl="0" eaLnBrk="1" fontAlgn="auto" latinLnBrk="0" hangingPunct="1">
              <a:lnSpc>
                <a:spcPct val="100000"/>
              </a:lnSpc>
              <a:spcBef>
                <a:spcPts val="0"/>
              </a:spcBef>
              <a:spcAft>
                <a:spcPts val="0"/>
              </a:spcAft>
              <a:buClr>
                <a:srgbClr val="003C54"/>
              </a:buClr>
              <a:buSzTx/>
              <a:buFontTx/>
              <a:buNone/>
              <a:tabLst/>
              <a:defRPr/>
            </a:pPr>
            <a:r>
              <a:rPr kumimoji="0" lang="nl-NL" sz="1800" b="1" i="0" u="none" strike="noStrike" kern="1200" cap="none" spc="0" normalizeH="0" baseline="0" noProof="0" dirty="0">
                <a:ln>
                  <a:noFill/>
                </a:ln>
                <a:solidFill>
                  <a:srgbClr val="7030A0"/>
                </a:solidFill>
                <a:effectLst/>
                <a:uLnTx/>
                <a:uFillTx/>
                <a:latin typeface="Arial"/>
                <a:ea typeface="ＭＳ Ｐゴシック"/>
                <a:cs typeface="+mn-cs"/>
                <a:sym typeface="+mn-lt"/>
              </a:rPr>
              <a:t>Meer werken</a:t>
            </a:r>
          </a:p>
          <a:p>
            <a:pPr marL="0" marR="0" lvl="0" indent="0" algn="l" defTabSz="877533" rtl="0" eaLnBrk="1" fontAlgn="auto" latinLnBrk="0" hangingPunct="1">
              <a:lnSpc>
                <a:spcPct val="100000"/>
              </a:lnSpc>
              <a:spcBef>
                <a:spcPts val="0"/>
              </a:spcBef>
              <a:spcAft>
                <a:spcPts val="0"/>
              </a:spcAft>
              <a:buClr>
                <a:srgbClr val="003C54"/>
              </a:buClr>
              <a:buSzTx/>
              <a:buFontTx/>
              <a:buNone/>
              <a:tabLst/>
              <a:defRPr/>
            </a:pPr>
            <a:r>
              <a:rPr kumimoji="0" lang="nl-NL" sz="1800" b="1" i="0" u="none" strike="noStrike" kern="1200" cap="none" spc="0" normalizeH="0" baseline="0" noProof="0" dirty="0">
                <a:ln>
                  <a:noFill/>
                </a:ln>
                <a:solidFill>
                  <a:srgbClr val="7030A0"/>
                </a:solidFill>
                <a:effectLst/>
                <a:uLnTx/>
                <a:uFillTx/>
                <a:latin typeface="Arial"/>
                <a:ea typeface="ＭＳ Ｐゴシック"/>
                <a:cs typeface="+mn-cs"/>
                <a:sym typeface="+mn-lt"/>
              </a:rPr>
              <a:t>15%, </a:t>
            </a:r>
            <a:r>
              <a:rPr lang="nl-NL" sz="1800" b="1" dirty="0">
                <a:solidFill>
                  <a:srgbClr val="7030A0"/>
                </a:solidFill>
                <a:latin typeface="Arial"/>
                <a:ea typeface="ＭＳ Ｐゴシック"/>
              </a:rPr>
              <a:t>32</a:t>
            </a:r>
            <a:r>
              <a:rPr kumimoji="0" lang="nl-NL" sz="1800" b="1" i="0" u="none" strike="noStrike" kern="1200" cap="none" spc="0" normalizeH="0" baseline="0" noProof="0" dirty="0">
                <a:ln>
                  <a:noFill/>
                </a:ln>
                <a:solidFill>
                  <a:srgbClr val="7030A0"/>
                </a:solidFill>
                <a:effectLst/>
                <a:uLnTx/>
                <a:uFillTx/>
                <a:latin typeface="Arial"/>
                <a:ea typeface="ＭＳ Ｐゴシック"/>
                <a:cs typeface="+mn-cs"/>
                <a:sym typeface="+mn-lt"/>
              </a:rPr>
              <a:t> medewerkers</a:t>
            </a:r>
          </a:p>
        </p:txBody>
      </p:sp>
      <p:sp>
        <p:nvSpPr>
          <p:cNvPr id="48" name="TextBox 47">
            <a:extLst>
              <a:ext uri="{FF2B5EF4-FFF2-40B4-BE49-F238E27FC236}">
                <a16:creationId xmlns:a16="http://schemas.microsoft.com/office/drawing/2014/main" id="{FE132AB3-4CD2-4DD2-9541-4201D24328D6}"/>
              </a:ext>
            </a:extLst>
          </p:cNvPr>
          <p:cNvSpPr txBox="1">
            <a:spLocks/>
          </p:cNvSpPr>
          <p:nvPr/>
        </p:nvSpPr>
        <p:spPr>
          <a:xfrm>
            <a:off x="1817579" y="2567779"/>
            <a:ext cx="3898797" cy="94490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sz="1600" baseline="0">
                <a:latin typeface="+mn-lt"/>
                <a:sym typeface="+mn-lt"/>
              </a:defRPr>
            </a:lvl1pPr>
            <a:lvl2pPr marL="179997" lvl="1" indent="-179997" defTabSz="895350" eaLnBrk="1" hangingPunct="1">
              <a:buClr>
                <a:schemeClr val="tx1"/>
              </a:buClr>
              <a:buSzPct val="100000"/>
              <a:buFont typeface="Arial" pitchFamily="34" charset="0"/>
              <a:buChar char="•"/>
              <a:defRPr sz="1600" baseline="0">
                <a:latin typeface="+mn-lt"/>
                <a:sym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sym typeface="+mn-lt"/>
              </a:defRPr>
            </a:lvl3pPr>
            <a:lvl4pPr marL="539991" lvl="3" indent="-179997" defTabSz="895350" eaLnBrk="1" hangingPunct="1">
              <a:buClr>
                <a:schemeClr val="tx1"/>
              </a:buClr>
              <a:buSzPct val="100000"/>
              <a:buFont typeface="Arial" pitchFamily="34" charset="0"/>
              <a:buChar char="»"/>
              <a:defRPr sz="1600" baseline="0">
                <a:latin typeface="+mn-lt"/>
                <a:sym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sym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342898" lvl="1" indent="-342898">
              <a:buClr>
                <a:srgbClr val="B43FD9">
                  <a:lumMod val="50000"/>
                </a:srgbClr>
              </a:buClr>
              <a:buFont typeface="+mj-lt"/>
              <a:buAutoNum type="arabicPeriod"/>
              <a:defRPr/>
            </a:pPr>
            <a:r>
              <a:rPr lang="nl-NL" sz="1800" b="1" dirty="0">
                <a:solidFill>
                  <a:srgbClr val="B43FD9"/>
                </a:solidFill>
              </a:rPr>
              <a:t>Ik een prettig gunstig rooster krijg</a:t>
            </a:r>
          </a:p>
          <a:p>
            <a:pPr marL="342898" lvl="1" indent="-342898">
              <a:buClr>
                <a:srgbClr val="B43FD9">
                  <a:lumMod val="50000"/>
                </a:srgbClr>
              </a:buClr>
              <a:buFont typeface="+mj-lt"/>
              <a:buAutoNum type="arabicPeriod"/>
              <a:defRPr/>
            </a:pPr>
            <a:r>
              <a:rPr lang="nl-NL" sz="1800" b="1" dirty="0">
                <a:solidFill>
                  <a:srgbClr val="B43FD9"/>
                </a:solidFill>
              </a:rPr>
              <a:t>Invloed op mijn rooster</a:t>
            </a:r>
          </a:p>
          <a:p>
            <a:pPr marL="342898" lvl="1" indent="-342898">
              <a:buClr>
                <a:srgbClr val="B43FD9">
                  <a:lumMod val="50000"/>
                </a:srgbClr>
              </a:buClr>
              <a:buFont typeface="+mj-lt"/>
              <a:buAutoNum type="arabicPeriod"/>
              <a:defRPr/>
            </a:pPr>
            <a:r>
              <a:rPr lang="nl-NL" sz="1800" b="1" dirty="0">
                <a:solidFill>
                  <a:srgbClr val="B43FD9"/>
                </a:solidFill>
              </a:rPr>
              <a:t>Mogelijkheid om later uren weer aan te passen</a:t>
            </a:r>
          </a:p>
        </p:txBody>
      </p:sp>
      <p:grpSp>
        <p:nvGrpSpPr>
          <p:cNvPr id="3" name="Groep 2">
            <a:extLst>
              <a:ext uri="{FF2B5EF4-FFF2-40B4-BE49-F238E27FC236}">
                <a16:creationId xmlns:a16="http://schemas.microsoft.com/office/drawing/2014/main" id="{1E6D5E1D-C40C-4BD8-AE3D-1BCF172552CF}"/>
              </a:ext>
            </a:extLst>
          </p:cNvPr>
          <p:cNvGrpSpPr/>
          <p:nvPr/>
        </p:nvGrpSpPr>
        <p:grpSpPr>
          <a:xfrm>
            <a:off x="1412447" y="4256265"/>
            <a:ext cx="4362292" cy="669420"/>
            <a:chOff x="1361896" y="4918905"/>
            <a:chExt cx="4362292" cy="434188"/>
          </a:xfrm>
        </p:grpSpPr>
        <p:sp>
          <p:nvSpPr>
            <p:cNvPr id="77" name="Rectangle 76">
              <a:extLst>
                <a:ext uri="{FF2B5EF4-FFF2-40B4-BE49-F238E27FC236}">
                  <a16:creationId xmlns:a16="http://schemas.microsoft.com/office/drawing/2014/main" id="{91CE6224-6150-4060-8B91-DE1E339CE747}"/>
                </a:ext>
              </a:extLst>
            </p:cNvPr>
            <p:cNvSpPr/>
            <p:nvPr/>
          </p:nvSpPr>
          <p:spPr>
            <a:xfrm>
              <a:off x="1361896" y="4918905"/>
              <a:ext cx="4362292" cy="43418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78" name="Body3 18">
              <a:extLst>
                <a:ext uri="{FF2B5EF4-FFF2-40B4-BE49-F238E27FC236}">
                  <a16:creationId xmlns:a16="http://schemas.microsoft.com/office/drawing/2014/main" id="{CE1C5FFE-F71B-40BD-BCCA-B188D1369B38}"/>
                </a:ext>
              </a:extLst>
            </p:cNvPr>
            <p:cNvSpPr txBox="1">
              <a:spLocks/>
            </p:cNvSpPr>
            <p:nvPr>
              <p:custDataLst>
                <p:tags r:id="rId8"/>
              </p:custDataLst>
            </p:nvPr>
          </p:nvSpPr>
          <p:spPr>
            <a:xfrm>
              <a:off x="1436195" y="5000113"/>
              <a:ext cx="4181823" cy="352980"/>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77533" eaLnBrk="1" hangingPunct="1">
                <a:buClr>
                  <a:schemeClr val="tx2"/>
                </a:buClr>
                <a:defRPr sz="1568" baseline="0">
                  <a:latin typeface="+mn-lt"/>
                  <a:sym typeface="+mn-lt"/>
                </a:defRPr>
              </a:lvl1pPr>
              <a:lvl2pPr marL="176415" lvl="1" indent="-176415" defTabSz="877533" eaLnBrk="1" hangingPunct="1">
                <a:buClr>
                  <a:schemeClr val="tx1"/>
                </a:buClr>
                <a:buSzPct val="100000"/>
                <a:buFont typeface="Arial" pitchFamily="34" charset="0"/>
                <a:buChar char="•"/>
                <a:defRPr sz="1568" baseline="0">
                  <a:latin typeface="+mn-lt"/>
                  <a:sym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sym typeface="+mn-lt"/>
                </a:defRPr>
              </a:lvl3pPr>
              <a:lvl4pPr marL="529245" lvl="3" indent="-176415" defTabSz="877533" eaLnBrk="1" hangingPunct="1">
                <a:buClr>
                  <a:schemeClr val="tx1"/>
                </a:buClr>
                <a:buSzPct val="100000"/>
                <a:buFont typeface="Arial" pitchFamily="34" charset="0"/>
                <a:buChar char="»"/>
                <a:defRPr sz="1568" baseline="0">
                  <a:latin typeface="+mn-lt"/>
                  <a:sym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sym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ctr" defTabSz="877533" rtl="0" eaLnBrk="1" fontAlgn="auto" latinLnBrk="0" hangingPunct="1">
                <a:lnSpc>
                  <a:spcPct val="100000"/>
                </a:lnSpc>
                <a:spcBef>
                  <a:spcPts val="0"/>
                </a:spcBef>
                <a:spcAft>
                  <a:spcPts val="0"/>
                </a:spcAft>
                <a:buClr>
                  <a:srgbClr val="003C54"/>
                </a:buClr>
                <a:buSzTx/>
                <a:buFontTx/>
                <a:buNone/>
                <a:tabLst/>
                <a:defRPr/>
              </a:pPr>
              <a:r>
                <a:rPr kumimoji="0" lang="en-US" sz="1800" b="1" i="0" u="none" strike="noStrike" kern="1200" cap="none" spc="0" normalizeH="0" baseline="0" noProof="0" dirty="0" err="1">
                  <a:ln>
                    <a:noFill/>
                  </a:ln>
                  <a:solidFill>
                    <a:srgbClr val="005777"/>
                  </a:solidFill>
                  <a:effectLst/>
                  <a:uLnTx/>
                  <a:uFillTx/>
                  <a:latin typeface="Arial"/>
                  <a:ea typeface="ＭＳ Ｐゴシック"/>
                  <a:cs typeface="+mn-cs"/>
                  <a:sym typeface="+mn-lt"/>
                </a:rPr>
                <a:t>Jonger</a:t>
              </a:r>
              <a:r>
                <a:rPr kumimoji="0" lang="en-US" sz="1800" b="1" i="0" u="none" strike="noStrike" kern="1200" cap="none" spc="0" normalizeH="0" baseline="0" noProof="0" dirty="0">
                  <a:ln>
                    <a:noFill/>
                  </a:ln>
                  <a:solidFill>
                    <a:srgbClr val="005777"/>
                  </a:solidFill>
                  <a:effectLst/>
                  <a:uLnTx/>
                  <a:uFillTx/>
                  <a:latin typeface="Arial"/>
                  <a:ea typeface="ＭＳ Ｐゴシック"/>
                  <a:cs typeface="+mn-cs"/>
                  <a:sym typeface="+mn-lt"/>
                </a:rPr>
                <a:t> dan 29 </a:t>
              </a:r>
              <a:r>
                <a:rPr kumimoji="0" lang="en-US" sz="1800" b="1" i="0" u="none" strike="noStrike" kern="1200" cap="none" spc="0" normalizeH="0" baseline="0" noProof="0" dirty="0" err="1">
                  <a:ln>
                    <a:noFill/>
                  </a:ln>
                  <a:solidFill>
                    <a:srgbClr val="005777"/>
                  </a:solidFill>
                  <a:effectLst/>
                  <a:uLnTx/>
                  <a:uFillTx/>
                  <a:latin typeface="Arial"/>
                  <a:ea typeface="ＭＳ Ｐゴシック"/>
                  <a:cs typeface="+mn-cs"/>
                  <a:sym typeface="+mn-lt"/>
                </a:rPr>
                <a:t>jaar</a:t>
              </a:r>
              <a:r>
                <a:rPr kumimoji="0" lang="en-US" sz="1800" b="1" i="0" u="none" strike="noStrike" kern="1200" cap="none" spc="0" normalizeH="0" baseline="0" noProof="0" dirty="0">
                  <a:ln>
                    <a:noFill/>
                  </a:ln>
                  <a:solidFill>
                    <a:srgbClr val="005777"/>
                  </a:solidFill>
                  <a:effectLst/>
                  <a:uLnTx/>
                  <a:uFillTx/>
                  <a:latin typeface="Arial"/>
                  <a:ea typeface="ＭＳ Ｐゴシック"/>
                  <a:cs typeface="+mn-cs"/>
                  <a:sym typeface="+mn-lt"/>
                </a:rPr>
                <a:t> en </a:t>
              </a:r>
              <a:r>
                <a:rPr kumimoji="0" lang="en-US" sz="1800" b="1" i="0" u="none" strike="noStrike" kern="1200" cap="none" spc="0" normalizeH="0" baseline="0" noProof="0" dirty="0" err="1">
                  <a:ln>
                    <a:noFill/>
                  </a:ln>
                  <a:solidFill>
                    <a:srgbClr val="005777"/>
                  </a:solidFill>
                  <a:effectLst/>
                  <a:uLnTx/>
                  <a:uFillTx/>
                  <a:latin typeface="Arial"/>
                  <a:ea typeface="ＭＳ Ｐゴシック"/>
                  <a:cs typeface="+mn-cs"/>
                  <a:sym typeface="+mn-lt"/>
                </a:rPr>
                <a:t>tussen</a:t>
              </a:r>
              <a:r>
                <a:rPr kumimoji="0" lang="en-US" sz="1800" b="1" i="0" u="none" strike="noStrike" kern="1200" cap="none" spc="0" normalizeH="0" baseline="0" noProof="0" dirty="0">
                  <a:ln>
                    <a:noFill/>
                  </a:ln>
                  <a:solidFill>
                    <a:srgbClr val="005777"/>
                  </a:solidFill>
                  <a:effectLst/>
                  <a:uLnTx/>
                  <a:uFillTx/>
                  <a:latin typeface="Arial"/>
                  <a:ea typeface="ＭＳ Ｐゴシック"/>
                  <a:cs typeface="+mn-cs"/>
                  <a:sym typeface="+mn-lt"/>
                </a:rPr>
                <a:t> de 44 en 54 </a:t>
              </a:r>
              <a:r>
                <a:rPr kumimoji="0" lang="en-US" sz="1800" b="1" i="0" u="none" strike="noStrike" kern="1200" cap="none" spc="0" normalizeH="0" baseline="0" noProof="0" dirty="0" err="1">
                  <a:ln>
                    <a:noFill/>
                  </a:ln>
                  <a:solidFill>
                    <a:srgbClr val="005777"/>
                  </a:solidFill>
                  <a:effectLst/>
                  <a:uLnTx/>
                  <a:uFillTx/>
                  <a:latin typeface="Arial"/>
                  <a:ea typeface="ＭＳ Ｐゴシック"/>
                  <a:cs typeface="+mn-cs"/>
                  <a:sym typeface="+mn-lt"/>
                </a:rPr>
                <a:t>jaar</a:t>
              </a:r>
              <a:endParaRPr kumimoji="0" lang="nl-NL" sz="1800" b="1" i="0" u="none" strike="noStrike" kern="1200" cap="none" spc="0" normalizeH="0" baseline="0" noProof="0" dirty="0" err="1">
                <a:ln>
                  <a:noFill/>
                </a:ln>
                <a:solidFill>
                  <a:srgbClr val="005777"/>
                </a:solidFill>
                <a:effectLst/>
                <a:uLnTx/>
                <a:uFillTx/>
                <a:latin typeface="Arial"/>
                <a:ea typeface="ＭＳ Ｐゴシック"/>
                <a:cs typeface="+mn-cs"/>
                <a:sym typeface="+mn-lt"/>
              </a:endParaRPr>
            </a:p>
            <a:p>
              <a:pPr marL="0" marR="0" lvl="0" indent="0" algn="ctr" defTabSz="877533" rtl="0" eaLnBrk="1" fontAlgn="auto" latinLnBrk="0" hangingPunct="1">
                <a:lnSpc>
                  <a:spcPct val="100000"/>
                </a:lnSpc>
                <a:spcBef>
                  <a:spcPts val="0"/>
                </a:spcBef>
                <a:spcAft>
                  <a:spcPts val="0"/>
                </a:spcAft>
                <a:buClr>
                  <a:srgbClr val="003C54"/>
                </a:buClr>
                <a:buSzTx/>
                <a:buFontTx/>
                <a:buNone/>
                <a:tabLst/>
                <a:defRPr/>
              </a:pPr>
              <a:endParaRPr kumimoji="0" lang="en-US" sz="1800" b="1" i="0" u="none" strike="noStrike" kern="1200" cap="none" spc="0" normalizeH="0" baseline="0" noProof="0">
                <a:ln>
                  <a:noFill/>
                </a:ln>
                <a:solidFill>
                  <a:srgbClr val="005777"/>
                </a:solidFill>
                <a:effectLst/>
                <a:uLnTx/>
                <a:uFillTx/>
                <a:latin typeface="Arial"/>
                <a:ea typeface="ＭＳ Ｐゴシック"/>
                <a:cs typeface="+mn-cs"/>
                <a:sym typeface="+mn-lt"/>
              </a:endParaRPr>
            </a:p>
          </p:txBody>
        </p:sp>
      </p:grpSp>
      <p:sp>
        <p:nvSpPr>
          <p:cNvPr id="27" name="Rectangle 76">
            <a:extLst>
              <a:ext uri="{FF2B5EF4-FFF2-40B4-BE49-F238E27FC236}">
                <a16:creationId xmlns:a16="http://schemas.microsoft.com/office/drawing/2014/main" id="{085364C8-9AA9-4E45-A31A-7EBC0B7CD2F1}"/>
              </a:ext>
            </a:extLst>
          </p:cNvPr>
          <p:cNvSpPr/>
          <p:nvPr/>
        </p:nvSpPr>
        <p:spPr>
          <a:xfrm>
            <a:off x="1412447" y="5022727"/>
            <a:ext cx="4362292" cy="66941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9" name="Body3 18">
            <a:extLst>
              <a:ext uri="{FF2B5EF4-FFF2-40B4-BE49-F238E27FC236}">
                <a16:creationId xmlns:a16="http://schemas.microsoft.com/office/drawing/2014/main" id="{6FA5751E-2972-49A8-A1E2-87426A653CCB}"/>
              </a:ext>
            </a:extLst>
          </p:cNvPr>
          <p:cNvSpPr txBox="1">
            <a:spLocks/>
          </p:cNvSpPr>
          <p:nvPr>
            <p:custDataLst>
              <p:tags r:id="rId2"/>
            </p:custDataLst>
          </p:nvPr>
        </p:nvSpPr>
        <p:spPr>
          <a:xfrm>
            <a:off x="1486746" y="5182055"/>
            <a:ext cx="4181823" cy="392524"/>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77533" eaLnBrk="1" hangingPunct="1">
              <a:buClr>
                <a:schemeClr val="tx2"/>
              </a:buClr>
              <a:defRPr sz="1568" baseline="0">
                <a:latin typeface="+mn-lt"/>
                <a:sym typeface="+mn-lt"/>
              </a:defRPr>
            </a:lvl1pPr>
            <a:lvl2pPr marL="176415" lvl="1" indent="-176415" defTabSz="877533" eaLnBrk="1" hangingPunct="1">
              <a:buClr>
                <a:schemeClr val="tx1"/>
              </a:buClr>
              <a:buSzPct val="100000"/>
              <a:buFont typeface="Arial" pitchFamily="34" charset="0"/>
              <a:buChar char="•"/>
              <a:defRPr sz="1568" baseline="0">
                <a:latin typeface="+mn-lt"/>
                <a:sym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sym typeface="+mn-lt"/>
              </a:defRPr>
            </a:lvl3pPr>
            <a:lvl4pPr marL="529245" lvl="3" indent="-176415" defTabSz="877533" eaLnBrk="1" hangingPunct="1">
              <a:buClr>
                <a:schemeClr val="tx1"/>
              </a:buClr>
              <a:buSzPct val="100000"/>
              <a:buFont typeface="Arial" pitchFamily="34" charset="0"/>
              <a:buChar char="»"/>
              <a:defRPr sz="1568" baseline="0">
                <a:latin typeface="+mn-lt"/>
                <a:sym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sym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ctr" defTabSz="877533" rtl="0" eaLnBrk="1" fontAlgn="auto" latinLnBrk="0" hangingPunct="1">
              <a:lnSpc>
                <a:spcPct val="100000"/>
              </a:lnSpc>
              <a:spcBef>
                <a:spcPts val="0"/>
              </a:spcBef>
              <a:spcAft>
                <a:spcPts val="0"/>
              </a:spcAft>
              <a:buClr>
                <a:srgbClr val="003C54"/>
              </a:buClr>
              <a:buSzTx/>
              <a:buFontTx/>
              <a:buNone/>
              <a:tabLst/>
              <a:defRPr/>
            </a:pPr>
            <a:r>
              <a:rPr kumimoji="0" lang="en-US" sz="1800" b="1" i="0" u="none" strike="noStrike" kern="1200" cap="none" spc="0" normalizeH="0" baseline="0" noProof="0" dirty="0">
                <a:ln>
                  <a:noFill/>
                </a:ln>
                <a:solidFill>
                  <a:srgbClr val="005777"/>
                </a:solidFill>
                <a:effectLst/>
                <a:uLnTx/>
                <a:uFillTx/>
                <a:latin typeface="Arial"/>
                <a:ea typeface="ＭＳ Ｐゴシック"/>
                <a:cs typeface="+mn-cs"/>
                <a:sym typeface="+mn-lt"/>
              </a:rPr>
              <a:t> Contract </a:t>
            </a:r>
            <a:r>
              <a:rPr kumimoji="0" lang="en-US" sz="1800" b="1" i="0" u="none" strike="noStrike" kern="1200" cap="none" spc="0" normalizeH="0" baseline="0" noProof="0" dirty="0" err="1">
                <a:ln>
                  <a:noFill/>
                </a:ln>
                <a:solidFill>
                  <a:srgbClr val="005777"/>
                </a:solidFill>
                <a:effectLst/>
                <a:uLnTx/>
                <a:uFillTx/>
                <a:latin typeface="Arial"/>
                <a:ea typeface="ＭＳ Ｐゴシック"/>
                <a:cs typeface="+mn-cs"/>
                <a:sym typeface="+mn-lt"/>
              </a:rPr>
              <a:t>tussen</a:t>
            </a:r>
            <a:r>
              <a:rPr kumimoji="0" lang="en-US" sz="1800" b="1" i="0" u="none" strike="noStrike" kern="1200" cap="none" spc="0" normalizeH="0" baseline="0" noProof="0" dirty="0">
                <a:ln>
                  <a:noFill/>
                </a:ln>
                <a:solidFill>
                  <a:srgbClr val="005777"/>
                </a:solidFill>
                <a:effectLst/>
                <a:uLnTx/>
                <a:uFillTx/>
                <a:latin typeface="Arial"/>
                <a:ea typeface="ＭＳ Ｐゴシック"/>
                <a:cs typeface="+mn-cs"/>
                <a:sym typeface="+mn-lt"/>
              </a:rPr>
              <a:t> 20 en 24 </a:t>
            </a:r>
            <a:r>
              <a:rPr kumimoji="0" lang="en-US" sz="1800" b="1" i="0" u="none" strike="noStrike" kern="1200" cap="none" spc="0" normalizeH="0" baseline="0" noProof="0" dirty="0" err="1">
                <a:ln>
                  <a:noFill/>
                </a:ln>
                <a:solidFill>
                  <a:srgbClr val="005777"/>
                </a:solidFill>
                <a:effectLst/>
                <a:uLnTx/>
                <a:uFillTx/>
                <a:latin typeface="Arial"/>
                <a:ea typeface="ＭＳ Ｐゴシック"/>
                <a:cs typeface="+mn-cs"/>
                <a:sym typeface="+mn-lt"/>
              </a:rPr>
              <a:t>uur</a:t>
            </a:r>
            <a:endParaRPr kumimoji="0" lang="nl-NL" sz="1800" b="1" i="0" u="none" strike="noStrike" kern="1200" cap="none" spc="0" normalizeH="0" baseline="0" noProof="0" dirty="0" err="1">
              <a:ln>
                <a:noFill/>
              </a:ln>
              <a:solidFill>
                <a:srgbClr val="005777"/>
              </a:solidFill>
              <a:effectLst/>
              <a:uLnTx/>
              <a:uFillTx/>
              <a:latin typeface="Arial"/>
              <a:ea typeface="ＭＳ Ｐゴシック"/>
              <a:cs typeface="+mn-cs"/>
              <a:sym typeface="+mn-lt"/>
            </a:endParaRPr>
          </a:p>
        </p:txBody>
      </p:sp>
      <p:sp>
        <p:nvSpPr>
          <p:cNvPr id="51" name="Rectangle 40">
            <a:extLst>
              <a:ext uri="{FF2B5EF4-FFF2-40B4-BE49-F238E27FC236}">
                <a16:creationId xmlns:a16="http://schemas.microsoft.com/office/drawing/2014/main" id="{CD06DD09-942A-456B-A1D1-7913FDB2A92E}"/>
              </a:ext>
            </a:extLst>
          </p:cNvPr>
          <p:cNvSpPr>
            <a:spLocks/>
          </p:cNvSpPr>
          <p:nvPr/>
        </p:nvSpPr>
        <p:spPr>
          <a:xfrm>
            <a:off x="6166316" y="1309739"/>
            <a:ext cx="4354480" cy="2830876"/>
          </a:xfrm>
          <a:prstGeom prst="rect">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a:ln>
                <a:noFill/>
              </a:ln>
              <a:solidFill>
                <a:srgbClr val="000000"/>
              </a:solidFill>
              <a:effectLst/>
              <a:uLnTx/>
              <a:uFillTx/>
              <a:latin typeface="Arial"/>
              <a:ea typeface="ＭＳ Ｐゴシック"/>
              <a:cs typeface="+mn-cs"/>
            </a:endParaRPr>
          </a:p>
        </p:txBody>
      </p:sp>
      <p:pic>
        <p:nvPicPr>
          <p:cNvPr id="52" name="CustomIcon">
            <a:extLst>
              <a:ext uri="{FF2B5EF4-FFF2-40B4-BE49-F238E27FC236}">
                <a16:creationId xmlns:a16="http://schemas.microsoft.com/office/drawing/2014/main" id="{D2DABBE5-B1B2-44D8-849F-6D5F27529DA6}"/>
              </a:ext>
            </a:extLst>
          </p:cNvPr>
          <p:cNvPicPr>
            <a:picLocks/>
          </p:cNvPicPr>
          <p:nvPr>
            <p:custDataLst>
              <p:tags r:id="rId3"/>
            </p:custDataLst>
          </p:nvPr>
        </p:nvPicPr>
        <p:blipFill>
          <a:blip r:embed="rId12">
            <a:extLst>
              <a:ext uri="{96DAC541-7B7A-43D3-8B79-37D633B846F1}">
                <asvg:svgBlip xmlns:asvg="http://schemas.microsoft.com/office/drawing/2016/SVG/main" r:embed="rId13"/>
              </a:ext>
            </a:extLst>
          </a:blip>
          <a:stretch>
            <a:fillRect/>
          </a:stretch>
        </p:blipFill>
        <p:spPr>
          <a:xfrm>
            <a:off x="6620461" y="1529910"/>
            <a:ext cx="967680" cy="799519"/>
          </a:xfrm>
          <a:prstGeom prst="rect">
            <a:avLst/>
          </a:prstGeom>
        </p:spPr>
      </p:pic>
      <p:sp>
        <p:nvSpPr>
          <p:cNvPr id="54" name="TextBox 4">
            <a:extLst>
              <a:ext uri="{FF2B5EF4-FFF2-40B4-BE49-F238E27FC236}">
                <a16:creationId xmlns:a16="http://schemas.microsoft.com/office/drawing/2014/main" id="{44946503-8A76-4163-B27B-793EFA43BEBF}"/>
              </a:ext>
            </a:extLst>
          </p:cNvPr>
          <p:cNvSpPr txBox="1">
            <a:spLocks/>
          </p:cNvSpPr>
          <p:nvPr/>
        </p:nvSpPr>
        <p:spPr>
          <a:xfrm>
            <a:off x="7693502" y="1612873"/>
            <a:ext cx="2658620" cy="3167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77533" eaLnBrk="1" hangingPunct="1">
              <a:buClr>
                <a:schemeClr val="tx2"/>
              </a:buClr>
              <a:defRPr sz="1568" baseline="0">
                <a:latin typeface="+mn-lt"/>
                <a:sym typeface="+mn-lt"/>
              </a:defRPr>
            </a:lvl1pPr>
            <a:lvl2pPr marL="176415" lvl="1" indent="-176415" defTabSz="877533" eaLnBrk="1" hangingPunct="1">
              <a:buClr>
                <a:schemeClr val="tx1"/>
              </a:buClr>
              <a:buSzPct val="100000"/>
              <a:buFont typeface="Arial" pitchFamily="34" charset="0"/>
              <a:buChar char="•"/>
              <a:defRPr sz="1568" baseline="0">
                <a:latin typeface="+mn-lt"/>
                <a:sym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sym typeface="+mn-lt"/>
              </a:defRPr>
            </a:lvl3pPr>
            <a:lvl4pPr marL="529245" lvl="3" indent="-176415" defTabSz="877533" eaLnBrk="1" hangingPunct="1">
              <a:buClr>
                <a:schemeClr val="tx1"/>
              </a:buClr>
              <a:buSzPct val="100000"/>
              <a:buFont typeface="Arial" pitchFamily="34" charset="0"/>
              <a:buChar char="»"/>
              <a:defRPr sz="1568" baseline="0">
                <a:latin typeface="+mn-lt"/>
                <a:sym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sym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l" defTabSz="877533" rtl="0" eaLnBrk="1" fontAlgn="auto" latinLnBrk="0" hangingPunct="1">
              <a:lnSpc>
                <a:spcPct val="100000"/>
              </a:lnSpc>
              <a:spcBef>
                <a:spcPts val="0"/>
              </a:spcBef>
              <a:spcAft>
                <a:spcPts val="0"/>
              </a:spcAft>
              <a:buClr>
                <a:srgbClr val="003C54"/>
              </a:buClr>
              <a:buSzTx/>
              <a:buFontTx/>
              <a:buNone/>
              <a:tabLst/>
              <a:defRPr/>
            </a:pPr>
            <a:r>
              <a:rPr kumimoji="0" lang="nl-NL" sz="1800" b="1" i="0" u="none" strike="noStrike" kern="1200" cap="none" spc="0" normalizeH="0" baseline="0" noProof="0" dirty="0">
                <a:ln>
                  <a:noFill/>
                </a:ln>
                <a:solidFill>
                  <a:srgbClr val="005777"/>
                </a:solidFill>
                <a:effectLst/>
                <a:uLnTx/>
                <a:uFillTx/>
                <a:latin typeface="Arial"/>
                <a:ea typeface="ＭＳ Ｐゴシック"/>
                <a:cs typeface="+mn-cs"/>
                <a:sym typeface="+mn-lt"/>
              </a:rPr>
              <a:t>Tevreden met contractomvang</a:t>
            </a:r>
          </a:p>
          <a:p>
            <a:pPr marL="0" marR="0" lvl="0" indent="0" algn="l" defTabSz="877533" rtl="0" eaLnBrk="1" fontAlgn="auto" latinLnBrk="0" hangingPunct="1">
              <a:lnSpc>
                <a:spcPct val="100000"/>
              </a:lnSpc>
              <a:spcBef>
                <a:spcPts val="0"/>
              </a:spcBef>
              <a:spcAft>
                <a:spcPts val="0"/>
              </a:spcAft>
              <a:buClr>
                <a:srgbClr val="003C54"/>
              </a:buClr>
              <a:buSzTx/>
              <a:buFontTx/>
              <a:buNone/>
              <a:tabLst/>
              <a:defRPr/>
            </a:pPr>
            <a:r>
              <a:rPr kumimoji="0" lang="nl-NL" sz="1800" b="1" i="0" u="none" strike="noStrike" kern="1200" cap="none" spc="0" normalizeH="0" baseline="0" noProof="0" dirty="0">
                <a:ln>
                  <a:noFill/>
                </a:ln>
                <a:solidFill>
                  <a:srgbClr val="005777"/>
                </a:solidFill>
                <a:effectLst/>
                <a:uLnTx/>
                <a:uFillTx/>
                <a:latin typeface="Arial"/>
                <a:ea typeface="ＭＳ Ｐゴシック"/>
                <a:cs typeface="+mn-cs"/>
                <a:sym typeface="+mn-lt"/>
              </a:rPr>
              <a:t>68%, 141 medewerkers</a:t>
            </a:r>
          </a:p>
        </p:txBody>
      </p:sp>
      <p:sp>
        <p:nvSpPr>
          <p:cNvPr id="56" name="TextBox 47">
            <a:extLst>
              <a:ext uri="{FF2B5EF4-FFF2-40B4-BE49-F238E27FC236}">
                <a16:creationId xmlns:a16="http://schemas.microsoft.com/office/drawing/2014/main" id="{B6AFE88B-D5B9-4CB0-B9E3-A7A555B0039A}"/>
              </a:ext>
            </a:extLst>
          </p:cNvPr>
          <p:cNvSpPr txBox="1">
            <a:spLocks/>
          </p:cNvSpPr>
          <p:nvPr/>
        </p:nvSpPr>
        <p:spPr>
          <a:xfrm>
            <a:off x="6551683" y="2567779"/>
            <a:ext cx="3898797" cy="94490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350" eaLnBrk="1" hangingPunct="1">
              <a:buClr>
                <a:schemeClr val="tx2"/>
              </a:buClr>
              <a:defRPr sz="1600" baseline="0">
                <a:latin typeface="+mn-lt"/>
                <a:sym typeface="+mn-lt"/>
              </a:defRPr>
            </a:lvl1pPr>
            <a:lvl2pPr marL="179997" lvl="1" indent="-179997" defTabSz="895350" eaLnBrk="1" hangingPunct="1">
              <a:buClr>
                <a:schemeClr val="tx1"/>
              </a:buClr>
              <a:buSzPct val="100000"/>
              <a:buFont typeface="Arial" pitchFamily="34" charset="0"/>
              <a:buChar char="•"/>
              <a:defRPr sz="1600" baseline="0">
                <a:latin typeface="+mn-lt"/>
                <a:sym typeface="+mn-lt"/>
              </a:defRPr>
            </a:lvl2pPr>
            <a:lvl3pPr marL="359994" lvl="2" indent="-179997" defTabSz="895350" eaLnBrk="1" hangingPunct="1">
              <a:buClr>
                <a:schemeClr val="tx1"/>
              </a:buClr>
              <a:buSzPct val="100000"/>
              <a:buFont typeface="Arial" panose="020B0604020202020204" pitchFamily="34" charset="0"/>
              <a:buChar char="–"/>
              <a:defRPr sz="1600" baseline="0">
                <a:latin typeface="+mn-lt"/>
                <a:sym typeface="+mn-lt"/>
              </a:defRPr>
            </a:lvl3pPr>
            <a:lvl4pPr marL="539991" lvl="3" indent="-179997" defTabSz="895350" eaLnBrk="1" hangingPunct="1">
              <a:buClr>
                <a:schemeClr val="tx1"/>
              </a:buClr>
              <a:buSzPct val="100000"/>
              <a:buFont typeface="Arial" pitchFamily="34" charset="0"/>
              <a:buChar char="»"/>
              <a:defRPr sz="1600" baseline="0">
                <a:latin typeface="+mn-lt"/>
                <a:sym typeface="+mn-lt"/>
              </a:defRPr>
            </a:lvl4pPr>
            <a:lvl5pPr marL="719988" lvl="4" indent="-179997" defTabSz="895350" eaLnBrk="1" hangingPunct="1">
              <a:buClr>
                <a:schemeClr val="tx2"/>
              </a:buClr>
              <a:buSzPct val="100000"/>
              <a:buFont typeface="Arial" panose="020B0604020202020204" pitchFamily="34" charset="0"/>
              <a:buChar char="›"/>
              <a:defRPr sz="1600" baseline="0">
                <a:latin typeface="+mn-lt"/>
                <a:sym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342898" marR="0" lvl="1" indent="-342898" algn="l" defTabSz="895350" rtl="0" eaLnBrk="1" fontAlgn="auto" latinLnBrk="0" hangingPunct="1">
              <a:lnSpc>
                <a:spcPct val="100000"/>
              </a:lnSpc>
              <a:spcBef>
                <a:spcPts val="0"/>
              </a:spcBef>
              <a:spcAft>
                <a:spcPts val="0"/>
              </a:spcAft>
              <a:buClr>
                <a:srgbClr val="005777"/>
              </a:buClr>
              <a:buSzPct val="100000"/>
              <a:buFont typeface="+mj-lt"/>
              <a:buAutoNum type="arabicPeriod"/>
              <a:tabLst/>
              <a:defRPr/>
            </a:pPr>
            <a:r>
              <a:rPr kumimoji="0" lang="nl-NL" sz="1800" b="1" i="0" u="none" strike="noStrike" kern="1200" cap="none" spc="0" normalizeH="0" baseline="0" noProof="0" dirty="0">
                <a:ln>
                  <a:noFill/>
                </a:ln>
                <a:solidFill>
                  <a:srgbClr val="005777"/>
                </a:solidFill>
                <a:effectLst/>
                <a:uLnTx/>
                <a:uFillTx/>
                <a:latin typeface="Arial"/>
                <a:ea typeface="ＭＳ Ｐゴシック"/>
                <a:cs typeface="+mn-cs"/>
                <a:sym typeface="+mn-lt"/>
              </a:rPr>
              <a:t>Extra financiële beloning</a:t>
            </a:r>
          </a:p>
          <a:p>
            <a:pPr marL="342898" marR="0" lvl="1" indent="-342898" algn="l" defTabSz="895350" rtl="0" eaLnBrk="1" fontAlgn="auto" latinLnBrk="0" hangingPunct="1">
              <a:lnSpc>
                <a:spcPct val="100000"/>
              </a:lnSpc>
              <a:spcBef>
                <a:spcPts val="0"/>
              </a:spcBef>
              <a:spcAft>
                <a:spcPts val="0"/>
              </a:spcAft>
              <a:buClr>
                <a:srgbClr val="005777"/>
              </a:buClr>
              <a:buSzPct val="100000"/>
              <a:buFont typeface="+mj-lt"/>
              <a:buAutoNum type="arabicPeriod"/>
              <a:tabLst/>
              <a:defRPr/>
            </a:pPr>
            <a:r>
              <a:rPr kumimoji="0" lang="nl-NL" sz="1800" b="1" i="0" u="none" strike="noStrike" kern="1200" cap="none" spc="0" normalizeH="0" baseline="0" noProof="0" dirty="0">
                <a:ln>
                  <a:noFill/>
                </a:ln>
                <a:solidFill>
                  <a:srgbClr val="005777"/>
                </a:solidFill>
                <a:effectLst/>
                <a:uLnTx/>
                <a:uFillTx/>
                <a:latin typeface="Arial"/>
                <a:ea typeface="ＭＳ Ｐゴシック"/>
                <a:cs typeface="+mn-cs"/>
                <a:sym typeface="+mn-lt"/>
              </a:rPr>
              <a:t>Mogelijkheid om later uren weer aan te passen</a:t>
            </a:r>
          </a:p>
          <a:p>
            <a:pPr marL="342898" marR="0" lvl="1" indent="-342898" algn="l" defTabSz="895350" rtl="0" eaLnBrk="1" fontAlgn="auto" latinLnBrk="0" hangingPunct="1">
              <a:lnSpc>
                <a:spcPct val="100000"/>
              </a:lnSpc>
              <a:spcBef>
                <a:spcPts val="0"/>
              </a:spcBef>
              <a:spcAft>
                <a:spcPts val="0"/>
              </a:spcAft>
              <a:buClr>
                <a:srgbClr val="005777"/>
              </a:buClr>
              <a:buSzPct val="100000"/>
              <a:buFont typeface="+mj-lt"/>
              <a:buAutoNum type="arabicPeriod"/>
              <a:tabLst/>
              <a:defRPr/>
            </a:pPr>
            <a:r>
              <a:rPr kumimoji="0" lang="nl-NL" sz="1800" b="1" i="0" u="none" strike="noStrike" kern="1200" cap="none" spc="0" normalizeH="0" baseline="0" noProof="0" dirty="0">
                <a:ln>
                  <a:noFill/>
                </a:ln>
                <a:solidFill>
                  <a:srgbClr val="005777"/>
                </a:solidFill>
                <a:effectLst/>
                <a:uLnTx/>
                <a:uFillTx/>
                <a:latin typeface="Arial"/>
                <a:ea typeface="ＭＳ Ｐゴシック"/>
                <a:cs typeface="+mn-cs"/>
                <a:sym typeface="+mn-lt"/>
              </a:rPr>
              <a:t>Uren in mijn vaste team </a:t>
            </a:r>
          </a:p>
        </p:txBody>
      </p:sp>
      <p:grpSp>
        <p:nvGrpSpPr>
          <p:cNvPr id="66" name="Groep 65">
            <a:extLst>
              <a:ext uri="{FF2B5EF4-FFF2-40B4-BE49-F238E27FC236}">
                <a16:creationId xmlns:a16="http://schemas.microsoft.com/office/drawing/2014/main" id="{7EF6DE6A-B4E2-4BDE-90A7-0589BCD06DBC}"/>
              </a:ext>
            </a:extLst>
          </p:cNvPr>
          <p:cNvGrpSpPr/>
          <p:nvPr/>
        </p:nvGrpSpPr>
        <p:grpSpPr>
          <a:xfrm>
            <a:off x="6158504" y="4269712"/>
            <a:ext cx="4362292" cy="669419"/>
            <a:chOff x="1361896" y="4918905"/>
            <a:chExt cx="4362292" cy="434187"/>
          </a:xfrm>
        </p:grpSpPr>
        <p:sp>
          <p:nvSpPr>
            <p:cNvPr id="67" name="Rectangle 76">
              <a:extLst>
                <a:ext uri="{FF2B5EF4-FFF2-40B4-BE49-F238E27FC236}">
                  <a16:creationId xmlns:a16="http://schemas.microsoft.com/office/drawing/2014/main" id="{92C8983D-AED2-48F0-8C51-F803A738A009}"/>
                </a:ext>
              </a:extLst>
            </p:cNvPr>
            <p:cNvSpPr/>
            <p:nvPr/>
          </p:nvSpPr>
          <p:spPr>
            <a:xfrm>
              <a:off x="1361896" y="4918905"/>
              <a:ext cx="4362292" cy="43418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68" name="Body3 18">
              <a:extLst>
                <a:ext uri="{FF2B5EF4-FFF2-40B4-BE49-F238E27FC236}">
                  <a16:creationId xmlns:a16="http://schemas.microsoft.com/office/drawing/2014/main" id="{A4DDE692-C154-4314-ABD9-FF8F89F1BD52}"/>
                </a:ext>
              </a:extLst>
            </p:cNvPr>
            <p:cNvSpPr txBox="1">
              <a:spLocks/>
            </p:cNvSpPr>
            <p:nvPr>
              <p:custDataLst>
                <p:tags r:id="rId7"/>
              </p:custDataLst>
            </p:nvPr>
          </p:nvSpPr>
          <p:spPr>
            <a:xfrm>
              <a:off x="1436195" y="4991391"/>
              <a:ext cx="4181823" cy="361701"/>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77533" eaLnBrk="1" hangingPunct="1">
                <a:buClr>
                  <a:schemeClr val="tx2"/>
                </a:buClr>
                <a:defRPr sz="1568" baseline="0">
                  <a:latin typeface="+mn-lt"/>
                  <a:sym typeface="+mn-lt"/>
                </a:defRPr>
              </a:lvl1pPr>
              <a:lvl2pPr marL="176415" lvl="1" indent="-176415" defTabSz="877533" eaLnBrk="1" hangingPunct="1">
                <a:buClr>
                  <a:schemeClr val="tx1"/>
                </a:buClr>
                <a:buSzPct val="100000"/>
                <a:buFont typeface="Arial" pitchFamily="34" charset="0"/>
                <a:buChar char="•"/>
                <a:defRPr sz="1568" baseline="0">
                  <a:latin typeface="+mn-lt"/>
                  <a:sym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sym typeface="+mn-lt"/>
                </a:defRPr>
              </a:lvl3pPr>
              <a:lvl4pPr marL="529245" lvl="3" indent="-176415" defTabSz="877533" eaLnBrk="1" hangingPunct="1">
                <a:buClr>
                  <a:schemeClr val="tx1"/>
                </a:buClr>
                <a:buSzPct val="100000"/>
                <a:buFont typeface="Arial" pitchFamily="34" charset="0"/>
                <a:buChar char="»"/>
                <a:defRPr sz="1568" baseline="0">
                  <a:latin typeface="+mn-lt"/>
                  <a:sym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sym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ctr" defTabSz="877533" rtl="0" eaLnBrk="1" fontAlgn="auto" latinLnBrk="0" hangingPunct="1">
                <a:lnSpc>
                  <a:spcPct val="100000"/>
                </a:lnSpc>
                <a:spcBef>
                  <a:spcPts val="0"/>
                </a:spcBef>
                <a:spcAft>
                  <a:spcPts val="0"/>
                </a:spcAft>
                <a:buClr>
                  <a:srgbClr val="003C54"/>
                </a:buClr>
                <a:buSzTx/>
                <a:buFontTx/>
                <a:buNone/>
                <a:tabLst/>
                <a:defRPr/>
              </a:pPr>
              <a:r>
                <a:rPr kumimoji="0" lang="en-US" sz="1800" b="1" i="0" u="none" strike="noStrike" kern="1200" cap="none" spc="0" normalizeH="0" baseline="0" noProof="0" dirty="0" err="1">
                  <a:ln>
                    <a:noFill/>
                  </a:ln>
                  <a:solidFill>
                    <a:srgbClr val="005777"/>
                  </a:solidFill>
                  <a:effectLst/>
                  <a:uLnTx/>
                  <a:uFillTx/>
                  <a:latin typeface="Arial"/>
                  <a:ea typeface="ＭＳ Ｐゴシック"/>
                  <a:cs typeface="+mn-cs"/>
                  <a:sym typeface="+mn-lt"/>
                </a:rPr>
                <a:t>Tussen</a:t>
              </a:r>
              <a:r>
                <a:rPr kumimoji="0" lang="en-US" sz="1800" b="1" i="0" u="none" strike="noStrike" kern="1200" cap="none" spc="0" normalizeH="0" baseline="0" noProof="0" dirty="0">
                  <a:ln>
                    <a:noFill/>
                  </a:ln>
                  <a:solidFill>
                    <a:srgbClr val="005777"/>
                  </a:solidFill>
                  <a:effectLst/>
                  <a:uLnTx/>
                  <a:uFillTx/>
                  <a:latin typeface="Arial"/>
                  <a:ea typeface="ＭＳ Ｐゴシック"/>
                  <a:cs typeface="+mn-cs"/>
                  <a:sym typeface="+mn-lt"/>
                </a:rPr>
                <a:t> de 45 en 60 </a:t>
              </a:r>
              <a:r>
                <a:rPr kumimoji="0" lang="en-US" sz="1800" b="1" i="0" u="none" strike="noStrike" kern="1200" cap="none" spc="0" normalizeH="0" baseline="0" noProof="0" dirty="0" err="1">
                  <a:ln>
                    <a:noFill/>
                  </a:ln>
                  <a:solidFill>
                    <a:srgbClr val="005777"/>
                  </a:solidFill>
                  <a:effectLst/>
                  <a:uLnTx/>
                  <a:uFillTx/>
                  <a:latin typeface="Arial"/>
                  <a:ea typeface="ＭＳ Ｐゴシック"/>
                  <a:cs typeface="+mn-cs"/>
                  <a:sym typeface="+mn-lt"/>
                </a:rPr>
                <a:t>jaar</a:t>
              </a:r>
              <a:endParaRPr kumimoji="0" lang="nl-NL" sz="1800" b="1" i="0" u="none" strike="noStrike" kern="1200" cap="none" spc="0" normalizeH="0" baseline="0" noProof="0" dirty="0" err="1">
                <a:ln>
                  <a:noFill/>
                </a:ln>
                <a:solidFill>
                  <a:srgbClr val="005777"/>
                </a:solidFill>
                <a:effectLst/>
                <a:uLnTx/>
                <a:uFillTx/>
                <a:latin typeface="Arial"/>
                <a:ea typeface="ＭＳ Ｐゴシック"/>
                <a:cs typeface="+mn-cs"/>
                <a:sym typeface="+mn-lt"/>
              </a:endParaRPr>
            </a:p>
          </p:txBody>
        </p:sp>
      </p:grpSp>
      <p:sp>
        <p:nvSpPr>
          <p:cNvPr id="70" name="Rectangle 76">
            <a:extLst>
              <a:ext uri="{FF2B5EF4-FFF2-40B4-BE49-F238E27FC236}">
                <a16:creationId xmlns:a16="http://schemas.microsoft.com/office/drawing/2014/main" id="{1BC473D6-4824-4A9F-BC77-8150CCCD6947}"/>
              </a:ext>
            </a:extLst>
          </p:cNvPr>
          <p:cNvSpPr/>
          <p:nvPr/>
        </p:nvSpPr>
        <p:spPr>
          <a:xfrm>
            <a:off x="6158504" y="5036168"/>
            <a:ext cx="4362292" cy="66941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71" name="Body3 18">
            <a:extLst>
              <a:ext uri="{FF2B5EF4-FFF2-40B4-BE49-F238E27FC236}">
                <a16:creationId xmlns:a16="http://schemas.microsoft.com/office/drawing/2014/main" id="{2AC7565D-0F6C-4AAC-AFC0-F1BE0F210D8D}"/>
              </a:ext>
            </a:extLst>
          </p:cNvPr>
          <p:cNvSpPr txBox="1">
            <a:spLocks/>
          </p:cNvSpPr>
          <p:nvPr>
            <p:custDataLst>
              <p:tags r:id="rId4"/>
            </p:custDataLst>
          </p:nvPr>
        </p:nvSpPr>
        <p:spPr>
          <a:xfrm>
            <a:off x="6232803" y="5195496"/>
            <a:ext cx="4181823" cy="392524"/>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77533" eaLnBrk="1" hangingPunct="1">
              <a:buClr>
                <a:schemeClr val="tx2"/>
              </a:buClr>
              <a:defRPr sz="1568" baseline="0">
                <a:latin typeface="+mn-lt"/>
                <a:sym typeface="+mn-lt"/>
              </a:defRPr>
            </a:lvl1pPr>
            <a:lvl2pPr marL="176415" lvl="1" indent="-176415" defTabSz="877533" eaLnBrk="1" hangingPunct="1">
              <a:buClr>
                <a:schemeClr val="tx1"/>
              </a:buClr>
              <a:buSzPct val="100000"/>
              <a:buFont typeface="Arial" pitchFamily="34" charset="0"/>
              <a:buChar char="•"/>
              <a:defRPr sz="1568" baseline="0">
                <a:latin typeface="+mn-lt"/>
                <a:sym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sym typeface="+mn-lt"/>
              </a:defRPr>
            </a:lvl3pPr>
            <a:lvl4pPr marL="529245" lvl="3" indent="-176415" defTabSz="877533" eaLnBrk="1" hangingPunct="1">
              <a:buClr>
                <a:schemeClr val="tx1"/>
              </a:buClr>
              <a:buSzPct val="100000"/>
              <a:buFont typeface="Arial" pitchFamily="34" charset="0"/>
              <a:buChar char="»"/>
              <a:defRPr sz="1568" baseline="0">
                <a:latin typeface="+mn-lt"/>
                <a:sym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sym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ctr" defTabSz="877533" rtl="0" eaLnBrk="1" fontAlgn="auto" latinLnBrk="0" hangingPunct="1">
              <a:lnSpc>
                <a:spcPct val="100000"/>
              </a:lnSpc>
              <a:spcBef>
                <a:spcPts val="0"/>
              </a:spcBef>
              <a:spcAft>
                <a:spcPts val="0"/>
              </a:spcAft>
              <a:buClr>
                <a:srgbClr val="003C54"/>
              </a:buClr>
              <a:buSzTx/>
              <a:buFontTx/>
              <a:buNone/>
              <a:tabLst/>
              <a:defRPr/>
            </a:pPr>
            <a:r>
              <a:rPr kumimoji="0" lang="en-US" sz="1800" b="1" i="0" u="none" strike="noStrike" kern="1200" cap="none" spc="0" normalizeH="0" baseline="0" noProof="0" dirty="0">
                <a:ln>
                  <a:noFill/>
                </a:ln>
                <a:solidFill>
                  <a:srgbClr val="005777"/>
                </a:solidFill>
                <a:effectLst/>
                <a:uLnTx/>
                <a:uFillTx/>
                <a:latin typeface="Arial"/>
                <a:ea typeface="ＭＳ Ｐゴシック"/>
                <a:cs typeface="+mn-cs"/>
                <a:sym typeface="+mn-lt"/>
              </a:rPr>
              <a:t> Contract </a:t>
            </a:r>
            <a:r>
              <a:rPr kumimoji="0" lang="en-US" sz="1800" b="1" i="0" u="none" strike="noStrike" kern="1200" cap="none" spc="0" normalizeH="0" baseline="0" noProof="0" dirty="0" err="1">
                <a:ln>
                  <a:noFill/>
                </a:ln>
                <a:solidFill>
                  <a:srgbClr val="005777"/>
                </a:solidFill>
                <a:effectLst/>
                <a:uLnTx/>
                <a:uFillTx/>
                <a:latin typeface="Arial"/>
                <a:ea typeface="ＭＳ Ｐゴシック"/>
                <a:cs typeface="+mn-cs"/>
                <a:sym typeface="+mn-lt"/>
              </a:rPr>
              <a:t>tussen</a:t>
            </a:r>
            <a:r>
              <a:rPr kumimoji="0" lang="en-US" sz="1800" b="1" i="0" u="none" strike="noStrike" kern="1200" cap="none" spc="0" normalizeH="0" baseline="0" noProof="0" dirty="0">
                <a:ln>
                  <a:noFill/>
                </a:ln>
                <a:solidFill>
                  <a:srgbClr val="005777"/>
                </a:solidFill>
                <a:effectLst/>
                <a:uLnTx/>
                <a:uFillTx/>
                <a:latin typeface="Arial"/>
                <a:ea typeface="ＭＳ Ｐゴシック"/>
                <a:cs typeface="+mn-cs"/>
                <a:sym typeface="+mn-lt"/>
              </a:rPr>
              <a:t> 20 en 24 </a:t>
            </a:r>
            <a:r>
              <a:rPr kumimoji="0" lang="en-US" sz="1800" b="1" i="0" u="none" strike="noStrike" kern="1200" cap="none" spc="0" normalizeH="0" baseline="0" noProof="0" dirty="0" err="1">
                <a:ln>
                  <a:noFill/>
                </a:ln>
                <a:solidFill>
                  <a:srgbClr val="005777"/>
                </a:solidFill>
                <a:effectLst/>
                <a:uLnTx/>
                <a:uFillTx/>
                <a:latin typeface="Arial"/>
                <a:ea typeface="ＭＳ Ｐゴシック"/>
                <a:cs typeface="+mn-cs"/>
                <a:sym typeface="+mn-lt"/>
              </a:rPr>
              <a:t>uur</a:t>
            </a:r>
            <a:endParaRPr kumimoji="0" lang="nl-NL" sz="1800" b="1" i="0" u="none" strike="noStrike" kern="1200" cap="none" spc="0" normalizeH="0" baseline="0" noProof="0" dirty="0" err="1">
              <a:ln>
                <a:noFill/>
              </a:ln>
              <a:solidFill>
                <a:srgbClr val="005777"/>
              </a:solidFill>
              <a:effectLst/>
              <a:uLnTx/>
              <a:uFillTx/>
              <a:latin typeface="Arial"/>
              <a:ea typeface="ＭＳ Ｐゴシック"/>
              <a:cs typeface="+mn-cs"/>
              <a:sym typeface="+mn-lt"/>
            </a:endParaRPr>
          </a:p>
        </p:txBody>
      </p:sp>
      <p:sp>
        <p:nvSpPr>
          <p:cNvPr id="36" name="Rectangle 76">
            <a:extLst>
              <a:ext uri="{FF2B5EF4-FFF2-40B4-BE49-F238E27FC236}">
                <a16:creationId xmlns:a16="http://schemas.microsoft.com/office/drawing/2014/main" id="{1BC473D6-4824-4A9F-BC77-8150CCCD6947}"/>
              </a:ext>
            </a:extLst>
          </p:cNvPr>
          <p:cNvSpPr/>
          <p:nvPr/>
        </p:nvSpPr>
        <p:spPr>
          <a:xfrm>
            <a:off x="6158504" y="5814890"/>
            <a:ext cx="4362292" cy="66941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7" name="Body3 18">
            <a:extLst>
              <a:ext uri="{FF2B5EF4-FFF2-40B4-BE49-F238E27FC236}">
                <a16:creationId xmlns:a16="http://schemas.microsoft.com/office/drawing/2014/main" id="{2AC7565D-0F6C-4AAC-AFC0-F1BE0F210D8D}"/>
              </a:ext>
            </a:extLst>
          </p:cNvPr>
          <p:cNvSpPr txBox="1">
            <a:spLocks/>
          </p:cNvSpPr>
          <p:nvPr>
            <p:custDataLst>
              <p:tags r:id="rId5"/>
            </p:custDataLst>
          </p:nvPr>
        </p:nvSpPr>
        <p:spPr>
          <a:xfrm>
            <a:off x="6232803" y="5974218"/>
            <a:ext cx="4181823" cy="392524"/>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77533" eaLnBrk="1" hangingPunct="1">
              <a:buClr>
                <a:schemeClr val="tx2"/>
              </a:buClr>
              <a:defRPr sz="1568" baseline="0">
                <a:latin typeface="+mn-lt"/>
                <a:sym typeface="+mn-lt"/>
              </a:defRPr>
            </a:lvl1pPr>
            <a:lvl2pPr marL="176415" lvl="1" indent="-176415" defTabSz="877533" eaLnBrk="1" hangingPunct="1">
              <a:buClr>
                <a:schemeClr val="tx1"/>
              </a:buClr>
              <a:buSzPct val="100000"/>
              <a:buFont typeface="Arial" pitchFamily="34" charset="0"/>
              <a:buChar char="•"/>
              <a:defRPr sz="1568" baseline="0">
                <a:latin typeface="+mn-lt"/>
                <a:sym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sym typeface="+mn-lt"/>
              </a:defRPr>
            </a:lvl3pPr>
            <a:lvl4pPr marL="529245" lvl="3" indent="-176415" defTabSz="877533" eaLnBrk="1" hangingPunct="1">
              <a:buClr>
                <a:schemeClr val="tx1"/>
              </a:buClr>
              <a:buSzPct val="100000"/>
              <a:buFont typeface="Arial" pitchFamily="34" charset="0"/>
              <a:buChar char="»"/>
              <a:defRPr sz="1568" baseline="0">
                <a:latin typeface="+mn-lt"/>
                <a:sym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sym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ctr" defTabSz="877533" rtl="0" eaLnBrk="1" fontAlgn="auto" latinLnBrk="0" hangingPunct="1">
              <a:lnSpc>
                <a:spcPct val="100000"/>
              </a:lnSpc>
              <a:spcBef>
                <a:spcPts val="0"/>
              </a:spcBef>
              <a:spcAft>
                <a:spcPts val="0"/>
              </a:spcAft>
              <a:buClr>
                <a:srgbClr val="003C54"/>
              </a:buClr>
              <a:buSzTx/>
              <a:buFontTx/>
              <a:buNone/>
              <a:tabLst/>
              <a:defRPr/>
            </a:pPr>
            <a:r>
              <a:rPr kumimoji="0" lang="en-US" sz="1800" b="1" i="0" u="none" strike="noStrike" kern="1200" cap="none" spc="0" normalizeH="0" baseline="0" noProof="0" dirty="0" err="1">
                <a:ln>
                  <a:noFill/>
                </a:ln>
                <a:solidFill>
                  <a:srgbClr val="005777"/>
                </a:solidFill>
                <a:effectLst/>
                <a:uLnTx/>
                <a:uFillTx/>
                <a:latin typeface="Arial"/>
                <a:ea typeface="ＭＳ Ｐゴシック"/>
                <a:cs typeface="+mn-cs"/>
                <a:sym typeface="+mn-lt"/>
              </a:rPr>
              <a:t>Verzorgende</a:t>
            </a:r>
            <a:r>
              <a:rPr kumimoji="0" lang="en-US" sz="1800" b="1" i="0" u="none" strike="noStrike" kern="1200" cap="none" spc="0" normalizeH="0" baseline="0" noProof="0" dirty="0">
                <a:ln>
                  <a:noFill/>
                </a:ln>
                <a:solidFill>
                  <a:srgbClr val="005777"/>
                </a:solidFill>
                <a:effectLst/>
                <a:uLnTx/>
                <a:uFillTx/>
                <a:latin typeface="Arial"/>
                <a:ea typeface="ＭＳ Ｐゴシック"/>
                <a:cs typeface="+mn-cs"/>
                <a:sym typeface="+mn-lt"/>
              </a:rPr>
              <a:t> IG</a:t>
            </a:r>
            <a:endParaRPr kumimoji="0" lang="nl-NL" sz="1800" b="1" i="0" u="none" strike="noStrike" kern="1200" cap="none" spc="0" normalizeH="0" baseline="0" noProof="0" dirty="0">
              <a:ln>
                <a:noFill/>
              </a:ln>
              <a:solidFill>
                <a:srgbClr val="005777"/>
              </a:solidFill>
              <a:effectLst/>
              <a:uLnTx/>
              <a:uFillTx/>
              <a:latin typeface="Arial"/>
              <a:ea typeface="ＭＳ Ｐゴシック"/>
              <a:cs typeface="+mn-cs"/>
              <a:sym typeface="+mn-lt"/>
            </a:endParaRPr>
          </a:p>
        </p:txBody>
      </p:sp>
      <p:sp>
        <p:nvSpPr>
          <p:cNvPr id="38" name="Rectangle 76">
            <a:extLst>
              <a:ext uri="{FF2B5EF4-FFF2-40B4-BE49-F238E27FC236}">
                <a16:creationId xmlns:a16="http://schemas.microsoft.com/office/drawing/2014/main" id="{1BC473D6-4824-4A9F-BC77-8150CCCD6947}"/>
              </a:ext>
            </a:extLst>
          </p:cNvPr>
          <p:cNvSpPr/>
          <p:nvPr/>
        </p:nvSpPr>
        <p:spPr>
          <a:xfrm>
            <a:off x="1412446" y="5814890"/>
            <a:ext cx="4362292" cy="66941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1"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9" name="Body3 18">
            <a:extLst>
              <a:ext uri="{FF2B5EF4-FFF2-40B4-BE49-F238E27FC236}">
                <a16:creationId xmlns:a16="http://schemas.microsoft.com/office/drawing/2014/main" id="{2AC7565D-0F6C-4AAC-AFC0-F1BE0F210D8D}"/>
              </a:ext>
            </a:extLst>
          </p:cNvPr>
          <p:cNvSpPr txBox="1">
            <a:spLocks/>
          </p:cNvSpPr>
          <p:nvPr>
            <p:custDataLst>
              <p:tags r:id="rId6"/>
            </p:custDataLst>
          </p:nvPr>
        </p:nvSpPr>
        <p:spPr>
          <a:xfrm>
            <a:off x="1486745" y="5974218"/>
            <a:ext cx="4181823" cy="392524"/>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lvl="0" indent="0" defTabSz="877533" eaLnBrk="1" hangingPunct="1">
              <a:buClr>
                <a:schemeClr val="tx2"/>
              </a:buClr>
              <a:defRPr sz="1568" baseline="0">
                <a:latin typeface="+mn-lt"/>
                <a:sym typeface="+mn-lt"/>
              </a:defRPr>
            </a:lvl1pPr>
            <a:lvl2pPr marL="176415" lvl="1" indent="-176415" defTabSz="877533" eaLnBrk="1" hangingPunct="1">
              <a:buClr>
                <a:schemeClr val="tx1"/>
              </a:buClr>
              <a:buSzPct val="100000"/>
              <a:buFont typeface="Arial" pitchFamily="34" charset="0"/>
              <a:buChar char="•"/>
              <a:defRPr sz="1568" baseline="0">
                <a:latin typeface="+mn-lt"/>
                <a:sym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sym typeface="+mn-lt"/>
              </a:defRPr>
            </a:lvl3pPr>
            <a:lvl4pPr marL="529245" lvl="3" indent="-176415" defTabSz="877533" eaLnBrk="1" hangingPunct="1">
              <a:buClr>
                <a:schemeClr val="tx1"/>
              </a:buClr>
              <a:buSzPct val="100000"/>
              <a:buFont typeface="Arial" pitchFamily="34" charset="0"/>
              <a:buChar char="»"/>
              <a:defRPr sz="1568" baseline="0">
                <a:latin typeface="+mn-lt"/>
                <a:sym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sym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ctr" defTabSz="877533" rtl="0" eaLnBrk="1" fontAlgn="auto" latinLnBrk="0" hangingPunct="1">
              <a:lnSpc>
                <a:spcPct val="100000"/>
              </a:lnSpc>
              <a:spcBef>
                <a:spcPts val="0"/>
              </a:spcBef>
              <a:spcAft>
                <a:spcPts val="0"/>
              </a:spcAft>
              <a:buClr>
                <a:srgbClr val="003C54"/>
              </a:buClr>
              <a:buSzTx/>
              <a:buFontTx/>
              <a:buNone/>
              <a:tabLst/>
              <a:defRPr/>
            </a:pPr>
            <a:r>
              <a:rPr kumimoji="0" lang="en-US" sz="1800" b="1" i="0" u="none" strike="noStrike" kern="1200" cap="none" spc="0" normalizeH="0" baseline="0" noProof="0" dirty="0">
                <a:ln>
                  <a:noFill/>
                </a:ln>
                <a:solidFill>
                  <a:srgbClr val="005777"/>
                </a:solidFill>
                <a:effectLst/>
                <a:uLnTx/>
                <a:uFillTx/>
                <a:latin typeface="Arial"/>
                <a:ea typeface="ＭＳ Ｐゴシック"/>
                <a:cs typeface="+mn-cs"/>
                <a:sym typeface="+mn-lt"/>
              </a:rPr>
              <a:t>MBO</a:t>
            </a:r>
            <a:r>
              <a:rPr kumimoji="0" lang="en-US" sz="1800" b="1" i="0" u="none" strike="noStrike" kern="1200" cap="none" spc="0" normalizeH="0" noProof="0" dirty="0">
                <a:ln>
                  <a:noFill/>
                </a:ln>
                <a:solidFill>
                  <a:srgbClr val="005777"/>
                </a:solidFill>
                <a:effectLst/>
                <a:uLnTx/>
                <a:uFillTx/>
                <a:latin typeface="Arial"/>
                <a:ea typeface="ＭＳ Ｐゴシック"/>
                <a:cs typeface="+mn-cs"/>
                <a:sym typeface="+mn-lt"/>
              </a:rPr>
              <a:t> </a:t>
            </a:r>
            <a:r>
              <a:rPr kumimoji="0" lang="en-US" sz="1800" b="1" i="0" u="none" strike="noStrike" kern="1200" cap="none" spc="0" normalizeH="0" noProof="0" dirty="0" err="1">
                <a:ln>
                  <a:noFill/>
                </a:ln>
                <a:solidFill>
                  <a:srgbClr val="005777"/>
                </a:solidFill>
                <a:effectLst/>
                <a:uLnTx/>
                <a:uFillTx/>
                <a:latin typeface="Arial"/>
                <a:ea typeface="ＭＳ Ｐゴシック"/>
                <a:cs typeface="+mn-cs"/>
                <a:sym typeface="+mn-lt"/>
              </a:rPr>
              <a:t>Verpleegkundige</a:t>
            </a:r>
            <a:endParaRPr kumimoji="0" lang="nl-NL" sz="1800" b="1" i="0" u="none" strike="noStrike" kern="1200" cap="none" spc="0" normalizeH="0" baseline="0" noProof="0" dirty="0">
              <a:ln>
                <a:noFill/>
              </a:ln>
              <a:solidFill>
                <a:srgbClr val="005777"/>
              </a:solidFill>
              <a:effectLst/>
              <a:uLnTx/>
              <a:uFillTx/>
              <a:latin typeface="Arial"/>
              <a:ea typeface="ＭＳ Ｐゴシック"/>
              <a:cs typeface="+mn-cs"/>
              <a:sym typeface="+mn-lt"/>
            </a:endParaRPr>
          </a:p>
        </p:txBody>
      </p:sp>
      <p:sp>
        <p:nvSpPr>
          <p:cNvPr id="25" name="Rechthoek 24">
            <a:extLst>
              <a:ext uri="{FF2B5EF4-FFF2-40B4-BE49-F238E27FC236}">
                <a16:creationId xmlns:a16="http://schemas.microsoft.com/office/drawing/2014/main" id="{8C05FAF8-D406-FA4F-B0C0-02A9C8CB5BB2}"/>
              </a:ext>
            </a:extLst>
          </p:cNvPr>
          <p:cNvSpPr/>
          <p:nvPr/>
        </p:nvSpPr>
        <p:spPr>
          <a:xfrm>
            <a:off x="-1619499" y="127584"/>
            <a:ext cx="1903751" cy="2035688"/>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b="1" dirty="0" err="1">
                <a:solidFill>
                  <a:schemeClr val="tx1"/>
                </a:solidFill>
              </a:rPr>
              <a:t>To</a:t>
            </a:r>
            <a:r>
              <a:rPr lang="nl-NL" sz="1600" b="1" dirty="0">
                <a:solidFill>
                  <a:schemeClr val="tx1"/>
                </a:solidFill>
              </a:rPr>
              <a:t> do om deze slide instelling specifiek te maken:</a:t>
            </a:r>
          </a:p>
          <a:p>
            <a:pPr algn="ctr"/>
            <a:endParaRPr lang="nl-NL" sz="1600">
              <a:solidFill>
                <a:schemeClr val="tx1"/>
              </a:solidFill>
            </a:endParaRPr>
          </a:p>
          <a:p>
            <a:pPr algn="ctr"/>
            <a:r>
              <a:rPr lang="nl-NL" sz="1600" dirty="0">
                <a:solidFill>
                  <a:schemeClr val="tx1"/>
                </a:solidFill>
              </a:rPr>
              <a:t>- Resultaten uit de Value Case hierin opnemen</a:t>
            </a:r>
          </a:p>
        </p:txBody>
      </p:sp>
    </p:spTree>
    <p:extLst>
      <p:ext uri="{BB962C8B-B14F-4D97-AF65-F5344CB8AC3E}">
        <p14:creationId xmlns:p14="http://schemas.microsoft.com/office/powerpoint/2010/main" val="20631683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0">
            <a:extLst>
              <a:ext uri="{FF2B5EF4-FFF2-40B4-BE49-F238E27FC236}">
                <a16:creationId xmlns:a16="http://schemas.microsoft.com/office/drawing/2014/main" id="{822BDDBE-1A8C-2448-9F40-DCBF9B7FC09A}"/>
              </a:ext>
            </a:extLst>
          </p:cNvPr>
          <p:cNvSpPr/>
          <p:nvPr/>
        </p:nvSpPr>
        <p:spPr>
          <a:xfrm>
            <a:off x="554818" y="523418"/>
            <a:ext cx="11090747" cy="5884958"/>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45719" rIns="91438" bIns="4571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nl-NL" sz="1600" b="0" i="0" u="none" strike="noStrike" kern="1200" cap="none" spc="0" normalizeH="0" baseline="0" noProof="0">
              <a:ln>
                <a:noFill/>
              </a:ln>
              <a:solidFill>
                <a:srgbClr val="FFFFFF"/>
              </a:solidFill>
              <a:effectLst/>
              <a:uLnTx/>
              <a:uFillTx/>
              <a:latin typeface="Arial"/>
              <a:ea typeface="ＭＳ Ｐゴシック"/>
              <a:cs typeface="+mn-cs"/>
            </a:endParaRPr>
          </a:p>
        </p:txBody>
      </p:sp>
      <p:graphicFrame>
        <p:nvGraphicFramePr>
          <p:cNvPr id="6" name="Object 5" hidden="1">
            <a:extLst>
              <a:ext uri="{FF2B5EF4-FFF2-40B4-BE49-F238E27FC236}">
                <a16:creationId xmlns:a16="http://schemas.microsoft.com/office/drawing/2014/main" id="{F76CA8F7-28C6-4A94-B312-275ACDECA759}"/>
              </a:ext>
            </a:extLst>
          </p:cNvPr>
          <p:cNvGraphicFramePr>
            <a:graphicFrameLocks noChangeAspect="1"/>
          </p:cNvGraphicFramePr>
          <p:nvPr>
            <p:custDataLst>
              <p:tags r:id="rId3"/>
            </p:custDataLst>
          </p:nvPr>
        </p:nvGraphicFramePr>
        <p:xfrm>
          <a:off x="1678" y="1639"/>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12" imgW="346" imgH="346" progId="TCLayout.ActiveDocument.1">
                  <p:embed/>
                </p:oleObj>
              </mc:Choice>
              <mc:Fallback>
                <p:oleObj name="think-cell Slide" r:id="rId12" imgW="346" imgH="346" progId="TCLayout.ActiveDocument.1">
                  <p:embed/>
                  <p:pic>
                    <p:nvPicPr>
                      <p:cNvPr id="6" name="Object 5" hidden="1">
                        <a:extLst>
                          <a:ext uri="{FF2B5EF4-FFF2-40B4-BE49-F238E27FC236}">
                            <a16:creationId xmlns:a16="http://schemas.microsoft.com/office/drawing/2014/main" id="{F76CA8F7-28C6-4A94-B312-275ACDECA759}"/>
                          </a:ext>
                        </a:extLst>
                      </p:cNvPr>
                      <p:cNvPicPr/>
                      <p:nvPr/>
                    </p:nvPicPr>
                    <p:blipFill>
                      <a:blip r:embed="rId13"/>
                      <a:stretch>
                        <a:fillRect/>
                      </a:stretch>
                    </p:blipFill>
                    <p:spPr>
                      <a:xfrm>
                        <a:off x="1678" y="163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FFE67BB-D64E-4192-9448-C76BBDDB569E}"/>
              </a:ext>
            </a:extLst>
          </p:cNvPr>
          <p:cNvSpPr/>
          <p:nvPr>
            <p:custDataLst>
              <p:tags r:id="rId4"/>
            </p:custDataLst>
          </p:nvPr>
        </p:nvSpPr>
        <p:spPr>
          <a:xfrm>
            <a:off x="91" y="51"/>
            <a:ext cx="158747" cy="158747"/>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Andada" panose="02000000000000000000" pitchFamily="50" charset="0"/>
              <a:ea typeface="ＭＳ Ｐゴシック" panose="020B0600070205080204" pitchFamily="34" charset="-128"/>
              <a:cs typeface="+mn-cs"/>
              <a:sym typeface="Andada" panose="02000000000000000000" pitchFamily="50" charset="0"/>
            </a:endParaRPr>
          </a:p>
        </p:txBody>
      </p:sp>
      <p:sp>
        <p:nvSpPr>
          <p:cNvPr id="24" name="Title 1">
            <a:extLst>
              <a:ext uri="{FF2B5EF4-FFF2-40B4-BE49-F238E27FC236}">
                <a16:creationId xmlns:a16="http://schemas.microsoft.com/office/drawing/2014/main" id="{6356B6A9-8F83-445C-9B61-6FB2E03FD747}"/>
              </a:ext>
            </a:extLst>
          </p:cNvPr>
          <p:cNvSpPr txBox="1">
            <a:spLocks/>
          </p:cNvSpPr>
          <p:nvPr/>
        </p:nvSpPr>
        <p:spPr bwMode="gray">
          <a:xfrm>
            <a:off x="1088211" y="1287948"/>
            <a:ext cx="4005699" cy="387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895350" rtl="0" eaLnBrk="1" fontAlgn="base" hangingPunct="1">
              <a:spcBef>
                <a:spcPct val="0"/>
              </a:spcBef>
              <a:spcAft>
                <a:spcPct val="0"/>
              </a:spcAft>
              <a:tabLst>
                <a:tab pos="444500" algn="l"/>
              </a:tabLst>
              <a:defRPr lang="nl-NL" sz="2800" b="0" baseline="0" noProof="0">
                <a:solidFill>
                  <a:schemeClr val="tx2"/>
                </a:solidFill>
                <a:latin typeface="+mj-lt"/>
                <a:ea typeface="+mj-ea"/>
                <a:cs typeface="+mj-cs"/>
                <a:sym typeface="+mj-lt"/>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444500" algn="l"/>
              </a:tabLst>
              <a:defRPr/>
            </a:pPr>
            <a:r>
              <a:rPr kumimoji="0" lang="nl-NL" sz="2857" b="0" i="0" u="none" strike="noStrike" kern="0" cap="none" spc="0" normalizeH="0" baseline="0" noProof="0">
                <a:ln>
                  <a:noFill/>
                </a:ln>
                <a:solidFill>
                  <a:srgbClr val="003C54"/>
                </a:solidFill>
                <a:effectLst/>
                <a:uLnTx/>
                <a:uFillTx/>
                <a:latin typeface="Andada"/>
                <a:ea typeface="ＭＳ Ｐゴシック"/>
                <a:cs typeface="+mj-cs"/>
                <a:sym typeface="+mj-lt"/>
              </a:rPr>
              <a:t>Inhoud van dit document</a:t>
            </a:r>
          </a:p>
        </p:txBody>
      </p:sp>
      <p:sp>
        <p:nvSpPr>
          <p:cNvPr id="26" name="TrackerNum 6">
            <a:extLst>
              <a:ext uri="{FF2B5EF4-FFF2-40B4-BE49-F238E27FC236}">
                <a16:creationId xmlns:a16="http://schemas.microsoft.com/office/drawing/2014/main" id="{BEF5493F-F23B-4434-AC54-9ECF6459DDCB}"/>
              </a:ext>
            </a:extLst>
          </p:cNvPr>
          <p:cNvSpPr>
            <a:spLocks/>
          </p:cNvSpPr>
          <p:nvPr>
            <p:custDataLst>
              <p:tags r:id="rId5"/>
            </p:custDataLst>
          </p:nvPr>
        </p:nvSpPr>
        <p:spPr>
          <a:xfrm>
            <a:off x="5329084" y="1294531"/>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1</a:t>
            </a:r>
          </a:p>
        </p:txBody>
      </p:sp>
      <p:cxnSp>
        <p:nvCxnSpPr>
          <p:cNvPr id="27" name="Straight Connector 26">
            <a:extLst>
              <a:ext uri="{FF2B5EF4-FFF2-40B4-BE49-F238E27FC236}">
                <a16:creationId xmlns:a16="http://schemas.microsoft.com/office/drawing/2014/main" id="{E875C905-D61A-461F-A7F2-3F5663855E4E}"/>
              </a:ext>
            </a:extLst>
          </p:cNvPr>
          <p:cNvCxnSpPr>
            <a:cxnSpLocks/>
          </p:cNvCxnSpPr>
          <p:nvPr/>
        </p:nvCxnSpPr>
        <p:spPr>
          <a:xfrm flipV="1">
            <a:off x="5907774" y="1219215"/>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55B1E6F-F9E8-46B2-9DF3-5E065571C7CE}"/>
              </a:ext>
            </a:extLst>
          </p:cNvPr>
          <p:cNvSpPr txBox="1">
            <a:spLocks/>
          </p:cNvSpPr>
          <p:nvPr/>
        </p:nvSpPr>
        <p:spPr>
          <a:xfrm>
            <a:off x="6092796" y="1219216"/>
            <a:ext cx="5544387" cy="636345"/>
          </a:xfrm>
          <a:prstGeom prst="rect">
            <a:avLst/>
          </a:prstGeom>
          <a:solidFill>
            <a:schemeClr val="accent3"/>
          </a:solid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buClr>
                <a:srgbClr val="FFFFFF"/>
              </a:buClr>
              <a:defRPr/>
            </a:pPr>
            <a:r>
              <a:rPr kumimoji="0" lang="nl-NL" i="0" u="none" strike="noStrike" kern="1200" cap="none" spc="0" normalizeH="0" baseline="0" noProof="0">
                <a:ln>
                  <a:noFill/>
                </a:ln>
                <a:solidFill>
                  <a:schemeClr val="bg1"/>
                </a:solidFill>
                <a:effectLst/>
                <a:uLnTx/>
                <a:uFillTx/>
                <a:latin typeface="Arial"/>
                <a:ea typeface="ＭＳ Ｐゴシック"/>
                <a:cs typeface="+mn-cs"/>
              </a:rPr>
              <a:t>Korte introductie HPP en bevindingen rondom Goed Gesprek</a:t>
            </a:r>
            <a:endParaRPr kumimoji="0" lang="en-US" sz="1837" i="0" u="none" strike="noStrike" kern="1200" cap="none" spc="0" normalizeH="0" baseline="0" noProof="0">
              <a:ln>
                <a:noFill/>
              </a:ln>
              <a:solidFill>
                <a:schemeClr val="bg1"/>
              </a:solidFill>
              <a:effectLst/>
              <a:uLnTx/>
              <a:uFillTx/>
              <a:latin typeface="Arial"/>
              <a:ea typeface="ＭＳ Ｐゴシック"/>
              <a:cs typeface="+mn-cs"/>
            </a:endParaRPr>
          </a:p>
        </p:txBody>
      </p:sp>
      <p:sp>
        <p:nvSpPr>
          <p:cNvPr id="29" name="TrackerNum 6">
            <a:extLst>
              <a:ext uri="{FF2B5EF4-FFF2-40B4-BE49-F238E27FC236}">
                <a16:creationId xmlns:a16="http://schemas.microsoft.com/office/drawing/2014/main" id="{7A50A923-F3D4-463F-B093-2AE7F87A4C37}"/>
              </a:ext>
            </a:extLst>
          </p:cNvPr>
          <p:cNvSpPr>
            <a:spLocks/>
          </p:cNvSpPr>
          <p:nvPr>
            <p:custDataLst>
              <p:tags r:id="rId6"/>
            </p:custDataLst>
          </p:nvPr>
        </p:nvSpPr>
        <p:spPr>
          <a:xfrm>
            <a:off x="5329084" y="2076688"/>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2</a:t>
            </a:r>
          </a:p>
        </p:txBody>
      </p:sp>
      <p:cxnSp>
        <p:nvCxnSpPr>
          <p:cNvPr id="30" name="Straight Connector 29">
            <a:extLst>
              <a:ext uri="{FF2B5EF4-FFF2-40B4-BE49-F238E27FC236}">
                <a16:creationId xmlns:a16="http://schemas.microsoft.com/office/drawing/2014/main" id="{CC02215F-3F81-40FB-BF77-95F138BA73E5}"/>
              </a:ext>
            </a:extLst>
          </p:cNvPr>
          <p:cNvCxnSpPr>
            <a:cxnSpLocks/>
          </p:cNvCxnSpPr>
          <p:nvPr/>
        </p:nvCxnSpPr>
        <p:spPr>
          <a:xfrm flipV="1">
            <a:off x="5907774" y="2001372"/>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D83E06A2-D1C6-4B34-A6D0-CCF338301330}"/>
              </a:ext>
            </a:extLst>
          </p:cNvPr>
          <p:cNvSpPr txBox="1">
            <a:spLocks/>
          </p:cNvSpPr>
          <p:nvPr/>
        </p:nvSpPr>
        <p:spPr>
          <a:xfrm>
            <a:off x="6092796" y="2750324"/>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buClr>
                <a:srgbClr val="FFFFFF"/>
              </a:buClr>
              <a:defRPr/>
            </a:pPr>
            <a:r>
              <a:rPr kumimoji="0" lang="nl-NL" b="0" i="0" u="none" strike="noStrike" kern="1200" cap="none" spc="0" normalizeH="0" baseline="0" noProof="0">
                <a:ln>
                  <a:noFill/>
                </a:ln>
                <a:solidFill>
                  <a:schemeClr val="tx1"/>
                </a:solidFill>
                <a:effectLst/>
                <a:uLnTx/>
                <a:uFillTx/>
                <a:latin typeface="Arial"/>
                <a:ea typeface="ＭＳ Ｐゴシック"/>
                <a:cs typeface="+mn-cs"/>
              </a:rPr>
              <a:t>Wat is er allemaal al gebeurd</a:t>
            </a:r>
            <a:r>
              <a:rPr lang="nl-NL" b="0">
                <a:solidFill>
                  <a:schemeClr val="tx1"/>
                </a:solidFill>
                <a:latin typeface="Arial"/>
                <a:ea typeface="ＭＳ Ｐゴシック"/>
              </a:rPr>
              <a:t> binnen [instelling]</a:t>
            </a:r>
            <a:r>
              <a:rPr kumimoji="0" lang="nl-NL" b="0" i="0" u="none" strike="noStrike" kern="1200" cap="none" spc="0" normalizeH="0" baseline="0" noProof="0">
                <a:ln>
                  <a:noFill/>
                </a:ln>
                <a:solidFill>
                  <a:schemeClr val="tx1"/>
                </a:solidFill>
                <a:effectLst/>
                <a:uLnTx/>
                <a:uFillTx/>
                <a:latin typeface="Arial"/>
                <a:ea typeface="ＭＳ Ｐゴシック"/>
                <a:cs typeface="+mn-cs"/>
              </a:rPr>
              <a:t> tot nu toe t.a.v. Goed Gesprek?</a:t>
            </a:r>
            <a:endParaRPr kumimoji="0" lang="en-US" b="0" i="0" u="none" strike="noStrike" kern="1200" cap="none" spc="0" normalizeH="0" baseline="0" noProof="0">
              <a:ln>
                <a:noFill/>
              </a:ln>
              <a:solidFill>
                <a:schemeClr val="tx1"/>
              </a:solidFill>
              <a:effectLst/>
              <a:uLnTx/>
              <a:uFillTx/>
              <a:latin typeface="Arial"/>
              <a:ea typeface="ＭＳ Ｐゴシック"/>
              <a:cs typeface="+mn-cs"/>
            </a:endParaRPr>
          </a:p>
        </p:txBody>
      </p:sp>
      <p:sp>
        <p:nvSpPr>
          <p:cNvPr id="32" name="TrackerNum 6">
            <a:extLst>
              <a:ext uri="{FF2B5EF4-FFF2-40B4-BE49-F238E27FC236}">
                <a16:creationId xmlns:a16="http://schemas.microsoft.com/office/drawing/2014/main" id="{D6756352-BC92-485C-8DE3-D792F317E356}"/>
              </a:ext>
            </a:extLst>
          </p:cNvPr>
          <p:cNvSpPr>
            <a:spLocks/>
          </p:cNvSpPr>
          <p:nvPr>
            <p:custDataLst>
              <p:tags r:id="rId7"/>
            </p:custDataLst>
          </p:nvPr>
        </p:nvSpPr>
        <p:spPr>
          <a:xfrm>
            <a:off x="5329084" y="2858844"/>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3</a:t>
            </a:r>
          </a:p>
        </p:txBody>
      </p:sp>
      <p:cxnSp>
        <p:nvCxnSpPr>
          <p:cNvPr id="33" name="Straight Connector 32">
            <a:extLst>
              <a:ext uri="{FF2B5EF4-FFF2-40B4-BE49-F238E27FC236}">
                <a16:creationId xmlns:a16="http://schemas.microsoft.com/office/drawing/2014/main" id="{FE96002B-1692-4FC1-9B1A-CBCD9F3F9055}"/>
              </a:ext>
            </a:extLst>
          </p:cNvPr>
          <p:cNvCxnSpPr>
            <a:cxnSpLocks/>
          </p:cNvCxnSpPr>
          <p:nvPr/>
        </p:nvCxnSpPr>
        <p:spPr>
          <a:xfrm flipV="1">
            <a:off x="5907774" y="2783528"/>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777AE9E8-2F83-422F-9454-7636ECAB66D1}"/>
              </a:ext>
            </a:extLst>
          </p:cNvPr>
          <p:cNvSpPr txBox="1">
            <a:spLocks/>
          </p:cNvSpPr>
          <p:nvPr/>
        </p:nvSpPr>
        <p:spPr>
          <a:xfrm>
            <a:off x="6092795" y="2004404"/>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l" defTabSz="877533" rtl="0" eaLnBrk="1" fontAlgn="auto" latinLnBrk="0" hangingPunct="1">
              <a:lnSpc>
                <a:spcPct val="100000"/>
              </a:lnSpc>
              <a:spcBef>
                <a:spcPts val="0"/>
              </a:spcBef>
              <a:spcAft>
                <a:spcPts val="0"/>
              </a:spcAft>
              <a:buClr>
                <a:srgbClr val="FFFFFF"/>
              </a:buClr>
              <a:buSzTx/>
              <a:buFontTx/>
              <a:buNone/>
              <a:tabLst/>
              <a:defRPr/>
            </a:pPr>
            <a:r>
              <a:rPr kumimoji="0" lang="nl-NL" sz="1837" b="0" i="0" u="none" strike="noStrike" kern="1200" cap="none" spc="0" normalizeH="0" baseline="0" noProof="0">
                <a:ln>
                  <a:noFill/>
                </a:ln>
                <a:solidFill>
                  <a:schemeClr val="tx1"/>
                </a:solidFill>
                <a:effectLst/>
                <a:uLnTx/>
                <a:uFillTx/>
                <a:latin typeface="Arial"/>
                <a:ea typeface="ＭＳ Ｐゴシック"/>
                <a:cs typeface="+mn-cs"/>
              </a:rPr>
              <a:t>Wat verstaan we onder Goed Gesprek?</a:t>
            </a:r>
            <a:endParaRPr kumimoji="0" lang="en-US" sz="1837" b="0" i="0" u="none" strike="noStrike" kern="1200" cap="none" spc="0" normalizeH="0" baseline="0" noProof="0">
              <a:ln>
                <a:noFill/>
              </a:ln>
              <a:solidFill>
                <a:schemeClr val="tx1"/>
              </a:solidFill>
              <a:effectLst/>
              <a:uLnTx/>
              <a:uFillTx/>
              <a:latin typeface="Arial"/>
              <a:ea typeface="ＭＳ Ｐゴシック"/>
              <a:cs typeface="+mn-cs"/>
            </a:endParaRPr>
          </a:p>
        </p:txBody>
      </p:sp>
      <p:sp>
        <p:nvSpPr>
          <p:cNvPr id="35" name="TrackerNum 6">
            <a:extLst>
              <a:ext uri="{FF2B5EF4-FFF2-40B4-BE49-F238E27FC236}">
                <a16:creationId xmlns:a16="http://schemas.microsoft.com/office/drawing/2014/main" id="{4D3512B7-78F8-4ABB-8348-B694CC90A917}"/>
              </a:ext>
            </a:extLst>
          </p:cNvPr>
          <p:cNvSpPr>
            <a:spLocks/>
          </p:cNvSpPr>
          <p:nvPr>
            <p:custDataLst>
              <p:tags r:id="rId8"/>
            </p:custDataLst>
          </p:nvPr>
        </p:nvSpPr>
        <p:spPr>
          <a:xfrm>
            <a:off x="5329084" y="3641001"/>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4</a:t>
            </a:r>
          </a:p>
        </p:txBody>
      </p:sp>
      <p:cxnSp>
        <p:nvCxnSpPr>
          <p:cNvPr id="36" name="Straight Connector 35">
            <a:extLst>
              <a:ext uri="{FF2B5EF4-FFF2-40B4-BE49-F238E27FC236}">
                <a16:creationId xmlns:a16="http://schemas.microsoft.com/office/drawing/2014/main" id="{6F75CF0D-2D29-450B-B328-73B8ADAD2F5F}"/>
              </a:ext>
            </a:extLst>
          </p:cNvPr>
          <p:cNvCxnSpPr>
            <a:cxnSpLocks/>
          </p:cNvCxnSpPr>
          <p:nvPr/>
        </p:nvCxnSpPr>
        <p:spPr>
          <a:xfrm flipV="1">
            <a:off x="5907774" y="3565685"/>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7724533-EC1D-4292-9541-961C61A39BDC}"/>
              </a:ext>
            </a:extLst>
          </p:cNvPr>
          <p:cNvSpPr txBox="1">
            <a:spLocks/>
          </p:cNvSpPr>
          <p:nvPr/>
        </p:nvSpPr>
        <p:spPr>
          <a:xfrm>
            <a:off x="6092795" y="3535512"/>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buClr>
                <a:srgbClr val="FFFFFF"/>
              </a:buClr>
              <a:defRPr/>
            </a:pPr>
            <a:r>
              <a:rPr lang="nl-NL" b="0">
                <a:solidFill>
                  <a:schemeClr val="tx1"/>
                </a:solidFill>
              </a:rPr>
              <a:t>Hoe wil [instelling] een goed gesprek inrichten voor de korte en middellange termijn? </a:t>
            </a:r>
            <a:endParaRPr lang="nl-NL" sz="1837" b="0">
              <a:solidFill>
                <a:schemeClr val="tx1"/>
              </a:solidFill>
            </a:endParaRPr>
          </a:p>
        </p:txBody>
      </p:sp>
      <p:cxnSp>
        <p:nvCxnSpPr>
          <p:cNvPr id="20" name="Straight Connector 19">
            <a:extLst>
              <a:ext uri="{FF2B5EF4-FFF2-40B4-BE49-F238E27FC236}">
                <a16:creationId xmlns:a16="http://schemas.microsoft.com/office/drawing/2014/main" id="{56FFB8A7-3266-0047-B76D-5E3FB112BF59}"/>
              </a:ext>
            </a:extLst>
          </p:cNvPr>
          <p:cNvCxnSpPr>
            <a:cxnSpLocks/>
          </p:cNvCxnSpPr>
          <p:nvPr/>
        </p:nvCxnSpPr>
        <p:spPr>
          <a:xfrm flipV="1">
            <a:off x="5914537" y="4397245"/>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TrackerNum 6">
            <a:extLst>
              <a:ext uri="{FF2B5EF4-FFF2-40B4-BE49-F238E27FC236}">
                <a16:creationId xmlns:a16="http://schemas.microsoft.com/office/drawing/2014/main" id="{23C15AF0-FEE0-854A-9B8D-625E9828682E}"/>
              </a:ext>
            </a:extLst>
          </p:cNvPr>
          <p:cNvSpPr>
            <a:spLocks/>
          </p:cNvSpPr>
          <p:nvPr>
            <p:custDataLst>
              <p:tags r:id="rId9"/>
            </p:custDataLst>
          </p:nvPr>
        </p:nvSpPr>
        <p:spPr>
          <a:xfrm>
            <a:off x="5322326" y="4432001"/>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5</a:t>
            </a:r>
          </a:p>
        </p:txBody>
      </p:sp>
      <p:sp>
        <p:nvSpPr>
          <p:cNvPr id="38" name="TextBox 18">
            <a:extLst>
              <a:ext uri="{FF2B5EF4-FFF2-40B4-BE49-F238E27FC236}">
                <a16:creationId xmlns:a16="http://schemas.microsoft.com/office/drawing/2014/main" id="{68624E64-EBBB-4930-9556-9FDE06D55DCD}"/>
              </a:ext>
            </a:extLst>
          </p:cNvPr>
          <p:cNvSpPr txBox="1">
            <a:spLocks/>
          </p:cNvSpPr>
          <p:nvPr/>
        </p:nvSpPr>
        <p:spPr>
          <a:xfrm>
            <a:off x="6122224" y="4364373"/>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buClr>
                <a:srgbClr val="FFFFFF"/>
              </a:buClr>
              <a:defRPr/>
            </a:pPr>
            <a:r>
              <a:rPr lang="nl-NL" sz="1837" b="0">
                <a:solidFill>
                  <a:schemeClr val="tx1"/>
                </a:solidFill>
              </a:rPr>
              <a:t>Lange termijn aanbevelingen</a:t>
            </a:r>
            <a:endParaRPr kumimoji="0" lang="nl-NL" sz="1837" b="0" i="0" u="none" strike="noStrike" kern="1200" cap="none" spc="0" normalizeH="0" baseline="0" noProof="0">
              <a:ln>
                <a:noFill/>
              </a:ln>
              <a:solidFill>
                <a:srgbClr val="000000"/>
              </a:solidFill>
              <a:effectLst/>
              <a:uLnTx/>
              <a:uFillTx/>
              <a:latin typeface="Arial"/>
              <a:ea typeface="ＭＳ Ｐゴシック"/>
              <a:cs typeface="+mn-cs"/>
            </a:endParaRPr>
          </a:p>
        </p:txBody>
      </p:sp>
    </p:spTree>
    <p:custDataLst>
      <p:tags r:id="rId2"/>
    </p:custDataLst>
    <p:extLst>
      <p:ext uri="{BB962C8B-B14F-4D97-AF65-F5344CB8AC3E}">
        <p14:creationId xmlns:p14="http://schemas.microsoft.com/office/powerpoint/2010/main" val="20402769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0AEC8F-A834-4717-87C4-5DDD6F6884F3}"/>
              </a:ext>
            </a:extLst>
          </p:cNvPr>
          <p:cNvGraphicFramePr>
            <a:graphicFrameLocks noChangeAspect="1"/>
          </p:cNvGraphicFramePr>
          <p:nvPr>
            <p:custDataLst>
              <p:tags r:id="rId3"/>
            </p:custDataLst>
          </p:nvPr>
        </p:nvGraphicFramePr>
        <p:xfrm>
          <a:off x="1801" y="1672"/>
          <a:ext cx="1620" cy="1620"/>
        </p:xfrm>
        <a:graphic>
          <a:graphicData uri="http://schemas.openxmlformats.org/presentationml/2006/ole">
            <mc:AlternateContent xmlns:mc="http://schemas.openxmlformats.org/markup-compatibility/2006">
              <mc:Choice xmlns:v="urn:schemas-microsoft-com:vml" Requires="v">
                <p:oleObj spid="_x0000_s20482" name="think-cell Slide" r:id="rId11" imgW="395" imgH="394" progId="TCLayout.ActiveDocument.1">
                  <p:embed/>
                </p:oleObj>
              </mc:Choice>
              <mc:Fallback>
                <p:oleObj name="think-cell Slide" r:id="rId11" imgW="395" imgH="394" progId="TCLayout.ActiveDocument.1">
                  <p:embed/>
                  <p:pic>
                    <p:nvPicPr>
                      <p:cNvPr id="4" name="Object 3" hidden="1">
                        <a:extLst>
                          <a:ext uri="{FF2B5EF4-FFF2-40B4-BE49-F238E27FC236}">
                            <a16:creationId xmlns:a16="http://schemas.microsoft.com/office/drawing/2014/main" id="{680AEC8F-A834-4717-87C4-5DDD6F6884F3}"/>
                          </a:ext>
                        </a:extLst>
                      </p:cNvPr>
                      <p:cNvPicPr/>
                      <p:nvPr/>
                    </p:nvPicPr>
                    <p:blipFill>
                      <a:blip r:embed="rId12"/>
                      <a:stretch>
                        <a:fillRect/>
                      </a:stretch>
                    </p:blipFill>
                    <p:spPr>
                      <a:xfrm>
                        <a:off x="1801" y="1672"/>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A69D0B3-B757-4EEE-8955-EF084ADF47B7}"/>
              </a:ext>
            </a:extLst>
          </p:cNvPr>
          <p:cNvSpPr/>
          <p:nvPr>
            <p:custDataLst>
              <p:tags r:id="rId4"/>
            </p:custDataLst>
          </p:nvPr>
        </p:nvSpPr>
        <p:spPr>
          <a:xfrm>
            <a:off x="181" y="52"/>
            <a:ext cx="161971" cy="161971"/>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32958" rtl="0" eaLnBrk="1" fontAlgn="auto" latinLnBrk="0" hangingPunct="1">
              <a:lnSpc>
                <a:spcPct val="100000"/>
              </a:lnSpc>
              <a:spcBef>
                <a:spcPts val="0"/>
              </a:spcBef>
              <a:spcAft>
                <a:spcPts val="0"/>
              </a:spcAft>
              <a:buClrTx/>
              <a:buSzTx/>
              <a:buFontTx/>
              <a:buNone/>
              <a:tabLst/>
              <a:defRPr/>
            </a:pPr>
            <a:endParaRPr kumimoji="0" lang="en-US" sz="2857" b="0" i="0" u="none" strike="noStrike" kern="1200" cap="none" spc="0" normalizeH="0" baseline="0" noProof="0" err="1">
              <a:ln>
                <a:noFill/>
              </a:ln>
              <a:solidFill>
                <a:srgbClr val="000000"/>
              </a:solidFill>
              <a:effectLst/>
              <a:uLnTx/>
              <a:uFillTx/>
              <a:latin typeface="Andada" panose="02000000000000000000" pitchFamily="50" charset="0"/>
              <a:ea typeface="ＭＳ Ｐゴシック" panose="020B0600070205080204" pitchFamily="34" charset="-128"/>
              <a:cs typeface="+mn-cs"/>
              <a:sym typeface="Andada" panose="02000000000000000000" pitchFamily="50" charset="0"/>
            </a:endParaRPr>
          </a:p>
        </p:txBody>
      </p:sp>
      <p:sp>
        <p:nvSpPr>
          <p:cNvPr id="159" name="Body3 3">
            <a:extLst>
              <a:ext uri="{FF2B5EF4-FFF2-40B4-BE49-F238E27FC236}">
                <a16:creationId xmlns:a16="http://schemas.microsoft.com/office/drawing/2014/main" id="{A81E90A8-EDE1-4B04-8178-3B9B8F87FAF7}"/>
              </a:ext>
            </a:extLst>
          </p:cNvPr>
          <p:cNvSpPr txBox="1">
            <a:spLocks/>
          </p:cNvSpPr>
          <p:nvPr>
            <p:custDataLst>
              <p:tags r:id="rId5"/>
            </p:custDataLst>
          </p:nvPr>
        </p:nvSpPr>
        <p:spPr>
          <a:xfrm>
            <a:off x="1412811" y="1116517"/>
            <a:ext cx="10166019" cy="535217"/>
          </a:xfrm>
          <a:prstGeom prst="rect">
            <a:avLst/>
          </a:prstGeom>
          <a:solidFill>
            <a:schemeClr val="accent4"/>
          </a:solidFill>
          <a:ln w="9525">
            <a:solidFill>
              <a:schemeClr val="accent3"/>
            </a:solidFill>
            <a:miter lim="800000"/>
            <a:headEnd/>
            <a:tailEnd/>
          </a:ln>
          <a:effectLst/>
        </p:spPr>
        <p:txBody>
          <a:bodyPr vert="horz" wrap="square" lIns="46649" tIns="46649" rIns="46649" bIns="46649" numCol="1" anchor="ctr" anchorCtr="0" compatLnSpc="1">
            <a:prstTxWarp prst="textNoShape">
              <a:avLst/>
            </a:prstTxWarp>
            <a:noAutofit/>
          </a:bodyPr>
          <a:lstStyle>
            <a:defPPr>
              <a:defRPr lang="en-US"/>
            </a:defPPr>
            <a:lvl1pPr marL="0" lvl="0" indent="0" defTabSz="877533" eaLnBrk="1" hangingPunct="1">
              <a:spcBef>
                <a:spcPct val="10000"/>
              </a:spcBef>
              <a:buClr>
                <a:schemeClr val="tx2"/>
              </a:buClr>
              <a:defRPr sz="1400" b="1" baseline="0">
                <a:solidFill>
                  <a:schemeClr val="accent4"/>
                </a:solidFill>
                <a:latin typeface="+mn-lt"/>
              </a:defRPr>
            </a:lvl1pPr>
            <a:lvl2pPr marL="176415" lvl="1" indent="-176415" defTabSz="914400" eaLnBrk="1" hangingPunct="1">
              <a:spcBef>
                <a:spcPct val="10000"/>
              </a:spcBef>
              <a:buClrTx/>
              <a:buSzPct val="100000"/>
              <a:buFont typeface="Arial" pitchFamily="34" charset="0"/>
              <a:buChar char="•"/>
              <a:defRPr sz="1400" baseline="0">
                <a:solidFill>
                  <a:srgbClr val="000000"/>
                </a:solidFill>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ctr" defTabSz="1218011" rtl="0" eaLnBrk="1" fontAlgn="auto" latinLnBrk="0" hangingPunct="1">
              <a:lnSpc>
                <a:spcPct val="100000"/>
              </a:lnSpc>
              <a:spcBef>
                <a:spcPct val="10000"/>
              </a:spcBef>
              <a:spcAft>
                <a:spcPts val="0"/>
              </a:spcAft>
              <a:buClr>
                <a:srgbClr val="005777"/>
              </a:buClr>
              <a:buSzTx/>
              <a:buFontTx/>
              <a:buNone/>
              <a:tabLst/>
              <a:defRPr/>
            </a:pPr>
            <a:r>
              <a:rPr kumimoji="0" lang="nl-NL" sz="1400" b="1" i="0" u="none" strike="noStrike" kern="1200" cap="none" spc="0" normalizeH="0" baseline="0" noProof="0">
                <a:ln>
                  <a:noFill/>
                </a:ln>
                <a:solidFill>
                  <a:srgbClr val="FFFFFF"/>
                </a:solidFill>
                <a:effectLst/>
                <a:uLnTx/>
                <a:uFillTx/>
                <a:latin typeface="Arial"/>
                <a:ea typeface="ＭＳ Ｐゴシック"/>
                <a:cs typeface="Arial"/>
              </a:rPr>
              <a:t>Contractuitbreiding onderdeel maken van het DNA van een instelling</a:t>
            </a:r>
          </a:p>
        </p:txBody>
      </p:sp>
      <p:sp>
        <p:nvSpPr>
          <p:cNvPr id="5" name="Rectangle 4">
            <a:extLst>
              <a:ext uri="{FF2B5EF4-FFF2-40B4-BE49-F238E27FC236}">
                <a16:creationId xmlns:a16="http://schemas.microsoft.com/office/drawing/2014/main" id="{5A81E344-5554-9942-BFD0-2B89F1AE455F}"/>
              </a:ext>
            </a:extLst>
          </p:cNvPr>
          <p:cNvSpPr/>
          <p:nvPr/>
        </p:nvSpPr>
        <p:spPr>
          <a:xfrm>
            <a:off x="34972" y="1129990"/>
            <a:ext cx="1573556" cy="471042"/>
          </a:xfrm>
          <a:prstGeom prst="rect">
            <a:avLst/>
          </a:prstGeom>
        </p:spPr>
        <p:txBody>
          <a:bodyPr wrap="square">
            <a:spAutoFit/>
          </a:bodyPr>
          <a:lstStyle/>
          <a:p>
            <a:pPr marL="0" marR="0" lvl="0" indent="0" algn="l" defTabSz="895344" rtl="0" eaLnBrk="1" fontAlgn="auto" latinLnBrk="0" hangingPunct="1">
              <a:lnSpc>
                <a:spcPct val="100000"/>
              </a:lnSpc>
              <a:spcBef>
                <a:spcPts val="0"/>
              </a:spcBef>
              <a:spcAft>
                <a:spcPts val="0"/>
              </a:spcAft>
              <a:buClr>
                <a:srgbClr val="003C54"/>
              </a:buClr>
              <a:buSzTx/>
              <a:buFontTx/>
              <a:buNone/>
              <a:tabLst/>
              <a:defRPr/>
            </a:pPr>
            <a:r>
              <a:rPr kumimoji="0" lang="nl-NL" sz="1200" b="1" i="1" u="none" strike="noStrike" kern="1200" cap="none" spc="0" normalizeH="0" baseline="0" noProof="0">
                <a:ln>
                  <a:noFill/>
                </a:ln>
                <a:solidFill>
                  <a:srgbClr val="005777"/>
                </a:solidFill>
                <a:effectLst/>
                <a:uLnTx/>
                <a:uFillTx/>
                <a:latin typeface="Arial"/>
                <a:ea typeface="ＭＳ Ｐゴシック"/>
                <a:cs typeface="+mn-cs"/>
              </a:rPr>
              <a:t>Wat willen we bereiken? </a:t>
            </a:r>
          </a:p>
        </p:txBody>
      </p:sp>
      <p:sp>
        <p:nvSpPr>
          <p:cNvPr id="18" name="Rectangle 17">
            <a:extLst>
              <a:ext uri="{FF2B5EF4-FFF2-40B4-BE49-F238E27FC236}">
                <a16:creationId xmlns:a16="http://schemas.microsoft.com/office/drawing/2014/main" id="{4862EC42-0E19-A841-AC93-238F728D8309}"/>
              </a:ext>
            </a:extLst>
          </p:cNvPr>
          <p:cNvSpPr/>
          <p:nvPr/>
        </p:nvSpPr>
        <p:spPr>
          <a:xfrm>
            <a:off x="34971" y="2688703"/>
            <a:ext cx="1294980" cy="830997"/>
          </a:xfrm>
          <a:prstGeom prst="rect">
            <a:avLst/>
          </a:prstGeom>
        </p:spPr>
        <p:txBody>
          <a:bodyPr wrap="square">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nl-NL" sz="1200" b="1" i="1" u="none" strike="noStrike" kern="1200" cap="none" spc="0" normalizeH="0" baseline="0" noProof="0">
                <a:ln>
                  <a:noFill/>
                </a:ln>
                <a:solidFill>
                  <a:srgbClr val="005777"/>
                </a:solidFill>
                <a:effectLst/>
                <a:uLnTx/>
                <a:uFillTx/>
                <a:latin typeface="Arial"/>
                <a:ea typeface="ＭＳ Ｐゴシック"/>
                <a:cs typeface="+mn-cs"/>
              </a:rPr>
              <a:t>Welke activiteiten zetten we in gang?</a:t>
            </a:r>
          </a:p>
        </p:txBody>
      </p:sp>
      <p:sp>
        <p:nvSpPr>
          <p:cNvPr id="19" name="Rectangle 18">
            <a:extLst>
              <a:ext uri="{FF2B5EF4-FFF2-40B4-BE49-F238E27FC236}">
                <a16:creationId xmlns:a16="http://schemas.microsoft.com/office/drawing/2014/main" id="{82D1B6E9-8887-0444-89FB-3BC3E70F7CDA}"/>
              </a:ext>
            </a:extLst>
          </p:cNvPr>
          <p:cNvSpPr/>
          <p:nvPr/>
        </p:nvSpPr>
        <p:spPr>
          <a:xfrm>
            <a:off x="34971" y="1809390"/>
            <a:ext cx="1294980" cy="461665"/>
          </a:xfrm>
          <a:prstGeom prst="rect">
            <a:avLst/>
          </a:prstGeom>
        </p:spPr>
        <p:txBody>
          <a:bodyPr wrap="square">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nl-NL" sz="1200" b="1" i="1" u="none" strike="noStrike" kern="1200" cap="none" spc="0" normalizeH="0" baseline="0" noProof="0">
                <a:ln>
                  <a:noFill/>
                </a:ln>
                <a:solidFill>
                  <a:srgbClr val="005777"/>
                </a:solidFill>
                <a:effectLst/>
                <a:uLnTx/>
                <a:uFillTx/>
                <a:latin typeface="Arial"/>
                <a:ea typeface="ＭＳ Ｐゴシック"/>
                <a:cs typeface="+mn-cs"/>
              </a:rPr>
              <a:t>Hoe gaan we dat doen? </a:t>
            </a:r>
          </a:p>
        </p:txBody>
      </p:sp>
      <p:grpSp>
        <p:nvGrpSpPr>
          <p:cNvPr id="6" name="Groep 5">
            <a:extLst>
              <a:ext uri="{FF2B5EF4-FFF2-40B4-BE49-F238E27FC236}">
                <a16:creationId xmlns:a16="http://schemas.microsoft.com/office/drawing/2014/main" id="{4BEC20C5-ABA0-4F61-8DBF-DB0B8065170C}"/>
              </a:ext>
            </a:extLst>
          </p:cNvPr>
          <p:cNvGrpSpPr/>
          <p:nvPr/>
        </p:nvGrpSpPr>
        <p:grpSpPr>
          <a:xfrm>
            <a:off x="1412811" y="1758235"/>
            <a:ext cx="1821888" cy="2601634"/>
            <a:chOff x="1733827" y="2225874"/>
            <a:chExt cx="2286741" cy="2601671"/>
          </a:xfrm>
        </p:grpSpPr>
        <p:sp>
          <p:nvSpPr>
            <p:cNvPr id="21" name="Rechthoek 2">
              <a:extLst>
                <a:ext uri="{FF2B5EF4-FFF2-40B4-BE49-F238E27FC236}">
                  <a16:creationId xmlns:a16="http://schemas.microsoft.com/office/drawing/2014/main" id="{E34451B1-B0FB-C344-9CC5-A5C8FD4043E4}"/>
                </a:ext>
              </a:extLst>
            </p:cNvPr>
            <p:cNvSpPr/>
            <p:nvPr/>
          </p:nvSpPr>
          <p:spPr>
            <a:xfrm>
              <a:off x="1733828" y="2225874"/>
              <a:ext cx="2286740" cy="842815"/>
            </a:xfrm>
            <a:prstGeom prst="rect">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FFFFFF"/>
                  </a:solidFill>
                  <a:effectLst/>
                  <a:uLnTx/>
                  <a:uFillTx/>
                  <a:latin typeface="Arial"/>
                  <a:ea typeface="ＭＳ Ｐゴシック"/>
                  <a:cs typeface="+mn-cs"/>
                </a:rPr>
                <a:t>De feit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FFFFFF"/>
                  </a:solidFill>
                  <a:effectLst/>
                  <a:uLnTx/>
                  <a:uFillTx/>
                  <a:latin typeface="Arial"/>
                  <a:ea typeface="ＭＳ Ｐゴシック"/>
                  <a:cs typeface="+mn-cs"/>
                </a:rPr>
                <a:t>op tafel</a:t>
              </a:r>
            </a:p>
          </p:txBody>
        </p:sp>
        <p:sp>
          <p:nvSpPr>
            <p:cNvPr id="24" name="Rechthoek 3">
              <a:extLst>
                <a:ext uri="{FF2B5EF4-FFF2-40B4-BE49-F238E27FC236}">
                  <a16:creationId xmlns:a16="http://schemas.microsoft.com/office/drawing/2014/main" id="{9916CCD7-F50E-A344-8E00-D4409F884EE8}"/>
                </a:ext>
              </a:extLst>
            </p:cNvPr>
            <p:cNvSpPr/>
            <p:nvPr/>
          </p:nvSpPr>
          <p:spPr>
            <a:xfrm>
              <a:off x="1733827" y="3168116"/>
              <a:ext cx="2286741" cy="1659429"/>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marR="0" lvl="0" indent="-180975" algn="l" defTabSz="1218011" rtl="0" eaLnBrk="1" fontAlgn="auto" latinLnBrk="0" hangingPunct="1">
                <a:lnSpc>
                  <a:spcPct val="100000"/>
                </a:lnSpc>
                <a:spcBef>
                  <a:spcPts val="0"/>
                </a:spcBef>
                <a:spcAft>
                  <a:spcPts val="0"/>
                </a:spcAft>
                <a:buClr>
                  <a:srgbClr val="005777"/>
                </a:buClr>
                <a:buSzTx/>
                <a:buFont typeface="Wingdings" panose="05000000000000000000" pitchFamily="2" charset="2"/>
                <a:buChar char="§"/>
                <a:tabLst/>
                <a:defRPr/>
              </a:pPr>
              <a:r>
                <a:rPr kumimoji="0" lang="nl-NL" sz="1400" b="0" i="0" u="none" strike="noStrike" kern="1200" cap="none" spc="0" normalizeH="0" baseline="0" noProof="0">
                  <a:ln>
                    <a:noFill/>
                  </a:ln>
                  <a:solidFill>
                    <a:srgbClr val="000000"/>
                  </a:solidFill>
                  <a:effectLst/>
                  <a:uLnTx/>
                  <a:uFillTx/>
                  <a:latin typeface="Arial"/>
                  <a:ea typeface="+mn-lt"/>
                  <a:cs typeface="Arial"/>
                </a:rPr>
                <a:t>Value case, doelstellingen, impact meten</a:t>
              </a:r>
            </a:p>
          </p:txBody>
        </p:sp>
      </p:grpSp>
      <p:sp>
        <p:nvSpPr>
          <p:cNvPr id="30" name="Rectangle 29">
            <a:extLst>
              <a:ext uri="{FF2B5EF4-FFF2-40B4-BE49-F238E27FC236}">
                <a16:creationId xmlns:a16="http://schemas.microsoft.com/office/drawing/2014/main" id="{063B28CC-BD75-E547-A6DB-16A57F35F41E}"/>
              </a:ext>
            </a:extLst>
          </p:cNvPr>
          <p:cNvSpPr/>
          <p:nvPr/>
        </p:nvSpPr>
        <p:spPr>
          <a:xfrm>
            <a:off x="34971" y="5951396"/>
            <a:ext cx="1429953" cy="646331"/>
          </a:xfrm>
          <a:prstGeom prst="rect">
            <a:avLst/>
          </a:prstGeom>
        </p:spPr>
        <p:txBody>
          <a:bodyPr wrap="square">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nl-NL" sz="1200" b="1" i="1" u="none" strike="noStrike" kern="1200" cap="none" spc="0" normalizeH="0" baseline="0" noProof="0">
                <a:ln>
                  <a:noFill/>
                </a:ln>
                <a:solidFill>
                  <a:srgbClr val="005777"/>
                </a:solidFill>
                <a:effectLst/>
                <a:uLnTx/>
                <a:uFillTx/>
                <a:latin typeface="Arial"/>
                <a:ea typeface="ＭＳ Ｐゴシック"/>
                <a:cs typeface="+mn-cs"/>
              </a:rPr>
              <a:t>Wat is er nodig om dit succesvol te doen?</a:t>
            </a:r>
          </a:p>
        </p:txBody>
      </p:sp>
      <p:grpSp>
        <p:nvGrpSpPr>
          <p:cNvPr id="27" name="Groep 26">
            <a:extLst>
              <a:ext uri="{FF2B5EF4-FFF2-40B4-BE49-F238E27FC236}">
                <a16:creationId xmlns:a16="http://schemas.microsoft.com/office/drawing/2014/main" id="{5D100233-640A-426F-A59E-D98619ECFDDD}"/>
              </a:ext>
            </a:extLst>
          </p:cNvPr>
          <p:cNvGrpSpPr/>
          <p:nvPr/>
        </p:nvGrpSpPr>
        <p:grpSpPr>
          <a:xfrm>
            <a:off x="3498844" y="1758235"/>
            <a:ext cx="1910774" cy="2601634"/>
            <a:chOff x="1733827" y="2225874"/>
            <a:chExt cx="2286741" cy="2601671"/>
          </a:xfrm>
        </p:grpSpPr>
        <p:sp>
          <p:nvSpPr>
            <p:cNvPr id="28" name="Rechthoek 2">
              <a:extLst>
                <a:ext uri="{FF2B5EF4-FFF2-40B4-BE49-F238E27FC236}">
                  <a16:creationId xmlns:a16="http://schemas.microsoft.com/office/drawing/2014/main" id="{5A6856DD-CEDE-4AFC-852C-B4E79018DD07}"/>
                </a:ext>
              </a:extLst>
            </p:cNvPr>
            <p:cNvSpPr/>
            <p:nvPr/>
          </p:nvSpPr>
          <p:spPr>
            <a:xfrm>
              <a:off x="1733828" y="2225874"/>
              <a:ext cx="2286740" cy="842815"/>
            </a:xfrm>
            <a:prstGeom prst="rect">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FFFFFF"/>
                  </a:solidFill>
                  <a:effectLst/>
                  <a:uLnTx/>
                  <a:uFillTx/>
                  <a:latin typeface="Arial"/>
                  <a:ea typeface="ＭＳ Ｐゴシック"/>
                  <a:cs typeface="+mn-cs"/>
                </a:rPr>
                <a:t>Inspireren &amp; informeren medewerkers </a:t>
              </a:r>
            </a:p>
          </p:txBody>
        </p:sp>
        <p:sp>
          <p:nvSpPr>
            <p:cNvPr id="31" name="Rechthoek 3">
              <a:extLst>
                <a:ext uri="{FF2B5EF4-FFF2-40B4-BE49-F238E27FC236}">
                  <a16:creationId xmlns:a16="http://schemas.microsoft.com/office/drawing/2014/main" id="{D63FEE6A-7623-4FCE-9DC1-9742BAAE892F}"/>
                </a:ext>
              </a:extLst>
            </p:cNvPr>
            <p:cNvSpPr/>
            <p:nvPr/>
          </p:nvSpPr>
          <p:spPr>
            <a:xfrm>
              <a:off x="1733827" y="3168116"/>
              <a:ext cx="2286741" cy="1659429"/>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marR="0" lvl="0" indent="-180975" algn="l" defTabSz="1218011" rtl="0" eaLnBrk="1" fontAlgn="auto" latinLnBrk="0" hangingPunct="1">
                <a:lnSpc>
                  <a:spcPct val="100000"/>
                </a:lnSpc>
                <a:spcBef>
                  <a:spcPts val="0"/>
                </a:spcBef>
                <a:spcAft>
                  <a:spcPts val="0"/>
                </a:spcAft>
                <a:buClr>
                  <a:srgbClr val="005777"/>
                </a:buClr>
                <a:buSzTx/>
                <a:buFont typeface="Wingdings" panose="05000000000000000000" pitchFamily="2" charset="2"/>
                <a:buChar char="§"/>
                <a:tabLst/>
                <a:defRPr/>
              </a:pPr>
              <a:r>
                <a:rPr kumimoji="0" lang="nl-NL" sz="1400" b="0" i="0" u="none" strike="noStrike" kern="1200" cap="none" spc="0" normalizeH="0" baseline="0" noProof="0">
                  <a:ln>
                    <a:noFill/>
                  </a:ln>
                  <a:solidFill>
                    <a:srgbClr val="000000"/>
                  </a:solidFill>
                  <a:effectLst/>
                  <a:uLnTx/>
                  <a:uFillTx/>
                  <a:latin typeface="Arial"/>
                  <a:ea typeface="+mn-lt"/>
                  <a:cs typeface="Arial"/>
                </a:rPr>
                <a:t>Communicatie campagne</a:t>
              </a:r>
            </a:p>
            <a:p>
              <a:pPr marL="180975" marR="0" lvl="0" indent="-180975" algn="l" defTabSz="1218011" rtl="0" eaLnBrk="1" fontAlgn="auto" latinLnBrk="0" hangingPunct="1">
                <a:lnSpc>
                  <a:spcPct val="100000"/>
                </a:lnSpc>
                <a:spcBef>
                  <a:spcPts val="0"/>
                </a:spcBef>
                <a:spcAft>
                  <a:spcPts val="0"/>
                </a:spcAft>
                <a:buClr>
                  <a:srgbClr val="005777"/>
                </a:buClr>
                <a:buSzTx/>
                <a:buFont typeface="Wingdings" panose="05000000000000000000" pitchFamily="2" charset="2"/>
                <a:buChar char="§"/>
                <a:tabLst/>
                <a:defRPr/>
              </a:pPr>
              <a:r>
                <a:rPr kumimoji="0" lang="nl-NL" sz="1400" b="0" i="0" u="none" strike="noStrike" kern="1200" cap="none" spc="0" normalizeH="0" baseline="0" noProof="0">
                  <a:ln>
                    <a:noFill/>
                  </a:ln>
                  <a:solidFill>
                    <a:srgbClr val="000000"/>
                  </a:solidFill>
                  <a:effectLst/>
                  <a:uLnTx/>
                  <a:uFillTx/>
                  <a:latin typeface="Arial"/>
                  <a:ea typeface="+mn-lt"/>
                  <a:cs typeface="Arial"/>
                </a:rPr>
                <a:t>Dialoogsessies medewerkers</a:t>
              </a:r>
            </a:p>
            <a:p>
              <a:pPr marL="180975" marR="0" lvl="0" indent="-180975" algn="l" defTabSz="1218011" rtl="0" eaLnBrk="1" fontAlgn="auto" latinLnBrk="0" hangingPunct="1">
                <a:lnSpc>
                  <a:spcPct val="100000"/>
                </a:lnSpc>
                <a:spcBef>
                  <a:spcPts val="0"/>
                </a:spcBef>
                <a:spcAft>
                  <a:spcPts val="0"/>
                </a:spcAft>
                <a:buClr>
                  <a:srgbClr val="005777"/>
                </a:buClr>
                <a:buSzTx/>
                <a:buFont typeface="Wingdings" panose="05000000000000000000" pitchFamily="2" charset="2"/>
                <a:buChar char="§"/>
                <a:tabLst/>
                <a:defRPr/>
              </a:pPr>
              <a:r>
                <a:rPr kumimoji="0" lang="nl-NL" sz="1400" b="0" i="0" u="none" strike="noStrike" kern="1200" cap="none" spc="0" normalizeH="0" baseline="0" noProof="0">
                  <a:ln>
                    <a:noFill/>
                  </a:ln>
                  <a:solidFill>
                    <a:srgbClr val="000000"/>
                  </a:solidFill>
                  <a:effectLst/>
                  <a:uLnTx/>
                  <a:uFillTx/>
                  <a:latin typeface="Arial"/>
                  <a:ea typeface="+mn-lt"/>
                  <a:cs typeface="Arial"/>
                </a:rPr>
                <a:t>Infopakket medewerkers</a:t>
              </a:r>
            </a:p>
            <a:p>
              <a:pPr marL="180975" marR="0" lvl="0" indent="-180975" algn="l" defTabSz="1218011" rtl="0" eaLnBrk="1" fontAlgn="auto" latinLnBrk="0" hangingPunct="1">
                <a:lnSpc>
                  <a:spcPct val="100000"/>
                </a:lnSpc>
                <a:spcBef>
                  <a:spcPts val="0"/>
                </a:spcBef>
                <a:spcAft>
                  <a:spcPts val="0"/>
                </a:spcAft>
                <a:buClr>
                  <a:srgbClr val="005777"/>
                </a:buClr>
                <a:buSzTx/>
                <a:buFont typeface="Wingdings" panose="05000000000000000000" pitchFamily="2" charset="2"/>
                <a:buChar char="§"/>
                <a:tabLst/>
                <a:defRPr/>
              </a:pPr>
              <a:r>
                <a:rPr kumimoji="0" lang="nl-NL" sz="1400" b="0" i="0" u="none" strike="noStrike" kern="1200" cap="none" spc="0" normalizeH="0" baseline="0" noProof="0">
                  <a:ln>
                    <a:noFill/>
                  </a:ln>
                  <a:solidFill>
                    <a:srgbClr val="000000"/>
                  </a:solidFill>
                  <a:effectLst/>
                  <a:uLnTx/>
                  <a:uFillTx/>
                  <a:latin typeface="Arial"/>
                  <a:ea typeface="+mn-lt"/>
                  <a:cs typeface="Arial"/>
                </a:rPr>
                <a:t>Deeltijdberekenaar </a:t>
              </a:r>
            </a:p>
            <a:p>
              <a:pPr marL="180975" marR="0" lvl="0" indent="-180975" algn="l" defTabSz="1218011" rtl="0" eaLnBrk="1" fontAlgn="auto" latinLnBrk="0" hangingPunct="1">
                <a:lnSpc>
                  <a:spcPct val="100000"/>
                </a:lnSpc>
                <a:spcBef>
                  <a:spcPts val="0"/>
                </a:spcBef>
                <a:spcAft>
                  <a:spcPts val="0"/>
                </a:spcAft>
                <a:buClr>
                  <a:srgbClr val="005777"/>
                </a:buClr>
                <a:buSzTx/>
                <a:buFont typeface="Wingdings" panose="05000000000000000000" pitchFamily="2" charset="2"/>
                <a:buChar char="§"/>
                <a:tabLst/>
                <a:defRPr/>
              </a:pPr>
              <a:endParaRPr kumimoji="0" lang="nl-NL" sz="1400" b="0" i="0" u="none" strike="noStrike" kern="1200" cap="none" spc="0" normalizeH="0" baseline="0" noProof="0">
                <a:ln>
                  <a:noFill/>
                </a:ln>
                <a:solidFill>
                  <a:srgbClr val="000000"/>
                </a:solidFill>
                <a:effectLst/>
                <a:uLnTx/>
                <a:uFillTx/>
                <a:latin typeface="Arial"/>
                <a:ea typeface="+mn-lt"/>
                <a:cs typeface="Arial"/>
              </a:endParaRPr>
            </a:p>
          </p:txBody>
        </p:sp>
      </p:grpSp>
      <p:grpSp>
        <p:nvGrpSpPr>
          <p:cNvPr id="32" name="Groep 31">
            <a:extLst>
              <a:ext uri="{FF2B5EF4-FFF2-40B4-BE49-F238E27FC236}">
                <a16:creationId xmlns:a16="http://schemas.microsoft.com/office/drawing/2014/main" id="{24F30EBB-D5C7-456B-88F9-8592790C05DE}"/>
              </a:ext>
            </a:extLst>
          </p:cNvPr>
          <p:cNvGrpSpPr/>
          <p:nvPr/>
        </p:nvGrpSpPr>
        <p:grpSpPr>
          <a:xfrm>
            <a:off x="5584875" y="1758235"/>
            <a:ext cx="1821888" cy="2601634"/>
            <a:chOff x="1733827" y="2225874"/>
            <a:chExt cx="2286741" cy="2601671"/>
          </a:xfrm>
        </p:grpSpPr>
        <p:sp>
          <p:nvSpPr>
            <p:cNvPr id="37" name="Rechthoek 2">
              <a:extLst>
                <a:ext uri="{FF2B5EF4-FFF2-40B4-BE49-F238E27FC236}">
                  <a16:creationId xmlns:a16="http://schemas.microsoft.com/office/drawing/2014/main" id="{28E73FB0-1D81-429C-9FB2-D0EAF2C929ED}"/>
                </a:ext>
              </a:extLst>
            </p:cNvPr>
            <p:cNvSpPr/>
            <p:nvPr/>
          </p:nvSpPr>
          <p:spPr>
            <a:xfrm>
              <a:off x="1733828" y="2225874"/>
              <a:ext cx="2286740" cy="842815"/>
            </a:xfrm>
            <a:prstGeom prst="rect">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400" b="1" i="0" u="none" strike="noStrike" kern="1200" cap="none" spc="0" normalizeH="0" baseline="0" noProof="0">
                <a:ln>
                  <a:noFill/>
                </a:ln>
                <a:solidFill>
                  <a:srgbClr val="FFFFFF"/>
                </a:solidFill>
                <a:effectLst/>
                <a:uLnTx/>
                <a:uFillTx/>
                <a:latin typeface="Arial"/>
                <a:ea typeface="ＭＳ Ｐゴシック"/>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FFFFFF"/>
                  </a:solidFill>
                  <a:effectLst/>
                  <a:uLnTx/>
                  <a:uFillTx/>
                  <a:latin typeface="Arial"/>
                  <a:ea typeface="ＭＳ Ｐゴシック"/>
                  <a:cs typeface="+mn-cs"/>
                </a:rPr>
                <a:t>Inspireren &amp; informeren aanspreekpunten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400" b="1"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38" name="Rechthoek 3">
              <a:extLst>
                <a:ext uri="{FF2B5EF4-FFF2-40B4-BE49-F238E27FC236}">
                  <a16:creationId xmlns:a16="http://schemas.microsoft.com/office/drawing/2014/main" id="{E583B17D-1985-4B96-94F8-7C2409E6A01A}"/>
                </a:ext>
              </a:extLst>
            </p:cNvPr>
            <p:cNvSpPr/>
            <p:nvPr/>
          </p:nvSpPr>
          <p:spPr>
            <a:xfrm>
              <a:off x="1733827" y="3168116"/>
              <a:ext cx="2286741" cy="1659429"/>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marR="0" lvl="0" indent="-180975" algn="l" defTabSz="1218011" rtl="0" eaLnBrk="1" fontAlgn="auto" latinLnBrk="0" hangingPunct="1">
                <a:lnSpc>
                  <a:spcPct val="100000"/>
                </a:lnSpc>
                <a:spcBef>
                  <a:spcPts val="0"/>
                </a:spcBef>
                <a:spcAft>
                  <a:spcPts val="0"/>
                </a:spcAft>
                <a:buClr>
                  <a:srgbClr val="005777"/>
                </a:buClr>
                <a:buSzTx/>
                <a:buFont typeface="Wingdings" panose="05000000000000000000" pitchFamily="2" charset="2"/>
                <a:buChar char="§"/>
                <a:tabLst/>
                <a:defRPr/>
              </a:pPr>
              <a:r>
                <a:rPr kumimoji="0" lang="nl-NL" sz="1400" b="0" i="0" u="none" strike="noStrike" kern="1200" cap="none" spc="0" normalizeH="0" baseline="0" noProof="0">
                  <a:ln>
                    <a:noFill/>
                  </a:ln>
                  <a:solidFill>
                    <a:srgbClr val="000000"/>
                  </a:solidFill>
                  <a:effectLst/>
                  <a:uLnTx/>
                  <a:uFillTx/>
                  <a:latin typeface="Arial"/>
                  <a:ea typeface="+mn-lt"/>
                  <a:cs typeface="Arial"/>
                </a:rPr>
                <a:t>Infopakket aanspreekpunten</a:t>
              </a:r>
            </a:p>
            <a:p>
              <a:pPr marL="180975" marR="0" lvl="0" indent="-180975" algn="l" defTabSz="1218011" rtl="0" eaLnBrk="1" fontAlgn="auto" latinLnBrk="0" hangingPunct="1">
                <a:lnSpc>
                  <a:spcPct val="100000"/>
                </a:lnSpc>
                <a:spcBef>
                  <a:spcPts val="0"/>
                </a:spcBef>
                <a:spcAft>
                  <a:spcPts val="0"/>
                </a:spcAft>
                <a:buClr>
                  <a:srgbClr val="005777"/>
                </a:buClr>
                <a:buSzTx/>
                <a:buFont typeface="Wingdings" panose="05000000000000000000" pitchFamily="2" charset="2"/>
                <a:buChar char="§"/>
                <a:tabLst/>
                <a:defRPr/>
              </a:pPr>
              <a:r>
                <a:rPr kumimoji="0" lang="nl-NL" sz="1400" b="0" i="0" u="none" strike="noStrike" kern="1200" cap="none" spc="0" normalizeH="0" baseline="0" noProof="0">
                  <a:ln>
                    <a:noFill/>
                  </a:ln>
                  <a:solidFill>
                    <a:srgbClr val="000000"/>
                  </a:solidFill>
                  <a:effectLst/>
                  <a:uLnTx/>
                  <a:uFillTx/>
                  <a:latin typeface="Arial"/>
                  <a:ea typeface="+mn-lt"/>
                  <a:cs typeface="Arial"/>
                </a:rPr>
                <a:t>Dialoogsessies aanspreekpunten</a:t>
              </a:r>
            </a:p>
          </p:txBody>
        </p:sp>
      </p:grpSp>
      <p:grpSp>
        <p:nvGrpSpPr>
          <p:cNvPr id="39" name="Groep 38">
            <a:extLst>
              <a:ext uri="{FF2B5EF4-FFF2-40B4-BE49-F238E27FC236}">
                <a16:creationId xmlns:a16="http://schemas.microsoft.com/office/drawing/2014/main" id="{0018E063-7536-45FD-A59A-8681A8F27C88}"/>
              </a:ext>
            </a:extLst>
          </p:cNvPr>
          <p:cNvGrpSpPr/>
          <p:nvPr/>
        </p:nvGrpSpPr>
        <p:grpSpPr>
          <a:xfrm>
            <a:off x="7670908" y="1743506"/>
            <a:ext cx="1821888" cy="2601634"/>
            <a:chOff x="1733827" y="2225874"/>
            <a:chExt cx="2286741" cy="2601671"/>
          </a:xfrm>
        </p:grpSpPr>
        <p:sp>
          <p:nvSpPr>
            <p:cNvPr id="40" name="Rechthoek 2">
              <a:extLst>
                <a:ext uri="{FF2B5EF4-FFF2-40B4-BE49-F238E27FC236}">
                  <a16:creationId xmlns:a16="http://schemas.microsoft.com/office/drawing/2014/main" id="{E04A9066-1DC8-4BDE-893A-38366AF02169}"/>
                </a:ext>
              </a:extLst>
            </p:cNvPr>
            <p:cNvSpPr/>
            <p:nvPr/>
          </p:nvSpPr>
          <p:spPr>
            <a:xfrm>
              <a:off x="1733828" y="2225874"/>
              <a:ext cx="2286740" cy="842815"/>
            </a:xfrm>
            <a:prstGeom prst="rect">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FFFFFF"/>
                  </a:solidFill>
                  <a:effectLst/>
                  <a:uLnTx/>
                  <a:uFillTx/>
                  <a:latin typeface="Arial"/>
                  <a:ea typeface="ＭＳ Ｐゴシック"/>
                  <a:cs typeface="+mn-cs"/>
                </a:rPr>
                <a:t>Grotere contracten realiseren</a:t>
              </a:r>
            </a:p>
          </p:txBody>
        </p:sp>
        <p:sp>
          <p:nvSpPr>
            <p:cNvPr id="41" name="Rechthoek 3">
              <a:extLst>
                <a:ext uri="{FF2B5EF4-FFF2-40B4-BE49-F238E27FC236}">
                  <a16:creationId xmlns:a16="http://schemas.microsoft.com/office/drawing/2014/main" id="{6775A540-8019-43DC-8905-097112F540D0}"/>
                </a:ext>
              </a:extLst>
            </p:cNvPr>
            <p:cNvSpPr/>
            <p:nvPr/>
          </p:nvSpPr>
          <p:spPr>
            <a:xfrm>
              <a:off x="1733827" y="3168116"/>
              <a:ext cx="2286741" cy="1659429"/>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marR="0" lvl="0" indent="-180975" algn="l" defTabSz="1218011" rtl="0" eaLnBrk="1" fontAlgn="auto" latinLnBrk="0" hangingPunct="1">
                <a:lnSpc>
                  <a:spcPct val="100000"/>
                </a:lnSpc>
                <a:spcBef>
                  <a:spcPts val="0"/>
                </a:spcBef>
                <a:spcAft>
                  <a:spcPts val="0"/>
                </a:spcAft>
                <a:buClr>
                  <a:srgbClr val="005777"/>
                </a:buClr>
                <a:buSzTx/>
                <a:buFont typeface="Wingdings" panose="05000000000000000000" pitchFamily="2" charset="2"/>
                <a:buChar char="§"/>
                <a:tabLst/>
                <a:defRPr/>
              </a:pPr>
              <a:r>
                <a:rPr kumimoji="0" lang="nl-NL" sz="1400" b="0" i="0" u="none" strike="noStrike" kern="1200" cap="none" spc="0" normalizeH="0" baseline="0" noProof="0">
                  <a:ln>
                    <a:noFill/>
                  </a:ln>
                  <a:solidFill>
                    <a:srgbClr val="000000"/>
                  </a:solidFill>
                  <a:effectLst/>
                  <a:uLnTx/>
                  <a:uFillTx/>
                  <a:latin typeface="Arial"/>
                  <a:ea typeface="+mn-lt"/>
                  <a:cs typeface="Arial"/>
                </a:rPr>
                <a:t>Matching</a:t>
              </a:r>
            </a:p>
            <a:p>
              <a:pPr marL="180975" marR="0" lvl="0" indent="-180975" algn="l" defTabSz="1218011" rtl="0" eaLnBrk="1" fontAlgn="auto" latinLnBrk="0" hangingPunct="1">
                <a:lnSpc>
                  <a:spcPct val="100000"/>
                </a:lnSpc>
                <a:spcBef>
                  <a:spcPts val="0"/>
                </a:spcBef>
                <a:spcAft>
                  <a:spcPts val="0"/>
                </a:spcAft>
                <a:buClr>
                  <a:srgbClr val="005777"/>
                </a:buClr>
                <a:buSzTx/>
                <a:buFont typeface="Wingdings" panose="05000000000000000000" pitchFamily="2" charset="2"/>
                <a:buChar char="§"/>
                <a:tabLst/>
                <a:defRPr/>
              </a:pPr>
              <a:r>
                <a:rPr lang="nl-NL" sz="1400" b="1">
                  <a:solidFill>
                    <a:srgbClr val="000000"/>
                  </a:solidFill>
                  <a:latin typeface="Arial"/>
                  <a:ea typeface="+mn-lt"/>
                  <a:cs typeface="Arial"/>
                </a:rPr>
                <a:t>Leidraad Goed Gesprek</a:t>
              </a:r>
              <a:endParaRPr kumimoji="0" lang="nl-NL" sz="1400" b="1" i="0" u="none" strike="noStrike" kern="1200" cap="none" spc="0" normalizeH="0" baseline="0" noProof="0">
                <a:ln>
                  <a:noFill/>
                </a:ln>
                <a:solidFill>
                  <a:srgbClr val="000000"/>
                </a:solidFill>
                <a:effectLst/>
                <a:uLnTx/>
                <a:uFillTx/>
                <a:latin typeface="Arial"/>
                <a:ea typeface="+mn-lt"/>
                <a:cs typeface="Arial"/>
              </a:endParaRPr>
            </a:p>
          </p:txBody>
        </p:sp>
      </p:grpSp>
      <p:grpSp>
        <p:nvGrpSpPr>
          <p:cNvPr id="43" name="Groep 42">
            <a:extLst>
              <a:ext uri="{FF2B5EF4-FFF2-40B4-BE49-F238E27FC236}">
                <a16:creationId xmlns:a16="http://schemas.microsoft.com/office/drawing/2014/main" id="{EFD8ABAC-6892-415E-80C0-379666C8F2CA}"/>
              </a:ext>
            </a:extLst>
          </p:cNvPr>
          <p:cNvGrpSpPr/>
          <p:nvPr/>
        </p:nvGrpSpPr>
        <p:grpSpPr>
          <a:xfrm>
            <a:off x="9756942" y="1746476"/>
            <a:ext cx="1821888" cy="2601634"/>
            <a:chOff x="1733827" y="2225874"/>
            <a:chExt cx="2286741" cy="2601671"/>
          </a:xfrm>
        </p:grpSpPr>
        <p:sp>
          <p:nvSpPr>
            <p:cNvPr id="44" name="Rechthoek 2">
              <a:extLst>
                <a:ext uri="{FF2B5EF4-FFF2-40B4-BE49-F238E27FC236}">
                  <a16:creationId xmlns:a16="http://schemas.microsoft.com/office/drawing/2014/main" id="{39320446-EC4F-485F-A2D0-30915877EA8E}"/>
                </a:ext>
              </a:extLst>
            </p:cNvPr>
            <p:cNvSpPr/>
            <p:nvPr/>
          </p:nvSpPr>
          <p:spPr>
            <a:xfrm>
              <a:off x="1733828" y="2225874"/>
              <a:ext cx="2286740" cy="842815"/>
            </a:xfrm>
            <a:prstGeom prst="rect">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FFFFFF"/>
                  </a:solidFill>
                  <a:effectLst/>
                  <a:uLnTx/>
                  <a:uFillTx/>
                  <a:latin typeface="Arial"/>
                  <a:ea typeface="ＭＳ Ｐゴシック"/>
                  <a:cs typeface="+mn-cs"/>
                </a:rPr>
                <a:t>Borgen binnen de instelling</a:t>
              </a:r>
            </a:p>
          </p:txBody>
        </p:sp>
        <p:sp>
          <p:nvSpPr>
            <p:cNvPr id="45" name="Rechthoek 3">
              <a:extLst>
                <a:ext uri="{FF2B5EF4-FFF2-40B4-BE49-F238E27FC236}">
                  <a16:creationId xmlns:a16="http://schemas.microsoft.com/office/drawing/2014/main" id="{0C9E1331-370A-4235-BFA4-9B5221305599}"/>
                </a:ext>
              </a:extLst>
            </p:cNvPr>
            <p:cNvSpPr/>
            <p:nvPr/>
          </p:nvSpPr>
          <p:spPr>
            <a:xfrm>
              <a:off x="1733827" y="3168116"/>
              <a:ext cx="2286741" cy="1659429"/>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marR="0" lvl="0" indent="-180975" algn="l" defTabSz="1218011" rtl="0" eaLnBrk="1" fontAlgn="auto" latinLnBrk="0" hangingPunct="1">
                <a:lnSpc>
                  <a:spcPct val="100000"/>
                </a:lnSpc>
                <a:spcBef>
                  <a:spcPts val="0"/>
                </a:spcBef>
                <a:spcAft>
                  <a:spcPts val="0"/>
                </a:spcAft>
                <a:buClr>
                  <a:srgbClr val="005777"/>
                </a:buClr>
                <a:buSzTx/>
                <a:buFont typeface="Wingdings" panose="05000000000000000000" pitchFamily="2" charset="2"/>
                <a:buChar char="§"/>
                <a:tabLst/>
                <a:defRPr/>
              </a:pPr>
              <a:r>
                <a:rPr kumimoji="0" lang="nl-NL" sz="1400" b="0" i="0" u="none" strike="noStrike" kern="1200" cap="none" spc="0" normalizeH="0" baseline="0" noProof="0">
                  <a:ln>
                    <a:noFill/>
                  </a:ln>
                  <a:solidFill>
                    <a:srgbClr val="000000"/>
                  </a:solidFill>
                  <a:effectLst/>
                  <a:uLnTx/>
                  <a:uFillTx/>
                  <a:latin typeface="Arial"/>
                  <a:ea typeface="+mn-lt"/>
                  <a:cs typeface="Arial"/>
                </a:rPr>
                <a:t>Aanbevelingen roosteren</a:t>
              </a:r>
            </a:p>
            <a:p>
              <a:pPr marL="180975" marR="0" lvl="0" indent="-180975" algn="l" defTabSz="1218011" rtl="0" eaLnBrk="1" fontAlgn="auto" latinLnBrk="0" hangingPunct="1">
                <a:lnSpc>
                  <a:spcPct val="100000"/>
                </a:lnSpc>
                <a:spcBef>
                  <a:spcPts val="0"/>
                </a:spcBef>
                <a:spcAft>
                  <a:spcPts val="0"/>
                </a:spcAft>
                <a:buClr>
                  <a:srgbClr val="005777"/>
                </a:buClr>
                <a:buSzTx/>
                <a:buFont typeface="Wingdings" panose="05000000000000000000" pitchFamily="2" charset="2"/>
                <a:buChar char="§"/>
                <a:tabLst/>
                <a:defRPr/>
              </a:pPr>
              <a:r>
                <a:rPr kumimoji="0" lang="nl-NL" sz="1400" b="1" i="0" u="none" strike="noStrike" kern="1200" cap="none" spc="0" normalizeH="0" baseline="0" noProof="0">
                  <a:ln>
                    <a:noFill/>
                  </a:ln>
                  <a:solidFill>
                    <a:srgbClr val="000000"/>
                  </a:solidFill>
                  <a:effectLst/>
                  <a:uLnTx/>
                  <a:uFillTx/>
                  <a:latin typeface="Arial"/>
                  <a:ea typeface="+mn-lt"/>
                  <a:cs typeface="Arial"/>
                </a:rPr>
                <a:t>Aanbevelingen Goed Gesprek</a:t>
              </a:r>
            </a:p>
            <a:p>
              <a:pPr marL="180975" marR="0" lvl="0" indent="-180975" algn="l" defTabSz="1218011" rtl="0" eaLnBrk="1" fontAlgn="auto" latinLnBrk="0" hangingPunct="1">
                <a:lnSpc>
                  <a:spcPct val="100000"/>
                </a:lnSpc>
                <a:spcBef>
                  <a:spcPts val="0"/>
                </a:spcBef>
                <a:spcAft>
                  <a:spcPts val="0"/>
                </a:spcAft>
                <a:buClr>
                  <a:srgbClr val="005777"/>
                </a:buClr>
                <a:buSzTx/>
                <a:buFont typeface="Wingdings" panose="05000000000000000000" pitchFamily="2" charset="2"/>
                <a:buChar char="§"/>
                <a:tabLst/>
                <a:defRPr/>
              </a:pPr>
              <a:r>
                <a:rPr kumimoji="0" lang="nl-NL" sz="1400" b="0" i="0" u="none" strike="noStrike" kern="1200" cap="none" spc="0" normalizeH="0" baseline="0" noProof="0">
                  <a:ln>
                    <a:noFill/>
                  </a:ln>
                  <a:solidFill>
                    <a:srgbClr val="000000"/>
                  </a:solidFill>
                  <a:effectLst/>
                  <a:uLnTx/>
                  <a:uFillTx/>
                  <a:latin typeface="Arial"/>
                  <a:ea typeface="+mn-lt"/>
                  <a:cs typeface="Arial"/>
                </a:rPr>
                <a:t>Opschaalplan</a:t>
              </a:r>
            </a:p>
          </p:txBody>
        </p:sp>
      </p:grpSp>
      <p:sp>
        <p:nvSpPr>
          <p:cNvPr id="46" name="Rectangle 29">
            <a:extLst>
              <a:ext uri="{FF2B5EF4-FFF2-40B4-BE49-F238E27FC236}">
                <a16:creationId xmlns:a16="http://schemas.microsoft.com/office/drawing/2014/main" id="{258CFFA1-0D58-4658-B07B-4F7371AB01F8}"/>
              </a:ext>
            </a:extLst>
          </p:cNvPr>
          <p:cNvSpPr/>
          <p:nvPr/>
        </p:nvSpPr>
        <p:spPr>
          <a:xfrm>
            <a:off x="34971" y="4441011"/>
            <a:ext cx="1294980" cy="659459"/>
          </a:xfrm>
          <a:prstGeom prst="rect">
            <a:avLst/>
          </a:prstGeom>
        </p:spPr>
        <p:txBody>
          <a:bodyPr wrap="square">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nl-NL" sz="1200" b="1" i="1" u="none" strike="noStrike" kern="1200" cap="none" spc="0" normalizeH="0" baseline="0" noProof="0">
                <a:ln>
                  <a:noFill/>
                </a:ln>
                <a:solidFill>
                  <a:srgbClr val="005777"/>
                </a:solidFill>
                <a:effectLst/>
                <a:uLnTx/>
                <a:uFillTx/>
                <a:latin typeface="Arial"/>
                <a:ea typeface="ＭＳ Ｐゴシック"/>
                <a:cs typeface="+mn-cs"/>
              </a:rPr>
              <a:t>Op welke manier werken we?</a:t>
            </a:r>
          </a:p>
        </p:txBody>
      </p:sp>
      <p:sp>
        <p:nvSpPr>
          <p:cNvPr id="47" name="Body3 3">
            <a:extLst>
              <a:ext uri="{FF2B5EF4-FFF2-40B4-BE49-F238E27FC236}">
                <a16:creationId xmlns:a16="http://schemas.microsoft.com/office/drawing/2014/main" id="{26DE2A43-C6B1-4C90-8BFC-17054C378793}"/>
              </a:ext>
            </a:extLst>
          </p:cNvPr>
          <p:cNvSpPr txBox="1">
            <a:spLocks/>
          </p:cNvSpPr>
          <p:nvPr>
            <p:custDataLst>
              <p:tags r:id="rId6"/>
            </p:custDataLst>
          </p:nvPr>
        </p:nvSpPr>
        <p:spPr>
          <a:xfrm>
            <a:off x="1412810" y="4453555"/>
            <a:ext cx="10167528" cy="384337"/>
          </a:xfrm>
          <a:prstGeom prst="rect">
            <a:avLst/>
          </a:prstGeom>
          <a:solidFill>
            <a:schemeClr val="accent2"/>
          </a:solidFill>
          <a:ln w="9525">
            <a:solidFill>
              <a:schemeClr val="accent3"/>
            </a:solidFill>
            <a:miter lim="800000"/>
            <a:headEnd/>
            <a:tailEnd/>
          </a:ln>
          <a:effectLst/>
        </p:spPr>
        <p:txBody>
          <a:bodyPr vert="horz" wrap="square" lIns="46649" tIns="46649" rIns="46649" bIns="46649" numCol="1" anchor="t" anchorCtr="0" compatLnSpc="1">
            <a:prstTxWarp prst="textNoShape">
              <a:avLst/>
            </a:prstTxWarp>
            <a:noAutofit/>
          </a:bodyPr>
          <a:lstStyle>
            <a:defPPr>
              <a:defRPr lang="en-US"/>
            </a:defPPr>
            <a:lvl1pPr marL="0" lvl="0" indent="0" defTabSz="877533" eaLnBrk="1" hangingPunct="1">
              <a:spcBef>
                <a:spcPct val="10000"/>
              </a:spcBef>
              <a:buClr>
                <a:schemeClr val="tx2"/>
              </a:buClr>
              <a:defRPr sz="1400" b="1" baseline="0">
                <a:solidFill>
                  <a:schemeClr val="accent4"/>
                </a:solidFill>
                <a:latin typeface="+mn-lt"/>
              </a:defRPr>
            </a:lvl1pPr>
            <a:lvl2pPr marL="176415" lvl="1" indent="-176415" defTabSz="914400" eaLnBrk="1" hangingPunct="1">
              <a:spcBef>
                <a:spcPct val="10000"/>
              </a:spcBef>
              <a:buClrTx/>
              <a:buSzPct val="100000"/>
              <a:buFont typeface="Arial" pitchFamily="34" charset="0"/>
              <a:buChar char="•"/>
              <a:defRPr sz="1400" baseline="0">
                <a:solidFill>
                  <a:srgbClr val="000000"/>
                </a:solidFill>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ctr" defTabSz="1218011" rtl="0" eaLnBrk="1" fontAlgn="auto" latinLnBrk="0" hangingPunct="1">
              <a:lnSpc>
                <a:spcPct val="100000"/>
              </a:lnSpc>
              <a:spcBef>
                <a:spcPct val="10000"/>
              </a:spcBef>
              <a:spcAft>
                <a:spcPts val="0"/>
              </a:spcAft>
              <a:buClr>
                <a:srgbClr val="005777"/>
              </a:buClr>
              <a:buSzTx/>
              <a:buFontTx/>
              <a:buNone/>
              <a:tabLst/>
              <a:defRPr/>
            </a:pPr>
            <a:r>
              <a:rPr kumimoji="0" lang="nl-NL" sz="1400" b="1" i="0" u="none" strike="noStrike" kern="1200" cap="none" spc="0" normalizeH="0" baseline="0" noProof="0">
                <a:ln>
                  <a:noFill/>
                </a:ln>
                <a:solidFill>
                  <a:srgbClr val="005777"/>
                </a:solidFill>
                <a:effectLst/>
                <a:uLnTx/>
                <a:uFillTx/>
                <a:latin typeface="Arial"/>
                <a:ea typeface="ＭＳ Ｐゴシック"/>
                <a:cs typeface="Arial"/>
              </a:rPr>
              <a:t>We bundelen krachten</a:t>
            </a:r>
          </a:p>
        </p:txBody>
      </p:sp>
      <p:sp>
        <p:nvSpPr>
          <p:cNvPr id="48" name="Body3 3">
            <a:extLst>
              <a:ext uri="{FF2B5EF4-FFF2-40B4-BE49-F238E27FC236}">
                <a16:creationId xmlns:a16="http://schemas.microsoft.com/office/drawing/2014/main" id="{20CA9C7E-E03F-4957-B270-5C549F988A9F}"/>
              </a:ext>
            </a:extLst>
          </p:cNvPr>
          <p:cNvSpPr txBox="1">
            <a:spLocks/>
          </p:cNvSpPr>
          <p:nvPr>
            <p:custDataLst>
              <p:tags r:id="rId7"/>
            </p:custDataLst>
          </p:nvPr>
        </p:nvSpPr>
        <p:spPr>
          <a:xfrm>
            <a:off x="1430043" y="4944649"/>
            <a:ext cx="10148787" cy="384337"/>
          </a:xfrm>
          <a:prstGeom prst="rect">
            <a:avLst/>
          </a:prstGeom>
          <a:solidFill>
            <a:schemeClr val="accent2"/>
          </a:solidFill>
          <a:ln w="9525">
            <a:solidFill>
              <a:schemeClr val="accent3"/>
            </a:solidFill>
            <a:miter lim="800000"/>
            <a:headEnd/>
            <a:tailEnd/>
          </a:ln>
          <a:effectLst/>
        </p:spPr>
        <p:txBody>
          <a:bodyPr vert="horz" wrap="square" lIns="46649" tIns="46649" rIns="46649" bIns="46649" numCol="1" anchor="t" anchorCtr="0" compatLnSpc="1">
            <a:prstTxWarp prst="textNoShape">
              <a:avLst/>
            </a:prstTxWarp>
            <a:noAutofit/>
          </a:bodyPr>
          <a:lstStyle>
            <a:defPPr>
              <a:defRPr lang="en-US"/>
            </a:defPPr>
            <a:lvl1pPr marL="0" lvl="0" indent="0" defTabSz="877533" eaLnBrk="1" hangingPunct="1">
              <a:spcBef>
                <a:spcPct val="10000"/>
              </a:spcBef>
              <a:buClr>
                <a:schemeClr val="tx2"/>
              </a:buClr>
              <a:defRPr sz="1400" b="1" baseline="0">
                <a:solidFill>
                  <a:schemeClr val="accent4"/>
                </a:solidFill>
                <a:latin typeface="+mn-lt"/>
              </a:defRPr>
            </a:lvl1pPr>
            <a:lvl2pPr marL="176415" lvl="1" indent="-176415" defTabSz="914400" eaLnBrk="1" hangingPunct="1">
              <a:spcBef>
                <a:spcPct val="10000"/>
              </a:spcBef>
              <a:buClrTx/>
              <a:buSzPct val="100000"/>
              <a:buFont typeface="Arial" pitchFamily="34" charset="0"/>
              <a:buChar char="•"/>
              <a:defRPr sz="1400" baseline="0">
                <a:solidFill>
                  <a:srgbClr val="000000"/>
                </a:solidFill>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ctr" defTabSz="1218011" rtl="0" eaLnBrk="1" fontAlgn="auto" latinLnBrk="0" hangingPunct="1">
              <a:lnSpc>
                <a:spcPct val="100000"/>
              </a:lnSpc>
              <a:spcBef>
                <a:spcPct val="10000"/>
              </a:spcBef>
              <a:spcAft>
                <a:spcPts val="0"/>
              </a:spcAft>
              <a:buClr>
                <a:srgbClr val="005777"/>
              </a:buClr>
              <a:buSzTx/>
              <a:buFontTx/>
              <a:buNone/>
              <a:tabLst/>
              <a:defRPr/>
            </a:pPr>
            <a:r>
              <a:rPr kumimoji="0" lang="nl-NL" sz="1400" b="1" i="0" u="none" strike="noStrike" kern="1200" cap="none" spc="0" normalizeH="0" baseline="0" noProof="0">
                <a:ln>
                  <a:noFill/>
                </a:ln>
                <a:solidFill>
                  <a:srgbClr val="005777"/>
                </a:solidFill>
                <a:effectLst/>
                <a:uLnTx/>
                <a:uFillTx/>
                <a:latin typeface="Arial"/>
                <a:ea typeface="ＭＳ Ｐゴシック"/>
                <a:cs typeface="Arial"/>
              </a:rPr>
              <a:t>We leren door te doen</a:t>
            </a:r>
          </a:p>
        </p:txBody>
      </p:sp>
      <p:sp>
        <p:nvSpPr>
          <p:cNvPr id="49" name="Body3 3">
            <a:extLst>
              <a:ext uri="{FF2B5EF4-FFF2-40B4-BE49-F238E27FC236}">
                <a16:creationId xmlns:a16="http://schemas.microsoft.com/office/drawing/2014/main" id="{B19194C4-EAF1-4803-B87A-401A2A58179D}"/>
              </a:ext>
            </a:extLst>
          </p:cNvPr>
          <p:cNvSpPr txBox="1">
            <a:spLocks/>
          </p:cNvSpPr>
          <p:nvPr>
            <p:custDataLst>
              <p:tags r:id="rId8"/>
            </p:custDataLst>
          </p:nvPr>
        </p:nvSpPr>
        <p:spPr>
          <a:xfrm>
            <a:off x="1430043" y="5435741"/>
            <a:ext cx="10148787" cy="384337"/>
          </a:xfrm>
          <a:prstGeom prst="rect">
            <a:avLst/>
          </a:prstGeom>
          <a:solidFill>
            <a:schemeClr val="accent2"/>
          </a:solidFill>
          <a:ln w="9525">
            <a:solidFill>
              <a:schemeClr val="accent3"/>
            </a:solidFill>
            <a:miter lim="800000"/>
            <a:headEnd/>
            <a:tailEnd/>
          </a:ln>
          <a:effectLst/>
        </p:spPr>
        <p:txBody>
          <a:bodyPr vert="horz" wrap="square" lIns="46649" tIns="46649" rIns="46649" bIns="46649" numCol="1" anchor="t" anchorCtr="0" compatLnSpc="1">
            <a:prstTxWarp prst="textNoShape">
              <a:avLst/>
            </a:prstTxWarp>
            <a:noAutofit/>
          </a:bodyPr>
          <a:lstStyle>
            <a:defPPr>
              <a:defRPr lang="en-US"/>
            </a:defPPr>
            <a:lvl1pPr marL="0" lvl="0" indent="0" defTabSz="877533" eaLnBrk="1" hangingPunct="1">
              <a:spcBef>
                <a:spcPct val="10000"/>
              </a:spcBef>
              <a:buClr>
                <a:schemeClr val="tx2"/>
              </a:buClr>
              <a:defRPr sz="1400" b="1" baseline="0">
                <a:solidFill>
                  <a:schemeClr val="accent4"/>
                </a:solidFill>
                <a:latin typeface="+mn-lt"/>
              </a:defRPr>
            </a:lvl1pPr>
            <a:lvl2pPr marL="176415" lvl="1" indent="-176415" defTabSz="914400" eaLnBrk="1" hangingPunct="1">
              <a:spcBef>
                <a:spcPct val="10000"/>
              </a:spcBef>
              <a:buClrTx/>
              <a:buSzPct val="100000"/>
              <a:buFont typeface="Arial" pitchFamily="34" charset="0"/>
              <a:buChar char="•"/>
              <a:defRPr sz="1400" baseline="0">
                <a:solidFill>
                  <a:srgbClr val="000000"/>
                </a:solidFill>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ctr" defTabSz="1218011" rtl="0" eaLnBrk="1" fontAlgn="auto" latinLnBrk="0" hangingPunct="1">
              <a:lnSpc>
                <a:spcPct val="100000"/>
              </a:lnSpc>
              <a:spcBef>
                <a:spcPct val="10000"/>
              </a:spcBef>
              <a:spcAft>
                <a:spcPts val="0"/>
              </a:spcAft>
              <a:buClr>
                <a:srgbClr val="005777"/>
              </a:buClr>
              <a:buSzTx/>
              <a:buFontTx/>
              <a:buNone/>
              <a:tabLst/>
              <a:defRPr/>
            </a:pPr>
            <a:r>
              <a:rPr kumimoji="0" lang="nl-NL" sz="1400" b="1" i="0" u="none" strike="noStrike" kern="1200" cap="none" spc="0" normalizeH="0" baseline="0" noProof="0">
                <a:ln>
                  <a:noFill/>
                </a:ln>
                <a:solidFill>
                  <a:srgbClr val="005777"/>
                </a:solidFill>
                <a:effectLst/>
                <a:uLnTx/>
                <a:uFillTx/>
                <a:latin typeface="Arial"/>
                <a:ea typeface="ＭＳ Ｐゴシック"/>
                <a:cs typeface="Arial"/>
              </a:rPr>
              <a:t>We denken in mogelijkheden </a:t>
            </a:r>
          </a:p>
        </p:txBody>
      </p:sp>
      <p:sp>
        <p:nvSpPr>
          <p:cNvPr id="50" name="Rechthoek 49">
            <a:extLst>
              <a:ext uri="{FF2B5EF4-FFF2-40B4-BE49-F238E27FC236}">
                <a16:creationId xmlns:a16="http://schemas.microsoft.com/office/drawing/2014/main" id="{88C181F6-18EF-4323-B207-A15F02CA0E27}"/>
              </a:ext>
            </a:extLst>
          </p:cNvPr>
          <p:cNvSpPr/>
          <p:nvPr/>
        </p:nvSpPr>
        <p:spPr>
          <a:xfrm>
            <a:off x="1412811" y="5946626"/>
            <a:ext cx="3090606" cy="49884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FFFFFF"/>
                </a:solidFill>
                <a:effectLst/>
                <a:uLnTx/>
                <a:uFillTx/>
                <a:latin typeface="Arial"/>
                <a:ea typeface="ＭＳ Ｐゴシック"/>
                <a:cs typeface="+mn-cs"/>
              </a:rPr>
              <a:t>Volledige commitment</a:t>
            </a:r>
          </a:p>
        </p:txBody>
      </p:sp>
      <p:sp>
        <p:nvSpPr>
          <p:cNvPr id="52" name="Rechthoek 51">
            <a:extLst>
              <a:ext uri="{FF2B5EF4-FFF2-40B4-BE49-F238E27FC236}">
                <a16:creationId xmlns:a16="http://schemas.microsoft.com/office/drawing/2014/main" id="{29879E8E-7F5C-424D-9A99-3F40132D6001}"/>
              </a:ext>
            </a:extLst>
          </p:cNvPr>
          <p:cNvSpPr/>
          <p:nvPr/>
        </p:nvSpPr>
        <p:spPr>
          <a:xfrm>
            <a:off x="4950517" y="5946626"/>
            <a:ext cx="3090606" cy="498840"/>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FFFFFF"/>
                </a:solidFill>
                <a:effectLst/>
                <a:uLnTx/>
                <a:uFillTx/>
                <a:latin typeface="Arial"/>
                <a:ea typeface="ＭＳ Ｐゴシック"/>
                <a:cs typeface="+mn-cs"/>
              </a:rPr>
              <a:t>Effectieve projectopzet</a:t>
            </a:r>
          </a:p>
        </p:txBody>
      </p:sp>
      <p:sp>
        <p:nvSpPr>
          <p:cNvPr id="54" name="Rechthoek 53">
            <a:extLst>
              <a:ext uri="{FF2B5EF4-FFF2-40B4-BE49-F238E27FC236}">
                <a16:creationId xmlns:a16="http://schemas.microsoft.com/office/drawing/2014/main" id="{A137AC91-25AE-4E42-853F-5729863779E5}"/>
              </a:ext>
            </a:extLst>
          </p:cNvPr>
          <p:cNvSpPr/>
          <p:nvPr/>
        </p:nvSpPr>
        <p:spPr>
          <a:xfrm>
            <a:off x="8488223" y="5946625"/>
            <a:ext cx="3090606" cy="535217"/>
          </a:xfrm>
          <a:prstGeom prst="rect">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400">
              <a:defRPr/>
            </a:pPr>
            <a:r>
              <a:rPr lang="nl-NL" sz="1400" b="1" dirty="0">
                <a:ea typeface="+mn-lt"/>
                <a:cs typeface="+mn-lt"/>
              </a:rPr>
              <a:t>Gezamenlijke verantwoordelijkheid</a:t>
            </a:r>
            <a:endParaRPr lang="en-US" dirty="0"/>
          </a:p>
        </p:txBody>
      </p:sp>
      <p:sp>
        <p:nvSpPr>
          <p:cNvPr id="8" name="Titel 7">
            <a:extLst>
              <a:ext uri="{FF2B5EF4-FFF2-40B4-BE49-F238E27FC236}">
                <a16:creationId xmlns:a16="http://schemas.microsoft.com/office/drawing/2014/main" id="{ADAD9F5B-E94A-7B45-8FFF-E8386BFA40AC}"/>
              </a:ext>
            </a:extLst>
          </p:cNvPr>
          <p:cNvSpPr>
            <a:spLocks noGrp="1"/>
          </p:cNvSpPr>
          <p:nvPr>
            <p:ph type="title"/>
          </p:nvPr>
        </p:nvSpPr>
        <p:spPr/>
        <p:txBody>
          <a:bodyPr/>
          <a:lstStyle/>
          <a:p>
            <a:r>
              <a:rPr lang="en-US" err="1">
                <a:solidFill>
                  <a:srgbClr val="003C54"/>
                </a:solidFill>
              </a:rPr>
              <a:t>Een</a:t>
            </a:r>
            <a:r>
              <a:rPr lang="en-US">
                <a:solidFill>
                  <a:srgbClr val="003C54"/>
                </a:solidFill>
              </a:rPr>
              <a:t> </a:t>
            </a:r>
            <a:r>
              <a:rPr lang="en-US" err="1">
                <a:solidFill>
                  <a:srgbClr val="003C54"/>
                </a:solidFill>
              </a:rPr>
              <a:t>intensief</a:t>
            </a:r>
            <a:r>
              <a:rPr lang="en-US">
                <a:solidFill>
                  <a:srgbClr val="003C54"/>
                </a:solidFill>
              </a:rPr>
              <a:t> Het </a:t>
            </a:r>
            <a:r>
              <a:rPr lang="en-US" err="1">
                <a:solidFill>
                  <a:srgbClr val="003C54"/>
                </a:solidFill>
              </a:rPr>
              <a:t>Potentieel</a:t>
            </a:r>
            <a:r>
              <a:rPr lang="en-US">
                <a:solidFill>
                  <a:srgbClr val="003C54"/>
                </a:solidFill>
              </a:rPr>
              <a:t> </a:t>
            </a:r>
            <a:r>
              <a:rPr lang="en-US" err="1">
                <a:solidFill>
                  <a:srgbClr val="003C54"/>
                </a:solidFill>
              </a:rPr>
              <a:t>Pakken</a:t>
            </a:r>
            <a:r>
              <a:rPr lang="en-US">
                <a:solidFill>
                  <a:srgbClr val="003C54"/>
                </a:solidFill>
              </a:rPr>
              <a:t> </a:t>
            </a:r>
            <a:r>
              <a:rPr lang="en-US" err="1">
                <a:solidFill>
                  <a:srgbClr val="003C54"/>
                </a:solidFill>
              </a:rPr>
              <a:t>traject</a:t>
            </a:r>
            <a:r>
              <a:rPr lang="en-US">
                <a:solidFill>
                  <a:srgbClr val="003C54"/>
                </a:solidFill>
              </a:rPr>
              <a:t> </a:t>
            </a:r>
            <a:r>
              <a:rPr lang="en-US" err="1">
                <a:solidFill>
                  <a:srgbClr val="003C54"/>
                </a:solidFill>
              </a:rPr>
              <a:t>binnen</a:t>
            </a:r>
            <a:r>
              <a:rPr lang="en-US">
                <a:solidFill>
                  <a:srgbClr val="003C54"/>
                </a:solidFill>
              </a:rPr>
              <a:t> </a:t>
            </a:r>
            <a:r>
              <a:rPr lang="en-US" err="1">
                <a:solidFill>
                  <a:srgbClr val="003C54"/>
                </a:solidFill>
              </a:rPr>
              <a:t>een</a:t>
            </a:r>
            <a:r>
              <a:rPr lang="en-US">
                <a:solidFill>
                  <a:srgbClr val="003C54"/>
                </a:solidFill>
              </a:rPr>
              <a:t> </a:t>
            </a:r>
            <a:r>
              <a:rPr lang="en-US" err="1">
                <a:solidFill>
                  <a:srgbClr val="003C54"/>
                </a:solidFill>
              </a:rPr>
              <a:t>zorginstelling</a:t>
            </a:r>
            <a:endParaRPr lang="nl-NL"/>
          </a:p>
        </p:txBody>
      </p:sp>
    </p:spTree>
    <p:custDataLst>
      <p:tags r:id="rId2"/>
    </p:custDataLst>
    <p:extLst>
      <p:ext uri="{BB962C8B-B14F-4D97-AF65-F5344CB8AC3E}">
        <p14:creationId xmlns:p14="http://schemas.microsoft.com/office/powerpoint/2010/main" val="11545918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ectangle 7">
            <a:extLst>
              <a:ext uri="{FF2B5EF4-FFF2-40B4-BE49-F238E27FC236}">
                <a16:creationId xmlns:a16="http://schemas.microsoft.com/office/drawing/2014/main" id="{C43BFA4F-126A-4347-A52A-61EF4521CF68}"/>
              </a:ext>
            </a:extLst>
          </p:cNvPr>
          <p:cNvSpPr txBox="1">
            <a:spLocks/>
          </p:cNvSpPr>
          <p:nvPr>
            <p:custDataLst>
              <p:tags r:id="rId2"/>
            </p:custDataLst>
          </p:nvPr>
        </p:nvSpPr>
        <p:spPr>
          <a:xfrm>
            <a:off x="1289433" y="1410344"/>
            <a:ext cx="10300767" cy="1603157"/>
          </a:xfrm>
          <a:prstGeom prst="rect">
            <a:avLst/>
          </a:prstGeom>
          <a:solidFill>
            <a:schemeClr val="bg2"/>
          </a:solidFill>
          <a:ln w="12700">
            <a:noFill/>
          </a:ln>
        </p:spPr>
        <p:txBody>
          <a:bodyPr vert="horz" lIns="108000" tIns="77748" rIns="900000" bIns="77748"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074738" marR="0" lvl="1" indent="-290513" algn="l" defTabSz="877533" rtl="0" eaLnBrk="1" fontAlgn="auto" latinLnBrk="0" hangingPunct="1">
              <a:lnSpc>
                <a:spcPct val="100000"/>
              </a:lnSpc>
              <a:spcBef>
                <a:spcPts val="0"/>
              </a:spcBef>
              <a:spcAft>
                <a:spcPts val="0"/>
              </a:spcAft>
              <a:buClr>
                <a:srgbClr val="003C54"/>
              </a:buClr>
              <a:buSzPct val="100000"/>
              <a:buFont typeface="Arial" pitchFamily="34" charset="0"/>
              <a:buChar char="•"/>
              <a:tabLst/>
              <a:defRPr/>
            </a:pPr>
            <a:endParaRPr kumimoji="0" lang="nl-NL" sz="1600" b="0" i="0" u="none" strike="noStrike" kern="1200" cap="none" spc="0" normalizeH="0" baseline="0" noProof="0">
              <a:ln>
                <a:noFill/>
              </a:ln>
              <a:solidFill>
                <a:srgbClr val="FF0000"/>
              </a:solidFill>
              <a:effectLst/>
              <a:uLnTx/>
              <a:uFillTx/>
              <a:latin typeface="Arial"/>
              <a:ea typeface="ＭＳ Ｐゴシック"/>
              <a:cs typeface="+mn-cs"/>
            </a:endParaRPr>
          </a:p>
        </p:txBody>
      </p:sp>
      <p:sp>
        <p:nvSpPr>
          <p:cNvPr id="96" name="Rectangle 7">
            <a:extLst>
              <a:ext uri="{FF2B5EF4-FFF2-40B4-BE49-F238E27FC236}">
                <a16:creationId xmlns:a16="http://schemas.microsoft.com/office/drawing/2014/main" id="{0366D1DF-3D06-4B19-AE90-D66E4BA2C551}"/>
              </a:ext>
            </a:extLst>
          </p:cNvPr>
          <p:cNvSpPr txBox="1">
            <a:spLocks/>
          </p:cNvSpPr>
          <p:nvPr>
            <p:custDataLst>
              <p:tags r:id="rId3"/>
            </p:custDataLst>
          </p:nvPr>
        </p:nvSpPr>
        <p:spPr>
          <a:xfrm>
            <a:off x="1289433" y="3184644"/>
            <a:ext cx="10300767" cy="1446410"/>
          </a:xfrm>
          <a:prstGeom prst="rect">
            <a:avLst/>
          </a:prstGeom>
          <a:solidFill>
            <a:schemeClr val="bg2"/>
          </a:solidFill>
          <a:ln w="12700">
            <a:noFill/>
          </a:ln>
        </p:spPr>
        <p:txBody>
          <a:bodyPr vert="horz" lIns="108000" tIns="77748" rIns="900000" bIns="77748"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074738" marR="0" lvl="1" indent="-290513" algn="l" defTabSz="877533" rtl="0" eaLnBrk="1" fontAlgn="auto" latinLnBrk="0" hangingPunct="1">
              <a:lnSpc>
                <a:spcPct val="100000"/>
              </a:lnSpc>
              <a:spcBef>
                <a:spcPts val="0"/>
              </a:spcBef>
              <a:spcAft>
                <a:spcPts val="0"/>
              </a:spcAft>
              <a:buClr>
                <a:srgbClr val="003C54"/>
              </a:buClr>
              <a:buSzPct val="100000"/>
              <a:buFont typeface="Arial" pitchFamily="34" charset="0"/>
              <a:buChar char="•"/>
              <a:tabLst/>
              <a:defRPr/>
            </a:pPr>
            <a:endParaRPr kumimoji="0" lang="nl-NL" sz="1600" b="0" i="0" u="none" strike="noStrike" kern="1200" cap="none" spc="0" normalizeH="0" baseline="0" noProof="0">
              <a:ln>
                <a:noFill/>
              </a:ln>
              <a:solidFill>
                <a:srgbClr val="FF0000"/>
              </a:solidFill>
              <a:effectLst/>
              <a:uLnTx/>
              <a:uFillTx/>
              <a:latin typeface="Arial"/>
              <a:ea typeface="ＭＳ Ｐゴシック"/>
              <a:cs typeface="+mn-cs"/>
            </a:endParaRPr>
          </a:p>
        </p:txBody>
      </p:sp>
      <p:graphicFrame>
        <p:nvGraphicFramePr>
          <p:cNvPr id="4" name="Object 3" hidden="1">
            <a:extLst>
              <a:ext uri="{FF2B5EF4-FFF2-40B4-BE49-F238E27FC236}">
                <a16:creationId xmlns:a16="http://schemas.microsoft.com/office/drawing/2014/main" id="{EE09FEDD-0DFA-462E-BC8E-806956F1BF67}"/>
              </a:ext>
            </a:extLst>
          </p:cNvPr>
          <p:cNvGraphicFramePr>
            <a:graphicFrameLocks noChangeAspect="1"/>
          </p:cNvGraphicFramePr>
          <p:nvPr>
            <p:custDataLst>
              <p:tags r:id="rId4"/>
            </p:custDataLst>
          </p:nvPr>
        </p:nvGraphicFramePr>
        <p:xfrm>
          <a:off x="1711" y="1621"/>
          <a:ext cx="1620" cy="1620"/>
        </p:xfrm>
        <a:graphic>
          <a:graphicData uri="http://schemas.openxmlformats.org/presentationml/2006/ole">
            <mc:AlternateContent xmlns:mc="http://schemas.openxmlformats.org/markup-compatibility/2006">
              <mc:Choice xmlns:v="urn:schemas-microsoft-com:vml" Requires="v">
                <p:oleObj spid="_x0000_s22530" name="think-cell Slide" r:id="rId11" imgW="225" imgH="225" progId="TCLayout.ActiveDocument.1">
                  <p:embed/>
                </p:oleObj>
              </mc:Choice>
              <mc:Fallback>
                <p:oleObj name="think-cell Slide" r:id="rId11" imgW="225" imgH="225" progId="TCLayout.ActiveDocument.1">
                  <p:embed/>
                  <p:pic>
                    <p:nvPicPr>
                      <p:cNvPr id="4" name="Object 3" hidden="1">
                        <a:extLst>
                          <a:ext uri="{FF2B5EF4-FFF2-40B4-BE49-F238E27FC236}">
                            <a16:creationId xmlns:a16="http://schemas.microsoft.com/office/drawing/2014/main" id="{EE09FEDD-0DFA-462E-BC8E-806956F1BF67}"/>
                          </a:ext>
                        </a:extLst>
                      </p:cNvPr>
                      <p:cNvPicPr/>
                      <p:nvPr/>
                    </p:nvPicPr>
                    <p:blipFill>
                      <a:blip r:embed="rId12"/>
                      <a:stretch>
                        <a:fillRect/>
                      </a:stretch>
                    </p:blipFill>
                    <p:spPr>
                      <a:xfrm>
                        <a:off x="1711" y="1621"/>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178BB0E-3D2D-4065-AD99-9C53C2680E58}"/>
              </a:ext>
            </a:extLst>
          </p:cNvPr>
          <p:cNvSpPr/>
          <p:nvPr>
            <p:custDataLst>
              <p:tags r:id="rId5"/>
            </p:custDataLst>
          </p:nvPr>
        </p:nvSpPr>
        <p:spPr>
          <a:xfrm>
            <a:off x="90" y="1"/>
            <a:ext cx="161974" cy="161974"/>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2857" b="0" i="0" u="none" strike="noStrike" kern="1200" cap="none" spc="0" normalizeH="0" baseline="0" noProof="0" err="1">
              <a:ln>
                <a:noFill/>
              </a:ln>
              <a:solidFill>
                <a:srgbClr val="000000"/>
              </a:solidFill>
              <a:effectLst/>
              <a:uLnTx/>
              <a:uFillTx/>
              <a:latin typeface="Andada" panose="02000000000000000000" pitchFamily="50" charset="0"/>
              <a:ea typeface="ＭＳ Ｐゴシック" panose="020B0600070205080204" pitchFamily="34" charset="-128"/>
              <a:cs typeface="+mn-cs"/>
              <a:sym typeface="Andada" panose="02000000000000000000" pitchFamily="50" charset="0"/>
            </a:endParaRPr>
          </a:p>
        </p:txBody>
      </p:sp>
      <p:sp>
        <p:nvSpPr>
          <p:cNvPr id="84" name="Rectangle 7">
            <a:extLst>
              <a:ext uri="{FF2B5EF4-FFF2-40B4-BE49-F238E27FC236}">
                <a16:creationId xmlns:a16="http://schemas.microsoft.com/office/drawing/2014/main" id="{6D52FE91-71F4-8145-9F2B-4D7961464123}"/>
              </a:ext>
            </a:extLst>
          </p:cNvPr>
          <p:cNvSpPr txBox="1">
            <a:spLocks/>
          </p:cNvSpPr>
          <p:nvPr>
            <p:custDataLst>
              <p:tags r:id="rId6"/>
            </p:custDataLst>
          </p:nvPr>
        </p:nvSpPr>
        <p:spPr>
          <a:xfrm>
            <a:off x="1341069" y="4815772"/>
            <a:ext cx="10300767" cy="1446410"/>
          </a:xfrm>
          <a:prstGeom prst="rect">
            <a:avLst/>
          </a:prstGeom>
          <a:solidFill>
            <a:schemeClr val="bg2"/>
          </a:solidFill>
          <a:ln w="12700">
            <a:noFill/>
          </a:ln>
        </p:spPr>
        <p:txBody>
          <a:bodyPr vert="horz" lIns="108000" tIns="77748" rIns="900000" bIns="77748"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074738" marR="0" lvl="1" indent="-290513" algn="l" defTabSz="877533" rtl="0" eaLnBrk="1" fontAlgn="auto" latinLnBrk="0" hangingPunct="1">
              <a:lnSpc>
                <a:spcPct val="100000"/>
              </a:lnSpc>
              <a:spcBef>
                <a:spcPts val="0"/>
              </a:spcBef>
              <a:spcAft>
                <a:spcPts val="0"/>
              </a:spcAft>
              <a:buClr>
                <a:srgbClr val="003C54"/>
              </a:buClr>
              <a:buSzPct val="100000"/>
              <a:buFont typeface="Arial" pitchFamily="34" charset="0"/>
              <a:buChar char="•"/>
              <a:tabLst/>
              <a:defRPr/>
            </a:pPr>
            <a:endParaRPr kumimoji="0" lang="nl-NL" sz="1600" b="0" i="0" u="none" strike="noStrike" kern="1200" cap="none" spc="0" normalizeH="0" baseline="0" noProof="0">
              <a:ln>
                <a:noFill/>
              </a:ln>
              <a:solidFill>
                <a:srgbClr val="FF0000"/>
              </a:solidFill>
              <a:effectLst/>
              <a:uLnTx/>
              <a:uFillTx/>
              <a:latin typeface="Arial"/>
              <a:ea typeface="ＭＳ Ｐゴシック"/>
              <a:cs typeface="+mn-cs"/>
            </a:endParaRPr>
          </a:p>
        </p:txBody>
      </p:sp>
      <p:sp>
        <p:nvSpPr>
          <p:cNvPr id="34" name="Stroomdiagram: Verbindingslijn 33">
            <a:extLst>
              <a:ext uri="{FF2B5EF4-FFF2-40B4-BE49-F238E27FC236}">
                <a16:creationId xmlns:a16="http://schemas.microsoft.com/office/drawing/2014/main" id="{9E58A975-2913-423C-85B4-24E11BF95412}"/>
              </a:ext>
            </a:extLst>
          </p:cNvPr>
          <p:cNvSpPr/>
          <p:nvPr/>
        </p:nvSpPr>
        <p:spPr>
          <a:xfrm>
            <a:off x="548755" y="4818420"/>
            <a:ext cx="1584000" cy="1584000"/>
          </a:xfrm>
          <a:prstGeom prst="flowChartConnector">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err="1">
              <a:ln>
                <a:noFill/>
              </a:ln>
              <a:solidFill>
                <a:srgbClr val="000000"/>
              </a:solidFill>
              <a:effectLst/>
              <a:uLnTx/>
              <a:uFillTx/>
              <a:latin typeface="Arial"/>
              <a:ea typeface="ＭＳ Ｐゴシック"/>
              <a:cs typeface="+mn-cs"/>
            </a:endParaRPr>
          </a:p>
        </p:txBody>
      </p:sp>
      <p:grpSp>
        <p:nvGrpSpPr>
          <p:cNvPr id="8" name="CustomIcon">
            <a:extLst>
              <a:ext uri="{FF2B5EF4-FFF2-40B4-BE49-F238E27FC236}">
                <a16:creationId xmlns:a16="http://schemas.microsoft.com/office/drawing/2014/main" id="{3C5D88E8-9B2F-459D-901B-59E6E4211CD1}"/>
              </a:ext>
            </a:extLst>
          </p:cNvPr>
          <p:cNvGrpSpPr>
            <a:grpSpLocks noChangeAspect="1"/>
          </p:cNvGrpSpPr>
          <p:nvPr>
            <p:custDataLst>
              <p:tags r:id="rId7"/>
            </p:custDataLst>
          </p:nvPr>
        </p:nvGrpSpPr>
        <p:grpSpPr>
          <a:xfrm>
            <a:off x="996272" y="5117800"/>
            <a:ext cx="645914" cy="626930"/>
            <a:chOff x="1588" y="-1588"/>
            <a:chExt cx="4645025" cy="4508501"/>
          </a:xfrm>
          <a:solidFill>
            <a:schemeClr val="accent4"/>
          </a:solidFill>
        </p:grpSpPr>
        <p:sp>
          <p:nvSpPr>
            <p:cNvPr id="10" name="Freeform 6">
              <a:extLst>
                <a:ext uri="{FF2B5EF4-FFF2-40B4-BE49-F238E27FC236}">
                  <a16:creationId xmlns:a16="http://schemas.microsoft.com/office/drawing/2014/main" id="{10B06A76-D52F-40E3-B7B1-6D98C45F8E5C}"/>
                </a:ext>
              </a:extLst>
            </p:cNvPr>
            <p:cNvSpPr>
              <a:spLocks noEditPoints="1"/>
            </p:cNvSpPr>
            <p:nvPr/>
          </p:nvSpPr>
          <p:spPr bwMode="auto">
            <a:xfrm>
              <a:off x="1588" y="-1588"/>
              <a:ext cx="4645025" cy="4508501"/>
            </a:xfrm>
            <a:custGeom>
              <a:avLst/>
              <a:gdLst>
                <a:gd name="T0" fmla="*/ 2961 w 3204"/>
                <a:gd name="T1" fmla="*/ 2966 h 3106"/>
                <a:gd name="T2" fmla="*/ 2891 w 3204"/>
                <a:gd name="T3" fmla="*/ 1182 h 3106"/>
                <a:gd name="T4" fmla="*/ 2041 w 3204"/>
                <a:gd name="T5" fmla="*/ 70 h 3106"/>
                <a:gd name="T6" fmla="*/ 769 w 3204"/>
                <a:gd name="T7" fmla="*/ 0 h 3106"/>
                <a:gd name="T8" fmla="*/ 699 w 3204"/>
                <a:gd name="T9" fmla="*/ 438 h 3106"/>
                <a:gd name="T10" fmla="*/ 241 w 3204"/>
                <a:gd name="T11" fmla="*/ 702 h 3106"/>
                <a:gd name="T12" fmla="*/ 70 w 3204"/>
                <a:gd name="T13" fmla="*/ 2966 h 3106"/>
                <a:gd name="T14" fmla="*/ 70 w 3204"/>
                <a:gd name="T15" fmla="*/ 3106 h 3106"/>
                <a:gd name="T16" fmla="*/ 3204 w 3204"/>
                <a:gd name="T17" fmla="*/ 3036 h 3106"/>
                <a:gd name="T18" fmla="*/ 1901 w 3204"/>
                <a:gd name="T19" fmla="*/ 726 h 3106"/>
                <a:gd name="T20" fmla="*/ 1431 w 3204"/>
                <a:gd name="T21" fmla="*/ 974 h 3106"/>
                <a:gd name="T22" fmla="*/ 1901 w 3204"/>
                <a:gd name="T23" fmla="*/ 726 h 3106"/>
                <a:gd name="T24" fmla="*/ 1431 w 3204"/>
                <a:gd name="T25" fmla="*/ 1751 h 3106"/>
                <a:gd name="T26" fmla="*/ 1681 w 3204"/>
                <a:gd name="T27" fmla="*/ 1503 h 3106"/>
                <a:gd name="T28" fmla="*/ 1431 w 3204"/>
                <a:gd name="T29" fmla="*/ 1891 h 3106"/>
                <a:gd name="T30" fmla="*/ 1681 w 3204"/>
                <a:gd name="T31" fmla="*/ 2966 h 3106"/>
                <a:gd name="T32" fmla="*/ 1431 w 3204"/>
                <a:gd name="T33" fmla="*/ 1891 h 3106"/>
                <a:gd name="T34" fmla="*/ 1821 w 3204"/>
                <a:gd name="T35" fmla="*/ 2962 h 3106"/>
                <a:gd name="T36" fmla="*/ 2821 w 3204"/>
                <a:gd name="T37" fmla="*/ 1322 h 3106"/>
                <a:gd name="T38" fmla="*/ 1751 w 3204"/>
                <a:gd name="T39" fmla="*/ 1182 h 3106"/>
                <a:gd name="T40" fmla="*/ 1681 w 3204"/>
                <a:gd name="T41" fmla="*/ 1363 h 3106"/>
                <a:gd name="T42" fmla="*/ 1431 w 3204"/>
                <a:gd name="T43" fmla="*/ 1114 h 3106"/>
                <a:gd name="T44" fmla="*/ 1901 w 3204"/>
                <a:gd name="T45" fmla="*/ 1182 h 3106"/>
                <a:gd name="T46" fmla="*/ 839 w 3204"/>
                <a:gd name="T47" fmla="*/ 140 h 3106"/>
                <a:gd name="T48" fmla="*/ 1901 w 3204"/>
                <a:gd name="T49" fmla="*/ 586 h 3106"/>
                <a:gd name="T50" fmla="*/ 1175 w 3204"/>
                <a:gd name="T51" fmla="*/ 438 h 3106"/>
                <a:gd name="T52" fmla="*/ 839 w 3204"/>
                <a:gd name="T53" fmla="*/ 140 h 3106"/>
                <a:gd name="T54" fmla="*/ 497 w 3204"/>
                <a:gd name="T55" fmla="*/ 578 h 3106"/>
                <a:gd name="T56" fmla="*/ 1291 w 3204"/>
                <a:gd name="T57" fmla="*/ 702 h 3106"/>
                <a:gd name="T58" fmla="*/ 1113 w 3204"/>
                <a:gd name="T59" fmla="*/ 2966 h 3106"/>
                <a:gd name="T60" fmla="*/ 573 w 3204"/>
                <a:gd name="T61" fmla="*/ 2442 h 3106"/>
                <a:gd name="T62" fmla="*/ 381 w 3204"/>
                <a:gd name="T63" fmla="*/ 2966 h 3106"/>
                <a:gd name="T64" fmla="*/ 713 w 3204"/>
                <a:gd name="T65" fmla="*/ 2962 h 3106"/>
                <a:gd name="T66" fmla="*/ 973 w 3204"/>
                <a:gd name="T67" fmla="*/ 2582 h 3106"/>
                <a:gd name="T68" fmla="*/ 713 w 3204"/>
                <a:gd name="T69" fmla="*/ 2962 h 3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4" h="3106">
                  <a:moveTo>
                    <a:pt x="3134" y="2966"/>
                  </a:moveTo>
                  <a:cubicBezTo>
                    <a:pt x="2961" y="2966"/>
                    <a:pt x="2961" y="2966"/>
                    <a:pt x="2961" y="2966"/>
                  </a:cubicBezTo>
                  <a:cubicBezTo>
                    <a:pt x="2961" y="1252"/>
                    <a:pt x="2961" y="1252"/>
                    <a:pt x="2961" y="1252"/>
                  </a:cubicBezTo>
                  <a:cubicBezTo>
                    <a:pt x="2961" y="1213"/>
                    <a:pt x="2930" y="1182"/>
                    <a:pt x="2891" y="1182"/>
                  </a:cubicBezTo>
                  <a:cubicBezTo>
                    <a:pt x="2041" y="1182"/>
                    <a:pt x="2041" y="1182"/>
                    <a:pt x="2041" y="1182"/>
                  </a:cubicBezTo>
                  <a:cubicBezTo>
                    <a:pt x="2041" y="70"/>
                    <a:pt x="2041" y="70"/>
                    <a:pt x="2041" y="70"/>
                  </a:cubicBezTo>
                  <a:cubicBezTo>
                    <a:pt x="2041" y="31"/>
                    <a:pt x="2009" y="0"/>
                    <a:pt x="1971" y="0"/>
                  </a:cubicBezTo>
                  <a:cubicBezTo>
                    <a:pt x="769" y="0"/>
                    <a:pt x="769" y="0"/>
                    <a:pt x="769" y="0"/>
                  </a:cubicBezTo>
                  <a:cubicBezTo>
                    <a:pt x="730" y="0"/>
                    <a:pt x="699" y="31"/>
                    <a:pt x="699" y="70"/>
                  </a:cubicBezTo>
                  <a:cubicBezTo>
                    <a:pt x="699" y="438"/>
                    <a:pt x="699" y="438"/>
                    <a:pt x="699" y="438"/>
                  </a:cubicBezTo>
                  <a:cubicBezTo>
                    <a:pt x="497" y="438"/>
                    <a:pt x="497" y="438"/>
                    <a:pt x="497" y="438"/>
                  </a:cubicBezTo>
                  <a:cubicBezTo>
                    <a:pt x="356" y="438"/>
                    <a:pt x="241" y="556"/>
                    <a:pt x="241" y="702"/>
                  </a:cubicBezTo>
                  <a:cubicBezTo>
                    <a:pt x="241" y="2966"/>
                    <a:pt x="241" y="2966"/>
                    <a:pt x="241" y="2966"/>
                  </a:cubicBezTo>
                  <a:cubicBezTo>
                    <a:pt x="70" y="2966"/>
                    <a:pt x="70" y="2966"/>
                    <a:pt x="70" y="2966"/>
                  </a:cubicBezTo>
                  <a:cubicBezTo>
                    <a:pt x="31" y="2966"/>
                    <a:pt x="0" y="2997"/>
                    <a:pt x="0" y="3036"/>
                  </a:cubicBezTo>
                  <a:cubicBezTo>
                    <a:pt x="0" y="3075"/>
                    <a:pt x="31" y="3106"/>
                    <a:pt x="70" y="3106"/>
                  </a:cubicBezTo>
                  <a:cubicBezTo>
                    <a:pt x="3134" y="3106"/>
                    <a:pt x="3134" y="3106"/>
                    <a:pt x="3134" y="3106"/>
                  </a:cubicBezTo>
                  <a:cubicBezTo>
                    <a:pt x="3173" y="3106"/>
                    <a:pt x="3204" y="3075"/>
                    <a:pt x="3204" y="3036"/>
                  </a:cubicBezTo>
                  <a:cubicBezTo>
                    <a:pt x="3204" y="2997"/>
                    <a:pt x="3173" y="2966"/>
                    <a:pt x="3134" y="2966"/>
                  </a:cubicBezTo>
                  <a:close/>
                  <a:moveTo>
                    <a:pt x="1901" y="726"/>
                  </a:moveTo>
                  <a:cubicBezTo>
                    <a:pt x="1901" y="974"/>
                    <a:pt x="1901" y="974"/>
                    <a:pt x="1901" y="974"/>
                  </a:cubicBezTo>
                  <a:cubicBezTo>
                    <a:pt x="1431" y="974"/>
                    <a:pt x="1431" y="974"/>
                    <a:pt x="1431" y="974"/>
                  </a:cubicBezTo>
                  <a:cubicBezTo>
                    <a:pt x="1431" y="726"/>
                    <a:pt x="1431" y="726"/>
                    <a:pt x="1431" y="726"/>
                  </a:cubicBezTo>
                  <a:lnTo>
                    <a:pt x="1901" y="726"/>
                  </a:lnTo>
                  <a:close/>
                  <a:moveTo>
                    <a:pt x="1681" y="1751"/>
                  </a:moveTo>
                  <a:cubicBezTo>
                    <a:pt x="1431" y="1751"/>
                    <a:pt x="1431" y="1751"/>
                    <a:pt x="1431" y="1751"/>
                  </a:cubicBezTo>
                  <a:cubicBezTo>
                    <a:pt x="1431" y="1503"/>
                    <a:pt x="1431" y="1503"/>
                    <a:pt x="1431" y="1503"/>
                  </a:cubicBezTo>
                  <a:cubicBezTo>
                    <a:pt x="1681" y="1503"/>
                    <a:pt x="1681" y="1503"/>
                    <a:pt x="1681" y="1503"/>
                  </a:cubicBezTo>
                  <a:lnTo>
                    <a:pt x="1681" y="1751"/>
                  </a:lnTo>
                  <a:close/>
                  <a:moveTo>
                    <a:pt x="1431" y="1891"/>
                  </a:moveTo>
                  <a:cubicBezTo>
                    <a:pt x="1681" y="1891"/>
                    <a:pt x="1681" y="1891"/>
                    <a:pt x="1681" y="1891"/>
                  </a:cubicBezTo>
                  <a:cubicBezTo>
                    <a:pt x="1681" y="2966"/>
                    <a:pt x="1681" y="2966"/>
                    <a:pt x="1681" y="2966"/>
                  </a:cubicBezTo>
                  <a:cubicBezTo>
                    <a:pt x="1431" y="2966"/>
                    <a:pt x="1431" y="2966"/>
                    <a:pt x="1431" y="2966"/>
                  </a:cubicBezTo>
                  <a:lnTo>
                    <a:pt x="1431" y="1891"/>
                  </a:lnTo>
                  <a:close/>
                  <a:moveTo>
                    <a:pt x="2821" y="2962"/>
                  </a:moveTo>
                  <a:cubicBezTo>
                    <a:pt x="1821" y="2962"/>
                    <a:pt x="1821" y="2962"/>
                    <a:pt x="1821" y="2962"/>
                  </a:cubicBezTo>
                  <a:cubicBezTo>
                    <a:pt x="1821" y="1322"/>
                    <a:pt x="1821" y="1322"/>
                    <a:pt x="1821" y="1322"/>
                  </a:cubicBezTo>
                  <a:cubicBezTo>
                    <a:pt x="2821" y="1322"/>
                    <a:pt x="2821" y="1322"/>
                    <a:pt x="2821" y="1322"/>
                  </a:cubicBezTo>
                  <a:lnTo>
                    <a:pt x="2821" y="2962"/>
                  </a:lnTo>
                  <a:close/>
                  <a:moveTo>
                    <a:pt x="1751" y="1182"/>
                  </a:moveTo>
                  <a:cubicBezTo>
                    <a:pt x="1712" y="1182"/>
                    <a:pt x="1681" y="1213"/>
                    <a:pt x="1681" y="1252"/>
                  </a:cubicBezTo>
                  <a:cubicBezTo>
                    <a:pt x="1681" y="1363"/>
                    <a:pt x="1681" y="1363"/>
                    <a:pt x="1681" y="1363"/>
                  </a:cubicBezTo>
                  <a:cubicBezTo>
                    <a:pt x="1431" y="1363"/>
                    <a:pt x="1431" y="1363"/>
                    <a:pt x="1431" y="1363"/>
                  </a:cubicBezTo>
                  <a:cubicBezTo>
                    <a:pt x="1431" y="1114"/>
                    <a:pt x="1431" y="1114"/>
                    <a:pt x="1431" y="1114"/>
                  </a:cubicBezTo>
                  <a:cubicBezTo>
                    <a:pt x="1901" y="1114"/>
                    <a:pt x="1901" y="1114"/>
                    <a:pt x="1901" y="1114"/>
                  </a:cubicBezTo>
                  <a:cubicBezTo>
                    <a:pt x="1901" y="1182"/>
                    <a:pt x="1901" y="1182"/>
                    <a:pt x="1901" y="1182"/>
                  </a:cubicBezTo>
                  <a:lnTo>
                    <a:pt x="1751" y="1182"/>
                  </a:lnTo>
                  <a:close/>
                  <a:moveTo>
                    <a:pt x="839" y="140"/>
                  </a:moveTo>
                  <a:cubicBezTo>
                    <a:pt x="1901" y="140"/>
                    <a:pt x="1901" y="140"/>
                    <a:pt x="1901" y="140"/>
                  </a:cubicBezTo>
                  <a:cubicBezTo>
                    <a:pt x="1901" y="586"/>
                    <a:pt x="1901" y="586"/>
                    <a:pt x="1901" y="586"/>
                  </a:cubicBezTo>
                  <a:cubicBezTo>
                    <a:pt x="1405" y="586"/>
                    <a:pt x="1405" y="586"/>
                    <a:pt x="1405" y="586"/>
                  </a:cubicBezTo>
                  <a:cubicBezTo>
                    <a:pt x="1363" y="498"/>
                    <a:pt x="1276" y="438"/>
                    <a:pt x="1175" y="438"/>
                  </a:cubicBezTo>
                  <a:cubicBezTo>
                    <a:pt x="839" y="438"/>
                    <a:pt x="839" y="438"/>
                    <a:pt x="839" y="438"/>
                  </a:cubicBezTo>
                  <a:lnTo>
                    <a:pt x="839" y="140"/>
                  </a:lnTo>
                  <a:close/>
                  <a:moveTo>
                    <a:pt x="381" y="702"/>
                  </a:moveTo>
                  <a:cubicBezTo>
                    <a:pt x="381" y="634"/>
                    <a:pt x="433" y="578"/>
                    <a:pt x="497" y="578"/>
                  </a:cubicBezTo>
                  <a:cubicBezTo>
                    <a:pt x="1175" y="578"/>
                    <a:pt x="1175" y="578"/>
                    <a:pt x="1175" y="578"/>
                  </a:cubicBezTo>
                  <a:cubicBezTo>
                    <a:pt x="1239" y="578"/>
                    <a:pt x="1291" y="634"/>
                    <a:pt x="1291" y="702"/>
                  </a:cubicBezTo>
                  <a:cubicBezTo>
                    <a:pt x="1291" y="2966"/>
                    <a:pt x="1291" y="2966"/>
                    <a:pt x="1291" y="2966"/>
                  </a:cubicBezTo>
                  <a:cubicBezTo>
                    <a:pt x="1113" y="2966"/>
                    <a:pt x="1113" y="2966"/>
                    <a:pt x="1113" y="2966"/>
                  </a:cubicBezTo>
                  <a:cubicBezTo>
                    <a:pt x="1113" y="2442"/>
                    <a:pt x="1113" y="2442"/>
                    <a:pt x="1113" y="2442"/>
                  </a:cubicBezTo>
                  <a:cubicBezTo>
                    <a:pt x="573" y="2442"/>
                    <a:pt x="573" y="2442"/>
                    <a:pt x="573" y="2442"/>
                  </a:cubicBezTo>
                  <a:cubicBezTo>
                    <a:pt x="573" y="2966"/>
                    <a:pt x="573" y="2966"/>
                    <a:pt x="573" y="2966"/>
                  </a:cubicBezTo>
                  <a:cubicBezTo>
                    <a:pt x="381" y="2966"/>
                    <a:pt x="381" y="2966"/>
                    <a:pt x="381" y="2966"/>
                  </a:cubicBezTo>
                  <a:lnTo>
                    <a:pt x="381" y="702"/>
                  </a:lnTo>
                  <a:close/>
                  <a:moveTo>
                    <a:pt x="713" y="2962"/>
                  </a:moveTo>
                  <a:cubicBezTo>
                    <a:pt x="713" y="2582"/>
                    <a:pt x="713" y="2582"/>
                    <a:pt x="713" y="2582"/>
                  </a:cubicBezTo>
                  <a:cubicBezTo>
                    <a:pt x="973" y="2582"/>
                    <a:pt x="973" y="2582"/>
                    <a:pt x="973" y="2582"/>
                  </a:cubicBezTo>
                  <a:cubicBezTo>
                    <a:pt x="973" y="2962"/>
                    <a:pt x="973" y="2962"/>
                    <a:pt x="973" y="2962"/>
                  </a:cubicBezTo>
                  <a:lnTo>
                    <a:pt x="713" y="2962"/>
                  </a:lnTo>
                  <a:close/>
                </a:path>
              </a:pathLst>
            </a:custGeom>
            <a:grpFill/>
            <a:ln w="0" cap="flat" cmpd="sng" algn="ctr">
              <a:solidFill>
                <a:schemeClr val="accent3">
                  <a:alpha val="0"/>
                </a:schemeClr>
              </a:solidFill>
              <a:prstDash val="solid"/>
              <a:round/>
              <a:headEnd type="none" w="med" len="med"/>
              <a:tailEnd type="none" w="med" len="med"/>
            </a:ln>
          </p:spPr>
          <p:txBody>
            <a:bodyPr vert="horz" wrap="square" lIns="93297" tIns="46649" rIns="93297" bIns="46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1" name="Rectangle 7">
              <a:extLst>
                <a:ext uri="{FF2B5EF4-FFF2-40B4-BE49-F238E27FC236}">
                  <a16:creationId xmlns:a16="http://schemas.microsoft.com/office/drawing/2014/main" id="{8D177707-BED6-49DA-9FBD-D4FCE4580422}"/>
                </a:ext>
              </a:extLst>
            </p:cNvPr>
            <p:cNvSpPr>
              <a:spLocks noChangeArrowheads="1"/>
            </p:cNvSpPr>
            <p:nvPr/>
          </p:nvSpPr>
          <p:spPr bwMode="auto">
            <a:xfrm>
              <a:off x="2970213" y="2178050"/>
              <a:ext cx="257175" cy="255588"/>
            </a:xfrm>
            <a:prstGeom prst="rect">
              <a:avLst/>
            </a:prstGeom>
            <a:grpFill/>
            <a:ln w="0" cap="flat" cmpd="sng" algn="ctr">
              <a:solidFill>
                <a:schemeClr val="accent3">
                  <a:alpha val="0"/>
                </a:schemeClr>
              </a:solidFill>
              <a:prstDash val="solid"/>
              <a:miter lim="800000"/>
              <a:headEnd type="none" w="med" len="med"/>
              <a:tailEnd type="none" w="med" len="med"/>
            </a:ln>
          </p:spPr>
          <p:txBody>
            <a:bodyPr vert="horz" wrap="square" lIns="93297" tIns="46649" rIns="93297" bIns="46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2" name="Rectangle 8">
              <a:extLst>
                <a:ext uri="{FF2B5EF4-FFF2-40B4-BE49-F238E27FC236}">
                  <a16:creationId xmlns:a16="http://schemas.microsoft.com/office/drawing/2014/main" id="{E94656A2-C68D-44EC-9E5F-A248B2FC7073}"/>
                </a:ext>
              </a:extLst>
            </p:cNvPr>
            <p:cNvSpPr>
              <a:spLocks noChangeArrowheads="1"/>
            </p:cNvSpPr>
            <p:nvPr/>
          </p:nvSpPr>
          <p:spPr bwMode="auto">
            <a:xfrm>
              <a:off x="3525838" y="2178050"/>
              <a:ext cx="257175" cy="255588"/>
            </a:xfrm>
            <a:prstGeom prst="rect">
              <a:avLst/>
            </a:prstGeom>
            <a:grpFill/>
            <a:ln w="0" cap="flat" cmpd="sng" algn="ctr">
              <a:solidFill>
                <a:schemeClr val="accent3">
                  <a:alpha val="0"/>
                </a:schemeClr>
              </a:solidFill>
              <a:prstDash val="solid"/>
              <a:miter lim="800000"/>
              <a:headEnd type="none" w="med" len="med"/>
              <a:tailEnd type="none" w="med" len="med"/>
            </a:ln>
          </p:spPr>
          <p:txBody>
            <a:bodyPr vert="horz" wrap="square" lIns="93297" tIns="46649" rIns="93297" bIns="46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3" name="Rectangle 9">
              <a:extLst>
                <a:ext uri="{FF2B5EF4-FFF2-40B4-BE49-F238E27FC236}">
                  <a16:creationId xmlns:a16="http://schemas.microsoft.com/office/drawing/2014/main" id="{C0B28CC2-ADBC-4A2D-85C2-70FBDDE3884A}"/>
                </a:ext>
              </a:extLst>
            </p:cNvPr>
            <p:cNvSpPr>
              <a:spLocks noChangeArrowheads="1"/>
            </p:cNvSpPr>
            <p:nvPr/>
          </p:nvSpPr>
          <p:spPr bwMode="auto">
            <a:xfrm>
              <a:off x="846138" y="1146175"/>
              <a:ext cx="257175" cy="257175"/>
            </a:xfrm>
            <a:prstGeom prst="rect">
              <a:avLst/>
            </a:prstGeom>
            <a:grpFill/>
            <a:ln w="0" cap="flat" cmpd="sng" algn="ctr">
              <a:solidFill>
                <a:schemeClr val="accent3">
                  <a:alpha val="0"/>
                </a:schemeClr>
              </a:solidFill>
              <a:prstDash val="solid"/>
              <a:miter lim="800000"/>
              <a:headEnd type="none" w="med" len="med"/>
              <a:tailEnd type="none" w="med" len="med"/>
            </a:ln>
          </p:spPr>
          <p:txBody>
            <a:bodyPr vert="horz" wrap="square" lIns="93297" tIns="46649" rIns="93297" bIns="46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4" name="Rectangle 10">
              <a:extLst>
                <a:ext uri="{FF2B5EF4-FFF2-40B4-BE49-F238E27FC236}">
                  <a16:creationId xmlns:a16="http://schemas.microsoft.com/office/drawing/2014/main" id="{C5E35241-2186-4A1D-8A33-1FC4799ABF7A}"/>
                </a:ext>
              </a:extLst>
            </p:cNvPr>
            <p:cNvSpPr>
              <a:spLocks noChangeArrowheads="1"/>
            </p:cNvSpPr>
            <p:nvPr/>
          </p:nvSpPr>
          <p:spPr bwMode="auto">
            <a:xfrm>
              <a:off x="1328738" y="1146175"/>
              <a:ext cx="257175" cy="257175"/>
            </a:xfrm>
            <a:prstGeom prst="rect">
              <a:avLst/>
            </a:prstGeom>
            <a:grpFill/>
            <a:ln w="0" cap="flat" cmpd="sng" algn="ctr">
              <a:solidFill>
                <a:schemeClr val="accent3">
                  <a:alpha val="0"/>
                </a:schemeClr>
              </a:solidFill>
              <a:prstDash val="solid"/>
              <a:miter lim="800000"/>
              <a:headEnd type="none" w="med" len="med"/>
              <a:tailEnd type="none" w="med" len="med"/>
            </a:ln>
          </p:spPr>
          <p:txBody>
            <a:bodyPr vert="horz" wrap="square" lIns="93297" tIns="46649" rIns="93297" bIns="46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5" name="Rectangle 11">
              <a:extLst>
                <a:ext uri="{FF2B5EF4-FFF2-40B4-BE49-F238E27FC236}">
                  <a16:creationId xmlns:a16="http://schemas.microsoft.com/office/drawing/2014/main" id="{670891C2-9552-4221-84B8-E52D380188D2}"/>
                </a:ext>
              </a:extLst>
            </p:cNvPr>
            <p:cNvSpPr>
              <a:spLocks noChangeArrowheads="1"/>
            </p:cNvSpPr>
            <p:nvPr/>
          </p:nvSpPr>
          <p:spPr bwMode="auto">
            <a:xfrm>
              <a:off x="2970213" y="2692400"/>
              <a:ext cx="257175" cy="257175"/>
            </a:xfrm>
            <a:prstGeom prst="rect">
              <a:avLst/>
            </a:prstGeom>
            <a:grpFill/>
            <a:ln w="0" cap="flat" cmpd="sng" algn="ctr">
              <a:solidFill>
                <a:schemeClr val="accent3">
                  <a:alpha val="0"/>
                </a:schemeClr>
              </a:solidFill>
              <a:prstDash val="solid"/>
              <a:miter lim="800000"/>
              <a:headEnd type="none" w="med" len="med"/>
              <a:tailEnd type="none" w="med" len="med"/>
            </a:ln>
          </p:spPr>
          <p:txBody>
            <a:bodyPr vert="horz" wrap="square" lIns="93297" tIns="46649" rIns="93297" bIns="46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6" name="Rectangle 12">
              <a:extLst>
                <a:ext uri="{FF2B5EF4-FFF2-40B4-BE49-F238E27FC236}">
                  <a16:creationId xmlns:a16="http://schemas.microsoft.com/office/drawing/2014/main" id="{D0759CF4-7DC5-465C-B884-69BAF7BA6082}"/>
                </a:ext>
              </a:extLst>
            </p:cNvPr>
            <p:cNvSpPr>
              <a:spLocks noChangeArrowheads="1"/>
            </p:cNvSpPr>
            <p:nvPr/>
          </p:nvSpPr>
          <p:spPr bwMode="auto">
            <a:xfrm>
              <a:off x="3525838" y="2692400"/>
              <a:ext cx="257175" cy="257175"/>
            </a:xfrm>
            <a:prstGeom prst="rect">
              <a:avLst/>
            </a:prstGeom>
            <a:grpFill/>
            <a:ln w="0" cap="flat" cmpd="sng" algn="ctr">
              <a:solidFill>
                <a:schemeClr val="accent3">
                  <a:alpha val="0"/>
                </a:schemeClr>
              </a:solidFill>
              <a:prstDash val="solid"/>
              <a:miter lim="800000"/>
              <a:headEnd type="none" w="med" len="med"/>
              <a:tailEnd type="none" w="med" len="med"/>
            </a:ln>
          </p:spPr>
          <p:txBody>
            <a:bodyPr vert="horz" wrap="square" lIns="93297" tIns="46649" rIns="93297" bIns="46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7" name="Rectangle 13">
              <a:extLst>
                <a:ext uri="{FF2B5EF4-FFF2-40B4-BE49-F238E27FC236}">
                  <a16:creationId xmlns:a16="http://schemas.microsoft.com/office/drawing/2014/main" id="{16E08B91-A931-45DC-8403-BEE0BA69780D}"/>
                </a:ext>
              </a:extLst>
            </p:cNvPr>
            <p:cNvSpPr>
              <a:spLocks noChangeArrowheads="1"/>
            </p:cNvSpPr>
            <p:nvPr/>
          </p:nvSpPr>
          <p:spPr bwMode="auto">
            <a:xfrm>
              <a:off x="2970213" y="3208338"/>
              <a:ext cx="257175" cy="257175"/>
            </a:xfrm>
            <a:prstGeom prst="rect">
              <a:avLst/>
            </a:prstGeom>
            <a:grpFill/>
            <a:ln w="0" cap="flat" cmpd="sng" algn="ctr">
              <a:solidFill>
                <a:schemeClr val="accent3">
                  <a:alpha val="0"/>
                </a:schemeClr>
              </a:solidFill>
              <a:prstDash val="solid"/>
              <a:miter lim="800000"/>
              <a:headEnd type="none" w="med" len="med"/>
              <a:tailEnd type="none" w="med" len="med"/>
            </a:ln>
          </p:spPr>
          <p:txBody>
            <a:bodyPr vert="horz" wrap="square" lIns="93297" tIns="46649" rIns="93297" bIns="46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8" name="Rectangle 14">
              <a:extLst>
                <a:ext uri="{FF2B5EF4-FFF2-40B4-BE49-F238E27FC236}">
                  <a16:creationId xmlns:a16="http://schemas.microsoft.com/office/drawing/2014/main" id="{D2E9EEE7-B31D-4A7B-81B4-445D8FE09A13}"/>
                </a:ext>
              </a:extLst>
            </p:cNvPr>
            <p:cNvSpPr>
              <a:spLocks noChangeArrowheads="1"/>
            </p:cNvSpPr>
            <p:nvPr/>
          </p:nvSpPr>
          <p:spPr bwMode="auto">
            <a:xfrm>
              <a:off x="3525838" y="3208338"/>
              <a:ext cx="257175" cy="257175"/>
            </a:xfrm>
            <a:prstGeom prst="rect">
              <a:avLst/>
            </a:prstGeom>
            <a:grpFill/>
            <a:ln w="0" cap="flat" cmpd="sng" algn="ctr">
              <a:solidFill>
                <a:schemeClr val="accent3">
                  <a:alpha val="0"/>
                </a:schemeClr>
              </a:solidFill>
              <a:prstDash val="solid"/>
              <a:miter lim="800000"/>
              <a:headEnd type="none" w="med" len="med"/>
              <a:tailEnd type="none" w="med" len="med"/>
            </a:ln>
          </p:spPr>
          <p:txBody>
            <a:bodyPr vert="horz" wrap="square" lIns="93297" tIns="46649" rIns="93297" bIns="46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9" name="Rectangle 15">
              <a:extLst>
                <a:ext uri="{FF2B5EF4-FFF2-40B4-BE49-F238E27FC236}">
                  <a16:creationId xmlns:a16="http://schemas.microsoft.com/office/drawing/2014/main" id="{4ED03FA8-4F7C-4358-81F4-E37662FADE9B}"/>
                </a:ext>
              </a:extLst>
            </p:cNvPr>
            <p:cNvSpPr>
              <a:spLocks noChangeArrowheads="1"/>
            </p:cNvSpPr>
            <p:nvPr/>
          </p:nvSpPr>
          <p:spPr bwMode="auto">
            <a:xfrm>
              <a:off x="846138" y="1690688"/>
              <a:ext cx="257175" cy="255588"/>
            </a:xfrm>
            <a:prstGeom prst="rect">
              <a:avLst/>
            </a:prstGeom>
            <a:grpFill/>
            <a:ln w="0" cap="flat" cmpd="sng" algn="ctr">
              <a:solidFill>
                <a:schemeClr val="accent3">
                  <a:alpha val="0"/>
                </a:schemeClr>
              </a:solidFill>
              <a:prstDash val="solid"/>
              <a:miter lim="800000"/>
              <a:headEnd type="none" w="med" len="med"/>
              <a:tailEnd type="none" w="med" len="med"/>
            </a:ln>
          </p:spPr>
          <p:txBody>
            <a:bodyPr vert="horz" wrap="square" lIns="93297" tIns="46649" rIns="93297" bIns="46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0" name="Rectangle 16">
              <a:extLst>
                <a:ext uri="{FF2B5EF4-FFF2-40B4-BE49-F238E27FC236}">
                  <a16:creationId xmlns:a16="http://schemas.microsoft.com/office/drawing/2014/main" id="{95124DDC-B9BB-45CF-9BCB-A4A5F2827E85}"/>
                </a:ext>
              </a:extLst>
            </p:cNvPr>
            <p:cNvSpPr>
              <a:spLocks noChangeArrowheads="1"/>
            </p:cNvSpPr>
            <p:nvPr/>
          </p:nvSpPr>
          <p:spPr bwMode="auto">
            <a:xfrm>
              <a:off x="1328738" y="1690688"/>
              <a:ext cx="257175" cy="255588"/>
            </a:xfrm>
            <a:prstGeom prst="rect">
              <a:avLst/>
            </a:prstGeom>
            <a:grpFill/>
            <a:ln w="0" cap="flat" cmpd="sng" algn="ctr">
              <a:solidFill>
                <a:schemeClr val="accent3">
                  <a:alpha val="0"/>
                </a:schemeClr>
              </a:solidFill>
              <a:prstDash val="solid"/>
              <a:miter lim="800000"/>
              <a:headEnd type="none" w="med" len="med"/>
              <a:tailEnd type="none" w="med" len="med"/>
            </a:ln>
          </p:spPr>
          <p:txBody>
            <a:bodyPr vert="horz" wrap="square" lIns="93297" tIns="46649" rIns="93297" bIns="46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1" name="Rectangle 17">
              <a:extLst>
                <a:ext uri="{FF2B5EF4-FFF2-40B4-BE49-F238E27FC236}">
                  <a16:creationId xmlns:a16="http://schemas.microsoft.com/office/drawing/2014/main" id="{7EC49860-319D-4E68-97B1-37F754D6E2A8}"/>
                </a:ext>
              </a:extLst>
            </p:cNvPr>
            <p:cNvSpPr>
              <a:spLocks noChangeArrowheads="1"/>
            </p:cNvSpPr>
            <p:nvPr/>
          </p:nvSpPr>
          <p:spPr bwMode="auto">
            <a:xfrm>
              <a:off x="846138" y="2233613"/>
              <a:ext cx="257175" cy="257175"/>
            </a:xfrm>
            <a:prstGeom prst="rect">
              <a:avLst/>
            </a:prstGeom>
            <a:grpFill/>
            <a:ln w="0" cap="flat" cmpd="sng" algn="ctr">
              <a:solidFill>
                <a:schemeClr val="accent3">
                  <a:alpha val="0"/>
                </a:schemeClr>
              </a:solidFill>
              <a:prstDash val="solid"/>
              <a:miter lim="800000"/>
              <a:headEnd type="none" w="med" len="med"/>
              <a:tailEnd type="none" w="med" len="med"/>
            </a:ln>
          </p:spPr>
          <p:txBody>
            <a:bodyPr vert="horz" wrap="square" lIns="93297" tIns="46649" rIns="93297" bIns="46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2" name="Rectangle 18">
              <a:extLst>
                <a:ext uri="{FF2B5EF4-FFF2-40B4-BE49-F238E27FC236}">
                  <a16:creationId xmlns:a16="http://schemas.microsoft.com/office/drawing/2014/main" id="{6E273784-39AD-4468-8BE4-5C6CC78B64AD}"/>
                </a:ext>
              </a:extLst>
            </p:cNvPr>
            <p:cNvSpPr>
              <a:spLocks noChangeArrowheads="1"/>
            </p:cNvSpPr>
            <p:nvPr/>
          </p:nvSpPr>
          <p:spPr bwMode="auto">
            <a:xfrm>
              <a:off x="1328738" y="2233613"/>
              <a:ext cx="257175" cy="257175"/>
            </a:xfrm>
            <a:prstGeom prst="rect">
              <a:avLst/>
            </a:prstGeom>
            <a:grpFill/>
            <a:ln w="0" cap="flat" cmpd="sng" algn="ctr">
              <a:solidFill>
                <a:schemeClr val="accent3">
                  <a:alpha val="0"/>
                </a:schemeClr>
              </a:solidFill>
              <a:prstDash val="solid"/>
              <a:miter lim="800000"/>
              <a:headEnd type="none" w="med" len="med"/>
              <a:tailEnd type="none" w="med" len="med"/>
            </a:ln>
          </p:spPr>
          <p:txBody>
            <a:bodyPr vert="horz" wrap="square" lIns="93297" tIns="46649" rIns="93297" bIns="46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3" name="Rectangle 19">
              <a:extLst>
                <a:ext uri="{FF2B5EF4-FFF2-40B4-BE49-F238E27FC236}">
                  <a16:creationId xmlns:a16="http://schemas.microsoft.com/office/drawing/2014/main" id="{6C80C175-64CA-4418-BE88-0A504DE40596}"/>
                </a:ext>
              </a:extLst>
            </p:cNvPr>
            <p:cNvSpPr>
              <a:spLocks noChangeArrowheads="1"/>
            </p:cNvSpPr>
            <p:nvPr/>
          </p:nvSpPr>
          <p:spPr bwMode="auto">
            <a:xfrm>
              <a:off x="846138" y="2776538"/>
              <a:ext cx="257175" cy="257175"/>
            </a:xfrm>
            <a:prstGeom prst="rect">
              <a:avLst/>
            </a:prstGeom>
            <a:grpFill/>
            <a:ln w="0" cap="flat" cmpd="sng" algn="ctr">
              <a:solidFill>
                <a:schemeClr val="accent3">
                  <a:alpha val="0"/>
                </a:schemeClr>
              </a:solidFill>
              <a:prstDash val="solid"/>
              <a:miter lim="800000"/>
              <a:headEnd type="none" w="med" len="med"/>
              <a:tailEnd type="none" w="med" len="med"/>
            </a:ln>
          </p:spPr>
          <p:txBody>
            <a:bodyPr vert="horz" wrap="square" lIns="93297" tIns="46649" rIns="93297" bIns="46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4" name="Rectangle 20">
              <a:extLst>
                <a:ext uri="{FF2B5EF4-FFF2-40B4-BE49-F238E27FC236}">
                  <a16:creationId xmlns:a16="http://schemas.microsoft.com/office/drawing/2014/main" id="{5927ED18-F57D-47A2-9E0B-FE088FEEA4B2}"/>
                </a:ext>
              </a:extLst>
            </p:cNvPr>
            <p:cNvSpPr>
              <a:spLocks noChangeArrowheads="1"/>
            </p:cNvSpPr>
            <p:nvPr/>
          </p:nvSpPr>
          <p:spPr bwMode="auto">
            <a:xfrm>
              <a:off x="1328738" y="2776538"/>
              <a:ext cx="257175" cy="257175"/>
            </a:xfrm>
            <a:prstGeom prst="rect">
              <a:avLst/>
            </a:prstGeom>
            <a:grpFill/>
            <a:ln w="0" cap="flat" cmpd="sng" algn="ctr">
              <a:solidFill>
                <a:schemeClr val="accent3">
                  <a:alpha val="0"/>
                </a:schemeClr>
              </a:solidFill>
              <a:prstDash val="solid"/>
              <a:miter lim="800000"/>
              <a:headEnd type="none" w="med" len="med"/>
              <a:tailEnd type="none" w="med" len="med"/>
            </a:ln>
          </p:spPr>
          <p:txBody>
            <a:bodyPr vert="horz" wrap="square" lIns="93297" tIns="46649" rIns="93297" bIns="46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a:ln>
                  <a:noFill/>
                </a:ln>
                <a:solidFill>
                  <a:srgbClr val="000000"/>
                </a:solidFill>
                <a:effectLst/>
                <a:uLnTx/>
                <a:uFillTx/>
                <a:latin typeface="Arial"/>
                <a:ea typeface="ＭＳ Ｐゴシック"/>
                <a:cs typeface="+mn-cs"/>
              </a:endParaRPr>
            </a:p>
          </p:txBody>
        </p:sp>
      </p:grpSp>
      <p:sp>
        <p:nvSpPr>
          <p:cNvPr id="9" name="TextBox 8">
            <a:extLst>
              <a:ext uri="{FF2B5EF4-FFF2-40B4-BE49-F238E27FC236}">
                <a16:creationId xmlns:a16="http://schemas.microsoft.com/office/drawing/2014/main" id="{CF70DBD5-7238-4FD3-AF0C-E778DB2FCDE4}"/>
              </a:ext>
            </a:extLst>
          </p:cNvPr>
          <p:cNvSpPr txBox="1"/>
          <p:nvPr/>
        </p:nvSpPr>
        <p:spPr>
          <a:xfrm>
            <a:off x="567763" y="5810062"/>
            <a:ext cx="1504748" cy="246221"/>
          </a:xfrm>
          <a:prstGeom prst="rect">
            <a:avLst/>
          </a:prstGeom>
          <a:ln>
            <a:noFill/>
          </a:ln>
        </p:spPr>
        <p:txBody>
          <a:bodyPr vert="horz" wrap="square" lIns="0" tIns="0" rIns="0" bIns="0" rtlCol="0" anchor="t">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rtl="0" eaLnBrk="1" fontAlgn="auto" latinLnBrk="0" hangingPunct="1">
              <a:lnSpc>
                <a:spcPct val="100000"/>
              </a:lnSpc>
              <a:spcBef>
                <a:spcPts val="0"/>
              </a:spcBef>
              <a:spcAft>
                <a:spcPts val="0"/>
              </a:spcAft>
              <a:buClr>
                <a:srgbClr val="002960"/>
              </a:buClr>
              <a:buSzPct val="100000"/>
              <a:buFontTx/>
              <a:buNone/>
              <a:tabLst/>
              <a:defRPr/>
            </a:pPr>
            <a:r>
              <a:rPr kumimoji="0" lang="nl-NL" sz="1600" b="1" i="0" u="none" strike="noStrike" kern="1200" cap="none" spc="0" normalizeH="0" baseline="0" noProof="0">
                <a:ln>
                  <a:noFill/>
                </a:ln>
                <a:solidFill>
                  <a:srgbClr val="005777"/>
                </a:solidFill>
                <a:effectLst/>
                <a:uLnTx/>
                <a:uFillTx/>
                <a:latin typeface="Arial"/>
                <a:ea typeface="ＭＳ Ｐゴシック"/>
                <a:cs typeface="+mn-cs"/>
              </a:rPr>
              <a:t>instelling</a:t>
            </a:r>
            <a:endParaRPr kumimoji="0" lang="en-US" sz="16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7" name="Tekstvak 6">
            <a:extLst>
              <a:ext uri="{FF2B5EF4-FFF2-40B4-BE49-F238E27FC236}">
                <a16:creationId xmlns:a16="http://schemas.microsoft.com/office/drawing/2014/main" id="{93B09CA9-DCE0-434F-A2C2-D1191D23718D}"/>
              </a:ext>
            </a:extLst>
          </p:cNvPr>
          <p:cNvSpPr txBox="1"/>
          <p:nvPr/>
        </p:nvSpPr>
        <p:spPr>
          <a:xfrm>
            <a:off x="1584906" y="4928245"/>
            <a:ext cx="9977390"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spAutoFit/>
          </a:bodyPr>
          <a:lstStyle/>
          <a:p>
            <a:pPr marL="1074738" marR="0" lvl="1" indent="-290513" algn="l" defTabSz="877533" rtl="0" eaLnBrk="1" fontAlgn="auto" latinLnBrk="0" hangingPunct="1">
              <a:lnSpc>
                <a:spcPct val="100000"/>
              </a:lnSpc>
              <a:spcBef>
                <a:spcPts val="0"/>
              </a:spcBef>
              <a:spcAft>
                <a:spcPts val="0"/>
              </a:spcAft>
              <a:buClr>
                <a:srgbClr val="003C54"/>
              </a:buClr>
              <a:buSzPct val="100000"/>
              <a:buFont typeface="Arial" pitchFamily="34" charset="0"/>
              <a:buChar char="•"/>
              <a:tabLst/>
              <a:defRPr/>
            </a:pPr>
            <a:r>
              <a:rPr lang="nl-NL" sz="1600" b="1">
                <a:solidFill>
                  <a:srgbClr val="005777"/>
                </a:solidFill>
                <a:latin typeface="Arial"/>
                <a:ea typeface="ＭＳ Ｐゴシック"/>
                <a:cs typeface="Arial"/>
              </a:rPr>
              <a:t>Terugdringen personeelstekorten</a:t>
            </a:r>
          </a:p>
          <a:p>
            <a:pPr marL="1074738" lvl="1" indent="-290513" defTabSz="877533">
              <a:buClr>
                <a:srgbClr val="003C54"/>
              </a:buClr>
              <a:buSzPct val="100000"/>
              <a:buFont typeface="Arial" pitchFamily="34" charset="0"/>
              <a:buChar char="•"/>
              <a:defRPr/>
            </a:pPr>
            <a:r>
              <a:rPr lang="nl-NL" sz="1600" b="1">
                <a:solidFill>
                  <a:schemeClr val="accent4"/>
                </a:solidFill>
                <a:latin typeface="Arial"/>
                <a:ea typeface="ＭＳ Ｐゴシック"/>
                <a:cs typeface="Arial"/>
              </a:rPr>
              <a:t>P</a:t>
            </a:r>
            <a:r>
              <a:rPr kumimoji="0" lang="nl-NL" sz="1600" b="1" i="0" u="none" strike="noStrike" kern="1200" cap="none" spc="0" normalizeH="0" baseline="0" noProof="0" err="1">
                <a:ln>
                  <a:noFill/>
                </a:ln>
                <a:solidFill>
                  <a:schemeClr val="accent4"/>
                </a:solidFill>
                <a:effectLst/>
                <a:uLnTx/>
                <a:uFillTx/>
                <a:latin typeface="Arial"/>
                <a:ea typeface="ＭＳ Ｐゴシック"/>
                <a:cs typeface="Arial"/>
              </a:rPr>
              <a:t>ositieve</a:t>
            </a:r>
            <a:r>
              <a:rPr kumimoji="0" lang="nl-NL" sz="1600" b="1" i="0" u="none" strike="noStrike" kern="1200" cap="none" spc="0" normalizeH="0" baseline="0" noProof="0">
                <a:ln>
                  <a:noFill/>
                </a:ln>
                <a:solidFill>
                  <a:schemeClr val="accent4"/>
                </a:solidFill>
                <a:effectLst/>
                <a:uLnTx/>
                <a:uFillTx/>
                <a:latin typeface="Arial"/>
                <a:ea typeface="ＭＳ Ｐゴシック"/>
                <a:cs typeface="Arial"/>
              </a:rPr>
              <a:t> gevolgen voor </a:t>
            </a:r>
            <a:r>
              <a:rPr lang="nl-NL" sz="1600" b="1">
                <a:solidFill>
                  <a:schemeClr val="accent4"/>
                </a:solidFill>
                <a:cs typeface="Arial"/>
              </a:rPr>
              <a:t>kwaliteit van zorg en ko</a:t>
            </a:r>
            <a:r>
              <a:rPr kumimoji="0" lang="nl-NL" sz="1600" b="1" i="0" u="none" strike="noStrike" kern="1200" cap="none" spc="0" normalizeH="0" baseline="0" noProof="0">
                <a:ln>
                  <a:noFill/>
                </a:ln>
                <a:solidFill>
                  <a:schemeClr val="accent4"/>
                </a:solidFill>
                <a:effectLst/>
                <a:uLnTx/>
                <a:uFillTx/>
                <a:latin typeface="Arial"/>
                <a:ea typeface="ＭＳ Ｐゴシック"/>
                <a:cs typeface="Arial"/>
              </a:rPr>
              <a:t>sten </a:t>
            </a:r>
            <a:r>
              <a:rPr kumimoji="0" lang="nl-NL" sz="1600" b="0" i="0" u="none" strike="noStrike" kern="1200" cap="none" spc="0" normalizeH="0" baseline="0" noProof="0">
                <a:ln>
                  <a:noFill/>
                </a:ln>
                <a:solidFill>
                  <a:srgbClr val="000000"/>
                </a:solidFill>
                <a:effectLst/>
                <a:uLnTx/>
                <a:uFillTx/>
                <a:latin typeface="Arial"/>
                <a:ea typeface="ＭＳ Ｐゴシック"/>
                <a:cs typeface="Arial"/>
              </a:rPr>
              <a:t>in het algemeen</a:t>
            </a:r>
            <a:endParaRPr lang="nl-NL" sz="1600">
              <a:solidFill>
                <a:srgbClr val="000000"/>
              </a:solidFill>
              <a:latin typeface="Arial"/>
              <a:ea typeface="ＭＳ Ｐゴシック"/>
              <a:cs typeface="Arial"/>
            </a:endParaRPr>
          </a:p>
          <a:p>
            <a:pPr marL="1074738" lvl="1" indent="-290513" defTabSz="877533">
              <a:buClr>
                <a:srgbClr val="003C54"/>
              </a:buClr>
              <a:buSzPct val="100000"/>
              <a:buFont typeface="Arial" pitchFamily="34" charset="0"/>
              <a:buChar char="•"/>
              <a:defRPr/>
            </a:pPr>
            <a:r>
              <a:rPr lang="nl-NL" sz="1600" b="1">
                <a:solidFill>
                  <a:schemeClr val="accent4"/>
                </a:solidFill>
                <a:latin typeface="Arial"/>
                <a:ea typeface="ＭＳ Ｐゴシック"/>
                <a:sym typeface="+mn-lt"/>
              </a:rPr>
              <a:t>Aantrekken van nieuwe, (jongere) medewerkers</a:t>
            </a:r>
            <a:r>
              <a:rPr lang="en-US" sz="1600">
                <a:solidFill>
                  <a:srgbClr val="000000"/>
                </a:solidFill>
              </a:rPr>
              <a:t>:</a:t>
            </a:r>
            <a:r>
              <a:rPr lang="nl-NL" sz="1600" b="1">
                <a:solidFill>
                  <a:schemeClr val="accent4"/>
                </a:solidFill>
                <a:latin typeface="Arial"/>
                <a:ea typeface="ＭＳ Ｐゴシック"/>
                <a:sym typeface="+mn-lt"/>
              </a:rPr>
              <a:t> </a:t>
            </a:r>
            <a:r>
              <a:rPr lang="nl-NL" sz="1600">
                <a:solidFill>
                  <a:srgbClr val="000000"/>
                </a:solidFill>
                <a:latin typeface="Arial"/>
                <a:ea typeface="ＭＳ Ｐゴシック"/>
                <a:sym typeface="+mn-lt"/>
              </a:rPr>
              <a:t>die grotere contracten willen hebben</a:t>
            </a:r>
            <a:endParaRPr lang="nl-NL" sz="1600">
              <a:solidFill>
                <a:srgbClr val="000000"/>
              </a:solidFill>
              <a:latin typeface="Arial"/>
              <a:ea typeface="ＭＳ Ｐゴシック"/>
            </a:endParaRPr>
          </a:p>
          <a:p>
            <a:pPr marL="1074738" lvl="1" indent="-290513" defTabSz="877533">
              <a:buClr>
                <a:srgbClr val="003C54"/>
              </a:buClr>
              <a:buSzPct val="100000"/>
              <a:buFont typeface="Arial" pitchFamily="34" charset="0"/>
              <a:buChar char="•"/>
              <a:defRPr/>
            </a:pPr>
            <a:r>
              <a:rPr lang="nl-NL" sz="1600" b="1">
                <a:solidFill>
                  <a:srgbClr val="005777"/>
                </a:solidFill>
                <a:latin typeface="Arial"/>
                <a:ea typeface="ＭＳ Ｐゴシック"/>
                <a:sym typeface="+mn-lt"/>
              </a:rPr>
              <a:t>Goed</a:t>
            </a:r>
            <a:r>
              <a:rPr kumimoji="0" lang="nl-NL" sz="1600" b="1" i="0" u="none" strike="noStrike" kern="1200" cap="none" spc="0" normalizeH="0" baseline="0" noProof="0">
                <a:ln>
                  <a:noFill/>
                </a:ln>
                <a:solidFill>
                  <a:srgbClr val="005777"/>
                </a:solidFill>
                <a:effectLst/>
                <a:uLnTx/>
                <a:uFillTx/>
                <a:latin typeface="Arial"/>
                <a:ea typeface="ＭＳ Ｐゴシック"/>
                <a:sym typeface="+mn-lt"/>
              </a:rPr>
              <a:t> werkgeverschap</a:t>
            </a:r>
            <a:r>
              <a:rPr kumimoji="0" lang="nl-NL" sz="1600" b="0" i="0" u="none" strike="noStrike" kern="1200" cap="none" spc="0" normalizeH="0" baseline="0" noProof="0">
                <a:ln>
                  <a:noFill/>
                </a:ln>
                <a:solidFill>
                  <a:srgbClr val="000000"/>
                </a:solidFill>
                <a:effectLst/>
                <a:uLnTx/>
                <a:uFillTx/>
                <a:latin typeface="Arial"/>
                <a:ea typeface="ＭＳ Ｐゴシック"/>
                <a:sym typeface="+mn-lt"/>
              </a:rPr>
              <a:t>: inspelen op wens van huidige en nieuwe medewerkers</a:t>
            </a:r>
          </a:p>
          <a:p>
            <a:pPr marL="1074738" lvl="1" indent="-290513" defTabSz="877533">
              <a:buClr>
                <a:srgbClr val="003C54"/>
              </a:buClr>
              <a:buSzPct val="100000"/>
              <a:buFont typeface="Arial" pitchFamily="34" charset="0"/>
              <a:buChar char="•"/>
              <a:defRPr/>
            </a:pPr>
            <a:r>
              <a:rPr lang="nl-NL" sz="1600" b="1">
                <a:solidFill>
                  <a:srgbClr val="005777"/>
                </a:solidFill>
              </a:rPr>
              <a:t>Grotere betrokkenheid van medewerkers</a:t>
            </a:r>
            <a:r>
              <a:rPr lang="nl-NL" sz="1600">
                <a:solidFill>
                  <a:srgbClr val="000000"/>
                </a:solidFill>
              </a:rPr>
              <a:t>: lager verloop en verzuim</a:t>
            </a:r>
            <a:endParaRPr kumimoji="0" lang="nl-NL" sz="1600" b="0" i="0" u="none" strike="noStrike" kern="1200" cap="none" spc="0" normalizeH="0" baseline="0" noProof="0">
              <a:ln>
                <a:noFill/>
              </a:ln>
              <a:solidFill>
                <a:srgbClr val="000000"/>
              </a:solidFill>
              <a:effectLst/>
              <a:uLnTx/>
              <a:uFillTx/>
              <a:latin typeface="Arial"/>
              <a:ea typeface="ＭＳ Ｐゴシック"/>
            </a:endParaRPr>
          </a:p>
        </p:txBody>
      </p:sp>
      <p:sp>
        <p:nvSpPr>
          <p:cNvPr id="40" name="Stroomdiagram: Verbindingslijn 39">
            <a:extLst>
              <a:ext uri="{FF2B5EF4-FFF2-40B4-BE49-F238E27FC236}">
                <a16:creationId xmlns:a16="http://schemas.microsoft.com/office/drawing/2014/main" id="{291641E8-9165-4DC1-AA92-E102895E81F2}"/>
              </a:ext>
            </a:extLst>
          </p:cNvPr>
          <p:cNvSpPr/>
          <p:nvPr/>
        </p:nvSpPr>
        <p:spPr>
          <a:xfrm>
            <a:off x="562324" y="1403932"/>
            <a:ext cx="1584000" cy="1584000"/>
          </a:xfrm>
          <a:prstGeom prst="flowChartConnector">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err="1">
              <a:ln>
                <a:noFill/>
              </a:ln>
              <a:solidFill>
                <a:srgbClr val="000000"/>
              </a:solidFill>
              <a:effectLst/>
              <a:uLnTx/>
              <a:uFillTx/>
              <a:latin typeface="Arial"/>
              <a:ea typeface="ＭＳ Ｐゴシック"/>
              <a:cs typeface="+mn-cs"/>
            </a:endParaRPr>
          </a:p>
        </p:txBody>
      </p:sp>
      <p:sp>
        <p:nvSpPr>
          <p:cNvPr id="2" name="Rectangle 1">
            <a:extLst>
              <a:ext uri="{FF2B5EF4-FFF2-40B4-BE49-F238E27FC236}">
                <a16:creationId xmlns:a16="http://schemas.microsoft.com/office/drawing/2014/main" id="{BEC45021-F06B-DB49-AE97-5D758242F7D6}"/>
              </a:ext>
            </a:extLst>
          </p:cNvPr>
          <p:cNvSpPr/>
          <p:nvPr/>
        </p:nvSpPr>
        <p:spPr>
          <a:xfrm>
            <a:off x="831161" y="1782113"/>
            <a:ext cx="1042220" cy="7591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ＭＳ Ｐゴシック"/>
              <a:cs typeface="+mn-cs"/>
            </a:endParaRPr>
          </a:p>
        </p:txBody>
      </p:sp>
      <p:sp>
        <p:nvSpPr>
          <p:cNvPr id="42" name="TextBox 8">
            <a:extLst>
              <a:ext uri="{FF2B5EF4-FFF2-40B4-BE49-F238E27FC236}">
                <a16:creationId xmlns:a16="http://schemas.microsoft.com/office/drawing/2014/main" id="{5B5BF96A-BC92-4173-A7E0-EA1E842EB793}"/>
              </a:ext>
            </a:extLst>
          </p:cNvPr>
          <p:cNvSpPr txBox="1"/>
          <p:nvPr/>
        </p:nvSpPr>
        <p:spPr>
          <a:xfrm>
            <a:off x="677067" y="2451814"/>
            <a:ext cx="1422900" cy="246221"/>
          </a:xfrm>
          <a:prstGeom prst="rect">
            <a:avLst/>
          </a:prstGeom>
          <a:ln>
            <a:noFill/>
          </a:ln>
        </p:spPr>
        <p:txBody>
          <a:bodyPr vert="horz" wrap="square" lIns="0" tIns="0" rIns="0" bIns="0" rtlCol="0" anchor="t">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rtl="0" eaLnBrk="1" fontAlgn="auto" latinLnBrk="0" hangingPunct="1">
              <a:lnSpc>
                <a:spcPct val="100000"/>
              </a:lnSpc>
              <a:spcBef>
                <a:spcPts val="0"/>
              </a:spcBef>
              <a:spcAft>
                <a:spcPts val="0"/>
              </a:spcAft>
              <a:buClr>
                <a:srgbClr val="002960"/>
              </a:buClr>
              <a:buSzPct val="100000"/>
              <a:buFontTx/>
              <a:buNone/>
              <a:tabLst/>
              <a:defRPr/>
            </a:pPr>
            <a:r>
              <a:rPr kumimoji="0" lang="nl-NL" sz="1600" b="1" i="0" u="none" strike="noStrike" kern="1200" cap="none" spc="0" normalizeH="0" baseline="0" noProof="0">
                <a:ln>
                  <a:noFill/>
                </a:ln>
                <a:solidFill>
                  <a:srgbClr val="005777"/>
                </a:solidFill>
                <a:effectLst/>
                <a:uLnTx/>
                <a:uFillTx/>
                <a:latin typeface="Arial"/>
                <a:ea typeface="ＭＳ Ｐゴシック"/>
                <a:cs typeface="+mn-cs"/>
              </a:rPr>
              <a:t>Medewerker</a:t>
            </a:r>
          </a:p>
        </p:txBody>
      </p:sp>
      <p:pic>
        <p:nvPicPr>
          <p:cNvPr id="6" name="CustomIcon">
            <a:extLst>
              <a:ext uri="{FF2B5EF4-FFF2-40B4-BE49-F238E27FC236}">
                <a16:creationId xmlns:a16="http://schemas.microsoft.com/office/drawing/2014/main" id="{F4E16C62-8C2F-4596-927D-B04892E3F120}"/>
              </a:ext>
            </a:extLst>
          </p:cNvPr>
          <p:cNvPicPr>
            <a:picLocks/>
          </p:cNvPicPr>
          <p:nvPr>
            <p:custDataLst>
              <p:tags r:id="rId8"/>
            </p:custDataLst>
          </p:nvPr>
        </p:nvPicPr>
        <p:blipFill>
          <a:blip r:embed="rId13">
            <a:extLst>
              <a:ext uri="{96DAC541-7B7A-43D3-8B79-37D633B846F1}">
                <asvg:svgBlip xmlns:asvg="http://schemas.microsoft.com/office/drawing/2016/SVG/main" r:embed="rId14"/>
              </a:ext>
            </a:extLst>
          </a:blip>
          <a:stretch>
            <a:fillRect/>
          </a:stretch>
        </p:blipFill>
        <p:spPr>
          <a:xfrm>
            <a:off x="966813" y="1751964"/>
            <a:ext cx="721589" cy="686297"/>
          </a:xfrm>
          <a:prstGeom prst="rect">
            <a:avLst/>
          </a:prstGeom>
        </p:spPr>
      </p:pic>
      <p:sp>
        <p:nvSpPr>
          <p:cNvPr id="86" name="Tekstvak 85">
            <a:extLst>
              <a:ext uri="{FF2B5EF4-FFF2-40B4-BE49-F238E27FC236}">
                <a16:creationId xmlns:a16="http://schemas.microsoft.com/office/drawing/2014/main" id="{5D285B98-1D3A-4424-A834-3209665189B6}"/>
              </a:ext>
            </a:extLst>
          </p:cNvPr>
          <p:cNvSpPr txBox="1"/>
          <p:nvPr/>
        </p:nvSpPr>
        <p:spPr>
          <a:xfrm>
            <a:off x="1584906" y="1509857"/>
            <a:ext cx="10062151" cy="14773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spAutoFit/>
          </a:bodyPr>
          <a:lstStyle/>
          <a:p>
            <a:pPr marL="1074738" marR="0" lvl="1" indent="-290513" algn="l" defTabSz="877533" rtl="0" eaLnBrk="1" fontAlgn="auto" latinLnBrk="0" hangingPunct="1">
              <a:lnSpc>
                <a:spcPct val="100000"/>
              </a:lnSpc>
              <a:spcBef>
                <a:spcPts val="0"/>
              </a:spcBef>
              <a:spcAft>
                <a:spcPts val="0"/>
              </a:spcAft>
              <a:buClr>
                <a:srgbClr val="003C54"/>
              </a:buClr>
              <a:buSzPct val="100000"/>
              <a:buFont typeface="Arial" pitchFamily="34" charset="0"/>
              <a:buChar char="•"/>
              <a:tabLst/>
              <a:defRPr/>
            </a:pPr>
            <a:r>
              <a:rPr lang="en-US" sz="1600" b="1" err="1">
                <a:solidFill>
                  <a:schemeClr val="accent4"/>
                </a:solidFill>
                <a:latin typeface="Arial"/>
                <a:ea typeface="ＭＳ Ｐゴシック"/>
              </a:rPr>
              <a:t>Een</a:t>
            </a:r>
            <a:r>
              <a:rPr lang="en-US" sz="1600" b="1">
                <a:solidFill>
                  <a:schemeClr val="accent4"/>
                </a:solidFill>
                <a:latin typeface="Arial"/>
                <a:ea typeface="ＭＳ Ｐゴシック"/>
              </a:rPr>
              <a:t> </a:t>
            </a:r>
            <a:r>
              <a:rPr lang="en-US" sz="1600" b="1" err="1">
                <a:solidFill>
                  <a:schemeClr val="accent4"/>
                </a:solidFill>
                <a:latin typeface="Arial"/>
                <a:ea typeface="ＭＳ Ｐゴシック"/>
              </a:rPr>
              <a:t>groter</a:t>
            </a:r>
            <a:r>
              <a:rPr lang="en-US" sz="1600" b="1">
                <a:solidFill>
                  <a:schemeClr val="accent4"/>
                </a:solidFill>
                <a:latin typeface="Arial"/>
                <a:ea typeface="ＭＳ Ｐゴシック"/>
              </a:rPr>
              <a:t> vast </a:t>
            </a:r>
            <a:r>
              <a:rPr kumimoji="0" lang="en-US" sz="1600" b="1" i="0" u="none" strike="noStrike" kern="1200" cap="none" spc="0" normalizeH="0" baseline="0" noProof="0" err="1">
                <a:ln>
                  <a:noFill/>
                </a:ln>
                <a:solidFill>
                  <a:schemeClr val="accent4"/>
                </a:solidFill>
                <a:effectLst/>
                <a:uLnTx/>
                <a:uFillTx/>
                <a:latin typeface="Arial"/>
                <a:ea typeface="ＭＳ Ｐゴシック"/>
              </a:rPr>
              <a:t>inkomen</a:t>
            </a:r>
            <a:r>
              <a:rPr lang="en-US" sz="1600">
                <a:solidFill>
                  <a:srgbClr val="000000"/>
                </a:solidFill>
                <a:latin typeface="Arial"/>
                <a:ea typeface="ＭＳ Ｐゴシック"/>
              </a:rPr>
              <a:t>: </a:t>
            </a:r>
            <a:r>
              <a:rPr lang="en-US" sz="1600" err="1">
                <a:solidFill>
                  <a:srgbClr val="000000"/>
                </a:solidFill>
                <a:latin typeface="Arial"/>
                <a:ea typeface="ＭＳ Ｐゴシック"/>
              </a:rPr>
              <a:t>zowel</a:t>
            </a:r>
            <a:r>
              <a:rPr lang="en-US" sz="1600">
                <a:solidFill>
                  <a:srgbClr val="000000"/>
                </a:solidFill>
                <a:latin typeface="Arial"/>
                <a:ea typeface="ＭＳ Ｐゴシック"/>
              </a:rPr>
              <a:t> vast </a:t>
            </a:r>
            <a:r>
              <a:rPr lang="en-US" sz="1600" err="1">
                <a:solidFill>
                  <a:srgbClr val="000000"/>
                </a:solidFill>
                <a:latin typeface="Arial"/>
                <a:ea typeface="ＭＳ Ｐゴシック"/>
              </a:rPr>
              <a:t>salaris</a:t>
            </a:r>
            <a:r>
              <a:rPr lang="en-US" sz="1600">
                <a:solidFill>
                  <a:srgbClr val="000000"/>
                </a:solidFill>
                <a:latin typeface="Arial"/>
                <a:ea typeface="ＭＳ Ｐゴシック"/>
              </a:rPr>
              <a:t> </a:t>
            </a:r>
            <a:r>
              <a:rPr lang="en-US" sz="1600" err="1">
                <a:solidFill>
                  <a:srgbClr val="000000"/>
                </a:solidFill>
                <a:latin typeface="Arial"/>
                <a:ea typeface="ＭＳ Ｐゴシック"/>
              </a:rPr>
              <a:t>en</a:t>
            </a:r>
            <a:r>
              <a:rPr lang="en-US" sz="1600">
                <a:solidFill>
                  <a:srgbClr val="000000"/>
                </a:solidFill>
                <a:latin typeface="Arial"/>
                <a:ea typeface="ＭＳ Ｐゴシック"/>
              </a:rPr>
              <a:t> </a:t>
            </a:r>
            <a:r>
              <a:rPr kumimoji="0" lang="nl-NL" sz="1600" b="0" i="0" u="none" strike="noStrike" kern="1200" cap="none" spc="0" normalizeH="0" baseline="0" noProof="0">
                <a:ln>
                  <a:noFill/>
                </a:ln>
                <a:solidFill>
                  <a:srgbClr val="000000"/>
                </a:solidFill>
                <a:effectLst/>
                <a:uLnTx/>
                <a:uFillTx/>
                <a:latin typeface="Arial"/>
                <a:ea typeface="ＭＳ Ｐゴシック"/>
                <a:sym typeface="+mn-lt"/>
              </a:rPr>
              <a:t>pensioenopbouw</a:t>
            </a:r>
            <a:endParaRPr kumimoji="0" lang="nl-NL" sz="1600" b="0" i="0" u="none" strike="noStrike" kern="1200" cap="none" spc="0" normalizeH="0" baseline="0" noProof="0">
              <a:ln>
                <a:noFill/>
              </a:ln>
              <a:solidFill>
                <a:srgbClr val="000000"/>
              </a:solidFill>
              <a:effectLst/>
              <a:uLnTx/>
              <a:uFillTx/>
              <a:latin typeface="Arial"/>
              <a:ea typeface="ＭＳ Ｐゴシック"/>
            </a:endParaRPr>
          </a:p>
          <a:p>
            <a:pPr marL="1074738" marR="0" lvl="1" indent="-290513" algn="l" defTabSz="877533" rtl="0" eaLnBrk="1" fontAlgn="auto" latinLnBrk="0" hangingPunct="1">
              <a:lnSpc>
                <a:spcPct val="100000"/>
              </a:lnSpc>
              <a:spcBef>
                <a:spcPts val="0"/>
              </a:spcBef>
              <a:spcAft>
                <a:spcPts val="0"/>
              </a:spcAft>
              <a:buClr>
                <a:srgbClr val="003C54"/>
              </a:buClr>
              <a:buSzPct val="100000"/>
              <a:buFont typeface="Arial" pitchFamily="34" charset="0"/>
              <a:buChar char="•"/>
              <a:tabLst/>
              <a:defRPr/>
            </a:pPr>
            <a:r>
              <a:rPr lang="nl-NL" sz="1600" b="1">
                <a:solidFill>
                  <a:srgbClr val="005777"/>
                </a:solidFill>
                <a:latin typeface="Arial"/>
                <a:ea typeface="ＭＳ Ｐゴシック"/>
                <a:sym typeface="+mn-lt"/>
              </a:rPr>
              <a:t>P</a:t>
            </a:r>
            <a:r>
              <a:rPr kumimoji="0" lang="nl-NL" sz="1600" b="1" i="0" u="none" strike="noStrike" kern="1200" cap="none" spc="0" normalizeH="0" baseline="0" noProof="0" err="1">
                <a:ln>
                  <a:noFill/>
                </a:ln>
                <a:solidFill>
                  <a:srgbClr val="005777"/>
                </a:solidFill>
                <a:effectLst/>
                <a:uLnTx/>
                <a:uFillTx/>
                <a:latin typeface="Arial"/>
                <a:ea typeface="ＭＳ Ｐゴシック"/>
                <a:sym typeface="+mn-lt"/>
              </a:rPr>
              <a:t>ersoonlijke</a:t>
            </a:r>
            <a:r>
              <a:rPr kumimoji="0" lang="nl-NL" sz="1600" b="1" i="0" u="none" strike="noStrike" kern="1200" cap="none" spc="0" normalizeH="0" baseline="0" noProof="0">
                <a:ln>
                  <a:noFill/>
                </a:ln>
                <a:solidFill>
                  <a:srgbClr val="005777"/>
                </a:solidFill>
                <a:effectLst/>
                <a:uLnTx/>
                <a:uFillTx/>
                <a:latin typeface="Arial"/>
                <a:ea typeface="ＭＳ Ｐゴシック"/>
                <a:sym typeface="+mn-lt"/>
              </a:rPr>
              <a:t> ontwikkeling</a:t>
            </a:r>
            <a:r>
              <a:rPr lang="nl-NL" sz="1600">
                <a:solidFill>
                  <a:srgbClr val="000000"/>
                </a:solidFill>
                <a:latin typeface="Arial"/>
                <a:ea typeface="ＭＳ Ｐゴシック"/>
                <a:sym typeface="+mn-lt"/>
              </a:rPr>
              <a:t>:</a:t>
            </a:r>
            <a:r>
              <a:rPr kumimoji="0" lang="nl-NL" sz="1600" b="1" i="0" u="none" strike="noStrike" kern="1200" cap="none" spc="0" normalizeH="0" baseline="0" noProof="0">
                <a:ln>
                  <a:noFill/>
                </a:ln>
                <a:solidFill>
                  <a:srgbClr val="005777"/>
                </a:solidFill>
                <a:effectLst/>
                <a:uLnTx/>
                <a:uFillTx/>
                <a:latin typeface="Arial"/>
                <a:ea typeface="ＭＳ Ｐゴシック"/>
                <a:sym typeface="+mn-lt"/>
              </a:rPr>
              <a:t> </a:t>
            </a:r>
            <a:r>
              <a:rPr lang="nl-NL" sz="1600" noProof="0">
                <a:latin typeface="Arial"/>
                <a:ea typeface="ＭＳ Ｐゴシック"/>
                <a:sym typeface="+mn-lt"/>
              </a:rPr>
              <a:t>meer tijd en ruimte voor een opleiding, cursus of extra project</a:t>
            </a:r>
            <a:endParaRPr kumimoji="0" lang="nl-NL" sz="1600" b="0" i="0" u="none" strike="noStrike" kern="1200" cap="none" spc="0" normalizeH="0" baseline="0" noProof="0">
              <a:ln>
                <a:noFill/>
              </a:ln>
              <a:solidFill>
                <a:srgbClr val="000000"/>
              </a:solidFill>
              <a:effectLst/>
              <a:uLnTx/>
              <a:uFillTx/>
              <a:latin typeface="Arial"/>
              <a:ea typeface="ＭＳ Ｐゴシック"/>
              <a:sym typeface="+mn-lt"/>
            </a:endParaRPr>
          </a:p>
          <a:p>
            <a:pPr marL="1074738" marR="0" lvl="1" indent="-290513" algn="l" defTabSz="877533" rtl="0" eaLnBrk="1" fontAlgn="auto" latinLnBrk="0" hangingPunct="1">
              <a:lnSpc>
                <a:spcPct val="100000"/>
              </a:lnSpc>
              <a:spcBef>
                <a:spcPts val="0"/>
              </a:spcBef>
              <a:spcAft>
                <a:spcPts val="0"/>
              </a:spcAft>
              <a:buClr>
                <a:srgbClr val="003C54"/>
              </a:buClr>
              <a:buSzPct val="100000"/>
              <a:buFont typeface="Arial" pitchFamily="34" charset="0"/>
              <a:buChar char="•"/>
              <a:tabLst/>
              <a:defRPr/>
            </a:pPr>
            <a:r>
              <a:rPr lang="nl-NL" sz="1600" b="1">
                <a:solidFill>
                  <a:schemeClr val="accent4"/>
                </a:solidFill>
                <a:latin typeface="Arial"/>
                <a:ea typeface="ＭＳ Ｐゴシック"/>
                <a:sym typeface="+mn-lt"/>
              </a:rPr>
              <a:t>Meer ruimte voor het </a:t>
            </a:r>
            <a:r>
              <a:rPr lang="nl-NL" sz="1600" b="1">
                <a:solidFill>
                  <a:srgbClr val="005777"/>
                </a:solidFill>
                <a:latin typeface="Arial"/>
                <a:ea typeface="ＭＳ Ｐゴシック"/>
                <a:sym typeface="+mn-lt"/>
              </a:rPr>
              <a:t>aannemen van </a:t>
            </a:r>
            <a:r>
              <a:rPr lang="nl-NL" sz="1600" b="1">
                <a:solidFill>
                  <a:schemeClr val="accent4"/>
                </a:solidFill>
                <a:latin typeface="Arial"/>
                <a:ea typeface="ＭＳ Ｐゴシック"/>
                <a:sym typeface="+mn-lt"/>
              </a:rPr>
              <a:t>complexe zorg</a:t>
            </a:r>
            <a:r>
              <a:rPr lang="nl-NL" sz="1600">
                <a:solidFill>
                  <a:srgbClr val="000000"/>
                </a:solidFill>
                <a:latin typeface="Arial"/>
                <a:ea typeface="ＭＳ Ｐゴシック"/>
                <a:sym typeface="+mn-lt"/>
              </a:rPr>
              <a:t>:</a:t>
            </a:r>
            <a:r>
              <a:rPr lang="nl-NL" sz="1600">
                <a:solidFill>
                  <a:srgbClr val="005777"/>
                </a:solidFill>
                <a:latin typeface="Arial"/>
                <a:ea typeface="ＭＳ Ｐゴシック"/>
                <a:sym typeface="+mn-lt"/>
              </a:rPr>
              <a:t> </a:t>
            </a:r>
            <a:r>
              <a:rPr lang="nl-NL" sz="1600">
                <a:latin typeface="Arial"/>
                <a:ea typeface="ＭＳ Ｐゴシック"/>
                <a:sym typeface="+mn-lt"/>
              </a:rPr>
              <a:t>Hierdoor ontstaat meer uitdaging</a:t>
            </a:r>
          </a:p>
          <a:p>
            <a:pPr marL="1074738" lvl="1" indent="-290513" defTabSz="877533">
              <a:buClr>
                <a:srgbClr val="003C54"/>
              </a:buClr>
              <a:buSzPct val="100000"/>
              <a:buFont typeface="Arial" pitchFamily="34" charset="0"/>
              <a:buChar char="•"/>
              <a:defRPr/>
            </a:pPr>
            <a:r>
              <a:rPr lang="nl-NL" sz="1600" b="1">
                <a:solidFill>
                  <a:schemeClr val="accent4"/>
                </a:solidFill>
                <a:latin typeface="Arial"/>
                <a:ea typeface="ＭＳ Ｐゴシック"/>
                <a:sym typeface="+mn-lt"/>
              </a:rPr>
              <a:t>Effectiever werk- en zorgtaken</a:t>
            </a:r>
            <a:r>
              <a:rPr lang="en-US" sz="1600">
                <a:solidFill>
                  <a:srgbClr val="000000"/>
                </a:solidFill>
              </a:rPr>
              <a:t>:</a:t>
            </a:r>
            <a:r>
              <a:rPr lang="nl-NL" sz="1600" b="1">
                <a:solidFill>
                  <a:schemeClr val="accent4"/>
                </a:solidFill>
                <a:latin typeface="Arial"/>
                <a:ea typeface="ＭＳ Ｐゴシック"/>
                <a:sym typeface="+mn-lt"/>
              </a:rPr>
              <a:t> </a:t>
            </a:r>
            <a:r>
              <a:rPr lang="nl-NL" sz="1600">
                <a:latin typeface="Arial"/>
                <a:ea typeface="ＭＳ Ｐゴシック"/>
                <a:sym typeface="+mn-lt"/>
              </a:rPr>
              <a:t>combineren</a:t>
            </a:r>
            <a:r>
              <a:rPr lang="nl-NL" sz="1600" b="1">
                <a:latin typeface="Arial"/>
                <a:ea typeface="ＭＳ Ｐゴシック"/>
                <a:sym typeface="+mn-lt"/>
              </a:rPr>
              <a:t> </a:t>
            </a:r>
            <a:r>
              <a:rPr lang="nl-NL" sz="1600">
                <a:solidFill>
                  <a:srgbClr val="000000"/>
                </a:solidFill>
                <a:latin typeface="Arial"/>
                <a:ea typeface="ＭＳ Ｐゴシック"/>
                <a:sym typeface="+mn-lt"/>
              </a:rPr>
              <a:t>en minder tijd besteden aan overdracht en/of administratie </a:t>
            </a:r>
          </a:p>
          <a:p>
            <a:pPr marL="1074738" marR="0" lvl="1" indent="-290513" algn="l" defTabSz="877533" rtl="0" eaLnBrk="1" fontAlgn="auto" latinLnBrk="0" hangingPunct="1">
              <a:lnSpc>
                <a:spcPct val="100000"/>
              </a:lnSpc>
              <a:spcBef>
                <a:spcPts val="0"/>
              </a:spcBef>
              <a:spcAft>
                <a:spcPts val="0"/>
              </a:spcAft>
              <a:buClr>
                <a:srgbClr val="003C54"/>
              </a:buClr>
              <a:buSzPct val="100000"/>
              <a:buFont typeface="Arial" pitchFamily="34" charset="0"/>
              <a:buChar char="•"/>
              <a:tabLst/>
              <a:defRPr/>
            </a:pPr>
            <a:r>
              <a:rPr lang="nl-NL" sz="1600" b="1">
                <a:solidFill>
                  <a:schemeClr val="accent4"/>
                </a:solidFill>
                <a:latin typeface="Arial"/>
                <a:ea typeface="ＭＳ Ｐゴシック"/>
                <a:sym typeface="+mn-lt"/>
              </a:rPr>
              <a:t>Meer tijd </a:t>
            </a:r>
            <a:r>
              <a:rPr kumimoji="0" lang="nl-NL" sz="1600" b="1" i="0" u="none" strike="noStrike" kern="1200" cap="none" spc="0" normalizeH="0" baseline="0" noProof="0">
                <a:ln>
                  <a:noFill/>
                </a:ln>
                <a:solidFill>
                  <a:schemeClr val="accent4"/>
                </a:solidFill>
                <a:effectLst/>
                <a:uLnTx/>
                <a:uFillTx/>
                <a:latin typeface="Arial"/>
                <a:ea typeface="ＭＳ Ｐゴシック"/>
                <a:sym typeface="+mn-lt"/>
              </a:rPr>
              <a:t>voor cliënten</a:t>
            </a:r>
            <a:endParaRPr kumimoji="0" lang="nl-NL" sz="1600" b="0" i="0" u="none" strike="noStrike" kern="1200" cap="none" spc="0" normalizeH="0" baseline="0" noProof="0">
              <a:ln>
                <a:noFill/>
              </a:ln>
              <a:solidFill>
                <a:srgbClr val="000000"/>
              </a:solidFill>
              <a:effectLst/>
              <a:uLnTx/>
              <a:uFillTx/>
              <a:latin typeface="Arial"/>
              <a:ea typeface="ＭＳ Ｐゴシック"/>
            </a:endParaRPr>
          </a:p>
        </p:txBody>
      </p:sp>
      <p:sp>
        <p:nvSpPr>
          <p:cNvPr id="62" name="Stroomdiagram: Verbindingslijn 61">
            <a:extLst>
              <a:ext uri="{FF2B5EF4-FFF2-40B4-BE49-F238E27FC236}">
                <a16:creationId xmlns:a16="http://schemas.microsoft.com/office/drawing/2014/main" id="{41141021-8ED8-405C-B824-6DFA13280767}"/>
              </a:ext>
            </a:extLst>
          </p:cNvPr>
          <p:cNvSpPr/>
          <p:nvPr/>
        </p:nvSpPr>
        <p:spPr>
          <a:xfrm>
            <a:off x="532223" y="3111586"/>
            <a:ext cx="1584000" cy="1584000"/>
          </a:xfrm>
          <a:prstGeom prst="flowChartConnector">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err="1">
              <a:ln>
                <a:noFill/>
              </a:ln>
              <a:solidFill>
                <a:srgbClr val="000000"/>
              </a:solidFill>
              <a:effectLst/>
              <a:uLnTx/>
              <a:uFillTx/>
              <a:latin typeface="Arial"/>
              <a:ea typeface="ＭＳ Ｐゴシック"/>
              <a:cs typeface="+mn-cs"/>
            </a:endParaRPr>
          </a:p>
        </p:txBody>
      </p:sp>
      <p:sp>
        <p:nvSpPr>
          <p:cNvPr id="64" name="TextBox 8">
            <a:extLst>
              <a:ext uri="{FF2B5EF4-FFF2-40B4-BE49-F238E27FC236}">
                <a16:creationId xmlns:a16="http://schemas.microsoft.com/office/drawing/2014/main" id="{44E14254-5BE6-4E30-B15E-FE72D0E1F6BB}"/>
              </a:ext>
            </a:extLst>
          </p:cNvPr>
          <p:cNvSpPr txBox="1"/>
          <p:nvPr/>
        </p:nvSpPr>
        <p:spPr>
          <a:xfrm>
            <a:off x="577264" y="4180340"/>
            <a:ext cx="1422900" cy="246221"/>
          </a:xfrm>
          <a:prstGeom prst="rect">
            <a:avLst/>
          </a:prstGeom>
          <a:ln>
            <a:noFill/>
          </a:ln>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rtl="0" eaLnBrk="1" fontAlgn="auto" latinLnBrk="0" hangingPunct="1">
              <a:lnSpc>
                <a:spcPct val="100000"/>
              </a:lnSpc>
              <a:spcBef>
                <a:spcPts val="0"/>
              </a:spcBef>
              <a:spcAft>
                <a:spcPts val="0"/>
              </a:spcAft>
              <a:buClr>
                <a:srgbClr val="002960"/>
              </a:buClr>
              <a:buSzPct val="100000"/>
              <a:buFontTx/>
              <a:buNone/>
              <a:tabLst/>
              <a:defRPr/>
            </a:pPr>
            <a:r>
              <a:rPr kumimoji="0" lang="nl-NL" sz="1600" b="1" i="0" u="none" strike="noStrike" kern="1200" cap="none" spc="0" normalizeH="0" baseline="0" noProof="0">
                <a:ln>
                  <a:noFill/>
                </a:ln>
                <a:solidFill>
                  <a:srgbClr val="005777"/>
                </a:solidFill>
                <a:effectLst/>
                <a:uLnTx/>
                <a:uFillTx/>
                <a:latin typeface="Arial"/>
                <a:ea typeface="ＭＳ Ｐゴシック"/>
                <a:cs typeface="+mn-cs"/>
              </a:rPr>
              <a:t>Cliënt</a:t>
            </a:r>
          </a:p>
        </p:txBody>
      </p:sp>
      <p:sp>
        <p:nvSpPr>
          <p:cNvPr id="88" name="Tekstvak 87">
            <a:extLst>
              <a:ext uri="{FF2B5EF4-FFF2-40B4-BE49-F238E27FC236}">
                <a16:creationId xmlns:a16="http://schemas.microsoft.com/office/drawing/2014/main" id="{5E06853B-4742-4F1F-A35A-DCCBC9B0759A}"/>
              </a:ext>
            </a:extLst>
          </p:cNvPr>
          <p:cNvSpPr txBox="1"/>
          <p:nvPr/>
        </p:nvSpPr>
        <p:spPr>
          <a:xfrm>
            <a:off x="1584906" y="3343594"/>
            <a:ext cx="9497259" cy="9848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spAutoFit/>
          </a:bodyPr>
          <a:lstStyle/>
          <a:p>
            <a:pPr marL="1079500" marR="0" lvl="1" indent="-290513" algn="l" defTabSz="877533" rtl="0" eaLnBrk="1" fontAlgn="auto" latinLnBrk="0" hangingPunct="1">
              <a:lnSpc>
                <a:spcPct val="100000"/>
              </a:lnSpc>
              <a:spcBef>
                <a:spcPts val="0"/>
              </a:spcBef>
              <a:spcAft>
                <a:spcPts val="0"/>
              </a:spcAft>
              <a:buClr>
                <a:srgbClr val="003C54"/>
              </a:buClr>
              <a:buSzPct val="100000"/>
              <a:buFont typeface="Arial" pitchFamily="34" charset="0"/>
              <a:buChar char="•"/>
              <a:tabLst/>
              <a:defRPr/>
            </a:pPr>
            <a:r>
              <a:rPr kumimoji="0" lang="nl-NL" sz="1600" b="1" i="0" u="none" strike="noStrike" kern="1200" cap="none" spc="0" normalizeH="0" baseline="0" noProof="0">
                <a:ln>
                  <a:noFill/>
                </a:ln>
                <a:solidFill>
                  <a:schemeClr val="accent4"/>
                </a:solidFill>
                <a:effectLst/>
                <a:uLnTx/>
                <a:uFillTx/>
                <a:latin typeface="Arial"/>
                <a:ea typeface="ＭＳ Ｐゴシック"/>
                <a:sym typeface="+mn-lt"/>
              </a:rPr>
              <a:t>Hogere</a:t>
            </a:r>
            <a:r>
              <a:rPr kumimoji="0" lang="nl-NL" sz="1600" b="0" i="0" u="none" strike="noStrike" kern="1200" cap="none" spc="0" normalizeH="0" baseline="0" noProof="0">
                <a:ln>
                  <a:noFill/>
                </a:ln>
                <a:solidFill>
                  <a:srgbClr val="000000"/>
                </a:solidFill>
                <a:effectLst/>
                <a:uLnTx/>
                <a:uFillTx/>
                <a:latin typeface="Arial"/>
                <a:ea typeface="ＭＳ Ｐゴシック"/>
                <a:sym typeface="+mn-lt"/>
              </a:rPr>
              <a:t> </a:t>
            </a:r>
            <a:r>
              <a:rPr kumimoji="0" lang="nl-NL" sz="1600" b="1" i="0" u="none" strike="noStrike" kern="1200" cap="none" spc="0" normalizeH="0" baseline="0" noProof="0">
                <a:ln>
                  <a:noFill/>
                </a:ln>
                <a:solidFill>
                  <a:srgbClr val="005777"/>
                </a:solidFill>
                <a:effectLst/>
                <a:uLnTx/>
                <a:uFillTx/>
                <a:latin typeface="Arial"/>
                <a:ea typeface="ＭＳ Ｐゴシック"/>
                <a:sym typeface="+mn-lt"/>
              </a:rPr>
              <a:t>kwaliteit van zorg</a:t>
            </a:r>
          </a:p>
          <a:p>
            <a:pPr marL="1079500" lvl="1" indent="-290513" defTabSz="877533">
              <a:buClr>
                <a:srgbClr val="003C54"/>
              </a:buClr>
              <a:buSzPct val="100000"/>
              <a:buFont typeface="Arial" pitchFamily="34" charset="0"/>
              <a:buChar char="•"/>
              <a:defRPr/>
            </a:pPr>
            <a:r>
              <a:rPr kumimoji="0" lang="nl-NL" sz="1600" b="1" i="0" u="none" strike="noStrike" kern="1200" cap="none" spc="0" normalizeH="0" baseline="0" noProof="0">
                <a:ln>
                  <a:noFill/>
                </a:ln>
                <a:solidFill>
                  <a:srgbClr val="005777"/>
                </a:solidFill>
                <a:effectLst/>
                <a:uLnTx/>
                <a:uFillTx/>
                <a:latin typeface="Arial"/>
                <a:ea typeface="ＭＳ Ｐゴシック"/>
                <a:sym typeface="+mn-lt"/>
              </a:rPr>
              <a:t>Continuïteit en stabiliteit van </a:t>
            </a:r>
            <a:r>
              <a:rPr lang="nl-NL" sz="1600" b="1">
                <a:solidFill>
                  <a:srgbClr val="005777"/>
                </a:solidFill>
                <a:sym typeface="+mn-lt"/>
              </a:rPr>
              <a:t>zorg</a:t>
            </a:r>
            <a:r>
              <a:rPr lang="nl-NL" sz="1600">
                <a:solidFill>
                  <a:srgbClr val="000000"/>
                </a:solidFill>
                <a:latin typeface="Arial"/>
                <a:ea typeface="ＭＳ Ｐゴシック"/>
                <a:sym typeface="+mn-lt"/>
              </a:rPr>
              <a:t>:</a:t>
            </a:r>
            <a:r>
              <a:rPr lang="nl-NL" sz="1600" b="1">
                <a:solidFill>
                  <a:srgbClr val="005777"/>
                </a:solidFill>
                <a:sym typeface="+mn-lt"/>
              </a:rPr>
              <a:t> </a:t>
            </a:r>
            <a:r>
              <a:rPr lang="nl-NL" sz="1600">
                <a:sym typeface="+mn-lt"/>
              </a:rPr>
              <a:t>Meer ‘vaste gezichten aan het bed’ </a:t>
            </a:r>
            <a:endParaRPr lang="nl-NL" sz="1600">
              <a:latin typeface="Arial"/>
              <a:ea typeface="ＭＳ Ｐゴシック"/>
              <a:sym typeface="+mn-lt"/>
            </a:endParaRPr>
          </a:p>
          <a:p>
            <a:pPr marL="1079500" marR="0" lvl="1" indent="-290513" algn="l" defTabSz="877533" rtl="0" eaLnBrk="1" fontAlgn="auto" latinLnBrk="0" hangingPunct="1">
              <a:lnSpc>
                <a:spcPct val="100000"/>
              </a:lnSpc>
              <a:spcBef>
                <a:spcPts val="0"/>
              </a:spcBef>
              <a:spcAft>
                <a:spcPts val="0"/>
              </a:spcAft>
              <a:buClr>
                <a:srgbClr val="003C54"/>
              </a:buClr>
              <a:buSzPct val="100000"/>
              <a:buFont typeface="Arial" pitchFamily="34" charset="0"/>
              <a:buChar char="•"/>
              <a:tabLst/>
              <a:defRPr/>
            </a:pPr>
            <a:r>
              <a:rPr kumimoji="0" lang="nl-NL" sz="1600" b="1" i="0" u="none" strike="noStrike" kern="1200" cap="none" spc="0" normalizeH="0" baseline="0" noProof="0">
                <a:ln>
                  <a:noFill/>
                </a:ln>
                <a:solidFill>
                  <a:srgbClr val="005777"/>
                </a:solidFill>
                <a:effectLst/>
                <a:uLnTx/>
                <a:uFillTx/>
                <a:latin typeface="Arial"/>
                <a:ea typeface="ＭＳ Ｐゴシック"/>
                <a:sym typeface="+mn-lt"/>
              </a:rPr>
              <a:t>Diepere kennis van de cliënt</a:t>
            </a:r>
            <a:endParaRPr lang="nl-NL" sz="1600" b="1">
              <a:solidFill>
                <a:srgbClr val="005777"/>
              </a:solidFill>
              <a:latin typeface="Arial"/>
              <a:ea typeface="ＭＳ Ｐゴシック"/>
              <a:cs typeface="Arial"/>
              <a:sym typeface="+mn-lt"/>
            </a:endParaRPr>
          </a:p>
          <a:p>
            <a:pPr marL="1079500" lvl="1" indent="-290513" defTabSz="877533">
              <a:buClr>
                <a:srgbClr val="003C54"/>
              </a:buClr>
              <a:buSzPct val="100000"/>
              <a:buFont typeface="Arial" pitchFamily="34" charset="0"/>
              <a:buChar char="•"/>
              <a:defRPr/>
            </a:pPr>
            <a:r>
              <a:rPr kumimoji="0" lang="nl-NL" sz="1600" b="1" i="0" u="none" strike="noStrike" kern="1200" cap="none" spc="0" normalizeH="0" baseline="0" noProof="0">
                <a:ln>
                  <a:noFill/>
                </a:ln>
                <a:solidFill>
                  <a:srgbClr val="005777"/>
                </a:solidFill>
                <a:effectLst/>
                <a:uLnTx/>
                <a:uFillTx/>
                <a:latin typeface="Arial"/>
                <a:ea typeface="ＭＳ Ｐゴシック"/>
                <a:cs typeface="Arial"/>
                <a:sym typeface="+mn-lt"/>
              </a:rPr>
              <a:t>Minder </a:t>
            </a:r>
            <a:r>
              <a:rPr kumimoji="0" lang="nl-NL" sz="1600" b="1" i="0" u="none" strike="noStrike" kern="1200" cap="none" spc="0" normalizeH="0" baseline="0" noProof="0">
                <a:ln>
                  <a:noFill/>
                </a:ln>
                <a:solidFill>
                  <a:srgbClr val="005777"/>
                </a:solidFill>
                <a:effectLst/>
                <a:uLnTx/>
                <a:uFillTx/>
                <a:latin typeface="Arial"/>
                <a:ea typeface="ＭＳ Ｐゴシック"/>
                <a:sym typeface="+mn-lt"/>
              </a:rPr>
              <a:t>overdrachtsmomenten</a:t>
            </a:r>
            <a:r>
              <a:rPr lang="en-US" sz="1600">
                <a:solidFill>
                  <a:srgbClr val="000000"/>
                </a:solidFill>
              </a:rPr>
              <a:t>: </a:t>
            </a:r>
            <a:r>
              <a:rPr kumimoji="0" lang="nl-NL" sz="1600" b="0" i="0" u="none" strike="noStrike" kern="1200" cap="none" spc="0" normalizeH="0" baseline="0" noProof="0">
                <a:ln>
                  <a:noFill/>
                </a:ln>
                <a:solidFill>
                  <a:srgbClr val="000000"/>
                </a:solidFill>
                <a:effectLst/>
                <a:uLnTx/>
                <a:uFillTx/>
                <a:latin typeface="Arial"/>
                <a:ea typeface="ＭＳ Ｐゴシック"/>
                <a:sym typeface="+mn-lt"/>
              </a:rPr>
              <a:t>en daardoor minder kans op fouten</a:t>
            </a:r>
            <a:endParaRPr kumimoji="0" lang="nl-NL" sz="1600" b="1" i="0" u="none" strike="noStrike" kern="1200" cap="none" spc="0" normalizeH="0" baseline="0" noProof="0">
              <a:ln>
                <a:noFill/>
              </a:ln>
              <a:solidFill>
                <a:srgbClr val="005777"/>
              </a:solidFill>
              <a:effectLst/>
              <a:uLnTx/>
              <a:uFillTx/>
              <a:latin typeface="Arial"/>
              <a:ea typeface="ＭＳ Ｐゴシック"/>
              <a:cs typeface="Arial"/>
            </a:endParaRPr>
          </a:p>
        </p:txBody>
      </p:sp>
      <p:grpSp>
        <p:nvGrpSpPr>
          <p:cNvPr id="89" name="CustomIcon">
            <a:extLst>
              <a:ext uri="{FF2B5EF4-FFF2-40B4-BE49-F238E27FC236}">
                <a16:creationId xmlns:a16="http://schemas.microsoft.com/office/drawing/2014/main" id="{9677E10B-AEC5-4643-AF8D-03D8C5066CF2}"/>
              </a:ext>
            </a:extLst>
          </p:cNvPr>
          <p:cNvGrpSpPr>
            <a:grpSpLocks noChangeAspect="1"/>
          </p:cNvGrpSpPr>
          <p:nvPr>
            <p:custDataLst>
              <p:tags r:id="rId9"/>
            </p:custDataLst>
          </p:nvPr>
        </p:nvGrpSpPr>
        <p:grpSpPr>
          <a:xfrm>
            <a:off x="967898" y="3499205"/>
            <a:ext cx="582646" cy="625590"/>
            <a:chOff x="0" y="0"/>
            <a:chExt cx="4135438" cy="4643438"/>
          </a:xfrm>
          <a:solidFill>
            <a:schemeClr val="accent4"/>
          </a:solidFill>
        </p:grpSpPr>
        <p:sp>
          <p:nvSpPr>
            <p:cNvPr id="90" name="Freeform 20">
              <a:extLst>
                <a:ext uri="{FF2B5EF4-FFF2-40B4-BE49-F238E27FC236}">
                  <a16:creationId xmlns:a16="http://schemas.microsoft.com/office/drawing/2014/main" id="{A381556A-6D70-4C69-A83F-CB9E37939BD0}"/>
                </a:ext>
              </a:extLst>
            </p:cNvPr>
            <p:cNvSpPr>
              <a:spLocks noEditPoints="1"/>
            </p:cNvSpPr>
            <p:nvPr/>
          </p:nvSpPr>
          <p:spPr bwMode="auto">
            <a:xfrm>
              <a:off x="520700" y="142875"/>
              <a:ext cx="844550" cy="844550"/>
            </a:xfrm>
            <a:custGeom>
              <a:avLst/>
              <a:gdLst>
                <a:gd name="T0" fmla="*/ 291 w 582"/>
                <a:gd name="T1" fmla="*/ 582 h 582"/>
                <a:gd name="T2" fmla="*/ 582 w 582"/>
                <a:gd name="T3" fmla="*/ 291 h 582"/>
                <a:gd name="T4" fmla="*/ 291 w 582"/>
                <a:gd name="T5" fmla="*/ 0 h 582"/>
                <a:gd name="T6" fmla="*/ 0 w 582"/>
                <a:gd name="T7" fmla="*/ 291 h 582"/>
                <a:gd name="T8" fmla="*/ 291 w 582"/>
                <a:gd name="T9" fmla="*/ 582 h 582"/>
                <a:gd name="T10" fmla="*/ 291 w 582"/>
                <a:gd name="T11" fmla="*/ 140 h 582"/>
                <a:gd name="T12" fmla="*/ 442 w 582"/>
                <a:gd name="T13" fmla="*/ 291 h 582"/>
                <a:gd name="T14" fmla="*/ 291 w 582"/>
                <a:gd name="T15" fmla="*/ 442 h 582"/>
                <a:gd name="T16" fmla="*/ 140 w 582"/>
                <a:gd name="T17" fmla="*/ 291 h 582"/>
                <a:gd name="T18" fmla="*/ 291 w 582"/>
                <a:gd name="T19" fmla="*/ 140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2" h="582">
                  <a:moveTo>
                    <a:pt x="291" y="582"/>
                  </a:moveTo>
                  <a:cubicBezTo>
                    <a:pt x="451" y="582"/>
                    <a:pt x="582" y="451"/>
                    <a:pt x="582" y="291"/>
                  </a:cubicBezTo>
                  <a:cubicBezTo>
                    <a:pt x="582" y="130"/>
                    <a:pt x="451" y="0"/>
                    <a:pt x="291" y="0"/>
                  </a:cubicBezTo>
                  <a:cubicBezTo>
                    <a:pt x="131" y="0"/>
                    <a:pt x="0" y="130"/>
                    <a:pt x="0" y="291"/>
                  </a:cubicBezTo>
                  <a:cubicBezTo>
                    <a:pt x="0" y="451"/>
                    <a:pt x="131" y="582"/>
                    <a:pt x="291" y="582"/>
                  </a:cubicBezTo>
                  <a:close/>
                  <a:moveTo>
                    <a:pt x="291" y="140"/>
                  </a:moveTo>
                  <a:cubicBezTo>
                    <a:pt x="374" y="140"/>
                    <a:pt x="442" y="208"/>
                    <a:pt x="442" y="291"/>
                  </a:cubicBezTo>
                  <a:cubicBezTo>
                    <a:pt x="442" y="374"/>
                    <a:pt x="374" y="442"/>
                    <a:pt x="291" y="442"/>
                  </a:cubicBezTo>
                  <a:cubicBezTo>
                    <a:pt x="208" y="442"/>
                    <a:pt x="140" y="374"/>
                    <a:pt x="140" y="291"/>
                  </a:cubicBezTo>
                  <a:cubicBezTo>
                    <a:pt x="140" y="208"/>
                    <a:pt x="208" y="140"/>
                    <a:pt x="291" y="14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89618" tIns="44809" rIns="89618" bIns="44809" numCol="1" anchor="t" anchorCtr="0" compatLnSpc="1">
              <a:prstTxWarp prst="textNoShape">
                <a:avLst/>
              </a:prstTxWarp>
            </a:bodyPr>
            <a:lstStyle/>
            <a:p>
              <a:pPr defTabSz="896203"/>
              <a:endParaRPr lang="nl-NL" sz="1600">
                <a:solidFill>
                  <a:srgbClr val="000000"/>
                </a:solidFill>
                <a:ea typeface="ＭＳ Ｐゴシック"/>
              </a:endParaRPr>
            </a:p>
          </p:txBody>
        </p:sp>
        <p:sp>
          <p:nvSpPr>
            <p:cNvPr id="91" name="Freeform 21">
              <a:extLst>
                <a:ext uri="{FF2B5EF4-FFF2-40B4-BE49-F238E27FC236}">
                  <a16:creationId xmlns:a16="http://schemas.microsoft.com/office/drawing/2014/main" id="{5681DE1B-540F-4D8D-A021-C23B46B51D68}"/>
                </a:ext>
              </a:extLst>
            </p:cNvPr>
            <p:cNvSpPr>
              <a:spLocks/>
            </p:cNvSpPr>
            <p:nvPr/>
          </p:nvSpPr>
          <p:spPr bwMode="auto">
            <a:xfrm>
              <a:off x="0" y="1114425"/>
              <a:ext cx="1320800" cy="3321050"/>
            </a:xfrm>
            <a:custGeom>
              <a:avLst/>
              <a:gdLst>
                <a:gd name="T0" fmla="*/ 841 w 911"/>
                <a:gd name="T1" fmla="*/ 2149 h 2289"/>
                <a:gd name="T2" fmla="*/ 772 w 911"/>
                <a:gd name="T3" fmla="*/ 2149 h 2289"/>
                <a:gd name="T4" fmla="*/ 692 w 911"/>
                <a:gd name="T5" fmla="*/ 2069 h 2289"/>
                <a:gd name="T6" fmla="*/ 692 w 911"/>
                <a:gd name="T7" fmla="*/ 1305 h 2289"/>
                <a:gd name="T8" fmla="*/ 692 w 911"/>
                <a:gd name="T9" fmla="*/ 1184 h 2289"/>
                <a:gd name="T10" fmla="*/ 622 w 911"/>
                <a:gd name="T11" fmla="*/ 1114 h 2289"/>
                <a:gd name="T12" fmla="*/ 552 w 911"/>
                <a:gd name="T13" fmla="*/ 1184 h 2289"/>
                <a:gd name="T14" fmla="*/ 552 w 911"/>
                <a:gd name="T15" fmla="*/ 1284 h 2289"/>
                <a:gd name="T16" fmla="*/ 552 w 911"/>
                <a:gd name="T17" fmla="*/ 1299 h 2289"/>
                <a:gd name="T18" fmla="*/ 552 w 911"/>
                <a:gd name="T19" fmla="*/ 1305 h 2289"/>
                <a:gd name="T20" fmla="*/ 552 w 911"/>
                <a:gd name="T21" fmla="*/ 2069 h 2289"/>
                <a:gd name="T22" fmla="*/ 472 w 911"/>
                <a:gd name="T23" fmla="*/ 2149 h 2289"/>
                <a:gd name="T24" fmla="*/ 454 w 911"/>
                <a:gd name="T25" fmla="*/ 2149 h 2289"/>
                <a:gd name="T26" fmla="*/ 374 w 911"/>
                <a:gd name="T27" fmla="*/ 2069 h 2289"/>
                <a:gd name="T28" fmla="*/ 374 w 911"/>
                <a:gd name="T29" fmla="*/ 1234 h 2289"/>
                <a:gd name="T30" fmla="*/ 374 w 911"/>
                <a:gd name="T31" fmla="*/ 1184 h 2289"/>
                <a:gd name="T32" fmla="*/ 374 w 911"/>
                <a:gd name="T33" fmla="*/ 448 h 2289"/>
                <a:gd name="T34" fmla="*/ 304 w 911"/>
                <a:gd name="T35" fmla="*/ 378 h 2289"/>
                <a:gd name="T36" fmla="*/ 234 w 911"/>
                <a:gd name="T37" fmla="*/ 448 h 2289"/>
                <a:gd name="T38" fmla="*/ 234 w 911"/>
                <a:gd name="T39" fmla="*/ 1158 h 2289"/>
                <a:gd name="T40" fmla="*/ 140 w 911"/>
                <a:gd name="T41" fmla="*/ 1030 h 2289"/>
                <a:gd name="T42" fmla="*/ 140 w 911"/>
                <a:gd name="T43" fmla="*/ 275 h 2289"/>
                <a:gd name="T44" fmla="*/ 275 w 911"/>
                <a:gd name="T45" fmla="*/ 140 h 2289"/>
                <a:gd name="T46" fmla="*/ 622 w 911"/>
                <a:gd name="T47" fmla="*/ 140 h 2289"/>
                <a:gd name="T48" fmla="*/ 692 w 911"/>
                <a:gd name="T49" fmla="*/ 70 h 2289"/>
                <a:gd name="T50" fmla="*/ 622 w 911"/>
                <a:gd name="T51" fmla="*/ 0 h 2289"/>
                <a:gd name="T52" fmla="*/ 275 w 911"/>
                <a:gd name="T53" fmla="*/ 0 h 2289"/>
                <a:gd name="T54" fmla="*/ 0 w 911"/>
                <a:gd name="T55" fmla="*/ 275 h 2289"/>
                <a:gd name="T56" fmla="*/ 0 w 911"/>
                <a:gd name="T57" fmla="*/ 1030 h 2289"/>
                <a:gd name="T58" fmla="*/ 234 w 911"/>
                <a:gd name="T59" fmla="*/ 1301 h 2289"/>
                <a:gd name="T60" fmla="*/ 234 w 911"/>
                <a:gd name="T61" fmla="*/ 2069 h 2289"/>
                <a:gd name="T62" fmla="*/ 454 w 911"/>
                <a:gd name="T63" fmla="*/ 2289 h 2289"/>
                <a:gd name="T64" fmla="*/ 472 w 911"/>
                <a:gd name="T65" fmla="*/ 2289 h 2289"/>
                <a:gd name="T66" fmla="*/ 622 w 911"/>
                <a:gd name="T67" fmla="*/ 2230 h 2289"/>
                <a:gd name="T68" fmla="*/ 772 w 911"/>
                <a:gd name="T69" fmla="*/ 2289 h 2289"/>
                <a:gd name="T70" fmla="*/ 841 w 911"/>
                <a:gd name="T71" fmla="*/ 2289 h 2289"/>
                <a:gd name="T72" fmla="*/ 911 w 911"/>
                <a:gd name="T73" fmla="*/ 2219 h 2289"/>
                <a:gd name="T74" fmla="*/ 841 w 911"/>
                <a:gd name="T75" fmla="*/ 2149 h 2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11" h="2289">
                  <a:moveTo>
                    <a:pt x="841" y="2149"/>
                  </a:moveTo>
                  <a:cubicBezTo>
                    <a:pt x="772" y="2149"/>
                    <a:pt x="772" y="2149"/>
                    <a:pt x="772" y="2149"/>
                  </a:cubicBezTo>
                  <a:cubicBezTo>
                    <a:pt x="728" y="2149"/>
                    <a:pt x="692" y="2114"/>
                    <a:pt x="692" y="2069"/>
                  </a:cubicBezTo>
                  <a:cubicBezTo>
                    <a:pt x="692" y="1305"/>
                    <a:pt x="692" y="1305"/>
                    <a:pt x="692" y="1305"/>
                  </a:cubicBezTo>
                  <a:cubicBezTo>
                    <a:pt x="692" y="1184"/>
                    <a:pt x="692" y="1184"/>
                    <a:pt x="692" y="1184"/>
                  </a:cubicBezTo>
                  <a:cubicBezTo>
                    <a:pt x="692" y="1145"/>
                    <a:pt x="660" y="1114"/>
                    <a:pt x="622" y="1114"/>
                  </a:cubicBezTo>
                  <a:cubicBezTo>
                    <a:pt x="583" y="1114"/>
                    <a:pt x="552" y="1145"/>
                    <a:pt x="552" y="1184"/>
                  </a:cubicBezTo>
                  <a:cubicBezTo>
                    <a:pt x="552" y="1284"/>
                    <a:pt x="552" y="1284"/>
                    <a:pt x="552" y="1284"/>
                  </a:cubicBezTo>
                  <a:cubicBezTo>
                    <a:pt x="551" y="1289"/>
                    <a:pt x="551" y="1294"/>
                    <a:pt x="552" y="1299"/>
                  </a:cubicBezTo>
                  <a:cubicBezTo>
                    <a:pt x="552" y="1301"/>
                    <a:pt x="552" y="1303"/>
                    <a:pt x="552" y="1305"/>
                  </a:cubicBezTo>
                  <a:cubicBezTo>
                    <a:pt x="552" y="2069"/>
                    <a:pt x="552" y="2069"/>
                    <a:pt x="552" y="2069"/>
                  </a:cubicBezTo>
                  <a:cubicBezTo>
                    <a:pt x="552" y="2114"/>
                    <a:pt x="516" y="2149"/>
                    <a:pt x="472" y="2149"/>
                  </a:cubicBezTo>
                  <a:cubicBezTo>
                    <a:pt x="454" y="2149"/>
                    <a:pt x="454" y="2149"/>
                    <a:pt x="454" y="2149"/>
                  </a:cubicBezTo>
                  <a:cubicBezTo>
                    <a:pt x="410" y="2149"/>
                    <a:pt x="374" y="2114"/>
                    <a:pt x="374" y="2069"/>
                  </a:cubicBezTo>
                  <a:cubicBezTo>
                    <a:pt x="374" y="1234"/>
                    <a:pt x="374" y="1234"/>
                    <a:pt x="374" y="1234"/>
                  </a:cubicBezTo>
                  <a:cubicBezTo>
                    <a:pt x="374" y="1184"/>
                    <a:pt x="374" y="1184"/>
                    <a:pt x="374" y="1184"/>
                  </a:cubicBezTo>
                  <a:cubicBezTo>
                    <a:pt x="374" y="448"/>
                    <a:pt x="374" y="448"/>
                    <a:pt x="374" y="448"/>
                  </a:cubicBezTo>
                  <a:cubicBezTo>
                    <a:pt x="374" y="409"/>
                    <a:pt x="343" y="378"/>
                    <a:pt x="304" y="378"/>
                  </a:cubicBezTo>
                  <a:cubicBezTo>
                    <a:pt x="266" y="378"/>
                    <a:pt x="234" y="409"/>
                    <a:pt x="234" y="448"/>
                  </a:cubicBezTo>
                  <a:cubicBezTo>
                    <a:pt x="234" y="1158"/>
                    <a:pt x="234" y="1158"/>
                    <a:pt x="234" y="1158"/>
                  </a:cubicBezTo>
                  <a:cubicBezTo>
                    <a:pt x="180" y="1141"/>
                    <a:pt x="140" y="1090"/>
                    <a:pt x="140" y="1030"/>
                  </a:cubicBezTo>
                  <a:cubicBezTo>
                    <a:pt x="140" y="275"/>
                    <a:pt x="140" y="275"/>
                    <a:pt x="140" y="275"/>
                  </a:cubicBezTo>
                  <a:cubicBezTo>
                    <a:pt x="140" y="201"/>
                    <a:pt x="200" y="140"/>
                    <a:pt x="275" y="140"/>
                  </a:cubicBezTo>
                  <a:cubicBezTo>
                    <a:pt x="622" y="140"/>
                    <a:pt x="622" y="140"/>
                    <a:pt x="622" y="140"/>
                  </a:cubicBezTo>
                  <a:cubicBezTo>
                    <a:pt x="660" y="140"/>
                    <a:pt x="692" y="109"/>
                    <a:pt x="692" y="70"/>
                  </a:cubicBezTo>
                  <a:cubicBezTo>
                    <a:pt x="692" y="32"/>
                    <a:pt x="660" y="0"/>
                    <a:pt x="622" y="0"/>
                  </a:cubicBezTo>
                  <a:cubicBezTo>
                    <a:pt x="275" y="0"/>
                    <a:pt x="275" y="0"/>
                    <a:pt x="275" y="0"/>
                  </a:cubicBezTo>
                  <a:cubicBezTo>
                    <a:pt x="123" y="0"/>
                    <a:pt x="0" y="123"/>
                    <a:pt x="0" y="275"/>
                  </a:cubicBezTo>
                  <a:cubicBezTo>
                    <a:pt x="0" y="1030"/>
                    <a:pt x="0" y="1030"/>
                    <a:pt x="0" y="1030"/>
                  </a:cubicBezTo>
                  <a:cubicBezTo>
                    <a:pt x="0" y="1167"/>
                    <a:pt x="102" y="1281"/>
                    <a:pt x="234" y="1301"/>
                  </a:cubicBezTo>
                  <a:cubicBezTo>
                    <a:pt x="234" y="2069"/>
                    <a:pt x="234" y="2069"/>
                    <a:pt x="234" y="2069"/>
                  </a:cubicBezTo>
                  <a:cubicBezTo>
                    <a:pt x="234" y="2191"/>
                    <a:pt x="333" y="2289"/>
                    <a:pt x="454" y="2289"/>
                  </a:cubicBezTo>
                  <a:cubicBezTo>
                    <a:pt x="472" y="2289"/>
                    <a:pt x="472" y="2289"/>
                    <a:pt x="472" y="2289"/>
                  </a:cubicBezTo>
                  <a:cubicBezTo>
                    <a:pt x="530" y="2289"/>
                    <a:pt x="582" y="2267"/>
                    <a:pt x="622" y="2230"/>
                  </a:cubicBezTo>
                  <a:cubicBezTo>
                    <a:pt x="661" y="2267"/>
                    <a:pt x="714" y="2289"/>
                    <a:pt x="772" y="2289"/>
                  </a:cubicBezTo>
                  <a:cubicBezTo>
                    <a:pt x="841" y="2289"/>
                    <a:pt x="841" y="2289"/>
                    <a:pt x="841" y="2289"/>
                  </a:cubicBezTo>
                  <a:cubicBezTo>
                    <a:pt x="880" y="2289"/>
                    <a:pt x="911" y="2258"/>
                    <a:pt x="911" y="2219"/>
                  </a:cubicBezTo>
                  <a:cubicBezTo>
                    <a:pt x="911" y="2181"/>
                    <a:pt x="880" y="2149"/>
                    <a:pt x="841" y="2149"/>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89618" tIns="44809" rIns="89618" bIns="44809" numCol="1" anchor="t" anchorCtr="0" compatLnSpc="1">
              <a:prstTxWarp prst="textNoShape">
                <a:avLst/>
              </a:prstTxWarp>
            </a:bodyPr>
            <a:lstStyle/>
            <a:p>
              <a:pPr defTabSz="896203"/>
              <a:endParaRPr lang="nl-NL" sz="1600">
                <a:solidFill>
                  <a:srgbClr val="000000"/>
                </a:solidFill>
                <a:ea typeface="ＭＳ Ｐゴシック"/>
              </a:endParaRPr>
            </a:p>
          </p:txBody>
        </p:sp>
        <p:sp>
          <p:nvSpPr>
            <p:cNvPr id="92" name="Freeform 22">
              <a:extLst>
                <a:ext uri="{FF2B5EF4-FFF2-40B4-BE49-F238E27FC236}">
                  <a16:creationId xmlns:a16="http://schemas.microsoft.com/office/drawing/2014/main" id="{52C56116-9313-4623-A1B0-CFC25B2A8009}"/>
                </a:ext>
              </a:extLst>
            </p:cNvPr>
            <p:cNvSpPr>
              <a:spLocks noEditPoints="1"/>
            </p:cNvSpPr>
            <p:nvPr/>
          </p:nvSpPr>
          <p:spPr bwMode="auto">
            <a:xfrm>
              <a:off x="2771775" y="142875"/>
              <a:ext cx="842963" cy="844550"/>
            </a:xfrm>
            <a:custGeom>
              <a:avLst/>
              <a:gdLst>
                <a:gd name="T0" fmla="*/ 291 w 582"/>
                <a:gd name="T1" fmla="*/ 582 h 582"/>
                <a:gd name="T2" fmla="*/ 582 w 582"/>
                <a:gd name="T3" fmla="*/ 291 h 582"/>
                <a:gd name="T4" fmla="*/ 291 w 582"/>
                <a:gd name="T5" fmla="*/ 0 h 582"/>
                <a:gd name="T6" fmla="*/ 0 w 582"/>
                <a:gd name="T7" fmla="*/ 291 h 582"/>
                <a:gd name="T8" fmla="*/ 291 w 582"/>
                <a:gd name="T9" fmla="*/ 582 h 582"/>
                <a:gd name="T10" fmla="*/ 291 w 582"/>
                <a:gd name="T11" fmla="*/ 140 h 582"/>
                <a:gd name="T12" fmla="*/ 442 w 582"/>
                <a:gd name="T13" fmla="*/ 291 h 582"/>
                <a:gd name="T14" fmla="*/ 291 w 582"/>
                <a:gd name="T15" fmla="*/ 442 h 582"/>
                <a:gd name="T16" fmla="*/ 140 w 582"/>
                <a:gd name="T17" fmla="*/ 291 h 582"/>
                <a:gd name="T18" fmla="*/ 291 w 582"/>
                <a:gd name="T19" fmla="*/ 140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2" h="582">
                  <a:moveTo>
                    <a:pt x="291" y="582"/>
                  </a:moveTo>
                  <a:cubicBezTo>
                    <a:pt x="451" y="582"/>
                    <a:pt x="582" y="451"/>
                    <a:pt x="582" y="291"/>
                  </a:cubicBezTo>
                  <a:cubicBezTo>
                    <a:pt x="582" y="130"/>
                    <a:pt x="451" y="0"/>
                    <a:pt x="291" y="0"/>
                  </a:cubicBezTo>
                  <a:cubicBezTo>
                    <a:pt x="131" y="0"/>
                    <a:pt x="0" y="130"/>
                    <a:pt x="0" y="291"/>
                  </a:cubicBezTo>
                  <a:cubicBezTo>
                    <a:pt x="0" y="451"/>
                    <a:pt x="131" y="582"/>
                    <a:pt x="291" y="582"/>
                  </a:cubicBezTo>
                  <a:close/>
                  <a:moveTo>
                    <a:pt x="291" y="140"/>
                  </a:moveTo>
                  <a:cubicBezTo>
                    <a:pt x="374" y="140"/>
                    <a:pt x="442" y="208"/>
                    <a:pt x="442" y="291"/>
                  </a:cubicBezTo>
                  <a:cubicBezTo>
                    <a:pt x="442" y="374"/>
                    <a:pt x="374" y="442"/>
                    <a:pt x="291" y="442"/>
                  </a:cubicBezTo>
                  <a:cubicBezTo>
                    <a:pt x="208" y="442"/>
                    <a:pt x="140" y="374"/>
                    <a:pt x="140" y="291"/>
                  </a:cubicBezTo>
                  <a:cubicBezTo>
                    <a:pt x="140" y="208"/>
                    <a:pt x="208" y="140"/>
                    <a:pt x="291" y="14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89618" tIns="44809" rIns="89618" bIns="44809" numCol="1" anchor="t" anchorCtr="0" compatLnSpc="1">
              <a:prstTxWarp prst="textNoShape">
                <a:avLst/>
              </a:prstTxWarp>
            </a:bodyPr>
            <a:lstStyle/>
            <a:p>
              <a:pPr defTabSz="896203"/>
              <a:endParaRPr lang="nl-NL" sz="1600">
                <a:solidFill>
                  <a:srgbClr val="000000"/>
                </a:solidFill>
                <a:ea typeface="ＭＳ Ｐゴシック"/>
              </a:endParaRPr>
            </a:p>
          </p:txBody>
        </p:sp>
        <p:sp>
          <p:nvSpPr>
            <p:cNvPr id="93" name="Freeform 23">
              <a:extLst>
                <a:ext uri="{FF2B5EF4-FFF2-40B4-BE49-F238E27FC236}">
                  <a16:creationId xmlns:a16="http://schemas.microsoft.com/office/drawing/2014/main" id="{0CC06C16-5708-4C50-9A6E-AEDC3AC56E11}"/>
                </a:ext>
              </a:extLst>
            </p:cNvPr>
            <p:cNvSpPr>
              <a:spLocks/>
            </p:cNvSpPr>
            <p:nvPr/>
          </p:nvSpPr>
          <p:spPr bwMode="auto">
            <a:xfrm>
              <a:off x="2814638" y="1114425"/>
              <a:ext cx="1320800" cy="3321050"/>
            </a:xfrm>
            <a:custGeom>
              <a:avLst/>
              <a:gdLst>
                <a:gd name="T0" fmla="*/ 637 w 911"/>
                <a:gd name="T1" fmla="*/ 0 h 2289"/>
                <a:gd name="T2" fmla="*/ 289 w 911"/>
                <a:gd name="T3" fmla="*/ 0 h 2289"/>
                <a:gd name="T4" fmla="*/ 219 w 911"/>
                <a:gd name="T5" fmla="*/ 70 h 2289"/>
                <a:gd name="T6" fmla="*/ 289 w 911"/>
                <a:gd name="T7" fmla="*/ 140 h 2289"/>
                <a:gd name="T8" fmla="*/ 637 w 911"/>
                <a:gd name="T9" fmla="*/ 140 h 2289"/>
                <a:gd name="T10" fmla="*/ 771 w 911"/>
                <a:gd name="T11" fmla="*/ 275 h 2289"/>
                <a:gd name="T12" fmla="*/ 771 w 911"/>
                <a:gd name="T13" fmla="*/ 1030 h 2289"/>
                <a:gd name="T14" fmla="*/ 677 w 911"/>
                <a:gd name="T15" fmla="*/ 1158 h 2289"/>
                <a:gd name="T16" fmla="*/ 677 w 911"/>
                <a:gd name="T17" fmla="*/ 448 h 2289"/>
                <a:gd name="T18" fmla="*/ 607 w 911"/>
                <a:gd name="T19" fmla="*/ 378 h 2289"/>
                <a:gd name="T20" fmla="*/ 537 w 911"/>
                <a:gd name="T21" fmla="*/ 448 h 2289"/>
                <a:gd name="T22" fmla="*/ 537 w 911"/>
                <a:gd name="T23" fmla="*/ 1184 h 2289"/>
                <a:gd name="T24" fmla="*/ 537 w 911"/>
                <a:gd name="T25" fmla="*/ 1234 h 2289"/>
                <a:gd name="T26" fmla="*/ 537 w 911"/>
                <a:gd name="T27" fmla="*/ 2069 h 2289"/>
                <a:gd name="T28" fmla="*/ 457 w 911"/>
                <a:gd name="T29" fmla="*/ 2149 h 2289"/>
                <a:gd name="T30" fmla="*/ 439 w 911"/>
                <a:gd name="T31" fmla="*/ 2149 h 2289"/>
                <a:gd name="T32" fmla="*/ 359 w 911"/>
                <a:gd name="T33" fmla="*/ 2069 h 2289"/>
                <a:gd name="T34" fmla="*/ 359 w 911"/>
                <a:gd name="T35" fmla="*/ 1305 h 2289"/>
                <a:gd name="T36" fmla="*/ 359 w 911"/>
                <a:gd name="T37" fmla="*/ 1299 h 2289"/>
                <a:gd name="T38" fmla="*/ 359 w 911"/>
                <a:gd name="T39" fmla="*/ 1284 h 2289"/>
                <a:gd name="T40" fmla="*/ 359 w 911"/>
                <a:gd name="T41" fmla="*/ 1184 h 2289"/>
                <a:gd name="T42" fmla="*/ 289 w 911"/>
                <a:gd name="T43" fmla="*/ 1114 h 2289"/>
                <a:gd name="T44" fmla="*/ 219 w 911"/>
                <a:gd name="T45" fmla="*/ 1184 h 2289"/>
                <a:gd name="T46" fmla="*/ 219 w 911"/>
                <a:gd name="T47" fmla="*/ 1305 h 2289"/>
                <a:gd name="T48" fmla="*/ 219 w 911"/>
                <a:gd name="T49" fmla="*/ 2069 h 2289"/>
                <a:gd name="T50" fmla="*/ 139 w 911"/>
                <a:gd name="T51" fmla="*/ 2149 h 2289"/>
                <a:gd name="T52" fmla="*/ 70 w 911"/>
                <a:gd name="T53" fmla="*/ 2149 h 2289"/>
                <a:gd name="T54" fmla="*/ 0 w 911"/>
                <a:gd name="T55" fmla="*/ 2219 h 2289"/>
                <a:gd name="T56" fmla="*/ 70 w 911"/>
                <a:gd name="T57" fmla="*/ 2289 h 2289"/>
                <a:gd name="T58" fmla="*/ 139 w 911"/>
                <a:gd name="T59" fmla="*/ 2289 h 2289"/>
                <a:gd name="T60" fmla="*/ 289 w 911"/>
                <a:gd name="T61" fmla="*/ 2230 h 2289"/>
                <a:gd name="T62" fmla="*/ 439 w 911"/>
                <a:gd name="T63" fmla="*/ 2289 h 2289"/>
                <a:gd name="T64" fmla="*/ 457 w 911"/>
                <a:gd name="T65" fmla="*/ 2289 h 2289"/>
                <a:gd name="T66" fmla="*/ 677 w 911"/>
                <a:gd name="T67" fmla="*/ 2069 h 2289"/>
                <a:gd name="T68" fmla="*/ 677 w 911"/>
                <a:gd name="T69" fmla="*/ 1301 h 2289"/>
                <a:gd name="T70" fmla="*/ 911 w 911"/>
                <a:gd name="T71" fmla="*/ 1030 h 2289"/>
                <a:gd name="T72" fmla="*/ 911 w 911"/>
                <a:gd name="T73" fmla="*/ 275 h 2289"/>
                <a:gd name="T74" fmla="*/ 637 w 911"/>
                <a:gd name="T75" fmla="*/ 0 h 2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11" h="2289">
                  <a:moveTo>
                    <a:pt x="637" y="0"/>
                  </a:moveTo>
                  <a:cubicBezTo>
                    <a:pt x="289" y="0"/>
                    <a:pt x="289" y="0"/>
                    <a:pt x="289" y="0"/>
                  </a:cubicBezTo>
                  <a:cubicBezTo>
                    <a:pt x="251" y="0"/>
                    <a:pt x="219" y="32"/>
                    <a:pt x="219" y="70"/>
                  </a:cubicBezTo>
                  <a:cubicBezTo>
                    <a:pt x="219" y="109"/>
                    <a:pt x="251" y="140"/>
                    <a:pt x="289" y="140"/>
                  </a:cubicBezTo>
                  <a:cubicBezTo>
                    <a:pt x="637" y="140"/>
                    <a:pt x="637" y="140"/>
                    <a:pt x="637" y="140"/>
                  </a:cubicBezTo>
                  <a:cubicBezTo>
                    <a:pt x="711" y="140"/>
                    <a:pt x="771" y="201"/>
                    <a:pt x="771" y="275"/>
                  </a:cubicBezTo>
                  <a:cubicBezTo>
                    <a:pt x="771" y="1030"/>
                    <a:pt x="771" y="1030"/>
                    <a:pt x="771" y="1030"/>
                  </a:cubicBezTo>
                  <a:cubicBezTo>
                    <a:pt x="771" y="1090"/>
                    <a:pt x="731" y="1141"/>
                    <a:pt x="677" y="1158"/>
                  </a:cubicBezTo>
                  <a:cubicBezTo>
                    <a:pt x="677" y="448"/>
                    <a:pt x="677" y="448"/>
                    <a:pt x="677" y="448"/>
                  </a:cubicBezTo>
                  <a:cubicBezTo>
                    <a:pt x="677" y="409"/>
                    <a:pt x="645" y="378"/>
                    <a:pt x="607" y="378"/>
                  </a:cubicBezTo>
                  <a:cubicBezTo>
                    <a:pt x="568" y="378"/>
                    <a:pt x="537" y="409"/>
                    <a:pt x="537" y="448"/>
                  </a:cubicBezTo>
                  <a:cubicBezTo>
                    <a:pt x="537" y="1184"/>
                    <a:pt x="537" y="1184"/>
                    <a:pt x="537" y="1184"/>
                  </a:cubicBezTo>
                  <a:cubicBezTo>
                    <a:pt x="537" y="1234"/>
                    <a:pt x="537" y="1234"/>
                    <a:pt x="537" y="1234"/>
                  </a:cubicBezTo>
                  <a:cubicBezTo>
                    <a:pt x="537" y="2069"/>
                    <a:pt x="537" y="2069"/>
                    <a:pt x="537" y="2069"/>
                  </a:cubicBezTo>
                  <a:cubicBezTo>
                    <a:pt x="537" y="2114"/>
                    <a:pt x="501" y="2149"/>
                    <a:pt x="457" y="2149"/>
                  </a:cubicBezTo>
                  <a:cubicBezTo>
                    <a:pt x="439" y="2149"/>
                    <a:pt x="439" y="2149"/>
                    <a:pt x="439" y="2149"/>
                  </a:cubicBezTo>
                  <a:cubicBezTo>
                    <a:pt x="395" y="2149"/>
                    <a:pt x="359" y="2114"/>
                    <a:pt x="359" y="2069"/>
                  </a:cubicBezTo>
                  <a:cubicBezTo>
                    <a:pt x="359" y="1305"/>
                    <a:pt x="359" y="1305"/>
                    <a:pt x="359" y="1305"/>
                  </a:cubicBezTo>
                  <a:cubicBezTo>
                    <a:pt x="359" y="1303"/>
                    <a:pt x="359" y="1301"/>
                    <a:pt x="359" y="1299"/>
                  </a:cubicBezTo>
                  <a:cubicBezTo>
                    <a:pt x="360" y="1294"/>
                    <a:pt x="360" y="1289"/>
                    <a:pt x="359" y="1284"/>
                  </a:cubicBezTo>
                  <a:cubicBezTo>
                    <a:pt x="359" y="1184"/>
                    <a:pt x="359" y="1184"/>
                    <a:pt x="359" y="1184"/>
                  </a:cubicBezTo>
                  <a:cubicBezTo>
                    <a:pt x="359" y="1145"/>
                    <a:pt x="328" y="1114"/>
                    <a:pt x="289" y="1114"/>
                  </a:cubicBezTo>
                  <a:cubicBezTo>
                    <a:pt x="251" y="1114"/>
                    <a:pt x="219" y="1145"/>
                    <a:pt x="219" y="1184"/>
                  </a:cubicBezTo>
                  <a:cubicBezTo>
                    <a:pt x="219" y="1305"/>
                    <a:pt x="219" y="1305"/>
                    <a:pt x="219" y="1305"/>
                  </a:cubicBezTo>
                  <a:cubicBezTo>
                    <a:pt x="219" y="2069"/>
                    <a:pt x="219" y="2069"/>
                    <a:pt x="219" y="2069"/>
                  </a:cubicBezTo>
                  <a:cubicBezTo>
                    <a:pt x="219" y="2114"/>
                    <a:pt x="183" y="2149"/>
                    <a:pt x="139" y="2149"/>
                  </a:cubicBezTo>
                  <a:cubicBezTo>
                    <a:pt x="70" y="2149"/>
                    <a:pt x="70" y="2149"/>
                    <a:pt x="70" y="2149"/>
                  </a:cubicBezTo>
                  <a:cubicBezTo>
                    <a:pt x="31" y="2149"/>
                    <a:pt x="0" y="2181"/>
                    <a:pt x="0" y="2219"/>
                  </a:cubicBezTo>
                  <a:cubicBezTo>
                    <a:pt x="0" y="2258"/>
                    <a:pt x="31" y="2289"/>
                    <a:pt x="70" y="2289"/>
                  </a:cubicBezTo>
                  <a:cubicBezTo>
                    <a:pt x="139" y="2289"/>
                    <a:pt x="139" y="2289"/>
                    <a:pt x="139" y="2289"/>
                  </a:cubicBezTo>
                  <a:cubicBezTo>
                    <a:pt x="197" y="2289"/>
                    <a:pt x="250" y="2267"/>
                    <a:pt x="289" y="2230"/>
                  </a:cubicBezTo>
                  <a:cubicBezTo>
                    <a:pt x="329" y="2267"/>
                    <a:pt x="381" y="2289"/>
                    <a:pt x="439" y="2289"/>
                  </a:cubicBezTo>
                  <a:cubicBezTo>
                    <a:pt x="457" y="2289"/>
                    <a:pt x="457" y="2289"/>
                    <a:pt x="457" y="2289"/>
                  </a:cubicBezTo>
                  <a:cubicBezTo>
                    <a:pt x="578" y="2289"/>
                    <a:pt x="677" y="2191"/>
                    <a:pt x="677" y="2069"/>
                  </a:cubicBezTo>
                  <a:cubicBezTo>
                    <a:pt x="677" y="1301"/>
                    <a:pt x="677" y="1301"/>
                    <a:pt x="677" y="1301"/>
                  </a:cubicBezTo>
                  <a:cubicBezTo>
                    <a:pt x="809" y="1281"/>
                    <a:pt x="911" y="1167"/>
                    <a:pt x="911" y="1030"/>
                  </a:cubicBezTo>
                  <a:cubicBezTo>
                    <a:pt x="911" y="275"/>
                    <a:pt x="911" y="275"/>
                    <a:pt x="911" y="275"/>
                  </a:cubicBezTo>
                  <a:cubicBezTo>
                    <a:pt x="911" y="123"/>
                    <a:pt x="788" y="0"/>
                    <a:pt x="637" y="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89618" tIns="44809" rIns="89618" bIns="44809" numCol="1" anchor="t" anchorCtr="0" compatLnSpc="1">
              <a:prstTxWarp prst="textNoShape">
                <a:avLst/>
              </a:prstTxWarp>
            </a:bodyPr>
            <a:lstStyle/>
            <a:p>
              <a:pPr defTabSz="896203"/>
              <a:endParaRPr lang="nl-NL" sz="1600">
                <a:solidFill>
                  <a:srgbClr val="000000"/>
                </a:solidFill>
                <a:ea typeface="ＭＳ Ｐゴシック"/>
              </a:endParaRPr>
            </a:p>
          </p:txBody>
        </p:sp>
        <p:sp>
          <p:nvSpPr>
            <p:cNvPr id="94" name="Freeform 24">
              <a:extLst>
                <a:ext uri="{FF2B5EF4-FFF2-40B4-BE49-F238E27FC236}">
                  <a16:creationId xmlns:a16="http://schemas.microsoft.com/office/drawing/2014/main" id="{CAAA8270-E1B4-4804-A42B-B65E69D3D7F9}"/>
                </a:ext>
              </a:extLst>
            </p:cNvPr>
            <p:cNvSpPr>
              <a:spLocks noEditPoints="1"/>
            </p:cNvSpPr>
            <p:nvPr/>
          </p:nvSpPr>
          <p:spPr bwMode="auto">
            <a:xfrm>
              <a:off x="1612900" y="0"/>
              <a:ext cx="919163" cy="920750"/>
            </a:xfrm>
            <a:custGeom>
              <a:avLst/>
              <a:gdLst>
                <a:gd name="T0" fmla="*/ 317 w 634"/>
                <a:gd name="T1" fmla="*/ 634 h 634"/>
                <a:gd name="T2" fmla="*/ 634 w 634"/>
                <a:gd name="T3" fmla="*/ 317 h 634"/>
                <a:gd name="T4" fmla="*/ 317 w 634"/>
                <a:gd name="T5" fmla="*/ 0 h 634"/>
                <a:gd name="T6" fmla="*/ 0 w 634"/>
                <a:gd name="T7" fmla="*/ 317 h 634"/>
                <a:gd name="T8" fmla="*/ 317 w 634"/>
                <a:gd name="T9" fmla="*/ 634 h 634"/>
                <a:gd name="T10" fmla="*/ 317 w 634"/>
                <a:gd name="T11" fmla="*/ 140 h 634"/>
                <a:gd name="T12" fmla="*/ 494 w 634"/>
                <a:gd name="T13" fmla="*/ 317 h 634"/>
                <a:gd name="T14" fmla="*/ 317 w 634"/>
                <a:gd name="T15" fmla="*/ 494 h 634"/>
                <a:gd name="T16" fmla="*/ 140 w 634"/>
                <a:gd name="T17" fmla="*/ 317 h 634"/>
                <a:gd name="T18" fmla="*/ 317 w 634"/>
                <a:gd name="T19" fmla="*/ 14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4" h="634">
                  <a:moveTo>
                    <a:pt x="317" y="634"/>
                  </a:moveTo>
                  <a:cubicBezTo>
                    <a:pt x="492" y="634"/>
                    <a:pt x="634" y="491"/>
                    <a:pt x="634" y="317"/>
                  </a:cubicBezTo>
                  <a:cubicBezTo>
                    <a:pt x="634" y="142"/>
                    <a:pt x="492" y="0"/>
                    <a:pt x="317" y="0"/>
                  </a:cubicBezTo>
                  <a:cubicBezTo>
                    <a:pt x="142" y="0"/>
                    <a:pt x="0" y="142"/>
                    <a:pt x="0" y="317"/>
                  </a:cubicBezTo>
                  <a:cubicBezTo>
                    <a:pt x="0" y="491"/>
                    <a:pt x="142" y="634"/>
                    <a:pt x="317" y="634"/>
                  </a:cubicBezTo>
                  <a:close/>
                  <a:moveTo>
                    <a:pt x="317" y="140"/>
                  </a:moveTo>
                  <a:cubicBezTo>
                    <a:pt x="414" y="140"/>
                    <a:pt x="494" y="219"/>
                    <a:pt x="494" y="317"/>
                  </a:cubicBezTo>
                  <a:cubicBezTo>
                    <a:pt x="494" y="414"/>
                    <a:pt x="414" y="494"/>
                    <a:pt x="317" y="494"/>
                  </a:cubicBezTo>
                  <a:cubicBezTo>
                    <a:pt x="219" y="494"/>
                    <a:pt x="140" y="414"/>
                    <a:pt x="140" y="317"/>
                  </a:cubicBezTo>
                  <a:cubicBezTo>
                    <a:pt x="140" y="219"/>
                    <a:pt x="219" y="140"/>
                    <a:pt x="317" y="14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89618" tIns="44809" rIns="89618" bIns="44809" numCol="1" anchor="t" anchorCtr="0" compatLnSpc="1">
              <a:prstTxWarp prst="textNoShape">
                <a:avLst/>
              </a:prstTxWarp>
            </a:bodyPr>
            <a:lstStyle/>
            <a:p>
              <a:pPr defTabSz="896203"/>
              <a:endParaRPr lang="nl-NL" sz="1600">
                <a:solidFill>
                  <a:srgbClr val="000000"/>
                </a:solidFill>
                <a:ea typeface="ＭＳ Ｐゴシック"/>
              </a:endParaRPr>
            </a:p>
          </p:txBody>
        </p:sp>
        <p:sp>
          <p:nvSpPr>
            <p:cNvPr id="95" name="Freeform 25">
              <a:extLst>
                <a:ext uri="{FF2B5EF4-FFF2-40B4-BE49-F238E27FC236}">
                  <a16:creationId xmlns:a16="http://schemas.microsoft.com/office/drawing/2014/main" id="{E9642415-218A-421D-8D36-9CDDE00C6D0D}"/>
                </a:ext>
              </a:extLst>
            </p:cNvPr>
            <p:cNvSpPr>
              <a:spLocks noEditPoints="1"/>
            </p:cNvSpPr>
            <p:nvPr/>
          </p:nvSpPr>
          <p:spPr bwMode="auto">
            <a:xfrm>
              <a:off x="1176338" y="1036638"/>
              <a:ext cx="1784350" cy="3606800"/>
            </a:xfrm>
            <a:custGeom>
              <a:avLst/>
              <a:gdLst>
                <a:gd name="T0" fmla="*/ 1153 w 1231"/>
                <a:gd name="T1" fmla="*/ 1771 h 2486"/>
                <a:gd name="T2" fmla="*/ 1207 w 1231"/>
                <a:gd name="T3" fmla="*/ 1746 h 2486"/>
                <a:gd name="T4" fmla="*/ 1222 w 1231"/>
                <a:gd name="T5" fmla="*/ 1689 h 2486"/>
                <a:gd name="T6" fmla="*/ 1139 w 1231"/>
                <a:gd name="T7" fmla="*/ 1237 h 2486"/>
                <a:gd name="T8" fmla="*/ 1231 w 1231"/>
                <a:gd name="T9" fmla="*/ 1024 h 2486"/>
                <a:gd name="T10" fmla="*/ 1231 w 1231"/>
                <a:gd name="T11" fmla="*/ 295 h 2486"/>
                <a:gd name="T12" fmla="*/ 936 w 1231"/>
                <a:gd name="T13" fmla="*/ 0 h 2486"/>
                <a:gd name="T14" fmla="*/ 298 w 1231"/>
                <a:gd name="T15" fmla="*/ 0 h 2486"/>
                <a:gd name="T16" fmla="*/ 3 w 1231"/>
                <a:gd name="T17" fmla="*/ 295 h 2486"/>
                <a:gd name="T18" fmla="*/ 3 w 1231"/>
                <a:gd name="T19" fmla="*/ 1024 h 2486"/>
                <a:gd name="T20" fmla="*/ 91 w 1231"/>
                <a:gd name="T21" fmla="*/ 1233 h 2486"/>
                <a:gd name="T22" fmla="*/ 4 w 1231"/>
                <a:gd name="T23" fmla="*/ 1688 h 2486"/>
                <a:gd name="T24" fmla="*/ 19 w 1231"/>
                <a:gd name="T25" fmla="*/ 1746 h 2486"/>
                <a:gd name="T26" fmla="*/ 73 w 1231"/>
                <a:gd name="T27" fmla="*/ 1771 h 2486"/>
                <a:gd name="T28" fmla="*/ 229 w 1231"/>
                <a:gd name="T29" fmla="*/ 1771 h 2486"/>
                <a:gd name="T30" fmla="*/ 229 w 1231"/>
                <a:gd name="T31" fmla="*/ 2266 h 2486"/>
                <a:gd name="T32" fmla="*/ 449 w 1231"/>
                <a:gd name="T33" fmla="*/ 2486 h 2486"/>
                <a:gd name="T34" fmla="*/ 467 w 1231"/>
                <a:gd name="T35" fmla="*/ 2486 h 2486"/>
                <a:gd name="T36" fmla="*/ 617 w 1231"/>
                <a:gd name="T37" fmla="*/ 2427 h 2486"/>
                <a:gd name="T38" fmla="*/ 767 w 1231"/>
                <a:gd name="T39" fmla="*/ 2486 h 2486"/>
                <a:gd name="T40" fmla="*/ 784 w 1231"/>
                <a:gd name="T41" fmla="*/ 2486 h 2486"/>
                <a:gd name="T42" fmla="*/ 1004 w 1231"/>
                <a:gd name="T43" fmla="*/ 2266 h 2486"/>
                <a:gd name="T44" fmla="*/ 1004 w 1231"/>
                <a:gd name="T45" fmla="*/ 1771 h 2486"/>
                <a:gd name="T46" fmla="*/ 1153 w 1231"/>
                <a:gd name="T47" fmla="*/ 1771 h 2486"/>
                <a:gd name="T48" fmla="*/ 236 w 1231"/>
                <a:gd name="T49" fmla="*/ 1219 h 2486"/>
                <a:gd name="T50" fmla="*/ 384 w 1231"/>
                <a:gd name="T51" fmla="*/ 436 h 2486"/>
                <a:gd name="T52" fmla="*/ 328 w 1231"/>
                <a:gd name="T53" fmla="*/ 354 h 2486"/>
                <a:gd name="T54" fmla="*/ 246 w 1231"/>
                <a:gd name="T55" fmla="*/ 410 h 2486"/>
                <a:gd name="T56" fmla="*/ 143 w 1231"/>
                <a:gd name="T57" fmla="*/ 955 h 2486"/>
                <a:gd name="T58" fmla="*/ 143 w 1231"/>
                <a:gd name="T59" fmla="*/ 295 h 2486"/>
                <a:gd name="T60" fmla="*/ 298 w 1231"/>
                <a:gd name="T61" fmla="*/ 140 h 2486"/>
                <a:gd name="T62" fmla="*/ 936 w 1231"/>
                <a:gd name="T63" fmla="*/ 140 h 2486"/>
                <a:gd name="T64" fmla="*/ 1091 w 1231"/>
                <a:gd name="T65" fmla="*/ 295 h 2486"/>
                <a:gd name="T66" fmla="*/ 1091 w 1231"/>
                <a:gd name="T67" fmla="*/ 974 h 2486"/>
                <a:gd name="T68" fmla="*/ 988 w 1231"/>
                <a:gd name="T69" fmla="*/ 411 h 2486"/>
                <a:gd name="T70" fmla="*/ 907 w 1231"/>
                <a:gd name="T71" fmla="*/ 354 h 2486"/>
                <a:gd name="T72" fmla="*/ 850 w 1231"/>
                <a:gd name="T73" fmla="*/ 436 h 2486"/>
                <a:gd name="T74" fmla="*/ 994 w 1231"/>
                <a:gd name="T75" fmla="*/ 1222 h 2486"/>
                <a:gd name="T76" fmla="*/ 994 w 1231"/>
                <a:gd name="T77" fmla="*/ 1222 h 2486"/>
                <a:gd name="T78" fmla="*/ 994 w 1231"/>
                <a:gd name="T79" fmla="*/ 1223 h 2486"/>
                <a:gd name="T80" fmla="*/ 994 w 1231"/>
                <a:gd name="T81" fmla="*/ 1223 h 2486"/>
                <a:gd name="T82" fmla="*/ 1069 w 1231"/>
                <a:gd name="T83" fmla="*/ 1631 h 2486"/>
                <a:gd name="T84" fmla="*/ 158 w 1231"/>
                <a:gd name="T85" fmla="*/ 1631 h 2486"/>
                <a:gd name="T86" fmla="*/ 236 w 1231"/>
                <a:gd name="T87" fmla="*/ 1219 h 2486"/>
                <a:gd name="T88" fmla="*/ 467 w 1231"/>
                <a:gd name="T89" fmla="*/ 2346 h 2486"/>
                <a:gd name="T90" fmla="*/ 449 w 1231"/>
                <a:gd name="T91" fmla="*/ 2346 h 2486"/>
                <a:gd name="T92" fmla="*/ 369 w 1231"/>
                <a:gd name="T93" fmla="*/ 2266 h 2486"/>
                <a:gd name="T94" fmla="*/ 369 w 1231"/>
                <a:gd name="T95" fmla="*/ 1771 h 2486"/>
                <a:gd name="T96" fmla="*/ 547 w 1231"/>
                <a:gd name="T97" fmla="*/ 1771 h 2486"/>
                <a:gd name="T98" fmla="*/ 547 w 1231"/>
                <a:gd name="T99" fmla="*/ 2266 h 2486"/>
                <a:gd name="T100" fmla="*/ 467 w 1231"/>
                <a:gd name="T101" fmla="*/ 2346 h 2486"/>
                <a:gd name="T102" fmla="*/ 864 w 1231"/>
                <a:gd name="T103" fmla="*/ 2266 h 2486"/>
                <a:gd name="T104" fmla="*/ 784 w 1231"/>
                <a:gd name="T105" fmla="*/ 2346 h 2486"/>
                <a:gd name="T106" fmla="*/ 767 w 1231"/>
                <a:gd name="T107" fmla="*/ 2346 h 2486"/>
                <a:gd name="T108" fmla="*/ 687 w 1231"/>
                <a:gd name="T109" fmla="*/ 2266 h 2486"/>
                <a:gd name="T110" fmla="*/ 687 w 1231"/>
                <a:gd name="T111" fmla="*/ 1771 h 2486"/>
                <a:gd name="T112" fmla="*/ 864 w 1231"/>
                <a:gd name="T113" fmla="*/ 1771 h 2486"/>
                <a:gd name="T114" fmla="*/ 864 w 1231"/>
                <a:gd name="T115" fmla="*/ 2266 h 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31" h="2486">
                  <a:moveTo>
                    <a:pt x="1153" y="1771"/>
                  </a:moveTo>
                  <a:cubicBezTo>
                    <a:pt x="1174" y="1771"/>
                    <a:pt x="1194" y="1762"/>
                    <a:pt x="1207" y="1746"/>
                  </a:cubicBezTo>
                  <a:cubicBezTo>
                    <a:pt x="1220" y="1730"/>
                    <a:pt x="1226" y="1709"/>
                    <a:pt x="1222" y="1689"/>
                  </a:cubicBezTo>
                  <a:cubicBezTo>
                    <a:pt x="1139" y="1237"/>
                    <a:pt x="1139" y="1237"/>
                    <a:pt x="1139" y="1237"/>
                  </a:cubicBezTo>
                  <a:cubicBezTo>
                    <a:pt x="1197" y="1182"/>
                    <a:pt x="1231" y="1105"/>
                    <a:pt x="1231" y="1024"/>
                  </a:cubicBezTo>
                  <a:cubicBezTo>
                    <a:pt x="1231" y="295"/>
                    <a:pt x="1231" y="295"/>
                    <a:pt x="1231" y="295"/>
                  </a:cubicBezTo>
                  <a:cubicBezTo>
                    <a:pt x="1231" y="132"/>
                    <a:pt x="1099" y="0"/>
                    <a:pt x="936" y="0"/>
                  </a:cubicBezTo>
                  <a:cubicBezTo>
                    <a:pt x="298" y="0"/>
                    <a:pt x="298" y="0"/>
                    <a:pt x="298" y="0"/>
                  </a:cubicBezTo>
                  <a:cubicBezTo>
                    <a:pt x="135" y="0"/>
                    <a:pt x="3" y="132"/>
                    <a:pt x="3" y="295"/>
                  </a:cubicBezTo>
                  <a:cubicBezTo>
                    <a:pt x="3" y="1024"/>
                    <a:pt x="3" y="1024"/>
                    <a:pt x="3" y="1024"/>
                  </a:cubicBezTo>
                  <a:cubicBezTo>
                    <a:pt x="3" y="1103"/>
                    <a:pt x="35" y="1178"/>
                    <a:pt x="91" y="1233"/>
                  </a:cubicBezTo>
                  <a:cubicBezTo>
                    <a:pt x="4" y="1688"/>
                    <a:pt x="4" y="1688"/>
                    <a:pt x="4" y="1688"/>
                  </a:cubicBezTo>
                  <a:cubicBezTo>
                    <a:pt x="0" y="1709"/>
                    <a:pt x="6" y="1730"/>
                    <a:pt x="19" y="1746"/>
                  </a:cubicBezTo>
                  <a:cubicBezTo>
                    <a:pt x="33" y="1762"/>
                    <a:pt x="52" y="1771"/>
                    <a:pt x="73" y="1771"/>
                  </a:cubicBezTo>
                  <a:cubicBezTo>
                    <a:pt x="229" y="1771"/>
                    <a:pt x="229" y="1771"/>
                    <a:pt x="229" y="1771"/>
                  </a:cubicBezTo>
                  <a:cubicBezTo>
                    <a:pt x="229" y="2266"/>
                    <a:pt x="229" y="2266"/>
                    <a:pt x="229" y="2266"/>
                  </a:cubicBezTo>
                  <a:cubicBezTo>
                    <a:pt x="229" y="2387"/>
                    <a:pt x="328" y="2486"/>
                    <a:pt x="449" y="2486"/>
                  </a:cubicBezTo>
                  <a:cubicBezTo>
                    <a:pt x="467" y="2486"/>
                    <a:pt x="467" y="2486"/>
                    <a:pt x="467" y="2486"/>
                  </a:cubicBezTo>
                  <a:cubicBezTo>
                    <a:pt x="525" y="2486"/>
                    <a:pt x="577" y="2464"/>
                    <a:pt x="617" y="2427"/>
                  </a:cubicBezTo>
                  <a:cubicBezTo>
                    <a:pt x="656" y="2464"/>
                    <a:pt x="709" y="2486"/>
                    <a:pt x="767" y="2486"/>
                  </a:cubicBezTo>
                  <a:cubicBezTo>
                    <a:pt x="784" y="2486"/>
                    <a:pt x="784" y="2486"/>
                    <a:pt x="784" y="2486"/>
                  </a:cubicBezTo>
                  <a:cubicBezTo>
                    <a:pt x="906" y="2486"/>
                    <a:pt x="1004" y="2387"/>
                    <a:pt x="1004" y="2266"/>
                  </a:cubicBezTo>
                  <a:cubicBezTo>
                    <a:pt x="1004" y="1771"/>
                    <a:pt x="1004" y="1771"/>
                    <a:pt x="1004" y="1771"/>
                  </a:cubicBezTo>
                  <a:lnTo>
                    <a:pt x="1153" y="1771"/>
                  </a:lnTo>
                  <a:close/>
                  <a:moveTo>
                    <a:pt x="236" y="1219"/>
                  </a:moveTo>
                  <a:cubicBezTo>
                    <a:pt x="384" y="436"/>
                    <a:pt x="384" y="436"/>
                    <a:pt x="384" y="436"/>
                  </a:cubicBezTo>
                  <a:cubicBezTo>
                    <a:pt x="391" y="398"/>
                    <a:pt x="366" y="362"/>
                    <a:pt x="328" y="354"/>
                  </a:cubicBezTo>
                  <a:cubicBezTo>
                    <a:pt x="290" y="347"/>
                    <a:pt x="254" y="372"/>
                    <a:pt x="246" y="410"/>
                  </a:cubicBezTo>
                  <a:cubicBezTo>
                    <a:pt x="143" y="955"/>
                    <a:pt x="143" y="955"/>
                    <a:pt x="143" y="955"/>
                  </a:cubicBezTo>
                  <a:cubicBezTo>
                    <a:pt x="143" y="295"/>
                    <a:pt x="143" y="295"/>
                    <a:pt x="143" y="295"/>
                  </a:cubicBezTo>
                  <a:cubicBezTo>
                    <a:pt x="143" y="209"/>
                    <a:pt x="213" y="140"/>
                    <a:pt x="298" y="140"/>
                  </a:cubicBezTo>
                  <a:cubicBezTo>
                    <a:pt x="936" y="140"/>
                    <a:pt x="936" y="140"/>
                    <a:pt x="936" y="140"/>
                  </a:cubicBezTo>
                  <a:cubicBezTo>
                    <a:pt x="1022" y="140"/>
                    <a:pt x="1091" y="209"/>
                    <a:pt x="1091" y="295"/>
                  </a:cubicBezTo>
                  <a:cubicBezTo>
                    <a:pt x="1091" y="974"/>
                    <a:pt x="1091" y="974"/>
                    <a:pt x="1091" y="974"/>
                  </a:cubicBezTo>
                  <a:cubicBezTo>
                    <a:pt x="988" y="411"/>
                    <a:pt x="988" y="411"/>
                    <a:pt x="988" y="411"/>
                  </a:cubicBezTo>
                  <a:cubicBezTo>
                    <a:pt x="981" y="373"/>
                    <a:pt x="945" y="347"/>
                    <a:pt x="907" y="354"/>
                  </a:cubicBezTo>
                  <a:cubicBezTo>
                    <a:pt x="869" y="361"/>
                    <a:pt x="843" y="398"/>
                    <a:pt x="850" y="436"/>
                  </a:cubicBezTo>
                  <a:cubicBezTo>
                    <a:pt x="994" y="1222"/>
                    <a:pt x="994" y="1222"/>
                    <a:pt x="994" y="1222"/>
                  </a:cubicBezTo>
                  <a:cubicBezTo>
                    <a:pt x="994" y="1222"/>
                    <a:pt x="994" y="1222"/>
                    <a:pt x="994" y="1222"/>
                  </a:cubicBezTo>
                  <a:cubicBezTo>
                    <a:pt x="994" y="1223"/>
                    <a:pt x="994" y="1223"/>
                    <a:pt x="994" y="1223"/>
                  </a:cubicBezTo>
                  <a:cubicBezTo>
                    <a:pt x="994" y="1223"/>
                    <a:pt x="994" y="1223"/>
                    <a:pt x="994" y="1223"/>
                  </a:cubicBezTo>
                  <a:cubicBezTo>
                    <a:pt x="1069" y="1631"/>
                    <a:pt x="1069" y="1631"/>
                    <a:pt x="1069" y="1631"/>
                  </a:cubicBezTo>
                  <a:cubicBezTo>
                    <a:pt x="158" y="1631"/>
                    <a:pt x="158" y="1631"/>
                    <a:pt x="158" y="1631"/>
                  </a:cubicBezTo>
                  <a:lnTo>
                    <a:pt x="236" y="1219"/>
                  </a:lnTo>
                  <a:close/>
                  <a:moveTo>
                    <a:pt x="467" y="2346"/>
                  </a:moveTo>
                  <a:cubicBezTo>
                    <a:pt x="449" y="2346"/>
                    <a:pt x="449" y="2346"/>
                    <a:pt x="449" y="2346"/>
                  </a:cubicBezTo>
                  <a:cubicBezTo>
                    <a:pt x="405" y="2346"/>
                    <a:pt x="369" y="2310"/>
                    <a:pt x="369" y="2266"/>
                  </a:cubicBezTo>
                  <a:cubicBezTo>
                    <a:pt x="369" y="1771"/>
                    <a:pt x="369" y="1771"/>
                    <a:pt x="369" y="1771"/>
                  </a:cubicBezTo>
                  <a:cubicBezTo>
                    <a:pt x="547" y="1771"/>
                    <a:pt x="547" y="1771"/>
                    <a:pt x="547" y="1771"/>
                  </a:cubicBezTo>
                  <a:cubicBezTo>
                    <a:pt x="547" y="2266"/>
                    <a:pt x="547" y="2266"/>
                    <a:pt x="547" y="2266"/>
                  </a:cubicBezTo>
                  <a:cubicBezTo>
                    <a:pt x="547" y="2310"/>
                    <a:pt x="511" y="2346"/>
                    <a:pt x="467" y="2346"/>
                  </a:cubicBezTo>
                  <a:close/>
                  <a:moveTo>
                    <a:pt x="864" y="2266"/>
                  </a:moveTo>
                  <a:cubicBezTo>
                    <a:pt x="864" y="2310"/>
                    <a:pt x="828" y="2346"/>
                    <a:pt x="784" y="2346"/>
                  </a:cubicBezTo>
                  <a:cubicBezTo>
                    <a:pt x="767" y="2346"/>
                    <a:pt x="767" y="2346"/>
                    <a:pt x="767" y="2346"/>
                  </a:cubicBezTo>
                  <a:cubicBezTo>
                    <a:pt x="723" y="2346"/>
                    <a:pt x="687" y="2310"/>
                    <a:pt x="687" y="2266"/>
                  </a:cubicBezTo>
                  <a:cubicBezTo>
                    <a:pt x="687" y="1771"/>
                    <a:pt x="687" y="1771"/>
                    <a:pt x="687" y="1771"/>
                  </a:cubicBezTo>
                  <a:cubicBezTo>
                    <a:pt x="864" y="1771"/>
                    <a:pt x="864" y="1771"/>
                    <a:pt x="864" y="1771"/>
                  </a:cubicBezTo>
                  <a:lnTo>
                    <a:pt x="864" y="2266"/>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89618" tIns="44809" rIns="89618" bIns="44809" numCol="1" anchor="t" anchorCtr="0" compatLnSpc="1">
              <a:prstTxWarp prst="textNoShape">
                <a:avLst/>
              </a:prstTxWarp>
            </a:bodyPr>
            <a:lstStyle/>
            <a:p>
              <a:pPr defTabSz="896203"/>
              <a:endParaRPr lang="nl-NL" sz="1600">
                <a:solidFill>
                  <a:srgbClr val="000000"/>
                </a:solidFill>
                <a:ea typeface="ＭＳ Ｐゴシック"/>
              </a:endParaRPr>
            </a:p>
          </p:txBody>
        </p:sp>
      </p:grpSp>
      <p:sp>
        <p:nvSpPr>
          <p:cNvPr id="25" name="Titel 24">
            <a:extLst>
              <a:ext uri="{FF2B5EF4-FFF2-40B4-BE49-F238E27FC236}">
                <a16:creationId xmlns:a16="http://schemas.microsoft.com/office/drawing/2014/main" id="{C66A5C54-0B13-5D45-92A2-CBCD45F7C61B}"/>
              </a:ext>
            </a:extLst>
          </p:cNvPr>
          <p:cNvSpPr>
            <a:spLocks noGrp="1"/>
          </p:cNvSpPr>
          <p:nvPr>
            <p:ph type="title"/>
          </p:nvPr>
        </p:nvSpPr>
        <p:spPr/>
        <p:txBody>
          <a:bodyPr/>
          <a:lstStyle/>
          <a:p>
            <a:r>
              <a:rPr lang="en-US" err="1"/>
              <a:t>Contractvergroting</a:t>
            </a:r>
            <a:r>
              <a:rPr lang="en-US"/>
              <a:t> </a:t>
            </a:r>
            <a:r>
              <a:rPr lang="en-US" err="1"/>
              <a:t>biedt</a:t>
            </a:r>
            <a:r>
              <a:rPr lang="en-US"/>
              <a:t> </a:t>
            </a:r>
            <a:r>
              <a:rPr lang="en-US" err="1"/>
              <a:t>kansen</a:t>
            </a:r>
            <a:r>
              <a:rPr lang="en-US"/>
              <a:t> voor </a:t>
            </a:r>
            <a:r>
              <a:rPr lang="en-US" err="1"/>
              <a:t>medewerkers</a:t>
            </a:r>
            <a:r>
              <a:rPr lang="en-US"/>
              <a:t>, </a:t>
            </a:r>
            <a:r>
              <a:rPr lang="en-US" err="1"/>
              <a:t>cliënten</a:t>
            </a:r>
            <a:r>
              <a:rPr lang="en-US"/>
              <a:t> </a:t>
            </a:r>
            <a:r>
              <a:rPr lang="en-US" err="1"/>
              <a:t>en</a:t>
            </a:r>
            <a:r>
              <a:rPr lang="en-US"/>
              <a:t> de </a:t>
            </a:r>
            <a:r>
              <a:rPr lang="en-US" err="1"/>
              <a:t>instelling</a:t>
            </a:r>
            <a:r>
              <a:rPr lang="en-US"/>
              <a:t> </a:t>
            </a:r>
            <a:r>
              <a:rPr lang="en-US" err="1"/>
              <a:t>als</a:t>
            </a:r>
            <a:r>
              <a:rPr lang="en-US"/>
              <a:t> </a:t>
            </a:r>
            <a:r>
              <a:rPr lang="en-US" err="1"/>
              <a:t>geheel</a:t>
            </a:r>
            <a:endParaRPr lang="nl-NL"/>
          </a:p>
        </p:txBody>
      </p:sp>
    </p:spTree>
    <p:extLst>
      <p:ext uri="{BB962C8B-B14F-4D97-AF65-F5344CB8AC3E}">
        <p14:creationId xmlns:p14="http://schemas.microsoft.com/office/powerpoint/2010/main" val="5873320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a:extLst>
              <a:ext uri="{FF2B5EF4-FFF2-40B4-BE49-F238E27FC236}">
                <a16:creationId xmlns:a16="http://schemas.microsoft.com/office/drawing/2014/main" id="{5F287A36-701D-4057-8DD7-B9958BB17381}"/>
              </a:ext>
            </a:extLst>
          </p:cNvPr>
          <p:cNvSpPr txBox="1">
            <a:spLocks/>
          </p:cNvSpPr>
          <p:nvPr/>
        </p:nvSpPr>
        <p:spPr bwMode="gray">
          <a:xfrm>
            <a:off x="492959" y="-1532709"/>
            <a:ext cx="11184551" cy="369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877533" rtl="0" eaLnBrk="1" fontAlgn="base" hangingPunct="1">
              <a:spcBef>
                <a:spcPct val="0"/>
              </a:spcBef>
              <a:spcAft>
                <a:spcPct val="0"/>
              </a:spcAft>
              <a:tabLst>
                <a:tab pos="435654" algn="l"/>
              </a:tabLst>
              <a:defRPr lang="nl-NL" sz="2744" b="0" baseline="0" noProof="0">
                <a:solidFill>
                  <a:schemeClr val="tx2"/>
                </a:solidFill>
                <a:latin typeface="+mj-lt"/>
                <a:ea typeface="+mj-ea"/>
                <a:cs typeface="+mj-cs"/>
                <a:sym typeface="+mj-lt"/>
              </a:defRPr>
            </a:lvl1pPr>
            <a:lvl2pPr algn="l" defTabSz="877533" rtl="0" eaLnBrk="1" fontAlgn="base" hangingPunct="1">
              <a:spcBef>
                <a:spcPct val="0"/>
              </a:spcBef>
              <a:spcAft>
                <a:spcPct val="0"/>
              </a:spcAft>
              <a:defRPr sz="1862" b="1">
                <a:solidFill>
                  <a:schemeClr val="tx2"/>
                </a:solidFill>
                <a:latin typeface="Arial" charset="0"/>
              </a:defRPr>
            </a:lvl2pPr>
            <a:lvl3pPr algn="l" defTabSz="877533" rtl="0" eaLnBrk="1" fontAlgn="base" hangingPunct="1">
              <a:spcBef>
                <a:spcPct val="0"/>
              </a:spcBef>
              <a:spcAft>
                <a:spcPct val="0"/>
              </a:spcAft>
              <a:defRPr sz="1862" b="1">
                <a:solidFill>
                  <a:schemeClr val="tx2"/>
                </a:solidFill>
                <a:latin typeface="Arial" charset="0"/>
              </a:defRPr>
            </a:lvl3pPr>
            <a:lvl4pPr algn="l" defTabSz="877533" rtl="0" eaLnBrk="1" fontAlgn="base" hangingPunct="1">
              <a:spcBef>
                <a:spcPct val="0"/>
              </a:spcBef>
              <a:spcAft>
                <a:spcPct val="0"/>
              </a:spcAft>
              <a:defRPr sz="1862" b="1">
                <a:solidFill>
                  <a:schemeClr val="tx2"/>
                </a:solidFill>
                <a:latin typeface="Arial" charset="0"/>
              </a:defRPr>
            </a:lvl4pPr>
            <a:lvl5pPr algn="l" defTabSz="877533" rtl="0" eaLnBrk="1" fontAlgn="base" hangingPunct="1">
              <a:spcBef>
                <a:spcPct val="0"/>
              </a:spcBef>
              <a:spcAft>
                <a:spcPct val="0"/>
              </a:spcAft>
              <a:defRPr sz="1862" b="1">
                <a:solidFill>
                  <a:schemeClr val="tx2"/>
                </a:solidFill>
                <a:latin typeface="Arial" charset="0"/>
              </a:defRPr>
            </a:lvl5pPr>
            <a:lvl6pPr marL="448102" algn="l" defTabSz="877533" rtl="0" eaLnBrk="1" fontAlgn="base" hangingPunct="1">
              <a:spcBef>
                <a:spcPct val="0"/>
              </a:spcBef>
              <a:spcAft>
                <a:spcPct val="0"/>
              </a:spcAft>
              <a:defRPr sz="1862" b="1">
                <a:solidFill>
                  <a:schemeClr val="tx2"/>
                </a:solidFill>
                <a:latin typeface="Arial" charset="0"/>
              </a:defRPr>
            </a:lvl6pPr>
            <a:lvl7pPr marL="896203" algn="l" defTabSz="877533" rtl="0" eaLnBrk="1" fontAlgn="base" hangingPunct="1">
              <a:spcBef>
                <a:spcPct val="0"/>
              </a:spcBef>
              <a:spcAft>
                <a:spcPct val="0"/>
              </a:spcAft>
              <a:defRPr sz="1862" b="1">
                <a:solidFill>
                  <a:schemeClr val="tx2"/>
                </a:solidFill>
                <a:latin typeface="Arial" charset="0"/>
              </a:defRPr>
            </a:lvl7pPr>
            <a:lvl8pPr marL="1344305" algn="l" defTabSz="877533" rtl="0" eaLnBrk="1" fontAlgn="base" hangingPunct="1">
              <a:spcBef>
                <a:spcPct val="0"/>
              </a:spcBef>
              <a:spcAft>
                <a:spcPct val="0"/>
              </a:spcAft>
              <a:defRPr sz="1862" b="1">
                <a:solidFill>
                  <a:schemeClr val="tx2"/>
                </a:solidFill>
                <a:latin typeface="Arial" charset="0"/>
              </a:defRPr>
            </a:lvl8pPr>
            <a:lvl9pPr marL="1792407" algn="l" defTabSz="877533" rtl="0" eaLnBrk="1" fontAlgn="base" hangingPunct="1">
              <a:spcBef>
                <a:spcPct val="0"/>
              </a:spcBef>
              <a:spcAft>
                <a:spcPct val="0"/>
              </a:spcAft>
              <a:defRPr sz="1862" b="1">
                <a:solidFill>
                  <a:schemeClr val="tx2"/>
                </a:solidFill>
                <a:latin typeface="Arial" charset="0"/>
              </a:defRPr>
            </a:lvl9pPr>
          </a:lstStyle>
          <a:p>
            <a:endParaRPr lang="nl-NL" sz="2857" kern="0"/>
          </a:p>
        </p:txBody>
      </p:sp>
      <p:sp>
        <p:nvSpPr>
          <p:cNvPr id="14" name="Rectangle 13">
            <a:extLst>
              <a:ext uri="{FF2B5EF4-FFF2-40B4-BE49-F238E27FC236}">
                <a16:creationId xmlns:a16="http://schemas.microsoft.com/office/drawing/2014/main" id="{AE7FE69E-8838-463C-986C-B50EF0CEB72F}"/>
              </a:ext>
            </a:extLst>
          </p:cNvPr>
          <p:cNvSpPr>
            <a:spLocks/>
          </p:cNvSpPr>
          <p:nvPr/>
        </p:nvSpPr>
        <p:spPr>
          <a:xfrm>
            <a:off x="777941" y="4147095"/>
            <a:ext cx="3425723" cy="176836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896200"/>
            <a:r>
              <a:rPr lang="nl-NL" sz="1600" b="1">
                <a:solidFill>
                  <a:schemeClr val="bg1"/>
                </a:solidFill>
                <a:ea typeface="+mj-ea"/>
                <a:cs typeface="+mj-cs"/>
                <a:sym typeface="+mj-lt"/>
              </a:rPr>
              <a:t>Werving: </a:t>
            </a:r>
          </a:p>
          <a:p>
            <a:pPr algn="ctr" defTabSz="896200"/>
            <a:r>
              <a:rPr lang="nl-NL" sz="1600" b="1">
                <a:solidFill>
                  <a:schemeClr val="bg1"/>
                </a:solidFill>
                <a:ea typeface="+mj-ea"/>
                <a:cs typeface="+mj-cs"/>
                <a:sym typeface="+mj-lt"/>
              </a:rPr>
              <a:t>Vacatures worden parttime of flexibel aangeboden en medewerkers die een groot contract willen worden niet altijd aangemoedigd</a:t>
            </a:r>
          </a:p>
        </p:txBody>
      </p:sp>
      <p:sp>
        <p:nvSpPr>
          <p:cNvPr id="16" name="Rectangle 94">
            <a:extLst>
              <a:ext uri="{FF2B5EF4-FFF2-40B4-BE49-F238E27FC236}">
                <a16:creationId xmlns:a16="http://schemas.microsoft.com/office/drawing/2014/main" id="{DC16D098-521E-4CF5-AA80-AA233F800C57}"/>
              </a:ext>
            </a:extLst>
          </p:cNvPr>
          <p:cNvSpPr>
            <a:spLocks/>
          </p:cNvSpPr>
          <p:nvPr/>
        </p:nvSpPr>
        <p:spPr>
          <a:xfrm>
            <a:off x="4369858" y="4147096"/>
            <a:ext cx="3425723" cy="1768366"/>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Bef>
                <a:spcPct val="100000"/>
              </a:spcBef>
              <a:buClr>
                <a:schemeClr val="bg1"/>
              </a:buClr>
            </a:pPr>
            <a:r>
              <a:rPr lang="nl-NL" sz="1600" b="1">
                <a:solidFill>
                  <a:schemeClr val="bg1"/>
                </a:solidFill>
                <a:ea typeface="+mj-ea"/>
                <a:cs typeface="+mj-cs"/>
              </a:rPr>
              <a:t>67% van de respondenten geeft aan geen gesprek te hebben over zijn/haar contractgrootte, waarvan </a:t>
            </a:r>
            <a:r>
              <a:rPr lang="nl-NL" sz="1600" b="1">
                <a:solidFill>
                  <a:schemeClr val="bg1"/>
                </a:solidFill>
              </a:rPr>
              <a:t>59% daar echt behoefte aan heeft en </a:t>
            </a:r>
            <a:r>
              <a:rPr lang="nl-NL" sz="1600" b="1">
                <a:solidFill>
                  <a:schemeClr val="bg1"/>
                </a:solidFill>
                <a:ea typeface="+mj-ea"/>
                <a:cs typeface="+mj-cs"/>
              </a:rPr>
              <a:t>8% dit best zou willen</a:t>
            </a:r>
          </a:p>
        </p:txBody>
      </p:sp>
      <p:sp>
        <p:nvSpPr>
          <p:cNvPr id="45" name="Rectangle 13">
            <a:extLst>
              <a:ext uri="{FF2B5EF4-FFF2-40B4-BE49-F238E27FC236}">
                <a16:creationId xmlns:a16="http://schemas.microsoft.com/office/drawing/2014/main" id="{B62F19C1-D979-4802-B24A-4F22C71A47DB}"/>
              </a:ext>
            </a:extLst>
          </p:cNvPr>
          <p:cNvSpPr>
            <a:spLocks/>
          </p:cNvSpPr>
          <p:nvPr/>
        </p:nvSpPr>
        <p:spPr>
          <a:xfrm>
            <a:off x="7961775" y="4149781"/>
            <a:ext cx="3425723" cy="1768366"/>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896200"/>
            <a:r>
              <a:rPr lang="nl-NL" sz="1600" b="1">
                <a:solidFill>
                  <a:schemeClr val="bg1"/>
                </a:solidFill>
                <a:ea typeface="+mj-ea"/>
                <a:cs typeface="+mj-cs"/>
                <a:sym typeface="+mj-lt"/>
              </a:rPr>
              <a:t>Er is nog niet echt beleid gericht op levensfases. Dus: meer maatwerk bieden o.b.v. behoefte van medewerkers (meer of minder werken)</a:t>
            </a:r>
          </a:p>
        </p:txBody>
      </p:sp>
      <p:pic>
        <p:nvPicPr>
          <p:cNvPr id="15" name="CustomIcon">
            <a:extLst>
              <a:ext uri="{FF2B5EF4-FFF2-40B4-BE49-F238E27FC236}">
                <a16:creationId xmlns:a16="http://schemas.microsoft.com/office/drawing/2014/main" id="{64E5CFDD-7114-4EA3-8241-09D97F8A7DC0}"/>
              </a:ext>
            </a:extLst>
          </p:cNvPr>
          <p:cNvPicPr>
            <a:picLocks noChangeAspect="1"/>
          </p:cNvPicPr>
          <p:nvPr>
            <p:custDataLst>
              <p:tags r:id="rId1"/>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74921" y="2239156"/>
            <a:ext cx="1436789" cy="1436789"/>
          </a:xfrm>
          <a:prstGeom prst="rect">
            <a:avLst/>
          </a:prstGeom>
        </p:spPr>
      </p:pic>
      <p:sp>
        <p:nvSpPr>
          <p:cNvPr id="4" name="Titel 3">
            <a:extLst>
              <a:ext uri="{FF2B5EF4-FFF2-40B4-BE49-F238E27FC236}">
                <a16:creationId xmlns:a16="http://schemas.microsoft.com/office/drawing/2014/main" id="{5A01AC4F-7E7B-FD48-A44A-97A4702FAFE6}"/>
              </a:ext>
            </a:extLst>
          </p:cNvPr>
          <p:cNvSpPr>
            <a:spLocks noGrp="1"/>
          </p:cNvSpPr>
          <p:nvPr>
            <p:ph type="title"/>
          </p:nvPr>
        </p:nvSpPr>
        <p:spPr>
          <a:xfrm>
            <a:off x="554737" y="697703"/>
            <a:ext cx="11082528" cy="439639"/>
          </a:xfrm>
        </p:spPr>
        <p:txBody>
          <a:bodyPr/>
          <a:lstStyle/>
          <a:p>
            <a:r>
              <a:rPr lang="nl-NL"/>
              <a:t>67% van de respondenten geeft aan nooit een gesprek te hebben over zijn/haar contractgrootte terwijl een groot deel daar wel behoefte aan heeft</a:t>
            </a:r>
          </a:p>
        </p:txBody>
      </p:sp>
      <p:grpSp>
        <p:nvGrpSpPr>
          <p:cNvPr id="8" name="Groep 7">
            <a:extLst>
              <a:ext uri="{FF2B5EF4-FFF2-40B4-BE49-F238E27FC236}">
                <a16:creationId xmlns:a16="http://schemas.microsoft.com/office/drawing/2014/main" id="{6E77CA4B-59EA-2F4B-981B-DF8C8CA7A3D5}"/>
              </a:ext>
            </a:extLst>
          </p:cNvPr>
          <p:cNvGrpSpPr/>
          <p:nvPr/>
        </p:nvGrpSpPr>
        <p:grpSpPr>
          <a:xfrm>
            <a:off x="4410390" y="2067426"/>
            <a:ext cx="3211265" cy="1622209"/>
            <a:chOff x="4490367" y="2180045"/>
            <a:chExt cx="3211265" cy="1622209"/>
          </a:xfrm>
        </p:grpSpPr>
        <p:sp>
          <p:nvSpPr>
            <p:cNvPr id="69" name="Rounded Rectangle 3">
              <a:extLst>
                <a:ext uri="{FF2B5EF4-FFF2-40B4-BE49-F238E27FC236}">
                  <a16:creationId xmlns:a16="http://schemas.microsoft.com/office/drawing/2014/main" id="{9DC687A1-669E-46A7-97E5-9FD49DF31227}"/>
                </a:ext>
              </a:extLst>
            </p:cNvPr>
            <p:cNvSpPr>
              <a:spLocks/>
            </p:cNvSpPr>
            <p:nvPr/>
          </p:nvSpPr>
          <p:spPr>
            <a:xfrm>
              <a:off x="4490367" y="2180045"/>
              <a:ext cx="3211265" cy="1622209"/>
            </a:xfrm>
            <a:prstGeom prst="rect">
              <a:avLst/>
            </a:prstGeom>
            <a:solidFill>
              <a:schemeClr val="bg1"/>
            </a:solidFill>
            <a:ln w="9525">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70" name="TextBox 106">
              <a:extLst>
                <a:ext uri="{FF2B5EF4-FFF2-40B4-BE49-F238E27FC236}">
                  <a16:creationId xmlns:a16="http://schemas.microsoft.com/office/drawing/2014/main" id="{76EF16F6-A1CF-45DB-8A84-F2E68D20C319}"/>
                </a:ext>
              </a:extLst>
            </p:cNvPr>
            <p:cNvSpPr txBox="1">
              <a:spLocks/>
            </p:cNvSpPr>
            <p:nvPr/>
          </p:nvSpPr>
          <p:spPr>
            <a:xfrm>
              <a:off x="4860468" y="2712953"/>
              <a:ext cx="2656644" cy="646331"/>
            </a:xfrm>
            <a:prstGeom prst="rect">
              <a:avLst/>
            </a:prstGeom>
            <a:noFill/>
          </p:spPr>
          <p:txBody>
            <a:bodyPr vert="horz" wrap="square" lIns="0" tIns="0" rIns="0" bIns="0" rtlCol="0" anchor="t">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lgn="ctr">
                <a:buClr>
                  <a:srgbClr val="003C54"/>
                </a:buClr>
                <a:defRPr/>
              </a:pPr>
              <a:r>
                <a:rPr lang="nl-NL" i="1">
                  <a:solidFill>
                    <a:schemeClr val="accent4"/>
                  </a:solidFill>
                </a:rPr>
                <a:t>In een zelfsturende instelling zijn functioneringsgesprekken niet standaard</a:t>
              </a:r>
              <a:endParaRPr lang="nl-NL" i="1">
                <a:solidFill>
                  <a:schemeClr val="bg1"/>
                </a:solidFill>
                <a:sym typeface="+mj-lt"/>
              </a:endParaRPr>
            </a:p>
          </p:txBody>
        </p:sp>
        <p:grpSp>
          <p:nvGrpSpPr>
            <p:cNvPr id="18" name="Group 108">
              <a:extLst>
                <a:ext uri="{FF2B5EF4-FFF2-40B4-BE49-F238E27FC236}">
                  <a16:creationId xmlns:a16="http://schemas.microsoft.com/office/drawing/2014/main" id="{DBC8A90B-2D1C-4222-9BE6-02B0734B647E}"/>
                </a:ext>
              </a:extLst>
            </p:cNvPr>
            <p:cNvGrpSpPr/>
            <p:nvPr/>
          </p:nvGrpSpPr>
          <p:grpSpPr>
            <a:xfrm>
              <a:off x="7188037" y="3403701"/>
              <a:ext cx="329082" cy="277799"/>
              <a:chOff x="3479801" y="2351527"/>
              <a:chExt cx="555625" cy="414338"/>
            </a:xfrm>
            <a:solidFill>
              <a:schemeClr val="accent4"/>
            </a:solidFill>
          </p:grpSpPr>
          <p:sp>
            <p:nvSpPr>
              <p:cNvPr id="19" name="Freeform 553">
                <a:extLst>
                  <a:ext uri="{FF2B5EF4-FFF2-40B4-BE49-F238E27FC236}">
                    <a16:creationId xmlns:a16="http://schemas.microsoft.com/office/drawing/2014/main" id="{74D175D2-58F1-4A8F-A706-EC6B79145683}"/>
                  </a:ext>
                </a:extLst>
              </p:cNvPr>
              <p:cNvSpPr>
                <a:spLocks/>
              </p:cNvSpPr>
              <p:nvPr/>
            </p:nvSpPr>
            <p:spPr bwMode="auto">
              <a:xfrm flipH="1" flipV="1">
                <a:off x="3784601" y="2351527"/>
                <a:ext cx="250825" cy="414338"/>
              </a:xfrm>
              <a:custGeom>
                <a:avLst/>
                <a:gdLst>
                  <a:gd name="T0" fmla="*/ 528 w 582"/>
                  <a:gd name="T1" fmla="*/ 0 h 968"/>
                  <a:gd name="T2" fmla="*/ 528 w 582"/>
                  <a:gd name="T3" fmla="*/ 70 h 968"/>
                  <a:gd name="T4" fmla="*/ 210 w 582"/>
                  <a:gd name="T5" fmla="*/ 516 h 968"/>
                  <a:gd name="T6" fmla="*/ 240 w 582"/>
                  <a:gd name="T7" fmla="*/ 538 h 968"/>
                  <a:gd name="T8" fmla="*/ 366 w 582"/>
                  <a:gd name="T9" fmla="*/ 496 h 968"/>
                  <a:gd name="T10" fmla="*/ 578 w 582"/>
                  <a:gd name="T11" fmla="*/ 730 h 968"/>
                  <a:gd name="T12" fmla="*/ 320 w 582"/>
                  <a:gd name="T13" fmla="*/ 968 h 968"/>
                  <a:gd name="T14" fmla="*/ 28 w 582"/>
                  <a:gd name="T15" fmla="*/ 566 h 968"/>
                  <a:gd name="T16" fmla="*/ 528 w 582"/>
                  <a:gd name="T17" fmla="*/ 0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2" h="968">
                    <a:moveTo>
                      <a:pt x="528" y="0"/>
                    </a:moveTo>
                    <a:cubicBezTo>
                      <a:pt x="528" y="35"/>
                      <a:pt x="528" y="70"/>
                      <a:pt x="528" y="70"/>
                    </a:cubicBezTo>
                    <a:cubicBezTo>
                      <a:pt x="528" y="70"/>
                      <a:pt x="202" y="171"/>
                      <a:pt x="210" y="516"/>
                    </a:cubicBezTo>
                    <a:cubicBezTo>
                      <a:pt x="210" y="516"/>
                      <a:pt x="207" y="550"/>
                      <a:pt x="240" y="538"/>
                    </a:cubicBezTo>
                    <a:cubicBezTo>
                      <a:pt x="240" y="538"/>
                      <a:pt x="289" y="493"/>
                      <a:pt x="366" y="496"/>
                    </a:cubicBezTo>
                    <a:cubicBezTo>
                      <a:pt x="366" y="496"/>
                      <a:pt x="582" y="505"/>
                      <a:pt x="578" y="730"/>
                    </a:cubicBezTo>
                    <a:cubicBezTo>
                      <a:pt x="578" y="730"/>
                      <a:pt x="560" y="962"/>
                      <a:pt x="320" y="968"/>
                    </a:cubicBezTo>
                    <a:cubicBezTo>
                      <a:pt x="0" y="936"/>
                      <a:pt x="28" y="566"/>
                      <a:pt x="28" y="566"/>
                    </a:cubicBezTo>
                    <a:cubicBezTo>
                      <a:pt x="28" y="566"/>
                      <a:pt x="7" y="180"/>
                      <a:pt x="528" y="0"/>
                    </a:cubicBezTo>
                    <a:close/>
                  </a:path>
                </a:pathLst>
              </a:custGeom>
              <a:grpFill/>
              <a:ln>
                <a:noFill/>
              </a:ln>
              <a:effectLst/>
              <a:extLst>
                <a:ext uri="{91240B29-F687-4F45-9708-019B960494DF}">
                  <a14:hiddenLine xmlns:a14="http://schemas.microsoft.com/office/drawing/2010/main" w="9525" cap="flat" cmpd="sng">
                    <a:solidFill>
                      <a:schemeClr val="tx1"/>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3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0" name="Freeform 554">
                <a:extLst>
                  <a:ext uri="{FF2B5EF4-FFF2-40B4-BE49-F238E27FC236}">
                    <a16:creationId xmlns:a16="http://schemas.microsoft.com/office/drawing/2014/main" id="{DC61F1EC-D021-4017-A847-387E36466092}"/>
                  </a:ext>
                </a:extLst>
              </p:cNvPr>
              <p:cNvSpPr>
                <a:spLocks/>
              </p:cNvSpPr>
              <p:nvPr/>
            </p:nvSpPr>
            <p:spPr bwMode="auto">
              <a:xfrm flipH="1" flipV="1">
                <a:off x="3479801" y="2351527"/>
                <a:ext cx="250825" cy="414338"/>
              </a:xfrm>
              <a:custGeom>
                <a:avLst/>
                <a:gdLst>
                  <a:gd name="T0" fmla="*/ 528 w 582"/>
                  <a:gd name="T1" fmla="*/ 0 h 968"/>
                  <a:gd name="T2" fmla="*/ 528 w 582"/>
                  <a:gd name="T3" fmla="*/ 70 h 968"/>
                  <a:gd name="T4" fmla="*/ 210 w 582"/>
                  <a:gd name="T5" fmla="*/ 516 h 968"/>
                  <a:gd name="T6" fmla="*/ 240 w 582"/>
                  <a:gd name="T7" fmla="*/ 538 h 968"/>
                  <a:gd name="T8" fmla="*/ 366 w 582"/>
                  <a:gd name="T9" fmla="*/ 496 h 968"/>
                  <a:gd name="T10" fmla="*/ 578 w 582"/>
                  <a:gd name="T11" fmla="*/ 730 h 968"/>
                  <a:gd name="T12" fmla="*/ 320 w 582"/>
                  <a:gd name="T13" fmla="*/ 968 h 968"/>
                  <a:gd name="T14" fmla="*/ 28 w 582"/>
                  <a:gd name="T15" fmla="*/ 566 h 968"/>
                  <a:gd name="T16" fmla="*/ 528 w 582"/>
                  <a:gd name="T17" fmla="*/ 0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2" h="968">
                    <a:moveTo>
                      <a:pt x="528" y="0"/>
                    </a:moveTo>
                    <a:cubicBezTo>
                      <a:pt x="528" y="35"/>
                      <a:pt x="528" y="70"/>
                      <a:pt x="528" y="70"/>
                    </a:cubicBezTo>
                    <a:cubicBezTo>
                      <a:pt x="528" y="70"/>
                      <a:pt x="202" y="171"/>
                      <a:pt x="210" y="516"/>
                    </a:cubicBezTo>
                    <a:cubicBezTo>
                      <a:pt x="210" y="516"/>
                      <a:pt x="207" y="550"/>
                      <a:pt x="240" y="538"/>
                    </a:cubicBezTo>
                    <a:cubicBezTo>
                      <a:pt x="240" y="538"/>
                      <a:pt x="289" y="493"/>
                      <a:pt x="366" y="496"/>
                    </a:cubicBezTo>
                    <a:cubicBezTo>
                      <a:pt x="366" y="496"/>
                      <a:pt x="582" y="505"/>
                      <a:pt x="578" y="730"/>
                    </a:cubicBezTo>
                    <a:cubicBezTo>
                      <a:pt x="578" y="730"/>
                      <a:pt x="560" y="962"/>
                      <a:pt x="320" y="968"/>
                    </a:cubicBezTo>
                    <a:cubicBezTo>
                      <a:pt x="0" y="936"/>
                      <a:pt x="28" y="566"/>
                      <a:pt x="28" y="566"/>
                    </a:cubicBezTo>
                    <a:cubicBezTo>
                      <a:pt x="28" y="566"/>
                      <a:pt x="7" y="180"/>
                      <a:pt x="528" y="0"/>
                    </a:cubicBezTo>
                    <a:close/>
                  </a:path>
                </a:pathLst>
              </a:custGeom>
              <a:grpFill/>
              <a:ln>
                <a:noFill/>
              </a:ln>
              <a:effectLst/>
              <a:extLst>
                <a:ext uri="{91240B29-F687-4F45-9708-019B960494DF}">
                  <a14:hiddenLine xmlns:a14="http://schemas.microsoft.com/office/drawing/2010/main" w="9525" cap="flat" cmpd="sng">
                    <a:solidFill>
                      <a:schemeClr val="tx1"/>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300" b="0" i="0" u="none" strike="noStrike" kern="1200" cap="none" spc="0" normalizeH="0" baseline="0" noProof="0">
                  <a:ln>
                    <a:noFill/>
                  </a:ln>
                  <a:solidFill>
                    <a:srgbClr val="000000"/>
                  </a:solidFill>
                  <a:effectLst/>
                  <a:uLnTx/>
                  <a:uFillTx/>
                  <a:latin typeface="Arial"/>
                  <a:ea typeface="ＭＳ Ｐゴシック"/>
                  <a:cs typeface="+mn-cs"/>
                </a:endParaRPr>
              </a:p>
            </p:txBody>
          </p:sp>
        </p:grpSp>
        <p:grpSp>
          <p:nvGrpSpPr>
            <p:cNvPr id="26" name="Group 108">
              <a:extLst>
                <a:ext uri="{FF2B5EF4-FFF2-40B4-BE49-F238E27FC236}">
                  <a16:creationId xmlns:a16="http://schemas.microsoft.com/office/drawing/2014/main" id="{1F1E9402-5E97-CA4F-A5FA-ACBE4B92B67F}"/>
                </a:ext>
              </a:extLst>
            </p:cNvPr>
            <p:cNvGrpSpPr/>
            <p:nvPr/>
          </p:nvGrpSpPr>
          <p:grpSpPr>
            <a:xfrm rot="10800000">
              <a:off x="4650287" y="2351775"/>
              <a:ext cx="329082" cy="277799"/>
              <a:chOff x="3479801" y="2351527"/>
              <a:chExt cx="555625" cy="414338"/>
            </a:xfrm>
            <a:solidFill>
              <a:schemeClr val="accent4"/>
            </a:solidFill>
          </p:grpSpPr>
          <p:sp>
            <p:nvSpPr>
              <p:cNvPr id="27" name="Freeform 553">
                <a:extLst>
                  <a:ext uri="{FF2B5EF4-FFF2-40B4-BE49-F238E27FC236}">
                    <a16:creationId xmlns:a16="http://schemas.microsoft.com/office/drawing/2014/main" id="{EC632D98-D139-1645-94B7-D4E069B5B1F0}"/>
                  </a:ext>
                </a:extLst>
              </p:cNvPr>
              <p:cNvSpPr>
                <a:spLocks/>
              </p:cNvSpPr>
              <p:nvPr/>
            </p:nvSpPr>
            <p:spPr bwMode="auto">
              <a:xfrm flipH="1" flipV="1">
                <a:off x="3784601" y="2351527"/>
                <a:ext cx="250825" cy="414338"/>
              </a:xfrm>
              <a:custGeom>
                <a:avLst/>
                <a:gdLst>
                  <a:gd name="T0" fmla="*/ 528 w 582"/>
                  <a:gd name="T1" fmla="*/ 0 h 968"/>
                  <a:gd name="T2" fmla="*/ 528 w 582"/>
                  <a:gd name="T3" fmla="*/ 70 h 968"/>
                  <a:gd name="T4" fmla="*/ 210 w 582"/>
                  <a:gd name="T5" fmla="*/ 516 h 968"/>
                  <a:gd name="T6" fmla="*/ 240 w 582"/>
                  <a:gd name="T7" fmla="*/ 538 h 968"/>
                  <a:gd name="T8" fmla="*/ 366 w 582"/>
                  <a:gd name="T9" fmla="*/ 496 h 968"/>
                  <a:gd name="T10" fmla="*/ 578 w 582"/>
                  <a:gd name="T11" fmla="*/ 730 h 968"/>
                  <a:gd name="T12" fmla="*/ 320 w 582"/>
                  <a:gd name="T13" fmla="*/ 968 h 968"/>
                  <a:gd name="T14" fmla="*/ 28 w 582"/>
                  <a:gd name="T15" fmla="*/ 566 h 968"/>
                  <a:gd name="T16" fmla="*/ 528 w 582"/>
                  <a:gd name="T17" fmla="*/ 0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2" h="968">
                    <a:moveTo>
                      <a:pt x="528" y="0"/>
                    </a:moveTo>
                    <a:cubicBezTo>
                      <a:pt x="528" y="35"/>
                      <a:pt x="528" y="70"/>
                      <a:pt x="528" y="70"/>
                    </a:cubicBezTo>
                    <a:cubicBezTo>
                      <a:pt x="528" y="70"/>
                      <a:pt x="202" y="171"/>
                      <a:pt x="210" y="516"/>
                    </a:cubicBezTo>
                    <a:cubicBezTo>
                      <a:pt x="210" y="516"/>
                      <a:pt x="207" y="550"/>
                      <a:pt x="240" y="538"/>
                    </a:cubicBezTo>
                    <a:cubicBezTo>
                      <a:pt x="240" y="538"/>
                      <a:pt x="289" y="493"/>
                      <a:pt x="366" y="496"/>
                    </a:cubicBezTo>
                    <a:cubicBezTo>
                      <a:pt x="366" y="496"/>
                      <a:pt x="582" y="505"/>
                      <a:pt x="578" y="730"/>
                    </a:cubicBezTo>
                    <a:cubicBezTo>
                      <a:pt x="578" y="730"/>
                      <a:pt x="560" y="962"/>
                      <a:pt x="320" y="968"/>
                    </a:cubicBezTo>
                    <a:cubicBezTo>
                      <a:pt x="0" y="936"/>
                      <a:pt x="28" y="566"/>
                      <a:pt x="28" y="566"/>
                    </a:cubicBezTo>
                    <a:cubicBezTo>
                      <a:pt x="28" y="566"/>
                      <a:pt x="7" y="180"/>
                      <a:pt x="528" y="0"/>
                    </a:cubicBezTo>
                    <a:close/>
                  </a:path>
                </a:pathLst>
              </a:custGeom>
              <a:grpFill/>
              <a:ln>
                <a:noFill/>
              </a:ln>
              <a:effectLst/>
              <a:extLst>
                <a:ext uri="{91240B29-F687-4F45-9708-019B960494DF}">
                  <a14:hiddenLine xmlns:a14="http://schemas.microsoft.com/office/drawing/2010/main" w="9525" cap="flat" cmpd="sng">
                    <a:solidFill>
                      <a:schemeClr val="tx1"/>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300"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8" name="Freeform 554">
                <a:extLst>
                  <a:ext uri="{FF2B5EF4-FFF2-40B4-BE49-F238E27FC236}">
                    <a16:creationId xmlns:a16="http://schemas.microsoft.com/office/drawing/2014/main" id="{7A98F9E5-F36C-9B42-83DC-4B264A039521}"/>
                  </a:ext>
                </a:extLst>
              </p:cNvPr>
              <p:cNvSpPr>
                <a:spLocks/>
              </p:cNvSpPr>
              <p:nvPr/>
            </p:nvSpPr>
            <p:spPr bwMode="auto">
              <a:xfrm flipH="1" flipV="1">
                <a:off x="3479801" y="2351527"/>
                <a:ext cx="250825" cy="414338"/>
              </a:xfrm>
              <a:custGeom>
                <a:avLst/>
                <a:gdLst>
                  <a:gd name="T0" fmla="*/ 528 w 582"/>
                  <a:gd name="T1" fmla="*/ 0 h 968"/>
                  <a:gd name="T2" fmla="*/ 528 w 582"/>
                  <a:gd name="T3" fmla="*/ 70 h 968"/>
                  <a:gd name="T4" fmla="*/ 210 w 582"/>
                  <a:gd name="T5" fmla="*/ 516 h 968"/>
                  <a:gd name="T6" fmla="*/ 240 w 582"/>
                  <a:gd name="T7" fmla="*/ 538 h 968"/>
                  <a:gd name="T8" fmla="*/ 366 w 582"/>
                  <a:gd name="T9" fmla="*/ 496 h 968"/>
                  <a:gd name="T10" fmla="*/ 578 w 582"/>
                  <a:gd name="T11" fmla="*/ 730 h 968"/>
                  <a:gd name="T12" fmla="*/ 320 w 582"/>
                  <a:gd name="T13" fmla="*/ 968 h 968"/>
                  <a:gd name="T14" fmla="*/ 28 w 582"/>
                  <a:gd name="T15" fmla="*/ 566 h 968"/>
                  <a:gd name="T16" fmla="*/ 528 w 582"/>
                  <a:gd name="T17" fmla="*/ 0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2" h="968">
                    <a:moveTo>
                      <a:pt x="528" y="0"/>
                    </a:moveTo>
                    <a:cubicBezTo>
                      <a:pt x="528" y="35"/>
                      <a:pt x="528" y="70"/>
                      <a:pt x="528" y="70"/>
                    </a:cubicBezTo>
                    <a:cubicBezTo>
                      <a:pt x="528" y="70"/>
                      <a:pt x="202" y="171"/>
                      <a:pt x="210" y="516"/>
                    </a:cubicBezTo>
                    <a:cubicBezTo>
                      <a:pt x="210" y="516"/>
                      <a:pt x="207" y="550"/>
                      <a:pt x="240" y="538"/>
                    </a:cubicBezTo>
                    <a:cubicBezTo>
                      <a:pt x="240" y="538"/>
                      <a:pt x="289" y="493"/>
                      <a:pt x="366" y="496"/>
                    </a:cubicBezTo>
                    <a:cubicBezTo>
                      <a:pt x="366" y="496"/>
                      <a:pt x="582" y="505"/>
                      <a:pt x="578" y="730"/>
                    </a:cubicBezTo>
                    <a:cubicBezTo>
                      <a:pt x="578" y="730"/>
                      <a:pt x="560" y="962"/>
                      <a:pt x="320" y="968"/>
                    </a:cubicBezTo>
                    <a:cubicBezTo>
                      <a:pt x="0" y="936"/>
                      <a:pt x="28" y="566"/>
                      <a:pt x="28" y="566"/>
                    </a:cubicBezTo>
                    <a:cubicBezTo>
                      <a:pt x="28" y="566"/>
                      <a:pt x="7" y="180"/>
                      <a:pt x="528" y="0"/>
                    </a:cubicBezTo>
                    <a:close/>
                  </a:path>
                </a:pathLst>
              </a:custGeom>
              <a:grpFill/>
              <a:ln>
                <a:noFill/>
              </a:ln>
              <a:effectLst/>
              <a:extLst>
                <a:ext uri="{91240B29-F687-4F45-9708-019B960494DF}">
                  <a14:hiddenLine xmlns:a14="http://schemas.microsoft.com/office/drawing/2010/main" w="9525" cap="flat" cmpd="sng">
                    <a:solidFill>
                      <a:schemeClr val="tx1"/>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300" b="0" i="0" u="none" strike="noStrike" kern="1200" cap="none" spc="0" normalizeH="0" baseline="0" noProof="0">
                  <a:ln>
                    <a:noFill/>
                  </a:ln>
                  <a:solidFill>
                    <a:srgbClr val="000000"/>
                  </a:solidFill>
                  <a:effectLst/>
                  <a:uLnTx/>
                  <a:uFillTx/>
                  <a:latin typeface="Arial"/>
                  <a:ea typeface="ＭＳ Ｐゴシック"/>
                  <a:cs typeface="+mn-cs"/>
                </a:endParaRPr>
              </a:p>
            </p:txBody>
          </p:sp>
        </p:grpSp>
      </p:grpSp>
      <p:grpSp>
        <p:nvGrpSpPr>
          <p:cNvPr id="7" name="Groep 6">
            <a:extLst>
              <a:ext uri="{FF2B5EF4-FFF2-40B4-BE49-F238E27FC236}">
                <a16:creationId xmlns:a16="http://schemas.microsoft.com/office/drawing/2014/main" id="{DA5FA90E-A83F-104F-BEF0-17ACAFF800CF}"/>
              </a:ext>
            </a:extLst>
          </p:cNvPr>
          <p:cNvGrpSpPr/>
          <p:nvPr/>
        </p:nvGrpSpPr>
        <p:grpSpPr>
          <a:xfrm>
            <a:off x="7921495" y="1764113"/>
            <a:ext cx="3468517" cy="2124916"/>
            <a:chOff x="7924009" y="1867702"/>
            <a:chExt cx="3468517" cy="2124916"/>
          </a:xfrm>
        </p:grpSpPr>
        <p:grpSp>
          <p:nvGrpSpPr>
            <p:cNvPr id="6" name="Groep 5">
              <a:extLst>
                <a:ext uri="{FF2B5EF4-FFF2-40B4-BE49-F238E27FC236}">
                  <a16:creationId xmlns:a16="http://schemas.microsoft.com/office/drawing/2014/main" id="{75648723-D0B1-D542-BFF7-04507EC28FCF}"/>
                </a:ext>
              </a:extLst>
            </p:cNvPr>
            <p:cNvGrpSpPr/>
            <p:nvPr/>
          </p:nvGrpSpPr>
          <p:grpSpPr>
            <a:xfrm>
              <a:off x="7924009" y="1867702"/>
              <a:ext cx="3466003" cy="2085896"/>
              <a:chOff x="8016462" y="1723869"/>
              <a:chExt cx="3466003" cy="2085896"/>
            </a:xfrm>
          </p:grpSpPr>
          <p:pic>
            <p:nvPicPr>
              <p:cNvPr id="39954" name="Picture 18" descr="C:\Users\hensg\AppData\Local\Microsoft\Windows\Temporary Internet Files\Content.Outlook\KZXLYPV5\Schermafbeelding 2020-06-24 om 09.30.23.pn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0035" t="37533" r="42254" b="27030"/>
              <a:stretch/>
            </p:blipFill>
            <p:spPr bwMode="auto">
              <a:xfrm>
                <a:off x="8016462" y="1874320"/>
                <a:ext cx="2612337" cy="192793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8" descr="C:\Users\hensg\AppData\Local\Microsoft\Windows\Temporary Internet Files\Content.Outlook\KZXLYPV5\Schermafbeelding 2020-06-24 om 09.30.23.png">
                <a:extLst>
                  <a:ext uri="{FF2B5EF4-FFF2-40B4-BE49-F238E27FC236}">
                    <a16:creationId xmlns:a16="http://schemas.microsoft.com/office/drawing/2014/main" id="{9C06D0DD-7E53-CF47-8A42-18945D070EAF}"/>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72823" t="37533" r="15166" b="27030"/>
              <a:stretch/>
            </p:blipFill>
            <p:spPr bwMode="auto">
              <a:xfrm>
                <a:off x="10350118" y="1881831"/>
                <a:ext cx="1132347" cy="1927934"/>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106">
                <a:extLst>
                  <a:ext uri="{FF2B5EF4-FFF2-40B4-BE49-F238E27FC236}">
                    <a16:creationId xmlns:a16="http://schemas.microsoft.com/office/drawing/2014/main" id="{2EC767C2-E3A1-F645-BFA0-F6BF6AC0CAC0}"/>
                  </a:ext>
                </a:extLst>
              </p:cNvPr>
              <p:cNvSpPr txBox="1">
                <a:spLocks/>
              </p:cNvSpPr>
              <p:nvPr/>
            </p:nvSpPr>
            <p:spPr>
              <a:xfrm>
                <a:off x="8242015" y="1980841"/>
                <a:ext cx="2656644" cy="246221"/>
              </a:xfrm>
              <a:prstGeom prst="rect">
                <a:avLst/>
              </a:prstGeom>
              <a:solidFill>
                <a:schemeClr val="bg1"/>
              </a:solidFill>
            </p:spPr>
            <p:txBody>
              <a:bodyPr vert="horz" wrap="square" lIns="0" tIns="0" rIns="0" bIns="0" rtlCol="0" anchor="t">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buClr>
                    <a:srgbClr val="003C54"/>
                  </a:buClr>
                  <a:defRPr/>
                </a:pPr>
                <a:r>
                  <a:rPr lang="nl-NL" sz="800">
                    <a:solidFill>
                      <a:schemeClr val="accent4"/>
                    </a:solidFill>
                  </a:rPr>
                  <a:t>Aantal medewerkers gesegmenteerd o.b.v. contractgrootte</a:t>
                </a:r>
                <a:endParaRPr lang="nl-NL" sz="800">
                  <a:solidFill>
                    <a:schemeClr val="bg1"/>
                  </a:solidFill>
                  <a:sym typeface="+mj-lt"/>
                </a:endParaRPr>
              </a:p>
            </p:txBody>
          </p:sp>
          <p:sp>
            <p:nvSpPr>
              <p:cNvPr id="5" name="Rechthoek 4">
                <a:extLst>
                  <a:ext uri="{FF2B5EF4-FFF2-40B4-BE49-F238E27FC236}">
                    <a16:creationId xmlns:a16="http://schemas.microsoft.com/office/drawing/2014/main" id="{2C9A1B80-0439-A642-BCBF-D5BB0F66FFA4}"/>
                  </a:ext>
                </a:extLst>
              </p:cNvPr>
              <p:cNvSpPr/>
              <p:nvPr/>
            </p:nvSpPr>
            <p:spPr>
              <a:xfrm>
                <a:off x="10350118" y="1723869"/>
                <a:ext cx="1132347" cy="50319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err="1">
                  <a:solidFill>
                    <a:schemeClr val="tx1"/>
                  </a:solidFill>
                </a:endParaRPr>
              </a:p>
            </p:txBody>
          </p:sp>
          <p:sp>
            <p:nvSpPr>
              <p:cNvPr id="30" name="TextBox 106">
                <a:extLst>
                  <a:ext uri="{FF2B5EF4-FFF2-40B4-BE49-F238E27FC236}">
                    <a16:creationId xmlns:a16="http://schemas.microsoft.com/office/drawing/2014/main" id="{54393A3C-EB91-B843-B2B4-96F5D064D91B}"/>
                  </a:ext>
                </a:extLst>
              </p:cNvPr>
              <p:cNvSpPr txBox="1">
                <a:spLocks/>
              </p:cNvSpPr>
              <p:nvPr/>
            </p:nvSpPr>
            <p:spPr>
              <a:xfrm>
                <a:off x="10431864" y="1895968"/>
                <a:ext cx="426898" cy="323165"/>
              </a:xfrm>
              <a:prstGeom prst="rect">
                <a:avLst/>
              </a:prstGeom>
              <a:solidFill>
                <a:schemeClr val="bg1"/>
              </a:solidFill>
            </p:spPr>
            <p:txBody>
              <a:bodyPr vert="horz" wrap="square" lIns="0" tIns="0" rIns="0" bIns="0" rtlCol="0" anchor="t">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lgn="ctr">
                  <a:buClr>
                    <a:srgbClr val="003C54"/>
                  </a:buClr>
                  <a:defRPr/>
                </a:pPr>
                <a:r>
                  <a:rPr lang="nl-NL" sz="700">
                    <a:solidFill>
                      <a:schemeClr val="accent4"/>
                    </a:solidFill>
                  </a:rPr>
                  <a:t>% van </a:t>
                </a:r>
                <a:r>
                  <a:rPr lang="nl-NL" sz="700" err="1">
                    <a:solidFill>
                      <a:schemeClr val="accent4"/>
                    </a:solidFill>
                  </a:rPr>
                  <a:t>mede-werkers</a:t>
                </a:r>
                <a:endParaRPr lang="nl-NL" sz="700">
                  <a:solidFill>
                    <a:schemeClr val="bg1"/>
                  </a:solidFill>
                  <a:sym typeface="+mj-lt"/>
                </a:endParaRPr>
              </a:p>
            </p:txBody>
          </p:sp>
          <p:sp>
            <p:nvSpPr>
              <p:cNvPr id="31" name="TextBox 106">
                <a:extLst>
                  <a:ext uri="{FF2B5EF4-FFF2-40B4-BE49-F238E27FC236}">
                    <a16:creationId xmlns:a16="http://schemas.microsoft.com/office/drawing/2014/main" id="{9E330AFE-93E8-644E-A600-271C22BE8880}"/>
                  </a:ext>
                </a:extLst>
              </p:cNvPr>
              <p:cNvSpPr txBox="1">
                <a:spLocks/>
              </p:cNvSpPr>
              <p:nvPr/>
            </p:nvSpPr>
            <p:spPr>
              <a:xfrm>
                <a:off x="10928639" y="1897007"/>
                <a:ext cx="426898" cy="323165"/>
              </a:xfrm>
              <a:prstGeom prst="rect">
                <a:avLst/>
              </a:prstGeom>
              <a:solidFill>
                <a:schemeClr val="bg1"/>
              </a:solidFill>
            </p:spPr>
            <p:txBody>
              <a:bodyPr vert="horz" wrap="square" lIns="0" tIns="0" rIns="0" bIns="0" rtlCol="0" anchor="t">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lgn="ctr">
                  <a:buClr>
                    <a:srgbClr val="003C54"/>
                  </a:buClr>
                  <a:defRPr/>
                </a:pPr>
                <a:r>
                  <a:rPr lang="nl-NL" sz="700">
                    <a:solidFill>
                      <a:schemeClr val="accent4"/>
                    </a:solidFill>
                  </a:rPr>
                  <a:t>Gem. contract-grootte</a:t>
                </a:r>
                <a:endParaRPr lang="nl-NL" sz="700">
                  <a:solidFill>
                    <a:schemeClr val="bg1"/>
                  </a:solidFill>
                  <a:sym typeface="+mj-lt"/>
                </a:endParaRPr>
              </a:p>
            </p:txBody>
          </p:sp>
        </p:grpSp>
        <p:sp>
          <p:nvSpPr>
            <p:cNvPr id="32" name="Rounded Rectangle 3">
              <a:extLst>
                <a:ext uri="{FF2B5EF4-FFF2-40B4-BE49-F238E27FC236}">
                  <a16:creationId xmlns:a16="http://schemas.microsoft.com/office/drawing/2014/main" id="{D9AFDEA5-6BCA-AC47-A222-DE990ABA0AA6}"/>
                </a:ext>
              </a:extLst>
            </p:cNvPr>
            <p:cNvSpPr>
              <a:spLocks/>
            </p:cNvSpPr>
            <p:nvPr/>
          </p:nvSpPr>
          <p:spPr>
            <a:xfrm>
              <a:off x="7966803" y="1990156"/>
              <a:ext cx="3425723" cy="2002462"/>
            </a:xfrm>
            <a:prstGeom prst="rect">
              <a:avLst/>
            </a:prstGeom>
            <a:noFill/>
            <a:ln w="9525">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rgbClr val="000000"/>
                </a:solidFill>
                <a:effectLst/>
                <a:uLnTx/>
                <a:uFillTx/>
                <a:latin typeface="Arial"/>
                <a:ea typeface="ＭＳ Ｐゴシック"/>
                <a:cs typeface="+mn-cs"/>
              </a:endParaRPr>
            </a:p>
          </p:txBody>
        </p:sp>
      </p:grpSp>
      <p:sp>
        <p:nvSpPr>
          <p:cNvPr id="33" name="5. Source">
            <a:extLst>
              <a:ext uri="{FF2B5EF4-FFF2-40B4-BE49-F238E27FC236}">
                <a16:creationId xmlns:a16="http://schemas.microsoft.com/office/drawing/2014/main" id="{D0E3CB0C-4965-B347-B6C8-DEE544D635AA}"/>
              </a:ext>
            </a:extLst>
          </p:cNvPr>
          <p:cNvSpPr>
            <a:spLocks noChangeArrowheads="1"/>
          </p:cNvSpPr>
          <p:nvPr/>
        </p:nvSpPr>
        <p:spPr bwMode="gray">
          <a:xfrm>
            <a:off x="696117" y="6572318"/>
            <a:ext cx="11082363"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0" marR="0" lvl="0" indent="0" algn="l" defTabSz="913332" rtl="0" eaLnBrk="1" fontAlgn="auto" latinLnBrk="0" hangingPunct="1">
              <a:lnSpc>
                <a:spcPct val="100000"/>
              </a:lnSpc>
              <a:spcBef>
                <a:spcPct val="0"/>
              </a:spcBef>
              <a:spcAft>
                <a:spcPct val="0"/>
              </a:spcAft>
              <a:buClrTx/>
              <a:buSzTx/>
              <a:buFontTx/>
              <a:buNone/>
              <a:tabLst>
                <a:tab pos="625082" algn="l"/>
              </a:tabLst>
              <a:defRPr/>
            </a:pPr>
            <a:r>
              <a:rPr kumimoji="0" lang="nl-NL" sz="900" b="0" i="0" u="none" strike="noStrike" kern="1200" cap="none" spc="0" normalizeH="0" baseline="0" noProof="0" dirty="0">
                <a:ln>
                  <a:noFill/>
                </a:ln>
                <a:solidFill>
                  <a:srgbClr val="000000"/>
                </a:solidFill>
                <a:effectLst/>
                <a:uLnTx/>
                <a:uFillTx/>
                <a:latin typeface="Arial"/>
                <a:ea typeface="ＭＳ Ｐゴシック"/>
                <a:cs typeface="Arial"/>
              </a:rPr>
              <a:t>Bron: Enquête [instelling], interviews en teamanalyse. </a:t>
            </a:r>
            <a:endParaRPr kumimoji="0" lang="nl-NL"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2" name="Rechthoek 1">
            <a:extLst>
              <a:ext uri="{FF2B5EF4-FFF2-40B4-BE49-F238E27FC236}">
                <a16:creationId xmlns:a16="http://schemas.microsoft.com/office/drawing/2014/main" id="{35764F20-C0A1-47DB-8BCD-D5C3D0BFAEB4}"/>
              </a:ext>
            </a:extLst>
          </p:cNvPr>
          <p:cNvSpPr/>
          <p:nvPr/>
        </p:nvSpPr>
        <p:spPr>
          <a:xfrm>
            <a:off x="-1578874" y="111722"/>
            <a:ext cx="1903751" cy="2035688"/>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b="1" err="1">
                <a:solidFill>
                  <a:schemeClr val="tx1"/>
                </a:solidFill>
              </a:rPr>
              <a:t>To</a:t>
            </a:r>
            <a:r>
              <a:rPr lang="nl-NL" sz="1600" b="1">
                <a:solidFill>
                  <a:schemeClr val="tx1"/>
                </a:solidFill>
              </a:rPr>
              <a:t> do om deze slide instelling specifiek te maken:</a:t>
            </a:r>
          </a:p>
          <a:p>
            <a:pPr algn="ctr"/>
            <a:endParaRPr lang="nl-NL" sz="1600">
              <a:solidFill>
                <a:schemeClr val="tx1"/>
              </a:solidFill>
            </a:endParaRPr>
          </a:p>
          <a:p>
            <a:pPr algn="ctr"/>
            <a:r>
              <a:rPr lang="nl-NL" sz="1600">
                <a:solidFill>
                  <a:schemeClr val="tx1"/>
                </a:solidFill>
              </a:rPr>
              <a:t>- Resultaten uit de Value Case hierin opnemen</a:t>
            </a:r>
          </a:p>
        </p:txBody>
      </p:sp>
    </p:spTree>
    <p:extLst>
      <p:ext uri="{BB962C8B-B14F-4D97-AF65-F5344CB8AC3E}">
        <p14:creationId xmlns:p14="http://schemas.microsoft.com/office/powerpoint/2010/main" val="20933464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99">
            <a:extLst>
              <a:ext uri="{FF2B5EF4-FFF2-40B4-BE49-F238E27FC236}">
                <a16:creationId xmlns:a16="http://schemas.microsoft.com/office/drawing/2014/main" id="{9F1A661C-7BEB-1446-A6EE-6B0DDA255B90}"/>
              </a:ext>
            </a:extLst>
          </p:cNvPr>
          <p:cNvSpPr>
            <a:spLocks/>
          </p:cNvSpPr>
          <p:nvPr/>
        </p:nvSpPr>
        <p:spPr>
          <a:xfrm rot="10800000" flipH="1" flipV="1">
            <a:off x="554815" y="1759834"/>
            <a:ext cx="5541181" cy="4161141"/>
          </a:xfrm>
          <a:custGeom>
            <a:avLst/>
            <a:gdLst>
              <a:gd name="connsiteX0" fmla="*/ 0 w 6737780"/>
              <a:gd name="connsiteY0" fmla="*/ 0 h 2427617"/>
              <a:gd name="connsiteX1" fmla="*/ 6737780 w 6737780"/>
              <a:gd name="connsiteY1" fmla="*/ 0 h 2427617"/>
              <a:gd name="connsiteX2" fmla="*/ 6737780 w 6737780"/>
              <a:gd name="connsiteY2" fmla="*/ 2427617 h 2427617"/>
              <a:gd name="connsiteX3" fmla="*/ 0 w 6737780"/>
              <a:gd name="connsiteY3" fmla="*/ 2427617 h 2427617"/>
              <a:gd name="connsiteX4" fmla="*/ 0 w 6737780"/>
              <a:gd name="connsiteY4" fmla="*/ 0 h 2427617"/>
              <a:gd name="connsiteX0" fmla="*/ 0 w 6737780"/>
              <a:gd name="connsiteY0" fmla="*/ 0 h 2427617"/>
              <a:gd name="connsiteX1" fmla="*/ 6737780 w 6737780"/>
              <a:gd name="connsiteY1" fmla="*/ 0 h 2427617"/>
              <a:gd name="connsiteX2" fmla="*/ 6737780 w 6737780"/>
              <a:gd name="connsiteY2" fmla="*/ 2427617 h 2427617"/>
              <a:gd name="connsiteX3" fmla="*/ 6196501 w 6737780"/>
              <a:gd name="connsiteY3" fmla="*/ 2421581 h 2427617"/>
              <a:gd name="connsiteX4" fmla="*/ 0 w 6737780"/>
              <a:gd name="connsiteY4" fmla="*/ 2427617 h 2427617"/>
              <a:gd name="connsiteX5" fmla="*/ 0 w 6737780"/>
              <a:gd name="connsiteY5" fmla="*/ 0 h 2427617"/>
              <a:gd name="connsiteX0" fmla="*/ 0 w 6798740"/>
              <a:gd name="connsiteY0" fmla="*/ 0 h 2427617"/>
              <a:gd name="connsiteX1" fmla="*/ 6737780 w 6798740"/>
              <a:gd name="connsiteY1" fmla="*/ 0 h 2427617"/>
              <a:gd name="connsiteX2" fmla="*/ 6798740 w 6798740"/>
              <a:gd name="connsiteY2" fmla="*/ 2084717 h 2427617"/>
              <a:gd name="connsiteX3" fmla="*/ 6196501 w 6798740"/>
              <a:gd name="connsiteY3" fmla="*/ 2421581 h 2427617"/>
              <a:gd name="connsiteX4" fmla="*/ 0 w 6798740"/>
              <a:gd name="connsiteY4" fmla="*/ 2427617 h 2427617"/>
              <a:gd name="connsiteX5" fmla="*/ 0 w 6798740"/>
              <a:gd name="connsiteY5" fmla="*/ 0 h 242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98740" h="2427617">
                <a:moveTo>
                  <a:pt x="0" y="0"/>
                </a:moveTo>
                <a:lnTo>
                  <a:pt x="6737780" y="0"/>
                </a:lnTo>
                <a:lnTo>
                  <a:pt x="6798740" y="2084717"/>
                </a:lnTo>
                <a:lnTo>
                  <a:pt x="6196501" y="2421581"/>
                </a:lnTo>
                <a:lnTo>
                  <a:pt x="0" y="2427617"/>
                </a:lnTo>
                <a:lnTo>
                  <a:pt x="0" y="0"/>
                </a:lnTo>
                <a:close/>
              </a:path>
            </a:pathLst>
          </a:custGeom>
          <a:solidFill>
            <a:srgbClr val="E0F5F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1" tIns="45716" rIns="91431" bIns="45716" rtlCol="0" anchor="ctr">
            <a:noAutofit/>
          </a:bodyP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nl-NL" sz="1428"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27" name="Rectangle 99">
            <a:extLst>
              <a:ext uri="{FF2B5EF4-FFF2-40B4-BE49-F238E27FC236}">
                <a16:creationId xmlns:a16="http://schemas.microsoft.com/office/drawing/2014/main" id="{9F1A661C-7BEB-1446-A6EE-6B0DDA255B90}"/>
              </a:ext>
            </a:extLst>
          </p:cNvPr>
          <p:cNvSpPr>
            <a:spLocks/>
          </p:cNvSpPr>
          <p:nvPr/>
        </p:nvSpPr>
        <p:spPr>
          <a:xfrm rot="10800000" flipV="1">
            <a:off x="6237298" y="3995380"/>
            <a:ext cx="5511572" cy="1925604"/>
          </a:xfrm>
          <a:custGeom>
            <a:avLst/>
            <a:gdLst>
              <a:gd name="connsiteX0" fmla="*/ 0 w 6737780"/>
              <a:gd name="connsiteY0" fmla="*/ 0 h 2427617"/>
              <a:gd name="connsiteX1" fmla="*/ 6737780 w 6737780"/>
              <a:gd name="connsiteY1" fmla="*/ 0 h 2427617"/>
              <a:gd name="connsiteX2" fmla="*/ 6737780 w 6737780"/>
              <a:gd name="connsiteY2" fmla="*/ 2427617 h 2427617"/>
              <a:gd name="connsiteX3" fmla="*/ 0 w 6737780"/>
              <a:gd name="connsiteY3" fmla="*/ 2427617 h 2427617"/>
              <a:gd name="connsiteX4" fmla="*/ 0 w 6737780"/>
              <a:gd name="connsiteY4" fmla="*/ 0 h 2427617"/>
              <a:gd name="connsiteX0" fmla="*/ 0 w 6737780"/>
              <a:gd name="connsiteY0" fmla="*/ 0 h 2427617"/>
              <a:gd name="connsiteX1" fmla="*/ 6737780 w 6737780"/>
              <a:gd name="connsiteY1" fmla="*/ 0 h 2427617"/>
              <a:gd name="connsiteX2" fmla="*/ 6737780 w 6737780"/>
              <a:gd name="connsiteY2" fmla="*/ 2427617 h 2427617"/>
              <a:gd name="connsiteX3" fmla="*/ 6196501 w 6737780"/>
              <a:gd name="connsiteY3" fmla="*/ 2421581 h 2427617"/>
              <a:gd name="connsiteX4" fmla="*/ 0 w 6737780"/>
              <a:gd name="connsiteY4" fmla="*/ 2427617 h 2427617"/>
              <a:gd name="connsiteX5" fmla="*/ 0 w 6737780"/>
              <a:gd name="connsiteY5" fmla="*/ 0 h 2427617"/>
              <a:gd name="connsiteX0" fmla="*/ 0 w 6798740"/>
              <a:gd name="connsiteY0" fmla="*/ 0 h 2427617"/>
              <a:gd name="connsiteX1" fmla="*/ 6737780 w 6798740"/>
              <a:gd name="connsiteY1" fmla="*/ 0 h 2427617"/>
              <a:gd name="connsiteX2" fmla="*/ 6798740 w 6798740"/>
              <a:gd name="connsiteY2" fmla="*/ 2084717 h 2427617"/>
              <a:gd name="connsiteX3" fmla="*/ 6196501 w 6798740"/>
              <a:gd name="connsiteY3" fmla="*/ 2421581 h 2427617"/>
              <a:gd name="connsiteX4" fmla="*/ 0 w 6798740"/>
              <a:gd name="connsiteY4" fmla="*/ 2427617 h 2427617"/>
              <a:gd name="connsiteX5" fmla="*/ 0 w 6798740"/>
              <a:gd name="connsiteY5" fmla="*/ 0 h 242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98740" h="2427617">
                <a:moveTo>
                  <a:pt x="0" y="0"/>
                </a:moveTo>
                <a:lnTo>
                  <a:pt x="6737780" y="0"/>
                </a:lnTo>
                <a:lnTo>
                  <a:pt x="6798740" y="2084717"/>
                </a:lnTo>
                <a:lnTo>
                  <a:pt x="6196501" y="2421581"/>
                </a:lnTo>
                <a:lnTo>
                  <a:pt x="0" y="2427617"/>
                </a:lnTo>
                <a:lnTo>
                  <a:pt x="0" y="0"/>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1" tIns="45716" rIns="91431" bIns="45716" rtlCol="0" anchor="ctr">
            <a:noAutofit/>
          </a:bodyP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nl-NL" sz="1428"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105" name="TextBox 104">
            <a:extLst>
              <a:ext uri="{FF2B5EF4-FFF2-40B4-BE49-F238E27FC236}">
                <a16:creationId xmlns:a16="http://schemas.microsoft.com/office/drawing/2014/main" id="{60EC357C-DE4E-4DD9-B11A-7094B97C07CA}"/>
              </a:ext>
            </a:extLst>
          </p:cNvPr>
          <p:cNvSpPr txBox="1"/>
          <p:nvPr/>
        </p:nvSpPr>
        <p:spPr>
          <a:xfrm>
            <a:off x="8171057" y="4145161"/>
            <a:ext cx="3577813" cy="13849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7533" eaLnBrk="1" hangingPunct="1">
              <a:buClr>
                <a:schemeClr val="tx2"/>
              </a:buClr>
              <a:defRPr sz="1568" baseline="0">
                <a:latin typeface="+mn-lt"/>
                <a:sym typeface="+mn-lt"/>
              </a:defRPr>
            </a:lvl1pPr>
            <a:lvl2pPr marL="176415" lvl="1" indent="-176415" defTabSz="877533" eaLnBrk="1" hangingPunct="1">
              <a:buClr>
                <a:schemeClr val="tx1"/>
              </a:buClr>
              <a:buSzPct val="100000"/>
              <a:buFont typeface="Arial" pitchFamily="34" charset="0"/>
              <a:buChar char="•"/>
              <a:defRPr sz="1568" baseline="0">
                <a:latin typeface="+mn-lt"/>
                <a:sym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sym typeface="+mn-lt"/>
              </a:defRPr>
            </a:lvl3pPr>
            <a:lvl4pPr marL="529245" lvl="3" indent="-176415" defTabSz="877533" eaLnBrk="1" hangingPunct="1">
              <a:buClr>
                <a:schemeClr val="tx1"/>
              </a:buClr>
              <a:buSzPct val="100000"/>
              <a:buFont typeface="Arial" pitchFamily="34" charset="0"/>
              <a:buChar char="»"/>
              <a:defRPr sz="1568" baseline="0">
                <a:latin typeface="+mn-lt"/>
                <a:sym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sym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l" defTabSz="895347" rtl="0" eaLnBrk="1" fontAlgn="base" latinLnBrk="0" hangingPunct="1">
              <a:lnSpc>
                <a:spcPct val="100000"/>
              </a:lnSpc>
              <a:spcBef>
                <a:spcPct val="0"/>
              </a:spcBef>
              <a:spcAft>
                <a:spcPct val="0"/>
              </a:spcAft>
              <a:buClr>
                <a:srgbClr val="003C54"/>
              </a:buClr>
              <a:buSzTx/>
              <a:buFontTx/>
              <a:buNone/>
              <a:tabLst/>
              <a:defRPr/>
            </a:pPr>
            <a:r>
              <a:rPr lang="nl-NL" sz="1800" b="1">
                <a:solidFill>
                  <a:srgbClr val="005777"/>
                </a:solidFill>
                <a:latin typeface="Arial"/>
                <a:ea typeface="ＭＳ Ｐゴシック"/>
              </a:rPr>
              <a:t>1</a:t>
            </a:r>
            <a:r>
              <a:rPr kumimoji="0" lang="nl-NL" sz="1800" b="1" i="0" u="none" strike="noStrike" kern="1200" cap="none" spc="0" normalizeH="0" baseline="0" noProof="0">
                <a:ln>
                  <a:noFill/>
                </a:ln>
                <a:solidFill>
                  <a:srgbClr val="005777"/>
                </a:solidFill>
                <a:effectLst/>
                <a:uLnTx/>
                <a:uFillTx/>
                <a:latin typeface="Arial"/>
                <a:ea typeface="ＭＳ Ｐゴシック"/>
                <a:cs typeface="+mn-cs"/>
                <a:sym typeface="+mn-lt"/>
              </a:rPr>
              <a:t>7% van de respondenten </a:t>
            </a:r>
            <a:r>
              <a:rPr kumimoji="0" lang="nl-NL" sz="1800" i="0" u="none" strike="noStrike" kern="1200" cap="none" spc="0" normalizeH="0" baseline="0" noProof="0">
                <a:ln>
                  <a:noFill/>
                </a:ln>
                <a:solidFill>
                  <a:srgbClr val="005777"/>
                </a:solidFill>
                <a:effectLst/>
                <a:uLnTx/>
                <a:uFillTx/>
                <a:latin typeface="Arial"/>
                <a:ea typeface="ＭＳ Ｐゴシック"/>
                <a:cs typeface="+mn-cs"/>
                <a:sym typeface="+mn-lt"/>
              </a:rPr>
              <a:t>(</a:t>
            </a:r>
            <a:r>
              <a:rPr lang="nl-NL" sz="1800">
                <a:solidFill>
                  <a:srgbClr val="005777"/>
                </a:solidFill>
                <a:latin typeface="Arial"/>
                <a:ea typeface="ＭＳ Ｐゴシック"/>
              </a:rPr>
              <a:t>35</a:t>
            </a:r>
            <a:r>
              <a:rPr kumimoji="0" lang="nl-NL" sz="1800" i="0" u="none" strike="noStrike" kern="1200" cap="none" spc="0" normalizeH="0" baseline="0" noProof="0">
                <a:ln>
                  <a:noFill/>
                </a:ln>
                <a:solidFill>
                  <a:srgbClr val="005777"/>
                </a:solidFill>
                <a:effectLst/>
                <a:uLnTx/>
                <a:uFillTx/>
                <a:latin typeface="Arial"/>
                <a:ea typeface="ＭＳ Ｐゴシック"/>
                <a:cs typeface="+mn-cs"/>
                <a:sym typeface="+mn-lt"/>
              </a:rPr>
              <a:t> medewerkers) wil </a:t>
            </a:r>
            <a:r>
              <a:rPr kumimoji="0" lang="nl-NL" sz="1800" b="1" i="0" u="sng" strike="noStrike" kern="1200" cap="none" spc="0" normalizeH="0" baseline="0" noProof="0">
                <a:ln>
                  <a:noFill/>
                </a:ln>
                <a:solidFill>
                  <a:srgbClr val="005777"/>
                </a:solidFill>
                <a:effectLst/>
                <a:uLnTx/>
                <a:uFillTx/>
                <a:latin typeface="Arial"/>
                <a:ea typeface="ＭＳ Ｐゴシック"/>
                <a:cs typeface="+mn-cs"/>
                <a:sym typeface="+mn-lt"/>
              </a:rPr>
              <a:t>niet meer</a:t>
            </a:r>
            <a:r>
              <a:rPr kumimoji="0" lang="nl-NL" sz="1800" b="1" i="0" u="none" strike="noStrike" kern="1200" cap="none" spc="0" normalizeH="0" baseline="0" noProof="0">
                <a:ln>
                  <a:noFill/>
                </a:ln>
                <a:solidFill>
                  <a:srgbClr val="005777"/>
                </a:solidFill>
                <a:effectLst/>
                <a:uLnTx/>
                <a:uFillTx/>
                <a:latin typeface="Arial"/>
                <a:ea typeface="ＭＳ Ｐゴシック"/>
                <a:cs typeface="+mn-cs"/>
                <a:sym typeface="+mn-lt"/>
              </a:rPr>
              <a:t> uren werken </a:t>
            </a:r>
            <a:r>
              <a:rPr kumimoji="0" lang="nl-NL" sz="1800" i="0" u="none" strike="noStrike" kern="1200" cap="none" spc="0" normalizeH="0" baseline="0" noProof="0">
                <a:ln>
                  <a:noFill/>
                </a:ln>
                <a:solidFill>
                  <a:srgbClr val="005777"/>
                </a:solidFill>
                <a:effectLst/>
                <a:uLnTx/>
                <a:uFillTx/>
                <a:latin typeface="Arial"/>
                <a:ea typeface="ＭＳ Ｐゴシック"/>
                <a:cs typeface="+mn-cs"/>
                <a:sym typeface="+mn-lt"/>
              </a:rPr>
              <a:t>dan ze doen in hun huidige contract</a:t>
            </a:r>
            <a:endParaRPr lang="en-US" sz="1800" i="0" u="none" strike="noStrike" kern="1200" cap="none" spc="0" normalizeH="0" baseline="0" noProof="0">
              <a:ln>
                <a:noFill/>
              </a:ln>
              <a:solidFill>
                <a:srgbClr val="000000"/>
              </a:solidFill>
              <a:effectLst/>
              <a:uLnTx/>
              <a:uFillTx/>
              <a:latin typeface="Arial"/>
              <a:ea typeface="ＭＳ Ｐゴシック"/>
              <a:cs typeface="Arial"/>
            </a:endParaRPr>
          </a:p>
          <a:p>
            <a:pPr marL="0" marR="0" lvl="0" indent="0" algn="r" defTabSz="895347" rtl="0" eaLnBrk="1" fontAlgn="base" latinLnBrk="0" hangingPunct="1">
              <a:lnSpc>
                <a:spcPct val="100000"/>
              </a:lnSpc>
              <a:spcBef>
                <a:spcPct val="0"/>
              </a:spcBef>
              <a:spcAft>
                <a:spcPct val="0"/>
              </a:spcAft>
              <a:buClr>
                <a:srgbClr val="003C54"/>
              </a:buClr>
              <a:buSzTx/>
              <a:buFontTx/>
              <a:buNone/>
              <a:tabLst/>
              <a:defRPr/>
            </a:pPr>
            <a:endParaRPr lang="nl-NL" sz="1800" b="0" i="0" u="none" strike="noStrike" kern="1200" cap="none" spc="0" normalizeH="0" baseline="0" noProof="0">
              <a:ln>
                <a:noFill/>
              </a:ln>
              <a:solidFill>
                <a:srgbClr val="000000"/>
              </a:solidFill>
              <a:effectLst/>
              <a:uLnTx/>
              <a:uFillTx/>
              <a:latin typeface="Arial"/>
              <a:ea typeface="ＭＳ Ｐゴシック"/>
              <a:cs typeface="Arial"/>
            </a:endParaRPr>
          </a:p>
        </p:txBody>
      </p:sp>
      <p:cxnSp>
        <p:nvCxnSpPr>
          <p:cNvPr id="61" name="AutoShape 249">
            <a:extLst>
              <a:ext uri="{FF2B5EF4-FFF2-40B4-BE49-F238E27FC236}">
                <a16:creationId xmlns:a16="http://schemas.microsoft.com/office/drawing/2014/main" id="{87361D7C-86DB-465C-85EC-E3081FA27ED5}"/>
              </a:ext>
            </a:extLst>
          </p:cNvPr>
          <p:cNvCxnSpPr>
            <a:cxnSpLocks noChangeShapeType="1"/>
          </p:cNvCxnSpPr>
          <p:nvPr/>
        </p:nvCxnSpPr>
        <p:spPr bwMode="gray">
          <a:xfrm>
            <a:off x="554902" y="1634789"/>
            <a:ext cx="11247918" cy="0"/>
          </a:xfrm>
          <a:prstGeom prst="straightConnector1">
            <a:avLst/>
          </a:prstGeom>
          <a:noFill/>
          <a:ln w="952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1" name="ACET">
            <a:extLst>
              <a:ext uri="{FF2B5EF4-FFF2-40B4-BE49-F238E27FC236}">
                <a16:creationId xmlns:a16="http://schemas.microsoft.com/office/drawing/2014/main" id="{A054B24F-856D-43D7-9507-8B32B6623CD7}"/>
              </a:ext>
            </a:extLst>
          </p:cNvPr>
          <p:cNvSpPr>
            <a:spLocks noChangeArrowheads="1"/>
          </p:cNvSpPr>
          <p:nvPr/>
        </p:nvSpPr>
        <p:spPr bwMode="gray">
          <a:xfrm>
            <a:off x="554902" y="1351055"/>
            <a:ext cx="11247918" cy="26468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4" anchor="b">
            <a:spAutoFit/>
          </a:body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nl-NL" sz="1600" b="1" i="0" u="none" strike="noStrike" kern="1200" cap="none" spc="0" normalizeH="0" baseline="0" noProof="0">
                <a:ln>
                  <a:noFill/>
                </a:ln>
                <a:solidFill>
                  <a:srgbClr val="005777"/>
                </a:solidFill>
                <a:effectLst/>
                <a:uLnTx/>
                <a:uFillTx/>
                <a:latin typeface="Arial"/>
                <a:ea typeface="ＭＳ Ｐゴシック"/>
                <a:cs typeface="+mn-cs"/>
              </a:rPr>
              <a:t>Gewenste contractgrootte</a:t>
            </a:r>
            <a:r>
              <a:rPr kumimoji="0" lang="nl-NL" sz="1400" i="0" u="none" strike="noStrike" kern="1200" cap="none" spc="0" normalizeH="0" baseline="0" noProof="0">
                <a:ln>
                  <a:noFill/>
                </a:ln>
                <a:solidFill>
                  <a:srgbClr val="005777"/>
                </a:solidFill>
                <a:effectLst/>
                <a:uLnTx/>
                <a:uFillTx/>
                <a:latin typeface="Arial"/>
                <a:ea typeface="ＭＳ Ｐゴシック"/>
                <a:cs typeface="+mn-cs"/>
              </a:rPr>
              <a:t>, </a:t>
            </a:r>
            <a:r>
              <a:rPr kumimoji="0" lang="nl-NL" sz="1600" i="0" u="none" strike="noStrike" kern="1200" cap="none" spc="0" normalizeH="0" baseline="0" noProof="0">
                <a:ln>
                  <a:noFill/>
                </a:ln>
                <a:solidFill>
                  <a:srgbClr val="005777"/>
                </a:solidFill>
                <a:effectLst/>
                <a:uLnTx/>
                <a:uFillTx/>
                <a:latin typeface="Arial"/>
                <a:ea typeface="ＭＳ Ｐゴシック"/>
                <a:cs typeface="+mn-cs"/>
              </a:rPr>
              <a:t>totaal aantal respondenten n = 208</a:t>
            </a:r>
          </a:p>
        </p:txBody>
      </p:sp>
      <p:sp>
        <p:nvSpPr>
          <p:cNvPr id="25" name="TextBox 24">
            <a:extLst>
              <a:ext uri="{FF2B5EF4-FFF2-40B4-BE49-F238E27FC236}">
                <a16:creationId xmlns:a16="http://schemas.microsoft.com/office/drawing/2014/main" id="{23FBA3AF-045B-104E-9BCB-B5A64E62E965}"/>
              </a:ext>
            </a:extLst>
          </p:cNvPr>
          <p:cNvSpPr txBox="1">
            <a:spLocks/>
          </p:cNvSpPr>
          <p:nvPr/>
        </p:nvSpPr>
        <p:spPr>
          <a:xfrm>
            <a:off x="696117" y="2085905"/>
            <a:ext cx="3529418" cy="15700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77533" eaLnBrk="1" hangingPunct="1">
              <a:buClr>
                <a:schemeClr val="tx2"/>
              </a:buClr>
              <a:defRPr sz="1568" baseline="0">
                <a:latin typeface="+mn-lt"/>
                <a:sym typeface="+mn-lt"/>
              </a:defRPr>
            </a:lvl1pPr>
            <a:lvl2pPr marL="176415" lvl="1" indent="-176415" defTabSz="877533" eaLnBrk="1" hangingPunct="1">
              <a:buClr>
                <a:schemeClr val="tx1"/>
              </a:buClr>
              <a:buSzPct val="100000"/>
              <a:buFont typeface="Arial" pitchFamily="34" charset="0"/>
              <a:buChar char="•"/>
              <a:defRPr sz="1568" baseline="0">
                <a:latin typeface="+mn-lt"/>
                <a:sym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sym typeface="+mn-lt"/>
              </a:defRPr>
            </a:lvl3pPr>
            <a:lvl4pPr marL="529245" lvl="3" indent="-176415" defTabSz="877533" eaLnBrk="1" hangingPunct="1">
              <a:buClr>
                <a:schemeClr val="tx1"/>
              </a:buClr>
              <a:buSzPct val="100000"/>
              <a:buFont typeface="Arial" pitchFamily="34" charset="0"/>
              <a:buChar char="»"/>
              <a:defRPr sz="1568" baseline="0">
                <a:latin typeface="+mn-lt"/>
                <a:sym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sym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defTabSz="895347" fontAlgn="base">
              <a:spcBef>
                <a:spcPct val="0"/>
              </a:spcBef>
              <a:spcAft>
                <a:spcPct val="0"/>
              </a:spcAft>
              <a:buClr>
                <a:srgbClr val="003C54"/>
              </a:buClr>
              <a:defRPr/>
            </a:pPr>
            <a:r>
              <a:rPr kumimoji="0" lang="nl-NL" sz="1800" b="1" i="0" u="none" strike="noStrike" kern="1200" cap="none" spc="0" normalizeH="0" baseline="0" noProof="0">
                <a:ln>
                  <a:noFill/>
                </a:ln>
                <a:solidFill>
                  <a:srgbClr val="005777"/>
                </a:solidFill>
                <a:effectLst/>
                <a:uLnTx/>
                <a:uFillTx/>
                <a:latin typeface="Arial"/>
                <a:ea typeface="ＭＳ Ｐゴシック"/>
                <a:cs typeface="+mn-cs"/>
                <a:sym typeface="+mn-lt"/>
              </a:rPr>
              <a:t>68% van de respondenten </a:t>
            </a:r>
            <a:r>
              <a:rPr kumimoji="0" lang="nl-NL" sz="1800" i="0" u="none" strike="noStrike" kern="1200" cap="none" spc="0" normalizeH="0" baseline="0" noProof="0">
                <a:ln>
                  <a:noFill/>
                </a:ln>
                <a:solidFill>
                  <a:srgbClr val="005777"/>
                </a:solidFill>
                <a:effectLst/>
                <a:uLnTx/>
                <a:uFillTx/>
                <a:latin typeface="Arial"/>
                <a:ea typeface="ＭＳ Ｐゴシック"/>
                <a:cs typeface="+mn-cs"/>
                <a:sym typeface="+mn-lt"/>
              </a:rPr>
              <a:t>(141 medewerkers) is</a:t>
            </a:r>
            <a:r>
              <a:rPr kumimoji="0" lang="nl-NL" sz="1800" b="1" i="0" u="none" strike="noStrike" kern="1200" cap="none" spc="0" normalizeH="0" baseline="0" noProof="0">
                <a:ln>
                  <a:noFill/>
                </a:ln>
                <a:solidFill>
                  <a:srgbClr val="005777"/>
                </a:solidFill>
                <a:effectLst/>
                <a:uLnTx/>
                <a:uFillTx/>
                <a:latin typeface="Arial"/>
                <a:ea typeface="ＭＳ Ｐゴシック"/>
                <a:cs typeface="+mn-cs"/>
                <a:sym typeface="+mn-lt"/>
              </a:rPr>
              <a:t> </a:t>
            </a:r>
            <a:r>
              <a:rPr kumimoji="0" lang="nl-NL" sz="1800" b="1" i="0" u="sng" strike="noStrike" kern="1200" cap="none" spc="0" normalizeH="0" baseline="0" noProof="0">
                <a:ln>
                  <a:noFill/>
                </a:ln>
                <a:solidFill>
                  <a:srgbClr val="005777"/>
                </a:solidFill>
                <a:effectLst/>
                <a:uLnTx/>
                <a:uFillTx/>
                <a:latin typeface="Arial"/>
                <a:ea typeface="ＭＳ Ｐゴシック"/>
                <a:cs typeface="+mn-cs"/>
                <a:sym typeface="+mn-lt"/>
              </a:rPr>
              <a:t>tevreden met hun huidige</a:t>
            </a:r>
            <a:r>
              <a:rPr kumimoji="0" lang="nl-NL" sz="1800" b="1" i="0" u="sng" strike="noStrike" kern="1200" cap="none" spc="0" normalizeH="0" noProof="0">
                <a:ln>
                  <a:noFill/>
                </a:ln>
                <a:solidFill>
                  <a:srgbClr val="005777"/>
                </a:solidFill>
                <a:effectLst/>
                <a:uLnTx/>
                <a:uFillTx/>
                <a:latin typeface="Arial"/>
                <a:ea typeface="ＭＳ Ｐゴシック"/>
                <a:cs typeface="+mn-cs"/>
                <a:sym typeface="+mn-lt"/>
              </a:rPr>
              <a:t> contractgrootte</a:t>
            </a:r>
            <a:r>
              <a:rPr kumimoji="0" lang="nl-NL" sz="1800" b="1" i="0" u="none" strike="noStrike" kern="1200" cap="none" spc="0" normalizeH="0" noProof="0">
                <a:ln>
                  <a:noFill/>
                </a:ln>
                <a:solidFill>
                  <a:srgbClr val="005777"/>
                </a:solidFill>
                <a:effectLst/>
                <a:uLnTx/>
                <a:uFillTx/>
                <a:latin typeface="Arial"/>
                <a:ea typeface="ＭＳ Ｐゴシック"/>
                <a:cs typeface="+mn-cs"/>
                <a:sym typeface="+mn-lt"/>
              </a:rPr>
              <a:t>.</a:t>
            </a:r>
            <a:r>
              <a:rPr lang="nl-NL" sz="1800" b="1">
                <a:solidFill>
                  <a:srgbClr val="005777"/>
                </a:solidFill>
                <a:latin typeface="Arial"/>
                <a:ea typeface="ＭＳ Ｐゴシック"/>
              </a:rPr>
              <a:t> </a:t>
            </a:r>
            <a:endParaRPr lang="nl-NL" sz="1800" b="1" i="0" u="none" strike="noStrike" kern="1200" cap="none" spc="0" normalizeH="0" noProof="0">
              <a:ln>
                <a:noFill/>
              </a:ln>
              <a:solidFill>
                <a:srgbClr val="005777"/>
              </a:solidFill>
              <a:effectLst/>
              <a:uLnTx/>
              <a:uFillTx/>
              <a:latin typeface="Arial"/>
              <a:ea typeface="ＭＳ Ｐゴシック"/>
              <a:cs typeface="Arial"/>
            </a:endParaRPr>
          </a:p>
          <a:p>
            <a:pPr marL="0" marR="0" lvl="0" indent="0" algn="l" defTabSz="895347" rtl="0" eaLnBrk="1" fontAlgn="base" latinLnBrk="0" hangingPunct="1">
              <a:lnSpc>
                <a:spcPct val="100000"/>
              </a:lnSpc>
              <a:spcBef>
                <a:spcPct val="0"/>
              </a:spcBef>
              <a:spcAft>
                <a:spcPct val="0"/>
              </a:spcAft>
              <a:buClr>
                <a:srgbClr val="003C54"/>
              </a:buClr>
              <a:buSzTx/>
              <a:buFontTx/>
              <a:buNone/>
              <a:tabLst/>
              <a:defRPr/>
            </a:pPr>
            <a:endParaRPr lang="nl-NL" sz="1800">
              <a:solidFill>
                <a:srgbClr val="005777"/>
              </a:solidFill>
              <a:latin typeface="Arial"/>
              <a:ea typeface="ＭＳ Ｐゴシック"/>
              <a:cs typeface="Arial"/>
            </a:endParaRPr>
          </a:p>
          <a:p>
            <a:pPr marL="0" marR="0" lvl="0" indent="0" algn="l" defTabSz="895347" rtl="0" eaLnBrk="1" fontAlgn="base" latinLnBrk="0" hangingPunct="1">
              <a:lnSpc>
                <a:spcPct val="100000"/>
              </a:lnSpc>
              <a:spcBef>
                <a:spcPct val="0"/>
              </a:spcBef>
              <a:spcAft>
                <a:spcPct val="0"/>
              </a:spcAft>
              <a:buClr>
                <a:srgbClr val="003C54"/>
              </a:buClr>
              <a:buSzTx/>
              <a:buFontTx/>
              <a:buNone/>
              <a:tabLst/>
              <a:defRPr/>
            </a:pPr>
            <a:endParaRPr lang="nl-NL" sz="1800">
              <a:solidFill>
                <a:srgbClr val="005777"/>
              </a:solidFill>
              <a:latin typeface="Arial"/>
              <a:ea typeface="ＭＳ Ｐゴシック"/>
              <a:cs typeface="Arial"/>
            </a:endParaRPr>
          </a:p>
          <a:p>
            <a:pPr marL="0" marR="0" lvl="0" indent="0" algn="l" defTabSz="895347" rtl="0" eaLnBrk="1" fontAlgn="base" latinLnBrk="0" hangingPunct="1">
              <a:lnSpc>
                <a:spcPct val="100000"/>
              </a:lnSpc>
              <a:spcBef>
                <a:spcPct val="0"/>
              </a:spcBef>
              <a:spcAft>
                <a:spcPct val="0"/>
              </a:spcAft>
              <a:buClr>
                <a:srgbClr val="003C54"/>
              </a:buClr>
              <a:buSzTx/>
              <a:buFontTx/>
              <a:buNone/>
              <a:tabLst/>
              <a:defRPr/>
            </a:pPr>
            <a:endParaRPr lang="nl-NL" sz="1800">
              <a:solidFill>
                <a:srgbClr val="005777"/>
              </a:solidFill>
              <a:latin typeface="Arial"/>
              <a:ea typeface="ＭＳ Ｐゴシック"/>
              <a:cs typeface="Arial"/>
            </a:endParaRPr>
          </a:p>
          <a:p>
            <a:pPr marL="0" marR="0" lvl="0" indent="0" algn="l" defTabSz="895347" rtl="0" eaLnBrk="1" fontAlgn="base" latinLnBrk="0" hangingPunct="1">
              <a:lnSpc>
                <a:spcPct val="100000"/>
              </a:lnSpc>
              <a:spcBef>
                <a:spcPct val="0"/>
              </a:spcBef>
              <a:spcAft>
                <a:spcPct val="0"/>
              </a:spcAft>
              <a:buClr>
                <a:srgbClr val="003C54"/>
              </a:buClr>
              <a:buSzTx/>
              <a:buFontTx/>
              <a:buNone/>
              <a:tabLst/>
              <a:defRPr/>
            </a:pPr>
            <a:endParaRPr lang="nl-NL" sz="1800">
              <a:solidFill>
                <a:srgbClr val="005777"/>
              </a:solidFill>
              <a:latin typeface="Arial"/>
              <a:ea typeface="ＭＳ Ｐゴシック"/>
              <a:cs typeface="Arial"/>
            </a:endParaRPr>
          </a:p>
          <a:p>
            <a:pPr marL="0" marR="0" lvl="0" indent="0" algn="l" defTabSz="895347" rtl="0" eaLnBrk="1" fontAlgn="base" latinLnBrk="0" hangingPunct="1">
              <a:lnSpc>
                <a:spcPct val="100000"/>
              </a:lnSpc>
              <a:spcBef>
                <a:spcPct val="0"/>
              </a:spcBef>
              <a:spcAft>
                <a:spcPct val="0"/>
              </a:spcAft>
              <a:buClr>
                <a:srgbClr val="003C54"/>
              </a:buClr>
              <a:buSzTx/>
              <a:buFontTx/>
              <a:buNone/>
              <a:tabLst/>
              <a:defRPr/>
            </a:pPr>
            <a:endParaRPr lang="nl-NL" sz="1800">
              <a:solidFill>
                <a:srgbClr val="005777"/>
              </a:solidFill>
              <a:latin typeface="Arial"/>
              <a:ea typeface="ＭＳ Ｐゴシック"/>
              <a:cs typeface="Arial"/>
            </a:endParaRPr>
          </a:p>
          <a:p>
            <a:pPr defTabSz="895347" fontAlgn="base">
              <a:spcBef>
                <a:spcPct val="0"/>
              </a:spcBef>
              <a:spcAft>
                <a:spcPct val="0"/>
              </a:spcAft>
              <a:buClr>
                <a:srgbClr val="003C54"/>
              </a:buClr>
              <a:defRPr/>
            </a:pPr>
            <a:r>
              <a:rPr kumimoji="0" lang="nl-NL" sz="1800" i="0" u="none" strike="noStrike" kern="1200" cap="none" spc="0" normalizeH="0" noProof="0">
                <a:ln>
                  <a:noFill/>
                </a:ln>
                <a:solidFill>
                  <a:srgbClr val="005777"/>
                </a:solidFill>
                <a:effectLst/>
                <a:uLnTx/>
                <a:uFillTx/>
                <a:latin typeface="Arial"/>
                <a:ea typeface="ＭＳ Ｐゴシック"/>
                <a:cs typeface="+mn-cs"/>
                <a:sym typeface="+mn-lt"/>
              </a:rPr>
              <a:t>Zeer waarschijnlijk zitten hier medewerkers bij die onder bepaalde voorwaarden wel meer uren willen werken</a:t>
            </a:r>
            <a:r>
              <a:rPr kumimoji="0" lang="nl-NL" sz="1800" b="1" i="0" u="none" strike="noStrike" kern="1200" cap="none" spc="0" normalizeH="0" noProof="0">
                <a:ln>
                  <a:noFill/>
                </a:ln>
                <a:solidFill>
                  <a:srgbClr val="005777"/>
                </a:solidFill>
                <a:effectLst/>
                <a:uLnTx/>
                <a:uFillTx/>
                <a:latin typeface="Arial"/>
                <a:ea typeface="ＭＳ Ｐゴシック"/>
                <a:cs typeface="+mn-cs"/>
                <a:sym typeface="+mn-lt"/>
              </a:rPr>
              <a:t>.</a:t>
            </a:r>
            <a:r>
              <a:rPr lang="nl-NL" sz="1800" b="1">
                <a:solidFill>
                  <a:srgbClr val="005777"/>
                </a:solidFill>
                <a:latin typeface="Arial"/>
                <a:ea typeface="ＭＳ Ｐゴシック"/>
              </a:rPr>
              <a:t>  </a:t>
            </a:r>
            <a:endParaRPr lang="nl-NL" sz="1800" b="1" i="0" u="sng" strike="noStrike" kern="1200" cap="none" spc="0" normalizeH="0" baseline="0" noProof="0">
              <a:ln>
                <a:noFill/>
              </a:ln>
              <a:solidFill>
                <a:srgbClr val="005777"/>
              </a:solidFill>
              <a:effectLst/>
              <a:uLnTx/>
              <a:uFillTx/>
              <a:latin typeface="Arial"/>
              <a:ea typeface="ＭＳ Ｐゴシック"/>
              <a:cs typeface="Arial"/>
            </a:endParaRPr>
          </a:p>
          <a:p>
            <a:pPr marL="179705" marR="0" lvl="1" indent="-179705" algn="l" defTabSz="895347" rtl="0" eaLnBrk="1" fontAlgn="base" latinLnBrk="0" hangingPunct="1">
              <a:lnSpc>
                <a:spcPct val="100000"/>
              </a:lnSpc>
              <a:spcBef>
                <a:spcPct val="0"/>
              </a:spcBef>
              <a:spcAft>
                <a:spcPct val="0"/>
              </a:spcAft>
              <a:buClr>
                <a:srgbClr val="000000"/>
              </a:buClr>
              <a:buSzPct val="100000"/>
              <a:buFont typeface="Arial" pitchFamily="34" charset="0"/>
              <a:buChar char="•"/>
              <a:tabLst/>
              <a:defRPr/>
            </a:pPr>
            <a:endParaRPr lang="nl-NL" sz="1400" b="0" i="0" u="none" strike="noStrike" kern="1200" cap="none" spc="0" normalizeH="0" baseline="0" noProof="0">
              <a:ln>
                <a:noFill/>
              </a:ln>
              <a:solidFill>
                <a:srgbClr val="000000"/>
              </a:solidFill>
              <a:effectLst/>
              <a:uLnTx/>
              <a:uFillTx/>
              <a:latin typeface="Arial"/>
              <a:ea typeface="ＭＳ Ｐゴシック"/>
              <a:cs typeface="Arial"/>
            </a:endParaRPr>
          </a:p>
          <a:p>
            <a:pPr marL="179705" marR="0" lvl="1" indent="-179705" algn="l" defTabSz="895347" rtl="0" eaLnBrk="1" fontAlgn="base" latinLnBrk="0" hangingPunct="1">
              <a:lnSpc>
                <a:spcPct val="100000"/>
              </a:lnSpc>
              <a:spcBef>
                <a:spcPct val="0"/>
              </a:spcBef>
              <a:spcAft>
                <a:spcPct val="0"/>
              </a:spcAft>
              <a:buClr>
                <a:srgbClr val="000000"/>
              </a:buClr>
              <a:buSzPct val="100000"/>
              <a:buFont typeface="Arial" pitchFamily="34" charset="0"/>
              <a:buChar char="•"/>
              <a:tabLst/>
              <a:defRPr/>
            </a:pPr>
            <a:endParaRPr lang="nl-NL" sz="1400" b="0" i="0" u="none" strike="noStrike" kern="1200" cap="none" spc="0" normalizeH="0" baseline="0" noProof="0">
              <a:ln>
                <a:noFill/>
              </a:ln>
              <a:solidFill>
                <a:srgbClr val="000000"/>
              </a:solidFill>
              <a:effectLst/>
              <a:uLnTx/>
              <a:uFillTx/>
              <a:latin typeface="Arial"/>
              <a:ea typeface="ＭＳ Ｐゴシック"/>
              <a:cs typeface="Arial"/>
            </a:endParaRPr>
          </a:p>
        </p:txBody>
      </p:sp>
      <p:sp>
        <p:nvSpPr>
          <p:cNvPr id="20" name="5. Source">
            <a:extLst>
              <a:ext uri="{FF2B5EF4-FFF2-40B4-BE49-F238E27FC236}">
                <a16:creationId xmlns:a16="http://schemas.microsoft.com/office/drawing/2014/main" id="{E000D70E-00A4-4346-9F90-7F05ACE2C43A}"/>
              </a:ext>
            </a:extLst>
          </p:cNvPr>
          <p:cNvSpPr>
            <a:spLocks noChangeArrowheads="1"/>
          </p:cNvSpPr>
          <p:nvPr/>
        </p:nvSpPr>
        <p:spPr bwMode="gray">
          <a:xfrm>
            <a:off x="554816" y="6544582"/>
            <a:ext cx="1108236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304165" marR="0" lvl="0" indent="-304165" algn="l" defTabSz="913332" rtl="0" eaLnBrk="1" fontAlgn="base" latinLnBrk="0" hangingPunct="1">
              <a:lnSpc>
                <a:spcPct val="100000"/>
              </a:lnSpc>
              <a:spcBef>
                <a:spcPct val="0"/>
              </a:spcBef>
              <a:spcAft>
                <a:spcPct val="0"/>
              </a:spcAft>
              <a:buClrTx/>
              <a:buSzTx/>
              <a:buFontTx/>
              <a:buNone/>
              <a:tabLst>
                <a:tab pos="625082" algn="l"/>
              </a:tabLst>
              <a:defRPr/>
            </a:pPr>
            <a:endParaRPr kumimoji="0" lang="nl-NL" sz="900" b="0" i="0" u="none" strike="noStrike" kern="1200" cap="none" spc="0" normalizeH="0" baseline="0" noProof="0">
              <a:ln>
                <a:noFill/>
              </a:ln>
              <a:solidFill>
                <a:srgbClr val="000000"/>
              </a:solidFill>
              <a:effectLst/>
              <a:uLnTx/>
              <a:uFillTx/>
              <a:latin typeface="Arial"/>
              <a:ea typeface="ＭＳ Ｐゴシック"/>
              <a:cs typeface="Arial"/>
            </a:endParaRPr>
          </a:p>
        </p:txBody>
      </p:sp>
      <p:sp>
        <p:nvSpPr>
          <p:cNvPr id="29" name="Rectangle 99">
            <a:extLst>
              <a:ext uri="{FF2B5EF4-FFF2-40B4-BE49-F238E27FC236}">
                <a16:creationId xmlns:a16="http://schemas.microsoft.com/office/drawing/2014/main" id="{CFF8F779-D2C0-45B5-8100-B575DB297BB4}"/>
              </a:ext>
            </a:extLst>
          </p:cNvPr>
          <p:cNvSpPr>
            <a:spLocks/>
          </p:cNvSpPr>
          <p:nvPr/>
        </p:nvSpPr>
        <p:spPr>
          <a:xfrm rot="10800000" flipV="1">
            <a:off x="6095996" y="1759835"/>
            <a:ext cx="5652875" cy="2115991"/>
          </a:xfrm>
          <a:custGeom>
            <a:avLst/>
            <a:gdLst>
              <a:gd name="connsiteX0" fmla="*/ 0 w 6737780"/>
              <a:gd name="connsiteY0" fmla="*/ 0 h 2427617"/>
              <a:gd name="connsiteX1" fmla="*/ 6737780 w 6737780"/>
              <a:gd name="connsiteY1" fmla="*/ 0 h 2427617"/>
              <a:gd name="connsiteX2" fmla="*/ 6737780 w 6737780"/>
              <a:gd name="connsiteY2" fmla="*/ 2427617 h 2427617"/>
              <a:gd name="connsiteX3" fmla="*/ 0 w 6737780"/>
              <a:gd name="connsiteY3" fmla="*/ 2427617 h 2427617"/>
              <a:gd name="connsiteX4" fmla="*/ 0 w 6737780"/>
              <a:gd name="connsiteY4" fmla="*/ 0 h 2427617"/>
              <a:gd name="connsiteX0" fmla="*/ 0 w 6737780"/>
              <a:gd name="connsiteY0" fmla="*/ 0 h 2427617"/>
              <a:gd name="connsiteX1" fmla="*/ 6737780 w 6737780"/>
              <a:gd name="connsiteY1" fmla="*/ 0 h 2427617"/>
              <a:gd name="connsiteX2" fmla="*/ 6737780 w 6737780"/>
              <a:gd name="connsiteY2" fmla="*/ 2427617 h 2427617"/>
              <a:gd name="connsiteX3" fmla="*/ 6196501 w 6737780"/>
              <a:gd name="connsiteY3" fmla="*/ 2421581 h 2427617"/>
              <a:gd name="connsiteX4" fmla="*/ 0 w 6737780"/>
              <a:gd name="connsiteY4" fmla="*/ 2427617 h 2427617"/>
              <a:gd name="connsiteX5" fmla="*/ 0 w 6737780"/>
              <a:gd name="connsiteY5" fmla="*/ 0 h 2427617"/>
              <a:gd name="connsiteX0" fmla="*/ 0 w 6798740"/>
              <a:gd name="connsiteY0" fmla="*/ 0 h 2427617"/>
              <a:gd name="connsiteX1" fmla="*/ 6737780 w 6798740"/>
              <a:gd name="connsiteY1" fmla="*/ 0 h 2427617"/>
              <a:gd name="connsiteX2" fmla="*/ 6798740 w 6798740"/>
              <a:gd name="connsiteY2" fmla="*/ 2084717 h 2427617"/>
              <a:gd name="connsiteX3" fmla="*/ 6196501 w 6798740"/>
              <a:gd name="connsiteY3" fmla="*/ 2421581 h 2427617"/>
              <a:gd name="connsiteX4" fmla="*/ 0 w 6798740"/>
              <a:gd name="connsiteY4" fmla="*/ 2427617 h 2427617"/>
              <a:gd name="connsiteX5" fmla="*/ 0 w 6798740"/>
              <a:gd name="connsiteY5" fmla="*/ 0 h 242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98740" h="2427617">
                <a:moveTo>
                  <a:pt x="0" y="0"/>
                </a:moveTo>
                <a:lnTo>
                  <a:pt x="6737780" y="0"/>
                </a:lnTo>
                <a:lnTo>
                  <a:pt x="6798740" y="2084717"/>
                </a:lnTo>
                <a:lnTo>
                  <a:pt x="6196501" y="2421581"/>
                </a:lnTo>
                <a:lnTo>
                  <a:pt x="0" y="2427617"/>
                </a:lnTo>
                <a:lnTo>
                  <a:pt x="0" y="0"/>
                </a:lnTo>
                <a:close/>
              </a:path>
            </a:pathLst>
          </a:cu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1" tIns="45716" rIns="91431" bIns="45716" rtlCol="0" anchor="ctr">
            <a:noAutofit/>
          </a:bodyP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nl-NL" sz="1428" b="0" i="0" u="none" strike="noStrike" kern="1200" cap="none" spc="0" normalizeH="0" baseline="0" noProof="0">
              <a:ln>
                <a:noFill/>
              </a:ln>
              <a:solidFill>
                <a:srgbClr val="000000"/>
              </a:solidFill>
              <a:effectLst/>
              <a:uLnTx/>
              <a:uFillTx/>
              <a:latin typeface="Arial"/>
              <a:ea typeface="ＭＳ Ｐゴシック"/>
              <a:cs typeface="+mn-cs"/>
            </a:endParaRPr>
          </a:p>
        </p:txBody>
      </p:sp>
      <p:sp>
        <p:nvSpPr>
          <p:cNvPr id="31" name="TextBox 30">
            <a:extLst>
              <a:ext uri="{FF2B5EF4-FFF2-40B4-BE49-F238E27FC236}">
                <a16:creationId xmlns:a16="http://schemas.microsoft.com/office/drawing/2014/main" id="{0D6250E4-7B69-4ACF-8038-29987E12A09A}"/>
              </a:ext>
            </a:extLst>
          </p:cNvPr>
          <p:cNvSpPr txBox="1"/>
          <p:nvPr/>
        </p:nvSpPr>
        <p:spPr>
          <a:xfrm>
            <a:off x="8171058" y="1896714"/>
            <a:ext cx="3211299" cy="11079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7533" eaLnBrk="1" hangingPunct="1">
              <a:buClr>
                <a:schemeClr val="tx2"/>
              </a:buClr>
              <a:defRPr sz="1568" baseline="0">
                <a:latin typeface="+mn-lt"/>
                <a:sym typeface="+mn-lt"/>
              </a:defRPr>
            </a:lvl1pPr>
            <a:lvl2pPr marL="176415" lvl="1" indent="-176415" defTabSz="877533" eaLnBrk="1" hangingPunct="1">
              <a:buClr>
                <a:schemeClr val="tx1"/>
              </a:buClr>
              <a:buSzPct val="100000"/>
              <a:buFont typeface="Arial" pitchFamily="34" charset="0"/>
              <a:buChar char="•"/>
              <a:defRPr sz="1568" baseline="0">
                <a:latin typeface="+mn-lt"/>
                <a:sym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sym typeface="+mn-lt"/>
              </a:defRPr>
            </a:lvl3pPr>
            <a:lvl4pPr marL="529245" lvl="3" indent="-176415" defTabSz="877533" eaLnBrk="1" hangingPunct="1">
              <a:buClr>
                <a:schemeClr val="tx1"/>
              </a:buClr>
              <a:buSzPct val="100000"/>
              <a:buFont typeface="Arial" pitchFamily="34" charset="0"/>
              <a:buChar char="»"/>
              <a:defRPr sz="1568" baseline="0">
                <a:latin typeface="+mn-lt"/>
                <a:sym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sym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l" defTabSz="895347" rtl="0" eaLnBrk="1" fontAlgn="base" latinLnBrk="0" hangingPunct="1">
              <a:lnSpc>
                <a:spcPct val="100000"/>
              </a:lnSpc>
              <a:spcBef>
                <a:spcPct val="0"/>
              </a:spcBef>
              <a:spcAft>
                <a:spcPct val="0"/>
              </a:spcAft>
              <a:buClr>
                <a:srgbClr val="003C54"/>
              </a:buClr>
              <a:buSzTx/>
              <a:buFontTx/>
              <a:buNone/>
              <a:tabLst/>
              <a:defRPr/>
            </a:pPr>
            <a:r>
              <a:rPr lang="nl-NL" sz="1800" b="1">
                <a:solidFill>
                  <a:srgbClr val="005777"/>
                </a:solidFill>
                <a:latin typeface="Arial"/>
                <a:ea typeface="ＭＳ Ｐゴシック"/>
              </a:rPr>
              <a:t>15</a:t>
            </a:r>
            <a:r>
              <a:rPr kumimoji="0" lang="nl-NL" sz="1800" b="1" i="0" u="none" strike="noStrike" kern="1200" cap="none" spc="0" normalizeH="0" baseline="0" noProof="0">
                <a:ln>
                  <a:noFill/>
                </a:ln>
                <a:solidFill>
                  <a:srgbClr val="005777"/>
                </a:solidFill>
                <a:effectLst/>
                <a:uLnTx/>
                <a:uFillTx/>
                <a:latin typeface="Arial"/>
                <a:ea typeface="ＭＳ Ｐゴシック"/>
                <a:cs typeface="+mn-cs"/>
                <a:sym typeface="+mn-lt"/>
              </a:rPr>
              <a:t>% van de respondenten </a:t>
            </a:r>
            <a:r>
              <a:rPr kumimoji="0" lang="nl-NL" sz="1800" i="0" u="none" strike="noStrike" kern="1200" cap="none" spc="0" normalizeH="0" baseline="0" noProof="0">
                <a:ln>
                  <a:noFill/>
                </a:ln>
                <a:solidFill>
                  <a:srgbClr val="005777"/>
                </a:solidFill>
                <a:effectLst/>
                <a:uLnTx/>
                <a:uFillTx/>
                <a:latin typeface="Arial"/>
                <a:ea typeface="ＭＳ Ｐゴシック"/>
                <a:cs typeface="+mn-cs"/>
                <a:sym typeface="+mn-lt"/>
              </a:rPr>
              <a:t>(</a:t>
            </a:r>
            <a:r>
              <a:rPr lang="nl-NL" sz="1800">
                <a:solidFill>
                  <a:srgbClr val="005777"/>
                </a:solidFill>
                <a:latin typeface="Arial"/>
                <a:ea typeface="ＭＳ Ｐゴシック"/>
              </a:rPr>
              <a:t>32 </a:t>
            </a:r>
            <a:r>
              <a:rPr kumimoji="0" lang="nl-NL" sz="1800" i="0" u="none" strike="noStrike" kern="1200" cap="none" spc="0" normalizeH="0" baseline="0" noProof="0">
                <a:ln>
                  <a:noFill/>
                </a:ln>
                <a:solidFill>
                  <a:srgbClr val="005777"/>
                </a:solidFill>
                <a:effectLst/>
                <a:uLnTx/>
                <a:uFillTx/>
                <a:latin typeface="Arial"/>
                <a:ea typeface="ＭＳ Ｐゴシック"/>
                <a:cs typeface="+mn-cs"/>
                <a:sym typeface="+mn-lt"/>
              </a:rPr>
              <a:t>medewerkers)</a:t>
            </a:r>
            <a:r>
              <a:rPr lang="nl-NL" sz="1800">
                <a:solidFill>
                  <a:srgbClr val="000000"/>
                </a:solidFill>
                <a:latin typeface="Arial"/>
                <a:ea typeface="ＭＳ Ｐゴシック"/>
              </a:rPr>
              <a:t> </a:t>
            </a:r>
            <a:r>
              <a:rPr kumimoji="0" lang="nl-NL" sz="1800" i="0" u="none" strike="noStrike" kern="1200" cap="none" spc="0" normalizeH="0" baseline="0" noProof="0">
                <a:ln>
                  <a:noFill/>
                </a:ln>
                <a:solidFill>
                  <a:srgbClr val="005777"/>
                </a:solidFill>
                <a:effectLst/>
                <a:uLnTx/>
                <a:uFillTx/>
                <a:latin typeface="Arial"/>
                <a:ea typeface="ＭＳ Ｐゴシック"/>
                <a:cs typeface="+mn-cs"/>
                <a:sym typeface="+mn-lt"/>
              </a:rPr>
              <a:t>zou</a:t>
            </a:r>
            <a:r>
              <a:rPr kumimoji="0" lang="nl-NL" sz="1800" i="0" u="none" strike="noStrike" kern="1200" cap="none" spc="0" normalizeH="0" noProof="0">
                <a:ln>
                  <a:noFill/>
                </a:ln>
                <a:solidFill>
                  <a:srgbClr val="005777"/>
                </a:solidFill>
                <a:effectLst/>
                <a:uLnTx/>
                <a:uFillTx/>
                <a:latin typeface="Arial"/>
                <a:ea typeface="ＭＳ Ｐゴシック"/>
                <a:cs typeface="+mn-cs"/>
                <a:sym typeface="+mn-lt"/>
              </a:rPr>
              <a:t> </a:t>
            </a:r>
            <a:r>
              <a:rPr kumimoji="0" lang="nl-NL" sz="1800" b="1" i="0" u="sng" strike="noStrike" kern="1200" cap="none" spc="0" normalizeH="0" baseline="0" noProof="0">
                <a:ln>
                  <a:noFill/>
                </a:ln>
                <a:solidFill>
                  <a:srgbClr val="005777"/>
                </a:solidFill>
                <a:effectLst/>
                <a:uLnTx/>
                <a:uFillTx/>
                <a:latin typeface="Arial"/>
                <a:ea typeface="ＭＳ Ｐゴシック"/>
                <a:cs typeface="+mn-cs"/>
                <a:sym typeface="+mn-lt"/>
              </a:rPr>
              <a:t>meer uren </a:t>
            </a:r>
            <a:r>
              <a:rPr kumimoji="0" lang="nl-NL" sz="1800" b="1" i="0" u="none" strike="noStrike" kern="1200" cap="none" spc="0" normalizeH="0" baseline="0" noProof="0">
                <a:ln>
                  <a:noFill/>
                </a:ln>
                <a:solidFill>
                  <a:srgbClr val="005777"/>
                </a:solidFill>
                <a:effectLst/>
                <a:uLnTx/>
                <a:uFillTx/>
                <a:latin typeface="Arial"/>
                <a:ea typeface="ＭＳ Ｐゴシック"/>
                <a:cs typeface="+mn-cs"/>
                <a:sym typeface="+mn-lt"/>
              </a:rPr>
              <a:t>willen werken </a:t>
            </a:r>
            <a:r>
              <a:rPr kumimoji="0" lang="nl-NL" sz="1800" i="0" u="none" strike="noStrike" kern="1200" cap="none" spc="0" normalizeH="0" baseline="0" noProof="0">
                <a:ln>
                  <a:noFill/>
                </a:ln>
                <a:solidFill>
                  <a:srgbClr val="005777"/>
                </a:solidFill>
                <a:effectLst/>
                <a:uLnTx/>
                <a:uFillTx/>
                <a:latin typeface="Arial"/>
                <a:ea typeface="ＭＳ Ｐゴシック"/>
                <a:cs typeface="+mn-cs"/>
                <a:sym typeface="+mn-lt"/>
              </a:rPr>
              <a:t>dan ze doen in hun huidige contract </a:t>
            </a:r>
            <a:endParaRPr lang="nl-NL" sz="1800" i="0" u="none" strike="noStrike" kern="1200" cap="none" spc="0" normalizeH="0" baseline="0" noProof="0">
              <a:ln>
                <a:noFill/>
              </a:ln>
              <a:solidFill>
                <a:srgbClr val="005777"/>
              </a:solidFill>
              <a:effectLst/>
              <a:uLnTx/>
              <a:uFillTx/>
              <a:latin typeface="Arial"/>
              <a:ea typeface="ＭＳ Ｐゴシック"/>
              <a:cs typeface="Arial"/>
            </a:endParaRPr>
          </a:p>
        </p:txBody>
      </p:sp>
      <p:graphicFrame>
        <p:nvGraphicFramePr>
          <p:cNvPr id="5" name="Chart 4"/>
          <p:cNvGraphicFramePr/>
          <p:nvPr>
            <p:extLst>
              <p:ext uri="{D42A27DB-BD31-4B8C-83A1-F6EECF244321}">
                <p14:modId xmlns:p14="http://schemas.microsoft.com/office/powerpoint/2010/main" val="1186150688"/>
              </p:ext>
            </p:extLst>
          </p:nvPr>
        </p:nvGraphicFramePr>
        <p:xfrm>
          <a:off x="2815263" y="1593086"/>
          <a:ext cx="6609080" cy="4610612"/>
        </p:xfrm>
        <a:graphic>
          <a:graphicData uri="http://schemas.openxmlformats.org/drawingml/2006/chart">
            <c:chart xmlns:c="http://schemas.openxmlformats.org/drawingml/2006/chart" xmlns:r="http://schemas.openxmlformats.org/officeDocument/2006/relationships" r:id="rId4"/>
          </a:graphicData>
        </a:graphic>
      </p:graphicFrame>
      <p:sp>
        <p:nvSpPr>
          <p:cNvPr id="3" name="Titel 2">
            <a:extLst>
              <a:ext uri="{FF2B5EF4-FFF2-40B4-BE49-F238E27FC236}">
                <a16:creationId xmlns:a16="http://schemas.microsoft.com/office/drawing/2014/main" id="{216648DB-025E-6649-94D7-8986DD543D5C}"/>
              </a:ext>
            </a:extLst>
          </p:cNvPr>
          <p:cNvSpPr>
            <a:spLocks noGrp="1"/>
          </p:cNvSpPr>
          <p:nvPr>
            <p:ph type="title"/>
          </p:nvPr>
        </p:nvSpPr>
        <p:spPr>
          <a:xfrm>
            <a:off x="554735" y="472847"/>
            <a:ext cx="11407415" cy="439639"/>
          </a:xfrm>
        </p:spPr>
        <p:txBody>
          <a:bodyPr/>
          <a:lstStyle/>
          <a:p>
            <a:r>
              <a:rPr lang="en-US"/>
              <a:t>Het </a:t>
            </a:r>
            <a:r>
              <a:rPr lang="en-US" err="1"/>
              <a:t>potentieel</a:t>
            </a:r>
            <a:r>
              <a:rPr lang="en-US"/>
              <a:t> </a:t>
            </a:r>
            <a:r>
              <a:rPr lang="en-US" err="1"/>
              <a:t>bij</a:t>
            </a:r>
            <a:r>
              <a:rPr lang="en-US"/>
              <a:t> &lt;</a:t>
            </a:r>
            <a:r>
              <a:rPr lang="en-US" err="1"/>
              <a:t>instelling</a:t>
            </a:r>
            <a:r>
              <a:rPr lang="en-US"/>
              <a:t>&gt;: 15% van de </a:t>
            </a:r>
            <a:r>
              <a:rPr lang="en-US" err="1"/>
              <a:t>medewerkers</a:t>
            </a:r>
            <a:r>
              <a:rPr lang="en-US"/>
              <a:t> </a:t>
            </a:r>
            <a:r>
              <a:rPr lang="en-US" err="1"/>
              <a:t>wil</a:t>
            </a:r>
            <a:r>
              <a:rPr lang="en-US"/>
              <a:t> </a:t>
            </a:r>
            <a:r>
              <a:rPr lang="en-US" err="1"/>
              <a:t>meer</a:t>
            </a:r>
            <a:r>
              <a:rPr lang="en-US"/>
              <a:t> werken, 68% </a:t>
            </a:r>
            <a:r>
              <a:rPr lang="en-US" err="1"/>
              <a:t>geeft</a:t>
            </a:r>
            <a:r>
              <a:rPr lang="en-US"/>
              <a:t> aan </a:t>
            </a:r>
            <a:r>
              <a:rPr lang="en-US" err="1"/>
              <a:t>tevreden</a:t>
            </a:r>
            <a:r>
              <a:rPr lang="en-US"/>
              <a:t> </a:t>
            </a:r>
            <a:r>
              <a:rPr lang="en-US" err="1"/>
              <a:t>te</a:t>
            </a:r>
            <a:r>
              <a:rPr lang="en-US"/>
              <a:t> </a:t>
            </a:r>
            <a:r>
              <a:rPr lang="en-US" err="1"/>
              <a:t>zijn</a:t>
            </a:r>
            <a:r>
              <a:rPr lang="en-US"/>
              <a:t> met </a:t>
            </a:r>
            <a:r>
              <a:rPr lang="en-US" err="1"/>
              <a:t>hun</a:t>
            </a:r>
            <a:r>
              <a:rPr lang="en-US"/>
              <a:t> </a:t>
            </a:r>
            <a:r>
              <a:rPr lang="en-US" err="1"/>
              <a:t>huidige</a:t>
            </a:r>
            <a:r>
              <a:rPr lang="en-US"/>
              <a:t> </a:t>
            </a:r>
            <a:r>
              <a:rPr lang="en-US" err="1"/>
              <a:t>contractgrootte</a:t>
            </a:r>
            <a:r>
              <a:rPr lang="en-US"/>
              <a:t> </a:t>
            </a:r>
            <a:endParaRPr lang="nl-NL"/>
          </a:p>
        </p:txBody>
      </p:sp>
      <p:sp>
        <p:nvSpPr>
          <p:cNvPr id="16" name="Rechthoek 15">
            <a:extLst>
              <a:ext uri="{FF2B5EF4-FFF2-40B4-BE49-F238E27FC236}">
                <a16:creationId xmlns:a16="http://schemas.microsoft.com/office/drawing/2014/main" id="{E3720DBF-A3FE-E747-A875-A386A4CD523D}"/>
              </a:ext>
            </a:extLst>
          </p:cNvPr>
          <p:cNvSpPr/>
          <p:nvPr/>
        </p:nvSpPr>
        <p:spPr>
          <a:xfrm>
            <a:off x="-1619499" y="127584"/>
            <a:ext cx="1903751" cy="2825478"/>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b="1" err="1">
                <a:solidFill>
                  <a:schemeClr val="tx1"/>
                </a:solidFill>
              </a:rPr>
              <a:t>To</a:t>
            </a:r>
            <a:r>
              <a:rPr lang="nl-NL" sz="1600" b="1">
                <a:solidFill>
                  <a:schemeClr val="tx1"/>
                </a:solidFill>
              </a:rPr>
              <a:t> do om deze slide instelling specifiek te maken:</a:t>
            </a:r>
          </a:p>
          <a:p>
            <a:pPr algn="ctr"/>
            <a:endParaRPr lang="nl-NL" sz="1600">
              <a:solidFill>
                <a:schemeClr val="tx1"/>
              </a:solidFill>
            </a:endParaRPr>
          </a:p>
          <a:p>
            <a:pPr algn="ctr"/>
            <a:r>
              <a:rPr lang="nl-NL" sz="1600">
                <a:solidFill>
                  <a:schemeClr val="tx1"/>
                </a:solidFill>
              </a:rPr>
              <a:t>- Deze slide komt uit de Value Case : laatste versie hierin opnemen  en indien nodig aanpassen</a:t>
            </a:r>
          </a:p>
        </p:txBody>
      </p:sp>
      <p:sp>
        <p:nvSpPr>
          <p:cNvPr id="15" name="5. Source">
            <a:extLst>
              <a:ext uri="{FF2B5EF4-FFF2-40B4-BE49-F238E27FC236}">
                <a16:creationId xmlns:a16="http://schemas.microsoft.com/office/drawing/2014/main" id="{09A2C539-7091-5B40-9FDB-224FE3AFDB06}"/>
              </a:ext>
            </a:extLst>
          </p:cNvPr>
          <p:cNvSpPr>
            <a:spLocks noChangeArrowheads="1"/>
          </p:cNvSpPr>
          <p:nvPr/>
        </p:nvSpPr>
        <p:spPr bwMode="gray">
          <a:xfrm>
            <a:off x="696117" y="6572318"/>
            <a:ext cx="11082363"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0" marR="0" lvl="0" indent="0" algn="l" defTabSz="913332" rtl="0" eaLnBrk="1" fontAlgn="auto" latinLnBrk="0" hangingPunct="1">
              <a:lnSpc>
                <a:spcPct val="100000"/>
              </a:lnSpc>
              <a:spcBef>
                <a:spcPct val="0"/>
              </a:spcBef>
              <a:spcAft>
                <a:spcPct val="0"/>
              </a:spcAft>
              <a:buClrTx/>
              <a:buSzTx/>
              <a:buFontTx/>
              <a:buNone/>
              <a:tabLst>
                <a:tab pos="625082" algn="l"/>
              </a:tabLst>
              <a:defRPr/>
            </a:pPr>
            <a:r>
              <a:rPr kumimoji="0" lang="nl-NL" sz="900" b="0" i="0" u="none" strike="noStrike" kern="1200" cap="none" spc="0" normalizeH="0" baseline="0" noProof="0" dirty="0">
                <a:ln>
                  <a:noFill/>
                </a:ln>
                <a:solidFill>
                  <a:srgbClr val="000000"/>
                </a:solidFill>
                <a:effectLst/>
                <a:uLnTx/>
                <a:uFillTx/>
                <a:latin typeface="Arial"/>
                <a:ea typeface="ＭＳ Ｐゴシック"/>
                <a:cs typeface="Arial"/>
              </a:rPr>
              <a:t>Bron: Enquête [instelling], interviews en teamanalyse. </a:t>
            </a:r>
            <a:endParaRPr kumimoji="0" lang="nl-NL"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custDataLst>
      <p:tags r:id="rId1"/>
    </p:custDataLst>
    <p:extLst>
      <p:ext uri="{BB962C8B-B14F-4D97-AF65-F5344CB8AC3E}">
        <p14:creationId xmlns:p14="http://schemas.microsoft.com/office/powerpoint/2010/main" val="26372474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1">
            <a:extLst>
              <a:ext uri="{FF2B5EF4-FFF2-40B4-BE49-F238E27FC236}">
                <a16:creationId xmlns:a16="http://schemas.microsoft.com/office/drawing/2014/main" id="{2294A11A-E090-429F-B1C7-B6B3CF5FB15F}"/>
              </a:ext>
            </a:extLst>
          </p:cNvPr>
          <p:cNvSpPr txBox="1">
            <a:spLocks/>
          </p:cNvSpPr>
          <p:nvPr/>
        </p:nvSpPr>
        <p:spPr>
          <a:xfrm>
            <a:off x="1075574" y="2615366"/>
            <a:ext cx="8454352" cy="756000"/>
          </a:xfrm>
          <a:prstGeom prst="rect">
            <a:avLst/>
          </a:prstGeom>
          <a:solidFill>
            <a:schemeClr val="accent3"/>
          </a:solidFill>
          <a:ln w="9525">
            <a:noFill/>
          </a:ln>
        </p:spPr>
        <p:txBody>
          <a:bodyPr vert="horz" wrap="square" lIns="186592" tIns="46648" rIns="46648" bIns="46648" rtlCol="0" anchor="ctr" anchorCtr="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lgn="ctr">
              <a:buClr>
                <a:srgbClr val="003C54"/>
              </a:buClr>
              <a:defRPr/>
            </a:pPr>
            <a:r>
              <a:rPr lang="nl-NL" sz="1800" b="1">
                <a:solidFill>
                  <a:srgbClr val="FFFFFF"/>
                </a:solidFill>
                <a:ea typeface="+mn-lt"/>
                <a:cs typeface="Arial"/>
              </a:rPr>
              <a:t>De instellingstructuur stimuleert op bepaalde aspecten de mogelijkheden rondom contractuitbreiding niet</a:t>
            </a:r>
            <a:endParaRPr kumimoji="0" lang="nl-NL" sz="1800" b="1" i="0" u="none" strike="noStrike" kern="1200" cap="none" spc="0" normalizeH="0" baseline="0" noProof="0">
              <a:ln>
                <a:noFill/>
              </a:ln>
              <a:solidFill>
                <a:srgbClr val="FFFFFF"/>
              </a:solidFill>
              <a:effectLst/>
              <a:uLnTx/>
              <a:uFillTx/>
              <a:ea typeface="ＭＳ Ｐゴシック"/>
              <a:cs typeface="Arial" panose="020B0604020202020204" pitchFamily="34" charset="0"/>
            </a:endParaRPr>
          </a:p>
        </p:txBody>
      </p:sp>
      <p:sp>
        <p:nvSpPr>
          <p:cNvPr id="20" name="TextBox 19">
            <a:extLst>
              <a:ext uri="{FF2B5EF4-FFF2-40B4-BE49-F238E27FC236}">
                <a16:creationId xmlns:a16="http://schemas.microsoft.com/office/drawing/2014/main" id="{79819DD4-5403-40BC-BC76-EAD6E6D779C2}"/>
              </a:ext>
            </a:extLst>
          </p:cNvPr>
          <p:cNvSpPr txBox="1">
            <a:spLocks/>
          </p:cNvSpPr>
          <p:nvPr/>
        </p:nvSpPr>
        <p:spPr>
          <a:xfrm>
            <a:off x="1075574" y="1640868"/>
            <a:ext cx="8454352" cy="756000"/>
          </a:xfrm>
          <a:prstGeom prst="rect">
            <a:avLst/>
          </a:prstGeom>
          <a:solidFill>
            <a:srgbClr val="E6F7FB"/>
          </a:solidFill>
          <a:ln w="9525">
            <a:noFill/>
          </a:ln>
        </p:spPr>
        <p:txBody>
          <a:bodyPr vert="horz" wrap="square" lIns="186592" tIns="46648" rIns="46648" bIns="46648" rtlCol="0" anchor="ctr" anchorCtr="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lgn="ctr">
              <a:buClr>
                <a:srgbClr val="003C54"/>
              </a:buClr>
              <a:defRPr/>
            </a:pPr>
            <a:r>
              <a:rPr lang="nl-NL" sz="1800" b="1">
                <a:solidFill>
                  <a:schemeClr val="accent4"/>
                </a:solidFill>
                <a:ea typeface="+mn-lt"/>
                <a:cs typeface="Arial"/>
              </a:rPr>
              <a:t>Contractuitbreiding staat beperkt op de radar van bestuur en management</a:t>
            </a:r>
          </a:p>
        </p:txBody>
      </p:sp>
      <p:sp>
        <p:nvSpPr>
          <p:cNvPr id="22" name="TextBox 21">
            <a:extLst>
              <a:ext uri="{FF2B5EF4-FFF2-40B4-BE49-F238E27FC236}">
                <a16:creationId xmlns:a16="http://schemas.microsoft.com/office/drawing/2014/main" id="{7C40F580-6DAD-4D43-9AF0-294BC6E2C690}"/>
              </a:ext>
            </a:extLst>
          </p:cNvPr>
          <p:cNvSpPr txBox="1">
            <a:spLocks/>
          </p:cNvSpPr>
          <p:nvPr/>
        </p:nvSpPr>
        <p:spPr>
          <a:xfrm>
            <a:off x="1075574" y="3589864"/>
            <a:ext cx="8454352" cy="756000"/>
          </a:xfrm>
          <a:prstGeom prst="rect">
            <a:avLst/>
          </a:prstGeom>
          <a:solidFill>
            <a:schemeClr val="accent3"/>
          </a:solidFill>
          <a:ln w="9525">
            <a:noFill/>
          </a:ln>
        </p:spPr>
        <p:txBody>
          <a:bodyPr vert="horz" wrap="square" lIns="186592" tIns="46648" rIns="46648" bIns="46648" rtlCol="0" anchor="ctr" anchorCtr="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auto" latinLnBrk="0" hangingPunct="1">
              <a:lnSpc>
                <a:spcPct val="100000"/>
              </a:lnSpc>
              <a:spcBef>
                <a:spcPts val="0"/>
              </a:spcBef>
              <a:spcAft>
                <a:spcPts val="0"/>
              </a:spcAft>
              <a:buClr>
                <a:srgbClr val="003C54"/>
              </a:buClr>
              <a:buSzPct val="100000"/>
              <a:buFontTx/>
              <a:buNone/>
              <a:tabLst/>
              <a:defRPr/>
            </a:pPr>
            <a:r>
              <a:rPr lang="nl-NL" sz="1800" b="1">
                <a:solidFill>
                  <a:srgbClr val="FFFFFF"/>
                </a:solidFill>
                <a:ea typeface="ＭＳ Ｐゴシック"/>
                <a:cs typeface="Arial" panose="020B0604020202020204" pitchFamily="34" charset="0"/>
              </a:rPr>
              <a:t>Vanuit HR wordt contractuitbreiding nog niet echt ondersteund / gestimuleerd</a:t>
            </a:r>
            <a:endParaRPr kumimoji="0" lang="nl-NL" sz="1800" b="1" i="0" u="none" strike="noStrike" kern="1200" cap="none" spc="0" normalizeH="0" baseline="0" noProof="0">
              <a:ln>
                <a:noFill/>
              </a:ln>
              <a:solidFill>
                <a:srgbClr val="FFFFFF"/>
              </a:solidFill>
              <a:effectLst/>
              <a:uLnTx/>
              <a:uFillTx/>
              <a:ea typeface="ＭＳ Ｐゴシック"/>
              <a:cs typeface="Arial" panose="020B0604020202020204" pitchFamily="34" charset="0"/>
            </a:endParaRPr>
          </a:p>
        </p:txBody>
      </p:sp>
      <p:sp>
        <p:nvSpPr>
          <p:cNvPr id="24" name="TextBox 23">
            <a:extLst>
              <a:ext uri="{FF2B5EF4-FFF2-40B4-BE49-F238E27FC236}">
                <a16:creationId xmlns:a16="http://schemas.microsoft.com/office/drawing/2014/main" id="{B62F93F1-15FC-44A1-9D4B-772315B21588}"/>
              </a:ext>
            </a:extLst>
          </p:cNvPr>
          <p:cNvSpPr txBox="1">
            <a:spLocks/>
          </p:cNvSpPr>
          <p:nvPr/>
        </p:nvSpPr>
        <p:spPr>
          <a:xfrm>
            <a:off x="1075574" y="4564362"/>
            <a:ext cx="8454352" cy="756000"/>
          </a:xfrm>
          <a:prstGeom prst="rect">
            <a:avLst/>
          </a:prstGeom>
          <a:solidFill>
            <a:srgbClr val="E6F7FB"/>
          </a:solidFill>
          <a:ln w="9525">
            <a:noFill/>
          </a:ln>
        </p:spPr>
        <p:txBody>
          <a:bodyPr vert="horz" wrap="square" lIns="186592" tIns="46648" rIns="46648" bIns="46648" rtlCol="0" anchor="ctr" anchorCtr="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ctr" defTabSz="895350" rtl="0" eaLnBrk="1" fontAlgn="auto" latinLnBrk="0" hangingPunct="1">
              <a:lnSpc>
                <a:spcPct val="100000"/>
              </a:lnSpc>
              <a:spcBef>
                <a:spcPts val="0"/>
              </a:spcBef>
              <a:spcAft>
                <a:spcPts val="0"/>
              </a:spcAft>
              <a:buClr>
                <a:srgbClr val="003C54"/>
              </a:buClr>
              <a:buSzPct val="100000"/>
              <a:buFontTx/>
              <a:buNone/>
              <a:tabLst/>
              <a:defRPr/>
            </a:pPr>
            <a:r>
              <a:rPr lang="nl-NL" sz="1800" b="1">
                <a:solidFill>
                  <a:schemeClr val="accent4"/>
                </a:solidFill>
                <a:ea typeface="ＭＳ Ｐゴシック"/>
                <a:cs typeface="Arial" panose="020B0604020202020204" pitchFamily="34" charset="0"/>
              </a:rPr>
              <a:t>Het is onduidelijk voor medewerkers wat werken oplevert of de indruk bestaat dat het niet loont</a:t>
            </a:r>
            <a:endParaRPr kumimoji="0" lang="nl-NL" sz="1800" b="1" i="0" u="none" strike="noStrike" kern="1200" cap="none" spc="0" normalizeH="0" baseline="0" noProof="0">
              <a:ln>
                <a:noFill/>
              </a:ln>
              <a:solidFill>
                <a:schemeClr val="accent4"/>
              </a:solidFill>
              <a:effectLst/>
              <a:uLnTx/>
              <a:uFillTx/>
              <a:ea typeface="ＭＳ Ｐゴシック"/>
              <a:cs typeface="Arial" panose="020B0604020202020204" pitchFamily="34" charset="0"/>
            </a:endParaRPr>
          </a:p>
        </p:txBody>
      </p:sp>
      <p:sp>
        <p:nvSpPr>
          <p:cNvPr id="26" name="TextBox 25">
            <a:extLst>
              <a:ext uri="{FF2B5EF4-FFF2-40B4-BE49-F238E27FC236}">
                <a16:creationId xmlns:a16="http://schemas.microsoft.com/office/drawing/2014/main" id="{F56F185D-6D24-4C28-AAA2-CB6F80828130}"/>
              </a:ext>
            </a:extLst>
          </p:cNvPr>
          <p:cNvSpPr txBox="1">
            <a:spLocks/>
          </p:cNvSpPr>
          <p:nvPr/>
        </p:nvSpPr>
        <p:spPr>
          <a:xfrm>
            <a:off x="1075574" y="5538861"/>
            <a:ext cx="8454352" cy="756000"/>
          </a:xfrm>
          <a:prstGeom prst="rect">
            <a:avLst/>
          </a:prstGeom>
          <a:solidFill>
            <a:srgbClr val="E6F7FB"/>
          </a:solidFill>
          <a:ln w="9525">
            <a:noFill/>
          </a:ln>
        </p:spPr>
        <p:txBody>
          <a:bodyPr vert="horz" wrap="square" lIns="186592" tIns="46648" rIns="46648" bIns="46648" rtlCol="0" anchor="ctr" anchorCtr="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lgn="ctr">
              <a:buClr>
                <a:srgbClr val="003C54"/>
              </a:buClr>
              <a:defRPr/>
            </a:pPr>
            <a:endParaRPr lang="nl-NL" sz="1800" b="1">
              <a:solidFill>
                <a:schemeClr val="accent4"/>
              </a:solidFill>
              <a:cs typeface="Arial" panose="020B0604020202020204" pitchFamily="34" charset="0"/>
            </a:endParaRPr>
          </a:p>
          <a:p>
            <a:pPr lvl="0" algn="ctr">
              <a:buClr>
                <a:srgbClr val="003C54"/>
              </a:buClr>
              <a:defRPr/>
            </a:pPr>
            <a:r>
              <a:rPr lang="nl-NL" sz="1800" b="1">
                <a:solidFill>
                  <a:schemeClr val="accent4"/>
                </a:solidFill>
                <a:ea typeface="+mn-lt"/>
                <a:cs typeface="Arial"/>
              </a:rPr>
              <a:t>Behoud van een prettig rooster bij een groter contract levert uitdagingen op vanuit medewerker en instelling</a:t>
            </a:r>
          </a:p>
          <a:p>
            <a:pPr marL="0" marR="0" lvl="0" indent="0" algn="ctr" defTabSz="895350" rtl="0" eaLnBrk="1" fontAlgn="auto" latinLnBrk="0" hangingPunct="1">
              <a:lnSpc>
                <a:spcPct val="100000"/>
              </a:lnSpc>
              <a:spcBef>
                <a:spcPts val="0"/>
              </a:spcBef>
              <a:spcAft>
                <a:spcPts val="0"/>
              </a:spcAft>
              <a:buClr>
                <a:srgbClr val="003C54"/>
              </a:buClr>
              <a:buSzPct val="100000"/>
              <a:buFontTx/>
              <a:buNone/>
              <a:tabLst/>
              <a:defRPr/>
            </a:pPr>
            <a:r>
              <a:rPr lang="nl-NL" sz="1800" b="1">
                <a:solidFill>
                  <a:schemeClr val="accent4"/>
                </a:solidFill>
                <a:ea typeface="ＭＳ Ｐゴシック"/>
                <a:cs typeface="Arial" panose="020B0604020202020204" pitchFamily="34" charset="0"/>
              </a:rPr>
              <a:t> </a:t>
            </a:r>
            <a:endParaRPr kumimoji="0" lang="nl-NL" sz="1800" b="1" i="0" u="none" strike="noStrike" kern="1200" cap="none" spc="0" normalizeH="0" baseline="0" noProof="0">
              <a:ln>
                <a:noFill/>
              </a:ln>
              <a:solidFill>
                <a:schemeClr val="accent4"/>
              </a:solidFill>
              <a:effectLst/>
              <a:uLnTx/>
              <a:uFillTx/>
              <a:ea typeface="ＭＳ Ｐゴシック"/>
              <a:cs typeface="Arial" panose="020B0604020202020204" pitchFamily="34" charset="0"/>
            </a:endParaRPr>
          </a:p>
        </p:txBody>
      </p:sp>
      <p:sp>
        <p:nvSpPr>
          <p:cNvPr id="3" name="Titel 2">
            <a:extLst>
              <a:ext uri="{FF2B5EF4-FFF2-40B4-BE49-F238E27FC236}">
                <a16:creationId xmlns:a16="http://schemas.microsoft.com/office/drawing/2014/main" id="{D50A4095-95CD-3547-A20D-2AB2AD50343A}"/>
              </a:ext>
            </a:extLst>
          </p:cNvPr>
          <p:cNvSpPr>
            <a:spLocks noGrp="1"/>
          </p:cNvSpPr>
          <p:nvPr>
            <p:ph type="title"/>
          </p:nvPr>
        </p:nvSpPr>
        <p:spPr>
          <a:xfrm>
            <a:off x="513640" y="705789"/>
            <a:ext cx="11394108" cy="439639"/>
          </a:xfrm>
        </p:spPr>
        <p:txBody>
          <a:bodyPr/>
          <a:lstStyle/>
          <a:p>
            <a:r>
              <a:rPr lang="nl-NL"/>
              <a:t>Vanuit het HR domein wordt een contractuitbreiding nog niet altijd ondersteund; de inbedding van het Goede Gesprek binnen de instelling kan een deel van de belemmeringen wegnemen</a:t>
            </a:r>
          </a:p>
        </p:txBody>
      </p:sp>
      <p:sp>
        <p:nvSpPr>
          <p:cNvPr id="12" name="Tekstvak 11">
            <a:extLst>
              <a:ext uri="{FF2B5EF4-FFF2-40B4-BE49-F238E27FC236}">
                <a16:creationId xmlns:a16="http://schemas.microsoft.com/office/drawing/2014/main" id="{7CA6EE0B-270A-314C-83FD-BA99E0C05504}"/>
              </a:ext>
            </a:extLst>
          </p:cNvPr>
          <p:cNvSpPr txBox="1"/>
          <p:nvPr/>
        </p:nvSpPr>
        <p:spPr>
          <a:xfrm>
            <a:off x="9754439" y="2557993"/>
            <a:ext cx="1700123" cy="193899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r>
              <a:rPr lang="nl-NL" sz="1800" i="1">
                <a:solidFill>
                  <a:schemeClr val="accent4"/>
                </a:solidFill>
                <a:cs typeface="Arial"/>
              </a:rPr>
              <a:t>Door het Goede Gesprek uit te rollen in de instelling worden deze 2 belemmeringen weggenomen</a:t>
            </a:r>
          </a:p>
        </p:txBody>
      </p:sp>
      <p:sp>
        <p:nvSpPr>
          <p:cNvPr id="14" name="Rechthoek 13">
            <a:extLst>
              <a:ext uri="{FF2B5EF4-FFF2-40B4-BE49-F238E27FC236}">
                <a16:creationId xmlns:a16="http://schemas.microsoft.com/office/drawing/2014/main" id="{A7516275-9005-314A-9F59-20B7F3A47C6D}"/>
              </a:ext>
            </a:extLst>
          </p:cNvPr>
          <p:cNvSpPr/>
          <p:nvPr/>
        </p:nvSpPr>
        <p:spPr>
          <a:xfrm>
            <a:off x="-1619499" y="127584"/>
            <a:ext cx="1903751" cy="2825478"/>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sz="1600" b="1" err="1">
                <a:solidFill>
                  <a:schemeClr val="tx1"/>
                </a:solidFill>
              </a:rPr>
              <a:t>To</a:t>
            </a:r>
            <a:r>
              <a:rPr lang="nl-NL" sz="1600" b="1">
                <a:solidFill>
                  <a:schemeClr val="tx1"/>
                </a:solidFill>
              </a:rPr>
              <a:t> do om deze slide instelling specifiek te maken:</a:t>
            </a:r>
          </a:p>
          <a:p>
            <a:pPr algn="ctr"/>
            <a:endParaRPr lang="nl-NL" sz="1600">
              <a:solidFill>
                <a:schemeClr val="tx1"/>
              </a:solidFill>
            </a:endParaRPr>
          </a:p>
          <a:p>
            <a:pPr algn="ctr"/>
            <a:r>
              <a:rPr lang="nl-NL" sz="1600">
                <a:solidFill>
                  <a:schemeClr val="tx1"/>
                </a:solidFill>
              </a:rPr>
              <a:t>- Deze slide komt uit de Value Case : laatste versie hierin opnemen  en indien nodig aanpassen</a:t>
            </a:r>
          </a:p>
        </p:txBody>
      </p:sp>
      <p:sp>
        <p:nvSpPr>
          <p:cNvPr id="11" name="5. Source">
            <a:extLst>
              <a:ext uri="{FF2B5EF4-FFF2-40B4-BE49-F238E27FC236}">
                <a16:creationId xmlns:a16="http://schemas.microsoft.com/office/drawing/2014/main" id="{C4498BB8-3FAC-6E4D-A9B3-4B81E09DC9F2}"/>
              </a:ext>
            </a:extLst>
          </p:cNvPr>
          <p:cNvSpPr>
            <a:spLocks noChangeArrowheads="1"/>
          </p:cNvSpPr>
          <p:nvPr/>
        </p:nvSpPr>
        <p:spPr bwMode="gray">
          <a:xfrm>
            <a:off x="696117" y="6572318"/>
            <a:ext cx="11082363"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0" marR="0" lvl="0" indent="0" algn="l" defTabSz="913332" rtl="0" eaLnBrk="1" fontAlgn="auto" latinLnBrk="0" hangingPunct="1">
              <a:lnSpc>
                <a:spcPct val="100000"/>
              </a:lnSpc>
              <a:spcBef>
                <a:spcPct val="0"/>
              </a:spcBef>
              <a:spcAft>
                <a:spcPct val="0"/>
              </a:spcAft>
              <a:buClrTx/>
              <a:buSzTx/>
              <a:buFontTx/>
              <a:buNone/>
              <a:tabLst>
                <a:tab pos="625082" algn="l"/>
              </a:tabLst>
              <a:defRPr/>
            </a:pPr>
            <a:r>
              <a:rPr kumimoji="0" lang="nl-NL" sz="900" b="0" i="0" u="none" strike="noStrike" kern="1200" cap="none" spc="0" normalizeH="0" baseline="0" noProof="0" dirty="0">
                <a:ln>
                  <a:noFill/>
                </a:ln>
                <a:solidFill>
                  <a:srgbClr val="000000"/>
                </a:solidFill>
                <a:effectLst/>
                <a:uLnTx/>
                <a:uFillTx/>
                <a:latin typeface="Arial"/>
                <a:ea typeface="ＭＳ Ｐゴシック"/>
                <a:cs typeface="Arial"/>
              </a:rPr>
              <a:t>Bron: Enquête [instelling], interviews en teamanalyse. </a:t>
            </a:r>
            <a:endParaRPr kumimoji="0" lang="nl-NL"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361958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76CA8F7-28C6-4A94-B312-275ACDECA759}"/>
              </a:ext>
            </a:extLst>
          </p:cNvPr>
          <p:cNvGraphicFramePr>
            <a:graphicFrameLocks noChangeAspect="1"/>
          </p:cNvGraphicFramePr>
          <p:nvPr>
            <p:custDataLst>
              <p:tags r:id="rId3"/>
            </p:custDataLst>
          </p:nvPr>
        </p:nvGraphicFramePr>
        <p:xfrm>
          <a:off x="1678" y="1639"/>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12" imgW="346" imgH="346" progId="TCLayout.ActiveDocument.1">
                  <p:embed/>
                </p:oleObj>
              </mc:Choice>
              <mc:Fallback>
                <p:oleObj name="think-cell Slide" r:id="rId12" imgW="346" imgH="346" progId="TCLayout.ActiveDocument.1">
                  <p:embed/>
                  <p:pic>
                    <p:nvPicPr>
                      <p:cNvPr id="6" name="Object 5" hidden="1">
                        <a:extLst>
                          <a:ext uri="{FF2B5EF4-FFF2-40B4-BE49-F238E27FC236}">
                            <a16:creationId xmlns:a16="http://schemas.microsoft.com/office/drawing/2014/main" id="{F76CA8F7-28C6-4A94-B312-275ACDECA759}"/>
                          </a:ext>
                        </a:extLst>
                      </p:cNvPr>
                      <p:cNvPicPr/>
                      <p:nvPr/>
                    </p:nvPicPr>
                    <p:blipFill>
                      <a:blip r:embed="rId13"/>
                      <a:stretch>
                        <a:fillRect/>
                      </a:stretch>
                    </p:blipFill>
                    <p:spPr>
                      <a:xfrm>
                        <a:off x="1678" y="163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FFE67BB-D64E-4192-9448-C76BBDDB569E}"/>
              </a:ext>
            </a:extLst>
          </p:cNvPr>
          <p:cNvSpPr/>
          <p:nvPr>
            <p:custDataLst>
              <p:tags r:id="rId4"/>
            </p:custDataLst>
          </p:nvPr>
        </p:nvSpPr>
        <p:spPr>
          <a:xfrm>
            <a:off x="91" y="51"/>
            <a:ext cx="158747" cy="158747"/>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Andada" panose="02000000000000000000" pitchFamily="50" charset="0"/>
              <a:ea typeface="ＭＳ Ｐゴシック" panose="020B0600070205080204" pitchFamily="34" charset="-128"/>
              <a:cs typeface="+mn-cs"/>
              <a:sym typeface="Andada" panose="02000000000000000000" pitchFamily="50" charset="0"/>
            </a:endParaRPr>
          </a:p>
        </p:txBody>
      </p:sp>
      <p:sp>
        <p:nvSpPr>
          <p:cNvPr id="21" name="Rectangle 20">
            <a:extLst>
              <a:ext uri="{FF2B5EF4-FFF2-40B4-BE49-F238E27FC236}">
                <a16:creationId xmlns:a16="http://schemas.microsoft.com/office/drawing/2014/main" id="{5C330810-5BA8-4581-9D95-9A200123609F}"/>
              </a:ext>
            </a:extLst>
          </p:cNvPr>
          <p:cNvSpPr/>
          <p:nvPr/>
        </p:nvSpPr>
        <p:spPr>
          <a:xfrm>
            <a:off x="554818" y="523418"/>
            <a:ext cx="11090747" cy="5884958"/>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8" tIns="45719" rIns="91438" bIns="4571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nl-NL" sz="16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24" name="Title 1">
            <a:extLst>
              <a:ext uri="{FF2B5EF4-FFF2-40B4-BE49-F238E27FC236}">
                <a16:creationId xmlns:a16="http://schemas.microsoft.com/office/drawing/2014/main" id="{6356B6A9-8F83-445C-9B61-6FB2E03FD747}"/>
              </a:ext>
            </a:extLst>
          </p:cNvPr>
          <p:cNvSpPr txBox="1">
            <a:spLocks/>
          </p:cNvSpPr>
          <p:nvPr/>
        </p:nvSpPr>
        <p:spPr bwMode="gray">
          <a:xfrm>
            <a:off x="1088211" y="1287948"/>
            <a:ext cx="4005699" cy="387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895350" rtl="0" eaLnBrk="1" fontAlgn="base" hangingPunct="1">
              <a:spcBef>
                <a:spcPct val="0"/>
              </a:spcBef>
              <a:spcAft>
                <a:spcPct val="0"/>
              </a:spcAft>
              <a:tabLst>
                <a:tab pos="444500" algn="l"/>
              </a:tabLst>
              <a:defRPr lang="nl-NL" sz="2800" b="0" baseline="0" noProof="0">
                <a:solidFill>
                  <a:schemeClr val="tx2"/>
                </a:solidFill>
                <a:latin typeface="+mj-lt"/>
                <a:ea typeface="+mj-ea"/>
                <a:cs typeface="+mj-cs"/>
                <a:sym typeface="+mj-lt"/>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444500" algn="l"/>
              </a:tabLst>
              <a:defRPr/>
            </a:pPr>
            <a:r>
              <a:rPr kumimoji="0" lang="nl-NL" sz="2857" b="0" i="0" u="none" strike="noStrike" kern="0" cap="none" spc="0" normalizeH="0" baseline="0" noProof="0">
                <a:ln>
                  <a:noFill/>
                </a:ln>
                <a:solidFill>
                  <a:srgbClr val="003C54"/>
                </a:solidFill>
                <a:effectLst/>
                <a:uLnTx/>
                <a:uFillTx/>
                <a:latin typeface="Andada"/>
                <a:ea typeface="ＭＳ Ｐゴシック"/>
                <a:cs typeface="+mj-cs"/>
                <a:sym typeface="+mj-lt"/>
              </a:rPr>
              <a:t>Inhoud van dit document</a:t>
            </a:r>
          </a:p>
        </p:txBody>
      </p:sp>
      <p:sp>
        <p:nvSpPr>
          <p:cNvPr id="26" name="TrackerNum 6">
            <a:extLst>
              <a:ext uri="{FF2B5EF4-FFF2-40B4-BE49-F238E27FC236}">
                <a16:creationId xmlns:a16="http://schemas.microsoft.com/office/drawing/2014/main" id="{BEF5493F-F23B-4434-AC54-9ECF6459DDCB}"/>
              </a:ext>
            </a:extLst>
          </p:cNvPr>
          <p:cNvSpPr>
            <a:spLocks/>
          </p:cNvSpPr>
          <p:nvPr>
            <p:custDataLst>
              <p:tags r:id="rId5"/>
            </p:custDataLst>
          </p:nvPr>
        </p:nvSpPr>
        <p:spPr>
          <a:xfrm>
            <a:off x="5329084" y="1294531"/>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1</a:t>
            </a:r>
          </a:p>
        </p:txBody>
      </p:sp>
      <p:cxnSp>
        <p:nvCxnSpPr>
          <p:cNvPr id="27" name="Straight Connector 26">
            <a:extLst>
              <a:ext uri="{FF2B5EF4-FFF2-40B4-BE49-F238E27FC236}">
                <a16:creationId xmlns:a16="http://schemas.microsoft.com/office/drawing/2014/main" id="{E875C905-D61A-461F-A7F2-3F5663855E4E}"/>
              </a:ext>
            </a:extLst>
          </p:cNvPr>
          <p:cNvCxnSpPr>
            <a:cxnSpLocks/>
          </p:cNvCxnSpPr>
          <p:nvPr/>
        </p:nvCxnSpPr>
        <p:spPr>
          <a:xfrm flipV="1">
            <a:off x="5907774" y="1219215"/>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55B1E6F-F9E8-46B2-9DF3-5E065571C7CE}"/>
              </a:ext>
            </a:extLst>
          </p:cNvPr>
          <p:cNvSpPr txBox="1">
            <a:spLocks/>
          </p:cNvSpPr>
          <p:nvPr/>
        </p:nvSpPr>
        <p:spPr>
          <a:xfrm>
            <a:off x="6092796" y="1219216"/>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buClr>
                <a:srgbClr val="FFFFFF"/>
              </a:buClr>
              <a:defRPr/>
            </a:pPr>
            <a:r>
              <a:rPr kumimoji="0" lang="nl-NL" b="0" i="0" u="none" strike="noStrike" kern="1200" cap="none" spc="0" normalizeH="0" baseline="0" noProof="0">
                <a:ln>
                  <a:noFill/>
                </a:ln>
                <a:solidFill>
                  <a:schemeClr val="tx1"/>
                </a:solidFill>
                <a:effectLst/>
                <a:uLnTx/>
                <a:uFillTx/>
                <a:latin typeface="Arial"/>
                <a:ea typeface="ＭＳ Ｐゴシック"/>
                <a:cs typeface="+mn-cs"/>
              </a:rPr>
              <a:t>Korte introductie HPP en bevindingen rondom Goed Gesprek</a:t>
            </a:r>
            <a:endParaRPr kumimoji="0" lang="en-US" sz="1837" b="0" i="0" u="none" strike="noStrike" kern="1200" cap="none" spc="0" normalizeH="0" baseline="0" noProof="0">
              <a:ln>
                <a:noFill/>
              </a:ln>
              <a:solidFill>
                <a:schemeClr val="tx1"/>
              </a:solidFill>
              <a:effectLst/>
              <a:uLnTx/>
              <a:uFillTx/>
              <a:latin typeface="Arial"/>
              <a:ea typeface="ＭＳ Ｐゴシック"/>
              <a:cs typeface="+mn-cs"/>
            </a:endParaRPr>
          </a:p>
        </p:txBody>
      </p:sp>
      <p:sp>
        <p:nvSpPr>
          <p:cNvPr id="29" name="TrackerNum 6">
            <a:extLst>
              <a:ext uri="{FF2B5EF4-FFF2-40B4-BE49-F238E27FC236}">
                <a16:creationId xmlns:a16="http://schemas.microsoft.com/office/drawing/2014/main" id="{7A50A923-F3D4-463F-B093-2AE7F87A4C37}"/>
              </a:ext>
            </a:extLst>
          </p:cNvPr>
          <p:cNvSpPr>
            <a:spLocks/>
          </p:cNvSpPr>
          <p:nvPr>
            <p:custDataLst>
              <p:tags r:id="rId6"/>
            </p:custDataLst>
          </p:nvPr>
        </p:nvSpPr>
        <p:spPr>
          <a:xfrm>
            <a:off x="5329084" y="2076688"/>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2</a:t>
            </a:r>
          </a:p>
        </p:txBody>
      </p:sp>
      <p:cxnSp>
        <p:nvCxnSpPr>
          <p:cNvPr id="30" name="Straight Connector 29">
            <a:extLst>
              <a:ext uri="{FF2B5EF4-FFF2-40B4-BE49-F238E27FC236}">
                <a16:creationId xmlns:a16="http://schemas.microsoft.com/office/drawing/2014/main" id="{CC02215F-3F81-40FB-BF77-95F138BA73E5}"/>
              </a:ext>
            </a:extLst>
          </p:cNvPr>
          <p:cNvCxnSpPr>
            <a:cxnSpLocks/>
          </p:cNvCxnSpPr>
          <p:nvPr/>
        </p:nvCxnSpPr>
        <p:spPr>
          <a:xfrm flipV="1">
            <a:off x="5907774" y="2001372"/>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D83E06A2-D1C6-4B34-A6D0-CCF338301330}"/>
              </a:ext>
            </a:extLst>
          </p:cNvPr>
          <p:cNvSpPr txBox="1">
            <a:spLocks/>
          </p:cNvSpPr>
          <p:nvPr/>
        </p:nvSpPr>
        <p:spPr>
          <a:xfrm>
            <a:off x="6092796" y="2801423"/>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buClr>
                <a:srgbClr val="FFFFFF"/>
              </a:buClr>
              <a:defRPr/>
            </a:pPr>
            <a:r>
              <a:rPr kumimoji="0" lang="nl-NL" b="0" i="0" u="none" strike="noStrike" kern="1200" cap="none" spc="0" normalizeH="0" baseline="0" noProof="0" dirty="0">
                <a:ln>
                  <a:noFill/>
                </a:ln>
                <a:solidFill>
                  <a:schemeClr val="tx1"/>
                </a:solidFill>
                <a:effectLst/>
                <a:uLnTx/>
                <a:uFillTx/>
                <a:latin typeface="Arial"/>
                <a:ea typeface="ＭＳ Ｐゴシック"/>
                <a:cs typeface="+mn-cs"/>
              </a:rPr>
              <a:t>Wat is er allemaal al gebeurd </a:t>
            </a:r>
            <a:r>
              <a:rPr lang="nl-NL" b="0" dirty="0">
                <a:solidFill>
                  <a:schemeClr val="tx1"/>
                </a:solidFill>
                <a:latin typeface="Arial"/>
                <a:ea typeface="ＭＳ Ｐゴシック"/>
              </a:rPr>
              <a:t>binnen [instelling] tot</a:t>
            </a:r>
            <a:r>
              <a:rPr kumimoji="0" lang="nl-NL" b="0" i="0" u="none" strike="noStrike" kern="1200" cap="none" spc="0" normalizeH="0" baseline="0" noProof="0" dirty="0">
                <a:ln>
                  <a:noFill/>
                </a:ln>
                <a:solidFill>
                  <a:schemeClr val="tx1"/>
                </a:solidFill>
                <a:effectLst/>
                <a:uLnTx/>
                <a:uFillTx/>
                <a:latin typeface="Arial"/>
                <a:ea typeface="ＭＳ Ｐゴシック"/>
                <a:cs typeface="+mn-cs"/>
              </a:rPr>
              <a:t> nu toe t.a.v. Goed Gesprek?</a:t>
            </a:r>
            <a:endParaRPr kumimoji="0" lang="en-US" b="0" i="0" u="none" strike="noStrike" kern="1200" cap="none" spc="0" normalizeH="0" baseline="0" noProof="0" dirty="0">
              <a:ln>
                <a:noFill/>
              </a:ln>
              <a:solidFill>
                <a:schemeClr val="tx1"/>
              </a:solidFill>
              <a:effectLst/>
              <a:uLnTx/>
              <a:uFillTx/>
              <a:latin typeface="Arial"/>
              <a:ea typeface="ＭＳ Ｐゴシック"/>
              <a:cs typeface="+mn-cs"/>
            </a:endParaRPr>
          </a:p>
        </p:txBody>
      </p:sp>
      <p:sp>
        <p:nvSpPr>
          <p:cNvPr id="32" name="TrackerNum 6">
            <a:extLst>
              <a:ext uri="{FF2B5EF4-FFF2-40B4-BE49-F238E27FC236}">
                <a16:creationId xmlns:a16="http://schemas.microsoft.com/office/drawing/2014/main" id="{D6756352-BC92-485C-8DE3-D792F317E356}"/>
              </a:ext>
            </a:extLst>
          </p:cNvPr>
          <p:cNvSpPr>
            <a:spLocks/>
          </p:cNvSpPr>
          <p:nvPr>
            <p:custDataLst>
              <p:tags r:id="rId7"/>
            </p:custDataLst>
          </p:nvPr>
        </p:nvSpPr>
        <p:spPr>
          <a:xfrm>
            <a:off x="5329084" y="2858844"/>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3</a:t>
            </a:r>
          </a:p>
        </p:txBody>
      </p:sp>
      <p:cxnSp>
        <p:nvCxnSpPr>
          <p:cNvPr id="33" name="Straight Connector 32">
            <a:extLst>
              <a:ext uri="{FF2B5EF4-FFF2-40B4-BE49-F238E27FC236}">
                <a16:creationId xmlns:a16="http://schemas.microsoft.com/office/drawing/2014/main" id="{FE96002B-1692-4FC1-9B1A-CBCD9F3F9055}"/>
              </a:ext>
            </a:extLst>
          </p:cNvPr>
          <p:cNvCxnSpPr>
            <a:cxnSpLocks/>
          </p:cNvCxnSpPr>
          <p:nvPr/>
        </p:nvCxnSpPr>
        <p:spPr>
          <a:xfrm flipV="1">
            <a:off x="5907774" y="2783528"/>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777AE9E8-2F83-422F-9454-7636ECAB66D1}"/>
              </a:ext>
            </a:extLst>
          </p:cNvPr>
          <p:cNvSpPr txBox="1">
            <a:spLocks/>
          </p:cNvSpPr>
          <p:nvPr/>
        </p:nvSpPr>
        <p:spPr>
          <a:xfrm>
            <a:off x="6081779" y="1968282"/>
            <a:ext cx="5544387" cy="636345"/>
          </a:xfrm>
          <a:prstGeom prst="rect">
            <a:avLst/>
          </a:prstGeom>
          <a:solidFill>
            <a:schemeClr val="accent3"/>
          </a:solid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marL="0" marR="0" lvl="0" indent="0" algn="l" defTabSz="877533" rtl="0" eaLnBrk="1" fontAlgn="auto" latinLnBrk="0" hangingPunct="1">
              <a:lnSpc>
                <a:spcPct val="100000"/>
              </a:lnSpc>
              <a:spcBef>
                <a:spcPts val="0"/>
              </a:spcBef>
              <a:spcAft>
                <a:spcPts val="0"/>
              </a:spcAft>
              <a:buClr>
                <a:srgbClr val="FFFFFF"/>
              </a:buClr>
              <a:buSzTx/>
              <a:buFontTx/>
              <a:buNone/>
              <a:tabLst/>
              <a:defRPr/>
            </a:pPr>
            <a:r>
              <a:rPr kumimoji="0" lang="nl-NL" sz="1837" i="0" u="none" strike="noStrike" kern="1200" cap="none" spc="0" normalizeH="0" baseline="0" noProof="0">
                <a:ln>
                  <a:noFill/>
                </a:ln>
                <a:solidFill>
                  <a:schemeClr val="bg1"/>
                </a:solidFill>
                <a:effectLst/>
                <a:uLnTx/>
                <a:uFillTx/>
                <a:latin typeface="Arial"/>
                <a:ea typeface="ＭＳ Ｐゴシック"/>
                <a:cs typeface="+mn-cs"/>
              </a:rPr>
              <a:t>Wat verstaan we onder Goed Gesprek?</a:t>
            </a:r>
            <a:endParaRPr kumimoji="0" lang="en-US" sz="1837" i="0" u="none" strike="noStrike" kern="1200" cap="none" spc="0" normalizeH="0" baseline="0" noProof="0">
              <a:ln>
                <a:noFill/>
              </a:ln>
              <a:solidFill>
                <a:schemeClr val="bg1"/>
              </a:solidFill>
              <a:effectLst/>
              <a:uLnTx/>
              <a:uFillTx/>
              <a:latin typeface="Arial"/>
              <a:ea typeface="ＭＳ Ｐゴシック"/>
              <a:cs typeface="+mn-cs"/>
            </a:endParaRPr>
          </a:p>
        </p:txBody>
      </p:sp>
      <p:sp>
        <p:nvSpPr>
          <p:cNvPr id="35" name="TrackerNum 6">
            <a:extLst>
              <a:ext uri="{FF2B5EF4-FFF2-40B4-BE49-F238E27FC236}">
                <a16:creationId xmlns:a16="http://schemas.microsoft.com/office/drawing/2014/main" id="{4D3512B7-78F8-4ABB-8348-B694CC90A917}"/>
              </a:ext>
            </a:extLst>
          </p:cNvPr>
          <p:cNvSpPr>
            <a:spLocks/>
          </p:cNvSpPr>
          <p:nvPr>
            <p:custDataLst>
              <p:tags r:id="rId8"/>
            </p:custDataLst>
          </p:nvPr>
        </p:nvSpPr>
        <p:spPr>
          <a:xfrm>
            <a:off x="5329084" y="3641001"/>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4</a:t>
            </a:r>
          </a:p>
        </p:txBody>
      </p:sp>
      <p:cxnSp>
        <p:nvCxnSpPr>
          <p:cNvPr id="36" name="Straight Connector 35">
            <a:extLst>
              <a:ext uri="{FF2B5EF4-FFF2-40B4-BE49-F238E27FC236}">
                <a16:creationId xmlns:a16="http://schemas.microsoft.com/office/drawing/2014/main" id="{6F75CF0D-2D29-450B-B328-73B8ADAD2F5F}"/>
              </a:ext>
            </a:extLst>
          </p:cNvPr>
          <p:cNvCxnSpPr>
            <a:cxnSpLocks/>
          </p:cNvCxnSpPr>
          <p:nvPr/>
        </p:nvCxnSpPr>
        <p:spPr>
          <a:xfrm flipV="1">
            <a:off x="5907774" y="3565685"/>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7724533-EC1D-4292-9541-961C61A39BDC}"/>
              </a:ext>
            </a:extLst>
          </p:cNvPr>
          <p:cNvSpPr txBox="1">
            <a:spLocks/>
          </p:cNvSpPr>
          <p:nvPr/>
        </p:nvSpPr>
        <p:spPr>
          <a:xfrm>
            <a:off x="6122224" y="3558928"/>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buClr>
                <a:srgbClr val="FFFFFF"/>
              </a:buClr>
              <a:defRPr/>
            </a:pPr>
            <a:r>
              <a:rPr lang="nl-NL" sz="1837" b="0">
                <a:solidFill>
                  <a:schemeClr val="tx1"/>
                </a:solidFill>
              </a:rPr>
              <a:t>Hoe wil [instelling] een goed gesprek inrichten voor de korte en middellange termijn? </a:t>
            </a:r>
          </a:p>
        </p:txBody>
      </p:sp>
      <p:cxnSp>
        <p:nvCxnSpPr>
          <p:cNvPr id="20" name="Straight Connector 19">
            <a:extLst>
              <a:ext uri="{FF2B5EF4-FFF2-40B4-BE49-F238E27FC236}">
                <a16:creationId xmlns:a16="http://schemas.microsoft.com/office/drawing/2014/main" id="{56FFB8A7-3266-0047-B76D-5E3FB112BF59}"/>
              </a:ext>
            </a:extLst>
          </p:cNvPr>
          <p:cNvCxnSpPr>
            <a:cxnSpLocks/>
          </p:cNvCxnSpPr>
          <p:nvPr/>
        </p:nvCxnSpPr>
        <p:spPr>
          <a:xfrm flipV="1">
            <a:off x="5914537" y="4397245"/>
            <a:ext cx="0" cy="636346"/>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TrackerNum 6">
            <a:extLst>
              <a:ext uri="{FF2B5EF4-FFF2-40B4-BE49-F238E27FC236}">
                <a16:creationId xmlns:a16="http://schemas.microsoft.com/office/drawing/2014/main" id="{23C15AF0-FEE0-854A-9B8D-625E9828682E}"/>
              </a:ext>
            </a:extLst>
          </p:cNvPr>
          <p:cNvSpPr>
            <a:spLocks/>
          </p:cNvSpPr>
          <p:nvPr>
            <p:custDataLst>
              <p:tags r:id="rId9"/>
            </p:custDataLst>
          </p:nvPr>
        </p:nvSpPr>
        <p:spPr>
          <a:xfrm>
            <a:off x="5322326" y="4432001"/>
            <a:ext cx="452607" cy="4857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a:ln>
                  <a:noFill/>
                </a:ln>
                <a:solidFill>
                  <a:srgbClr val="005777"/>
                </a:solidFill>
                <a:effectLst/>
                <a:uLnTx/>
                <a:uFillTx/>
                <a:latin typeface="Arial"/>
                <a:ea typeface="ＭＳ Ｐゴシック"/>
                <a:cs typeface="+mn-cs"/>
              </a:rPr>
              <a:t>5</a:t>
            </a:r>
          </a:p>
        </p:txBody>
      </p:sp>
      <p:sp>
        <p:nvSpPr>
          <p:cNvPr id="38" name="TextBox 18">
            <a:extLst>
              <a:ext uri="{FF2B5EF4-FFF2-40B4-BE49-F238E27FC236}">
                <a16:creationId xmlns:a16="http://schemas.microsoft.com/office/drawing/2014/main" id="{68624E64-EBBB-4930-9556-9FDE06D55DCD}"/>
              </a:ext>
            </a:extLst>
          </p:cNvPr>
          <p:cNvSpPr txBox="1">
            <a:spLocks/>
          </p:cNvSpPr>
          <p:nvPr/>
        </p:nvSpPr>
        <p:spPr>
          <a:xfrm>
            <a:off x="6122224" y="4364373"/>
            <a:ext cx="5544387" cy="636345"/>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en-US"/>
            </a:defPPr>
            <a:lvl1pPr marL="0" lvl="0" indent="0" defTabSz="877533" eaLnBrk="1" hangingPunct="1">
              <a:buClr>
                <a:schemeClr val="lt1"/>
              </a:buClr>
              <a:defRPr sz="1800" b="1" baseline="0">
                <a:solidFill>
                  <a:schemeClr val="lt1"/>
                </a:solidFill>
                <a:latin typeface="+mn-lt"/>
              </a:defRPr>
            </a:lvl1pPr>
            <a:lvl2pPr marL="176415" lvl="1" indent="-176415" defTabSz="877533" eaLnBrk="1" hangingPunct="1">
              <a:buClr>
                <a:schemeClr val="tx1"/>
              </a:buClr>
              <a:buSzPct val="100000"/>
              <a:buFont typeface="Arial" pitchFamily="34" charset="0"/>
              <a:buChar char="•"/>
              <a:defRPr sz="1568" baseline="0">
                <a:latin typeface="+mn-lt"/>
              </a:defRPr>
            </a:lvl2pPr>
            <a:lvl3pPr marL="352830" lvl="2" indent="-176415" defTabSz="877533" eaLnBrk="1" hangingPunct="1">
              <a:buClr>
                <a:schemeClr val="tx1"/>
              </a:buClr>
              <a:buSzPct val="100000"/>
              <a:buFont typeface="Arial" panose="020B0604020202020204" pitchFamily="34" charset="0"/>
              <a:buChar char="–"/>
              <a:defRPr sz="1568" baseline="0">
                <a:latin typeface="+mn-lt"/>
              </a:defRPr>
            </a:lvl3pPr>
            <a:lvl4pPr marL="529245" lvl="3" indent="-176415" defTabSz="877533" eaLnBrk="1" hangingPunct="1">
              <a:buClr>
                <a:schemeClr val="tx1"/>
              </a:buClr>
              <a:buSzPct val="100000"/>
              <a:buFont typeface="Arial" pitchFamily="34" charset="0"/>
              <a:buChar char="»"/>
              <a:defRPr sz="1568" baseline="0">
                <a:latin typeface="+mn-lt"/>
              </a:defRPr>
            </a:lvl4pPr>
            <a:lvl5pPr marL="705660" lvl="4" indent="-176415" defTabSz="877533" eaLnBrk="1" hangingPunct="1">
              <a:buClr>
                <a:schemeClr val="tx2"/>
              </a:buClr>
              <a:buSzPct val="100000"/>
              <a:buFont typeface="Arial" panose="020B0604020202020204" pitchFamily="34" charset="0"/>
              <a:buChar char="›"/>
              <a:defRPr sz="1568" baseline="0">
                <a:latin typeface="+mn-lt"/>
              </a:defRPr>
            </a:lvl5pPr>
            <a:lvl6pPr marL="734887" indent="-127585" defTabSz="877533" fontAlgn="base">
              <a:spcBef>
                <a:spcPct val="0"/>
              </a:spcBef>
              <a:spcAft>
                <a:spcPct val="0"/>
              </a:spcAft>
              <a:buClr>
                <a:schemeClr val="tx2"/>
              </a:buClr>
              <a:buSzPct val="89000"/>
              <a:buFont typeface="Arial" charset="0"/>
              <a:buChar char="-"/>
              <a:defRPr sz="1568" baseline="0">
                <a:latin typeface="+mn-lt"/>
              </a:defRPr>
            </a:lvl6pPr>
            <a:lvl7pPr marL="734887" indent="-127585" defTabSz="877533" fontAlgn="base">
              <a:spcBef>
                <a:spcPct val="0"/>
              </a:spcBef>
              <a:spcAft>
                <a:spcPct val="0"/>
              </a:spcAft>
              <a:buClr>
                <a:schemeClr val="tx2"/>
              </a:buClr>
              <a:buSzPct val="89000"/>
              <a:buFont typeface="Arial" charset="0"/>
              <a:buChar char="-"/>
              <a:defRPr sz="1568" baseline="0">
                <a:latin typeface="+mn-lt"/>
              </a:defRPr>
            </a:lvl7pPr>
            <a:lvl8pPr marL="734887" indent="-127585" defTabSz="877533" fontAlgn="base">
              <a:spcBef>
                <a:spcPct val="0"/>
              </a:spcBef>
              <a:spcAft>
                <a:spcPct val="0"/>
              </a:spcAft>
              <a:buClr>
                <a:schemeClr val="tx2"/>
              </a:buClr>
              <a:buSzPct val="89000"/>
              <a:buFont typeface="Arial" charset="0"/>
              <a:buChar char="-"/>
              <a:defRPr sz="1568" baseline="0">
                <a:latin typeface="+mn-lt"/>
              </a:defRPr>
            </a:lvl8pPr>
            <a:lvl9pPr marL="734887" indent="-127585" defTabSz="877533" fontAlgn="base">
              <a:spcBef>
                <a:spcPct val="0"/>
              </a:spcBef>
              <a:spcAft>
                <a:spcPct val="0"/>
              </a:spcAft>
              <a:buClr>
                <a:schemeClr val="tx2"/>
              </a:buClr>
              <a:buSzPct val="89000"/>
              <a:buFont typeface="Arial" charset="0"/>
              <a:buChar char="-"/>
              <a:defRPr sz="1568" baseline="0">
                <a:latin typeface="+mn-lt"/>
              </a:defRPr>
            </a:lvl9pPr>
          </a:lstStyle>
          <a:p>
            <a:pPr>
              <a:buClr>
                <a:srgbClr val="FFFFFF"/>
              </a:buClr>
              <a:defRPr/>
            </a:pPr>
            <a:r>
              <a:rPr lang="nl-NL" sz="1837" b="0">
                <a:solidFill>
                  <a:schemeClr val="tx1"/>
                </a:solidFill>
              </a:rPr>
              <a:t>Lange termijn aanbevelingen</a:t>
            </a:r>
            <a:endParaRPr kumimoji="0" lang="nl-NL" sz="1837" b="0" i="0" u="none" strike="noStrike" kern="1200" cap="none" spc="0" normalizeH="0" baseline="0" noProof="0">
              <a:ln>
                <a:noFill/>
              </a:ln>
              <a:solidFill>
                <a:srgbClr val="000000"/>
              </a:solidFill>
              <a:effectLst/>
              <a:uLnTx/>
              <a:uFillTx/>
              <a:latin typeface="Arial"/>
              <a:ea typeface="ＭＳ Ｐゴシック"/>
              <a:cs typeface="+mn-cs"/>
            </a:endParaRPr>
          </a:p>
        </p:txBody>
      </p:sp>
    </p:spTree>
    <p:custDataLst>
      <p:tags r:id="rId2"/>
    </p:custDataLst>
    <p:extLst>
      <p:ext uri="{BB962C8B-B14F-4D97-AF65-F5344CB8AC3E}">
        <p14:creationId xmlns:p14="http://schemas.microsoft.com/office/powerpoint/2010/main" val="1067997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hdUL6ZcpvcGWcRIweEjK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TxtKkHTMxIszNox0HgO6h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2VisSmYiwUMMVA9NqEsTg"/>
</p:tagLst>
</file>

<file path=ppt/tags/tag105.xml><?xml version="1.0" encoding="utf-8"?>
<p:tagLst xmlns:a="http://schemas.openxmlformats.org/drawingml/2006/main" xmlns:r="http://schemas.openxmlformats.org/officeDocument/2006/relationships" xmlns:p="http://schemas.openxmlformats.org/presentationml/2006/main">
  <p:tag name="SHP_MARVIN_VG_TB_SLIDE_IDENTIFIER" val="51d9232fa307cb83c63ed55fda4dd299"/>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DfFyQvHBzHjlFfYu2AdE_w"/>
</p:tagLst>
</file>

<file path=ppt/tags/tag108.xml><?xml version="1.0" encoding="utf-8"?>
<p:tagLst xmlns:a="http://schemas.openxmlformats.org/drawingml/2006/main" xmlns:r="http://schemas.openxmlformats.org/officeDocument/2006/relationships" xmlns:p="http://schemas.openxmlformats.org/presentationml/2006/main">
  <p:tag name="NAME" val="TrackerNum"/>
</p:tagLst>
</file>

<file path=ppt/tags/tag109.xml><?xml version="1.0" encoding="utf-8"?>
<p:tagLst xmlns:a="http://schemas.openxmlformats.org/drawingml/2006/main" xmlns:r="http://schemas.openxmlformats.org/officeDocument/2006/relationships" xmlns:p="http://schemas.openxmlformats.org/presentationml/2006/main">
  <p:tag name="NAME" val="TrackerNum"/>
</p:tagLst>
</file>

<file path=ppt/tags/tag11.xml><?xml version="1.0" encoding="utf-8"?>
<p:tagLst xmlns:a="http://schemas.openxmlformats.org/drawingml/2006/main" xmlns:r="http://schemas.openxmlformats.org/officeDocument/2006/relationships" xmlns:p="http://schemas.openxmlformats.org/presentationml/2006/main">
  <p:tag name="NAME" val="Bracket"/>
</p:tagLst>
</file>

<file path=ppt/tags/tag110.xml><?xml version="1.0" encoding="utf-8"?>
<p:tagLst xmlns:a="http://schemas.openxmlformats.org/drawingml/2006/main" xmlns:r="http://schemas.openxmlformats.org/officeDocument/2006/relationships" xmlns:p="http://schemas.openxmlformats.org/presentationml/2006/main">
  <p:tag name="NAME" val="TrackerNum"/>
</p:tagLst>
</file>

<file path=ppt/tags/tag111.xml><?xml version="1.0" encoding="utf-8"?>
<p:tagLst xmlns:a="http://schemas.openxmlformats.org/drawingml/2006/main" xmlns:r="http://schemas.openxmlformats.org/officeDocument/2006/relationships" xmlns:p="http://schemas.openxmlformats.org/presentationml/2006/main">
  <p:tag name="NAME" val="TrackerNum"/>
</p:tagLst>
</file>

<file path=ppt/tags/tag112.xml><?xml version="1.0" encoding="utf-8"?>
<p:tagLst xmlns:a="http://schemas.openxmlformats.org/drawingml/2006/main" xmlns:r="http://schemas.openxmlformats.org/officeDocument/2006/relationships" xmlns:p="http://schemas.openxmlformats.org/presentationml/2006/main">
  <p:tag name="NAME" val="TrackerNum"/>
</p:tagLst>
</file>

<file path=ppt/tags/tag113.xml><?xml version="1.0" encoding="utf-8"?>
<p:tagLst xmlns:a="http://schemas.openxmlformats.org/drawingml/2006/main" xmlns:r="http://schemas.openxmlformats.org/officeDocument/2006/relationships" xmlns:p="http://schemas.openxmlformats.org/presentationml/2006/main">
  <p:tag name="SHP_MARVIN_VG_TB_SLIDE_IDENTIFIER" val="d356b438a7f07916bb8d417595bf3579"/>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0xoNLY0yrg0xHFnZAHzh0w"/>
</p:tagLst>
</file>

<file path=ppt/tags/tag116.xml><?xml version="1.0" encoding="utf-8"?>
<p:tagLst xmlns:a="http://schemas.openxmlformats.org/drawingml/2006/main" xmlns:r="http://schemas.openxmlformats.org/officeDocument/2006/relationships" xmlns:p="http://schemas.openxmlformats.org/presentationml/2006/main">
  <p:tag name="NAME" val="Body3"/>
  <p:tag name="5LEVEL" val="0.01"/>
  <p:tag name="4LEVEL" val="0.01"/>
  <p:tag name="3LEVEL" val="0.03"/>
  <p:tag name="2LEVEL" val="0.05"/>
  <p:tag name="1LEVEL" val="0.1"/>
</p:tagLst>
</file>

<file path=ppt/tags/tag117.xml><?xml version="1.0" encoding="utf-8"?>
<p:tagLst xmlns:a="http://schemas.openxmlformats.org/drawingml/2006/main" xmlns:r="http://schemas.openxmlformats.org/officeDocument/2006/relationships" xmlns:p="http://schemas.openxmlformats.org/presentationml/2006/main">
  <p:tag name="NAME" val="Body3"/>
  <p:tag name="5LEVEL" val="0.01"/>
  <p:tag name="4LEVEL" val="0.01"/>
  <p:tag name="3LEVEL" val="0.03"/>
  <p:tag name="2LEVEL" val="0.05"/>
  <p:tag name="1LEVEL" val="0.1"/>
</p:tagLst>
</file>

<file path=ppt/tags/tag118.xml><?xml version="1.0" encoding="utf-8"?>
<p:tagLst xmlns:a="http://schemas.openxmlformats.org/drawingml/2006/main" xmlns:r="http://schemas.openxmlformats.org/officeDocument/2006/relationships" xmlns:p="http://schemas.openxmlformats.org/presentationml/2006/main">
  <p:tag name="NAME" val="Body3"/>
  <p:tag name="5LEVEL" val="0.01"/>
  <p:tag name="4LEVEL" val="0.01"/>
  <p:tag name="3LEVEL" val="0.03"/>
  <p:tag name="2LEVEL" val="0.05"/>
  <p:tag name="1LEVEL" val="0.1"/>
</p:tagLst>
</file>

<file path=ppt/tags/tag119.xml><?xml version="1.0" encoding="utf-8"?>
<p:tagLst xmlns:a="http://schemas.openxmlformats.org/drawingml/2006/main" xmlns:r="http://schemas.openxmlformats.org/officeDocument/2006/relationships" xmlns:p="http://schemas.openxmlformats.org/presentationml/2006/main">
  <p:tag name="NAME" val="Body3"/>
  <p:tag name="5LEVEL" val="0.01"/>
  <p:tag name="4LEVEL" val="0.01"/>
  <p:tag name="3LEVEL" val="0.03"/>
  <p:tag name="2LEVEL" val="0.05"/>
  <p:tag name="1LEVEL" val="0.1"/>
</p:tagLst>
</file>

<file path=ppt/tags/tag12.xml><?xml version="1.0" encoding="utf-8"?>
<p:tagLst xmlns:a="http://schemas.openxmlformats.org/drawingml/2006/main" xmlns:r="http://schemas.openxmlformats.org/officeDocument/2006/relationships" xmlns:p="http://schemas.openxmlformats.org/presentationml/2006/main">
  <p:tag name="NAME" val="SingleBoat"/>
</p:tagLst>
</file>

<file path=ppt/tags/tag120.xml><?xml version="1.0" encoding="utf-8"?>
<p:tagLst xmlns:a="http://schemas.openxmlformats.org/drawingml/2006/main" xmlns:r="http://schemas.openxmlformats.org/officeDocument/2006/relationships" xmlns:p="http://schemas.openxmlformats.org/presentationml/2006/main">
  <p:tag name="NAME" val="Rectangle"/>
</p:tagLst>
</file>

<file path=ppt/tags/tag121.xml><?xml version="1.0" encoding="utf-8"?>
<p:tagLst xmlns:a="http://schemas.openxmlformats.org/drawingml/2006/main" xmlns:r="http://schemas.openxmlformats.org/officeDocument/2006/relationships" xmlns:p="http://schemas.openxmlformats.org/presentationml/2006/main">
  <p:tag name="NAME" val="Rectangl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kxVctuf2c5pBjKp8Gltl2w"/>
</p:tagLst>
</file>

<file path=ppt/tags/tag124.xml><?xml version="1.0" encoding="utf-8"?>
<p:tagLst xmlns:a="http://schemas.openxmlformats.org/drawingml/2006/main" xmlns:r="http://schemas.openxmlformats.org/officeDocument/2006/relationships" xmlns:p="http://schemas.openxmlformats.org/presentationml/2006/main">
  <p:tag name="NAME" val="Rectangle"/>
</p:tagLst>
</file>

<file path=ppt/tags/tag125.xml><?xml version="1.0" encoding="utf-8"?>
<p:tagLst xmlns:a="http://schemas.openxmlformats.org/drawingml/2006/main" xmlns:r="http://schemas.openxmlformats.org/officeDocument/2006/relationships" xmlns:p="http://schemas.openxmlformats.org/presentationml/2006/main">
  <p:tag name="NAME" val="CustomIcon"/>
</p:tagLst>
</file>

<file path=ppt/tags/tag126.xml><?xml version="1.0" encoding="utf-8"?>
<p:tagLst xmlns:a="http://schemas.openxmlformats.org/drawingml/2006/main" xmlns:r="http://schemas.openxmlformats.org/officeDocument/2006/relationships" xmlns:p="http://schemas.openxmlformats.org/presentationml/2006/main">
  <p:tag name="NAME" val="CustomIcon"/>
</p:tagLst>
</file>

<file path=ppt/tags/tag127.xml><?xml version="1.0" encoding="utf-8"?>
<p:tagLst xmlns:a="http://schemas.openxmlformats.org/drawingml/2006/main" xmlns:r="http://schemas.openxmlformats.org/officeDocument/2006/relationships" xmlns:p="http://schemas.openxmlformats.org/presentationml/2006/main">
  <p:tag name="NAME" val="CustomIcon"/>
</p:tagLst>
</file>

<file path=ppt/tags/tag128.xml><?xml version="1.0" encoding="utf-8"?>
<p:tagLst xmlns:a="http://schemas.openxmlformats.org/drawingml/2006/main" xmlns:r="http://schemas.openxmlformats.org/officeDocument/2006/relationships" xmlns:p="http://schemas.openxmlformats.org/presentationml/2006/main">
  <p:tag name="NAME" val="CustomIcon"/>
</p:tagLst>
</file>

<file path=ppt/tags/tag129.xml><?xml version="1.0" encoding="utf-8"?>
<p:tagLst xmlns:a="http://schemas.openxmlformats.org/drawingml/2006/main" xmlns:r="http://schemas.openxmlformats.org/officeDocument/2006/relationships" xmlns:p="http://schemas.openxmlformats.org/presentationml/2006/main">
  <p:tag name="SHP_MARVIN_VG_TB_SLIDE_IDENTIFIER" val="665ab6aaab3104b141151adc402122b0"/>
</p:tagLst>
</file>

<file path=ppt/tags/tag13.xml><?xml version="1.0" encoding="utf-8"?>
<p:tagLst xmlns:a="http://schemas.openxmlformats.org/drawingml/2006/main" xmlns:r="http://schemas.openxmlformats.org/officeDocument/2006/relationships" xmlns:p="http://schemas.openxmlformats.org/presentationml/2006/main">
  <p:tag name="NAME" val="1DoubleBoat"/>
</p:tagLst>
</file>

<file path=ppt/tags/tag130.xml><?xml version="1.0" encoding="utf-8"?>
<p:tagLst xmlns:a="http://schemas.openxmlformats.org/drawingml/2006/main" xmlns:r="http://schemas.openxmlformats.org/officeDocument/2006/relationships" xmlns:p="http://schemas.openxmlformats.org/presentationml/2006/main">
  <p:tag name="SHP_MARVIN_VG_TB_SLIDE_IDENTIFIER" val="51d9232fa307cb83c63ed55fda4dd299"/>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DfFyQvHBzHjlFfYu2AdE_w"/>
</p:tagLst>
</file>

<file path=ppt/tags/tag133.xml><?xml version="1.0" encoding="utf-8"?>
<p:tagLst xmlns:a="http://schemas.openxmlformats.org/drawingml/2006/main" xmlns:r="http://schemas.openxmlformats.org/officeDocument/2006/relationships" xmlns:p="http://schemas.openxmlformats.org/presentationml/2006/main">
  <p:tag name="NAME" val="TrackerNum"/>
</p:tagLst>
</file>

<file path=ppt/tags/tag134.xml><?xml version="1.0" encoding="utf-8"?>
<p:tagLst xmlns:a="http://schemas.openxmlformats.org/drawingml/2006/main" xmlns:r="http://schemas.openxmlformats.org/officeDocument/2006/relationships" xmlns:p="http://schemas.openxmlformats.org/presentationml/2006/main">
  <p:tag name="NAME" val="TrackerNum"/>
</p:tagLst>
</file>

<file path=ppt/tags/tag135.xml><?xml version="1.0" encoding="utf-8"?>
<p:tagLst xmlns:a="http://schemas.openxmlformats.org/drawingml/2006/main" xmlns:r="http://schemas.openxmlformats.org/officeDocument/2006/relationships" xmlns:p="http://schemas.openxmlformats.org/presentationml/2006/main">
  <p:tag name="NAME" val="TrackerNum"/>
</p:tagLst>
</file>

<file path=ppt/tags/tag136.xml><?xml version="1.0" encoding="utf-8"?>
<p:tagLst xmlns:a="http://schemas.openxmlformats.org/drawingml/2006/main" xmlns:r="http://schemas.openxmlformats.org/officeDocument/2006/relationships" xmlns:p="http://schemas.openxmlformats.org/presentationml/2006/main">
  <p:tag name="NAME" val="TrackerNum"/>
</p:tagLst>
</file>

<file path=ppt/tags/tag137.xml><?xml version="1.0" encoding="utf-8"?>
<p:tagLst xmlns:a="http://schemas.openxmlformats.org/drawingml/2006/main" xmlns:r="http://schemas.openxmlformats.org/officeDocument/2006/relationships" xmlns:p="http://schemas.openxmlformats.org/presentationml/2006/main">
  <p:tag name="NAME" val="TrackerNum"/>
</p:tagLst>
</file>

<file path=ppt/tags/tag138.xml><?xml version="1.0" encoding="utf-8"?>
<p:tagLst xmlns:a="http://schemas.openxmlformats.org/drawingml/2006/main" xmlns:r="http://schemas.openxmlformats.org/officeDocument/2006/relationships" xmlns:p="http://schemas.openxmlformats.org/presentationml/2006/main">
  <p:tag name="NAME" val="CustomIcon"/>
</p:tagLst>
</file>

<file path=ppt/tags/tag139.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NAME" val="SingleBoatText"/>
</p:tagLst>
</file>

<file path=ppt/tags/tag141.xml><?xml version="1.0" encoding="utf-8"?>
<p:tagLst xmlns:a="http://schemas.openxmlformats.org/drawingml/2006/main" xmlns:r="http://schemas.openxmlformats.org/officeDocument/2006/relationships" xmlns:p="http://schemas.openxmlformats.org/presentationml/2006/main">
  <p:tag name="NAME" val="SingleBoatText"/>
</p:tagLst>
</file>

<file path=ppt/tags/tag142.xml><?xml version="1.0" encoding="utf-8"?>
<p:tagLst xmlns:a="http://schemas.openxmlformats.org/drawingml/2006/main" xmlns:r="http://schemas.openxmlformats.org/officeDocument/2006/relationships" xmlns:p="http://schemas.openxmlformats.org/presentationml/2006/main">
  <p:tag name="NAME" val="CustomIcon"/>
</p:tagLst>
</file>

<file path=ppt/tags/tag143.xml><?xml version="1.0" encoding="utf-8"?>
<p:tagLst xmlns:a="http://schemas.openxmlformats.org/drawingml/2006/main" xmlns:r="http://schemas.openxmlformats.org/officeDocument/2006/relationships" xmlns:p="http://schemas.openxmlformats.org/presentationml/2006/main">
  <p:tag name="1LEVEL" val="0.8"/>
  <p:tag name="2LEVEL" val="0.4"/>
  <p:tag name="3LEVEL" val="0.2"/>
  <p:tag name="4LEVEL" val="0.1"/>
  <p:tag name="5LEVEL" val="0.05"/>
</p:tagLst>
</file>

<file path=ppt/tags/tag144.xml><?xml version="1.0" encoding="utf-8"?>
<p:tagLst xmlns:a="http://schemas.openxmlformats.org/drawingml/2006/main" xmlns:r="http://schemas.openxmlformats.org/officeDocument/2006/relationships" xmlns:p="http://schemas.openxmlformats.org/presentationml/2006/main">
  <p:tag name="1LEVEL" val="0.8"/>
  <p:tag name="2LEVEL" val="0.4"/>
  <p:tag name="3LEVEL" val="0.2"/>
  <p:tag name="4LEVEL" val="0.1"/>
  <p:tag name="5LEVEL" val="0.05"/>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AGA0QazmVije_4vAE6ZkpA"/>
</p:tagLst>
</file>

<file path=ppt/tags/tag147.xml><?xml version="1.0" encoding="utf-8"?>
<p:tagLst xmlns:a="http://schemas.openxmlformats.org/drawingml/2006/main" xmlns:r="http://schemas.openxmlformats.org/officeDocument/2006/relationships" xmlns:p="http://schemas.openxmlformats.org/presentationml/2006/main">
  <p:tag name="NAME" val="Flo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X8WENUnwwEuok52pItVvg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_LiPX9N3j0ejORR0xVPPmw"/>
</p:tagLst>
</file>

<file path=ppt/tags/tag15.xml><?xml version="1.0" encoding="utf-8"?>
<p:tagLst xmlns:a="http://schemas.openxmlformats.org/drawingml/2006/main" xmlns:r="http://schemas.openxmlformats.org/officeDocument/2006/relationships" xmlns:p="http://schemas.openxmlformats.org/presentationml/2006/main">
  <p:tag name="NAME" val="SingleChevron"/>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fA2doOpq3Eu5RgwdIfZc6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dNBQvXu5lUGSXBpmApTUZ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dNBQvXu5lUGSXBpmApTUZA"/>
</p:tagLst>
</file>

<file path=ppt/tags/tag153.xml><?xml version="1.0" encoding="utf-8"?>
<p:tagLst xmlns:a="http://schemas.openxmlformats.org/drawingml/2006/main" xmlns:r="http://schemas.openxmlformats.org/officeDocument/2006/relationships" xmlns:p="http://schemas.openxmlformats.org/presentationml/2006/main">
  <p:tag name="NAME" val="Flow"/>
</p:tagLst>
</file>

<file path=ppt/tags/tag154.xml><?xml version="1.0" encoding="utf-8"?>
<p:tagLst xmlns:a="http://schemas.openxmlformats.org/drawingml/2006/main" xmlns:r="http://schemas.openxmlformats.org/officeDocument/2006/relationships" xmlns:p="http://schemas.openxmlformats.org/presentationml/2006/main">
  <p:tag name="NAME" val="Flo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v02yB1Ml702dolLEjKqu2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mEIcMsXEt0GXVDw6K8Y54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hHAqkGiDUyYZIDWGHV7k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i2L4EzjvJU6Cb74iWhZY4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KqAHo_6fRkOQZ.0MlNnxyg"/>
</p:tagLst>
</file>

<file path=ppt/tags/tag16.xml><?xml version="1.0" encoding="utf-8"?>
<p:tagLst xmlns:a="http://schemas.openxmlformats.org/drawingml/2006/main" xmlns:r="http://schemas.openxmlformats.org/officeDocument/2006/relationships" xmlns:p="http://schemas.openxmlformats.org/presentationml/2006/main">
  <p:tag name="NAME" val="DoubleChevron"/>
</p:tagLst>
</file>

<file path=ppt/tags/tag16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61.xml><?xml version="1.0" encoding="utf-8"?>
<p:tagLst xmlns:a="http://schemas.openxmlformats.org/drawingml/2006/main" xmlns:r="http://schemas.openxmlformats.org/officeDocument/2006/relationships" xmlns:p="http://schemas.openxmlformats.org/presentationml/2006/main">
  <p:tag name="NAME" val="SingleBoatText"/>
</p:tagLst>
</file>

<file path=ppt/tags/tag16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63.xml><?xml version="1.0" encoding="utf-8"?>
<p:tagLst xmlns:a="http://schemas.openxmlformats.org/drawingml/2006/main" xmlns:r="http://schemas.openxmlformats.org/officeDocument/2006/relationships" xmlns:p="http://schemas.openxmlformats.org/presentationml/2006/main">
  <p:tag name="NAME" val="SingleBoatText"/>
</p:tagLst>
</file>

<file path=ppt/tags/tag164.xml><?xml version="1.0" encoding="utf-8"?>
<p:tagLst xmlns:a="http://schemas.openxmlformats.org/drawingml/2006/main" xmlns:r="http://schemas.openxmlformats.org/officeDocument/2006/relationships" xmlns:p="http://schemas.openxmlformats.org/presentationml/2006/main">
  <p:tag name="NAME" val="SingleBoatShape"/>
</p:tagLst>
</file>

<file path=ppt/tags/tag165.xml><?xml version="1.0" encoding="utf-8"?>
<p:tagLst xmlns:a="http://schemas.openxmlformats.org/drawingml/2006/main" xmlns:r="http://schemas.openxmlformats.org/officeDocument/2006/relationships" xmlns:p="http://schemas.openxmlformats.org/presentationml/2006/main">
  <p:tag name="NAME" val="SingleBoatText"/>
</p:tagLst>
</file>

<file path=ppt/tags/tag166.xml><?xml version="1.0" encoding="utf-8"?>
<p:tagLst xmlns:a="http://schemas.openxmlformats.org/drawingml/2006/main" xmlns:r="http://schemas.openxmlformats.org/officeDocument/2006/relationships" xmlns:p="http://schemas.openxmlformats.org/presentationml/2006/main">
  <p:tag name="SHP_MARVIN_VG_TB_SLIDE_IDENTIFIER" val="51d9232fa307cb83c63ed55fda4dd299"/>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DfFyQvHBzHjlFfYu2AdE_w"/>
</p:tagLst>
</file>

<file path=ppt/tags/tag169.xml><?xml version="1.0" encoding="utf-8"?>
<p:tagLst xmlns:a="http://schemas.openxmlformats.org/drawingml/2006/main" xmlns:r="http://schemas.openxmlformats.org/officeDocument/2006/relationships" xmlns:p="http://schemas.openxmlformats.org/presentationml/2006/main">
  <p:tag name="NAME" val="TrackerNum"/>
</p:tagLst>
</file>

<file path=ppt/tags/tag17.xml><?xml version="1.0" encoding="utf-8"?>
<p:tagLst xmlns:a="http://schemas.openxmlformats.org/drawingml/2006/main" xmlns:r="http://schemas.openxmlformats.org/officeDocument/2006/relationships" xmlns:p="http://schemas.openxmlformats.org/presentationml/2006/main">
  <p:tag name="NAME" val="DoubleChevron2"/>
</p:tagLst>
</file>

<file path=ppt/tags/tag170.xml><?xml version="1.0" encoding="utf-8"?>
<p:tagLst xmlns:a="http://schemas.openxmlformats.org/drawingml/2006/main" xmlns:r="http://schemas.openxmlformats.org/officeDocument/2006/relationships" xmlns:p="http://schemas.openxmlformats.org/presentationml/2006/main">
  <p:tag name="NAME" val="TrackerNum"/>
</p:tagLst>
</file>

<file path=ppt/tags/tag171.xml><?xml version="1.0" encoding="utf-8"?>
<p:tagLst xmlns:a="http://schemas.openxmlformats.org/drawingml/2006/main" xmlns:r="http://schemas.openxmlformats.org/officeDocument/2006/relationships" xmlns:p="http://schemas.openxmlformats.org/presentationml/2006/main">
  <p:tag name="NAME" val="TrackerNum"/>
</p:tagLst>
</file>

<file path=ppt/tags/tag172.xml><?xml version="1.0" encoding="utf-8"?>
<p:tagLst xmlns:a="http://schemas.openxmlformats.org/drawingml/2006/main" xmlns:r="http://schemas.openxmlformats.org/officeDocument/2006/relationships" xmlns:p="http://schemas.openxmlformats.org/presentationml/2006/main">
  <p:tag name="NAME" val="TrackerNum"/>
</p:tagLst>
</file>

<file path=ppt/tags/tag173.xml><?xml version="1.0" encoding="utf-8"?>
<p:tagLst xmlns:a="http://schemas.openxmlformats.org/drawingml/2006/main" xmlns:r="http://schemas.openxmlformats.org/officeDocument/2006/relationships" xmlns:p="http://schemas.openxmlformats.org/presentationml/2006/main">
  <p:tag name="NAME" val="TrackerNum"/>
</p:tagLst>
</file>

<file path=ppt/tags/tag174.xml><?xml version="1.0" encoding="utf-8"?>
<p:tagLst xmlns:a="http://schemas.openxmlformats.org/drawingml/2006/main" xmlns:r="http://schemas.openxmlformats.org/officeDocument/2006/relationships" xmlns:p="http://schemas.openxmlformats.org/presentationml/2006/main">
  <p:tag name="NAME" val="CustomIcon"/>
</p:tagLst>
</file>

<file path=ppt/tags/tag175.xml><?xml version="1.0" encoding="utf-8"?>
<p:tagLst xmlns:a="http://schemas.openxmlformats.org/drawingml/2006/main" xmlns:r="http://schemas.openxmlformats.org/officeDocument/2006/relationships" xmlns:p="http://schemas.openxmlformats.org/presentationml/2006/main">
  <p:tag name="SHP_MARVIN_VG_TB_SLIDE_IDENTIFIER" val="51d9232fa307cb83c63ed55fda4dd299"/>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DfFyQvHBzHjlFfYu2AdE_w"/>
</p:tagLst>
</file>

<file path=ppt/tags/tag178.xml><?xml version="1.0" encoding="utf-8"?>
<p:tagLst xmlns:a="http://schemas.openxmlformats.org/drawingml/2006/main" xmlns:r="http://schemas.openxmlformats.org/officeDocument/2006/relationships" xmlns:p="http://schemas.openxmlformats.org/presentationml/2006/main">
  <p:tag name="NAME" val="TrackerNum"/>
</p:tagLst>
</file>

<file path=ppt/tags/tag179.xml><?xml version="1.0" encoding="utf-8"?>
<p:tagLst xmlns:a="http://schemas.openxmlformats.org/drawingml/2006/main" xmlns:r="http://schemas.openxmlformats.org/officeDocument/2006/relationships" xmlns:p="http://schemas.openxmlformats.org/presentationml/2006/main">
  <p:tag name="NAME" val="TrackerNum"/>
</p:tagLst>
</file>

<file path=ppt/tags/tag18.xml><?xml version="1.0" encoding="utf-8"?>
<p:tagLst xmlns:a="http://schemas.openxmlformats.org/drawingml/2006/main" xmlns:r="http://schemas.openxmlformats.org/officeDocument/2006/relationships" xmlns:p="http://schemas.openxmlformats.org/presentationml/2006/main">
  <p:tag name="NAME" val="SplitFlow2"/>
  <p:tag name="ISFLAT" val="True"/>
</p:tagLst>
</file>

<file path=ppt/tags/tag180.xml><?xml version="1.0" encoding="utf-8"?>
<p:tagLst xmlns:a="http://schemas.openxmlformats.org/drawingml/2006/main" xmlns:r="http://schemas.openxmlformats.org/officeDocument/2006/relationships" xmlns:p="http://schemas.openxmlformats.org/presentationml/2006/main">
  <p:tag name="NAME" val="TrackerNum"/>
</p:tagLst>
</file>

<file path=ppt/tags/tag181.xml><?xml version="1.0" encoding="utf-8"?>
<p:tagLst xmlns:a="http://schemas.openxmlformats.org/drawingml/2006/main" xmlns:r="http://schemas.openxmlformats.org/officeDocument/2006/relationships" xmlns:p="http://schemas.openxmlformats.org/presentationml/2006/main">
  <p:tag name="NAME" val="TrackerNum"/>
</p:tagLst>
</file>

<file path=ppt/tags/tag182.xml><?xml version="1.0" encoding="utf-8"?>
<p:tagLst xmlns:a="http://schemas.openxmlformats.org/drawingml/2006/main" xmlns:r="http://schemas.openxmlformats.org/officeDocument/2006/relationships" xmlns:p="http://schemas.openxmlformats.org/presentationml/2006/main">
  <p:tag name="NAME" val="TrackerNum"/>
</p:tagLst>
</file>

<file path=ppt/tags/tag183.xml><?xml version="1.0" encoding="utf-8"?>
<p:tagLst xmlns:a="http://schemas.openxmlformats.org/drawingml/2006/main" xmlns:r="http://schemas.openxmlformats.org/officeDocument/2006/relationships" xmlns:p="http://schemas.openxmlformats.org/presentationml/2006/main">
  <p:tag name="SHP_MARVIN_VG_TB_SLIDE_IDENTIFIER" val="51d9232fa307cb83c63ed55fda4dd299"/>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DfFyQvHBzHjlFfYu2AdE_w"/>
</p:tagLst>
</file>

<file path=ppt/tags/tag186.xml><?xml version="1.0" encoding="utf-8"?>
<p:tagLst xmlns:a="http://schemas.openxmlformats.org/drawingml/2006/main" xmlns:r="http://schemas.openxmlformats.org/officeDocument/2006/relationships" xmlns:p="http://schemas.openxmlformats.org/presentationml/2006/main">
  <p:tag name="NAME" val="TrackerNum"/>
</p:tagLst>
</file>

<file path=ppt/tags/tag187.xml><?xml version="1.0" encoding="utf-8"?>
<p:tagLst xmlns:a="http://schemas.openxmlformats.org/drawingml/2006/main" xmlns:r="http://schemas.openxmlformats.org/officeDocument/2006/relationships" xmlns:p="http://schemas.openxmlformats.org/presentationml/2006/main">
  <p:tag name="NAME" val="TrackerNum"/>
</p:tagLst>
</file>

<file path=ppt/tags/tag188.xml><?xml version="1.0" encoding="utf-8"?>
<p:tagLst xmlns:a="http://schemas.openxmlformats.org/drawingml/2006/main" xmlns:r="http://schemas.openxmlformats.org/officeDocument/2006/relationships" xmlns:p="http://schemas.openxmlformats.org/presentationml/2006/main">
  <p:tag name="NAME" val="TrackerNum"/>
</p:tagLst>
</file>

<file path=ppt/tags/tag189.xml><?xml version="1.0" encoding="utf-8"?>
<p:tagLst xmlns:a="http://schemas.openxmlformats.org/drawingml/2006/main" xmlns:r="http://schemas.openxmlformats.org/officeDocument/2006/relationships" xmlns:p="http://schemas.openxmlformats.org/presentationml/2006/main">
  <p:tag name="NAME" val="TrackerNum"/>
</p:tagLst>
</file>

<file path=ppt/tags/tag19.xml><?xml version="1.0" encoding="utf-8"?>
<p:tagLst xmlns:a="http://schemas.openxmlformats.org/drawingml/2006/main" xmlns:r="http://schemas.openxmlformats.org/officeDocument/2006/relationships" xmlns:p="http://schemas.openxmlformats.org/presentationml/2006/main">
  <p:tag name="NAME" val="Flow2"/>
</p:tagLst>
</file>

<file path=ppt/tags/tag190.xml><?xml version="1.0" encoding="utf-8"?>
<p:tagLst xmlns:a="http://schemas.openxmlformats.org/drawingml/2006/main" xmlns:r="http://schemas.openxmlformats.org/officeDocument/2006/relationships" xmlns:p="http://schemas.openxmlformats.org/presentationml/2006/main">
  <p:tag name="NAME" val="TrackerNum"/>
</p:tagLst>
</file>

<file path=ppt/tags/tag191.xml><?xml version="1.0" encoding="utf-8"?>
<p:tagLst xmlns:a="http://schemas.openxmlformats.org/drawingml/2006/main" xmlns:r="http://schemas.openxmlformats.org/officeDocument/2006/relationships" xmlns:p="http://schemas.openxmlformats.org/presentationml/2006/main">
  <p:tag name="NAME" val="CustomIcon"/>
</p:tagLst>
</file>

<file path=ppt/tags/tag192.xml><?xml version="1.0" encoding="utf-8"?>
<p:tagLst xmlns:a="http://schemas.openxmlformats.org/drawingml/2006/main" xmlns:r="http://schemas.openxmlformats.org/officeDocument/2006/relationships" xmlns:p="http://schemas.openxmlformats.org/presentationml/2006/main">
  <p:tag name="NAME" val="CustomIcon"/>
</p:tagLst>
</file>

<file path=ppt/tags/tag193.xml><?xml version="1.0" encoding="utf-8"?>
<p:tagLst xmlns:a="http://schemas.openxmlformats.org/drawingml/2006/main" xmlns:r="http://schemas.openxmlformats.org/officeDocument/2006/relationships" xmlns:p="http://schemas.openxmlformats.org/presentationml/2006/main">
  <p:tag name="NAME" val="Body3"/>
</p:tagLst>
</file>

<file path=ppt/tags/tag194.xml><?xml version="1.0" encoding="utf-8"?>
<p:tagLst xmlns:a="http://schemas.openxmlformats.org/drawingml/2006/main" xmlns:r="http://schemas.openxmlformats.org/officeDocument/2006/relationships" xmlns:p="http://schemas.openxmlformats.org/presentationml/2006/main">
  <p:tag name="NAME" val="CustomIcon"/>
</p:tagLst>
</file>

<file path=ppt/tags/tag195.xml><?xml version="1.0" encoding="utf-8"?>
<p:tagLst xmlns:a="http://schemas.openxmlformats.org/drawingml/2006/main" xmlns:r="http://schemas.openxmlformats.org/officeDocument/2006/relationships" xmlns:p="http://schemas.openxmlformats.org/presentationml/2006/main">
  <p:tag name="NAME" val="Body3"/>
</p:tagLst>
</file>

<file path=ppt/tags/tag196.xml><?xml version="1.0" encoding="utf-8"?>
<p:tagLst xmlns:a="http://schemas.openxmlformats.org/drawingml/2006/main" xmlns:r="http://schemas.openxmlformats.org/officeDocument/2006/relationships" xmlns:p="http://schemas.openxmlformats.org/presentationml/2006/main">
  <p:tag name="NAME" val="Body3"/>
</p:tagLst>
</file>

<file path=ppt/tags/tag197.xml><?xml version="1.0" encoding="utf-8"?>
<p:tagLst xmlns:a="http://schemas.openxmlformats.org/drawingml/2006/main" xmlns:r="http://schemas.openxmlformats.org/officeDocument/2006/relationships" xmlns:p="http://schemas.openxmlformats.org/presentationml/2006/main">
  <p:tag name="NAME" val="Body3"/>
</p:tagLst>
</file>

<file path=ppt/tags/tag198.xml><?xml version="1.0" encoding="utf-8"?>
<p:tagLst xmlns:a="http://schemas.openxmlformats.org/drawingml/2006/main" xmlns:r="http://schemas.openxmlformats.org/officeDocument/2006/relationships" xmlns:p="http://schemas.openxmlformats.org/presentationml/2006/main">
  <p:tag name="NAME" val="Body3"/>
</p:tagLst>
</file>

<file path=ppt/tags/tag199.xml><?xml version="1.0" encoding="utf-8"?>
<p:tagLst xmlns:a="http://schemas.openxmlformats.org/drawingml/2006/main" xmlns:r="http://schemas.openxmlformats.org/officeDocument/2006/relationships" xmlns:p="http://schemas.openxmlformats.org/presentationml/2006/main">
  <p:tag name="NAME" val="Body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DoubleChevron3"/>
</p:tagLst>
</file>

<file path=ppt/tags/tag2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jMr7bTbbhXFMPWYgOPWuA"/>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NAME" val="SingleBoatShape"/>
</p:tagLst>
</file>

<file path=ppt/tags/tag38.xml><?xml version="1.0" encoding="utf-8"?>
<p:tagLst xmlns:a="http://schemas.openxmlformats.org/drawingml/2006/main" xmlns:r="http://schemas.openxmlformats.org/officeDocument/2006/relationships" xmlns:p="http://schemas.openxmlformats.org/presentationml/2006/main">
  <p:tag name="NAME" val="SingleBoatText"/>
</p:tagLst>
</file>

<file path=ppt/tags/tag39.xml><?xml version="1.0" encoding="utf-8"?>
<p:tagLst xmlns:a="http://schemas.openxmlformats.org/drawingml/2006/main" xmlns:r="http://schemas.openxmlformats.org/officeDocument/2006/relationships" xmlns:p="http://schemas.openxmlformats.org/presentationml/2006/main">
  <p:tag name="NAME" val="1BoatTopShape"/>
</p:tagLst>
</file>

<file path=ppt/tags/tag4.xml><?xml version="1.0" encoding="utf-8"?>
<p:tagLst xmlns:a="http://schemas.openxmlformats.org/drawingml/2006/main" xmlns:r="http://schemas.openxmlformats.org/officeDocument/2006/relationships" xmlns:p="http://schemas.openxmlformats.org/presentationml/2006/main">
  <p:tag name="NAME" val="FlowLine"/>
</p:tagLst>
</file>

<file path=ppt/tags/tag40.xml><?xml version="1.0" encoding="utf-8"?>
<p:tagLst xmlns:a="http://schemas.openxmlformats.org/drawingml/2006/main" xmlns:r="http://schemas.openxmlformats.org/officeDocument/2006/relationships" xmlns:p="http://schemas.openxmlformats.org/presentationml/2006/main">
  <p:tag name="NAME" val="1BoatTopText"/>
</p:tagLst>
</file>

<file path=ppt/tags/tag41.xml><?xml version="1.0" encoding="utf-8"?>
<p:tagLst xmlns:a="http://schemas.openxmlformats.org/drawingml/2006/main" xmlns:r="http://schemas.openxmlformats.org/officeDocument/2006/relationships" xmlns:p="http://schemas.openxmlformats.org/presentationml/2006/main">
  <p:tag name="NAME" val="1BoatBottomShape"/>
</p:tagLst>
</file>

<file path=ppt/tags/tag42.xml><?xml version="1.0" encoding="utf-8"?>
<p:tagLst xmlns:a="http://schemas.openxmlformats.org/drawingml/2006/main" xmlns:r="http://schemas.openxmlformats.org/officeDocument/2006/relationships" xmlns:p="http://schemas.openxmlformats.org/presentationml/2006/main">
  <p:tag name="NAME" val="1BoatBottomText"/>
</p:tagLst>
</file>

<file path=ppt/tags/tag43.xml><?xml version="1.0" encoding="utf-8"?>
<p:tagLst xmlns:a="http://schemas.openxmlformats.org/drawingml/2006/main" xmlns:r="http://schemas.openxmlformats.org/officeDocument/2006/relationships" xmlns:p="http://schemas.openxmlformats.org/presentationml/2006/main">
  <p:tag name="NAME" val="2BoatBottomShape"/>
</p:tagLst>
</file>

<file path=ppt/tags/tag44.xml><?xml version="1.0" encoding="utf-8"?>
<p:tagLst xmlns:a="http://schemas.openxmlformats.org/drawingml/2006/main" xmlns:r="http://schemas.openxmlformats.org/officeDocument/2006/relationships" xmlns:p="http://schemas.openxmlformats.org/presentationml/2006/main">
  <p:tag name="NAME" val="2BoatBottomText"/>
</p:tagLst>
</file>

<file path=ppt/tags/tag45.xml><?xml version="1.0" encoding="utf-8"?>
<p:tagLst xmlns:a="http://schemas.openxmlformats.org/drawingml/2006/main" xmlns:r="http://schemas.openxmlformats.org/officeDocument/2006/relationships" xmlns:p="http://schemas.openxmlformats.org/presentationml/2006/main">
  <p:tag name="NAME" val="1BoatTopShape"/>
</p:tagLst>
</file>

<file path=ppt/tags/tag46.xml><?xml version="1.0" encoding="utf-8"?>
<p:tagLst xmlns:a="http://schemas.openxmlformats.org/drawingml/2006/main" xmlns:r="http://schemas.openxmlformats.org/officeDocument/2006/relationships" xmlns:p="http://schemas.openxmlformats.org/presentationml/2006/main">
  <p:tag name="NAME" val="1BoatTopText"/>
</p:tagLst>
</file>

<file path=ppt/tags/tag47.xml><?xml version="1.0" encoding="utf-8"?>
<p:tagLst xmlns:a="http://schemas.openxmlformats.org/drawingml/2006/main" xmlns:r="http://schemas.openxmlformats.org/officeDocument/2006/relationships" xmlns:p="http://schemas.openxmlformats.org/presentationml/2006/main">
  <p:tag name="NAME" val="1BoatBottomShape"/>
</p:tagLst>
</file>

<file path=ppt/tags/tag48.xml><?xml version="1.0" encoding="utf-8"?>
<p:tagLst xmlns:a="http://schemas.openxmlformats.org/drawingml/2006/main" xmlns:r="http://schemas.openxmlformats.org/officeDocument/2006/relationships" xmlns:p="http://schemas.openxmlformats.org/presentationml/2006/main">
  <p:tag name="NAME" val="1BoatBottomText"/>
</p:tagLst>
</file>

<file path=ppt/tags/tag49.xml><?xml version="1.0" encoding="utf-8"?>
<p:tagLst xmlns:a="http://schemas.openxmlformats.org/drawingml/2006/main" xmlns:r="http://schemas.openxmlformats.org/officeDocument/2006/relationships" xmlns:p="http://schemas.openxmlformats.org/presentationml/2006/main">
  <p:tag name="NAME" val="SingleBoatShape"/>
</p:tagLst>
</file>

<file path=ppt/tags/tag5.xml><?xml version="1.0" encoding="utf-8"?>
<p:tagLst xmlns:a="http://schemas.openxmlformats.org/drawingml/2006/main" xmlns:r="http://schemas.openxmlformats.org/officeDocument/2006/relationships" xmlns:p="http://schemas.openxmlformats.org/presentationml/2006/main">
  <p:tag name="NAME" val="FlowLine2"/>
</p:tagLst>
</file>

<file path=ppt/tags/tag50.xml><?xml version="1.0" encoding="utf-8"?>
<p:tagLst xmlns:a="http://schemas.openxmlformats.org/drawingml/2006/main" xmlns:r="http://schemas.openxmlformats.org/officeDocument/2006/relationships" xmlns:p="http://schemas.openxmlformats.org/presentationml/2006/main">
  <p:tag name="NAME" val="SingleBoatText"/>
</p:tagLst>
</file>

<file path=ppt/tags/tag51.xml><?xml version="1.0" encoding="utf-8"?>
<p:tagLst xmlns:a="http://schemas.openxmlformats.org/drawingml/2006/main" xmlns:r="http://schemas.openxmlformats.org/officeDocument/2006/relationships" xmlns:p="http://schemas.openxmlformats.org/presentationml/2006/main">
  <p:tag name="NAME" val="Flow"/>
</p:tagLst>
</file>

<file path=ppt/tags/tag52.xml><?xml version="1.0" encoding="utf-8"?>
<p:tagLst xmlns:a="http://schemas.openxmlformats.org/drawingml/2006/main" xmlns:r="http://schemas.openxmlformats.org/officeDocument/2006/relationships" xmlns:p="http://schemas.openxmlformats.org/presentationml/2006/main">
  <p:tag name="NAME" val="Flow"/>
</p:tagLst>
</file>

<file path=ppt/tags/tag53.xml><?xml version="1.0" encoding="utf-8"?>
<p:tagLst xmlns:a="http://schemas.openxmlformats.org/drawingml/2006/main" xmlns:r="http://schemas.openxmlformats.org/officeDocument/2006/relationships" xmlns:p="http://schemas.openxmlformats.org/presentationml/2006/main">
  <p:tag name="NAME" val="Flow"/>
</p:tagLst>
</file>

<file path=ppt/tags/tag54.xml><?xml version="1.0" encoding="utf-8"?>
<p:tagLst xmlns:a="http://schemas.openxmlformats.org/drawingml/2006/main" xmlns:r="http://schemas.openxmlformats.org/officeDocument/2006/relationships" xmlns:p="http://schemas.openxmlformats.org/presentationml/2006/main">
  <p:tag name="NAME" val="SingleBoatShape"/>
</p:tagLst>
</file>

<file path=ppt/tags/tag55.xml><?xml version="1.0" encoding="utf-8"?>
<p:tagLst xmlns:a="http://schemas.openxmlformats.org/drawingml/2006/main" xmlns:r="http://schemas.openxmlformats.org/officeDocument/2006/relationships" xmlns:p="http://schemas.openxmlformats.org/presentationml/2006/main">
  <p:tag name="NAME" val="SingleBoatText"/>
</p:tagLst>
</file>

<file path=ppt/tags/tag56.xml><?xml version="1.0" encoding="utf-8"?>
<p:tagLst xmlns:a="http://schemas.openxmlformats.org/drawingml/2006/main" xmlns:r="http://schemas.openxmlformats.org/officeDocument/2006/relationships" xmlns:p="http://schemas.openxmlformats.org/presentationml/2006/main">
  <p:tag name="NAME" val="SingleBoatShape"/>
</p:tagLst>
</file>

<file path=ppt/tags/tag57.xml><?xml version="1.0" encoding="utf-8"?>
<p:tagLst xmlns:a="http://schemas.openxmlformats.org/drawingml/2006/main" xmlns:r="http://schemas.openxmlformats.org/officeDocument/2006/relationships" xmlns:p="http://schemas.openxmlformats.org/presentationml/2006/main">
  <p:tag name="NAME" val="SingleBoatText"/>
</p:tagLst>
</file>

<file path=ppt/tags/tag58.xml><?xml version="1.0" encoding="utf-8"?>
<p:tagLst xmlns:a="http://schemas.openxmlformats.org/drawingml/2006/main" xmlns:r="http://schemas.openxmlformats.org/officeDocument/2006/relationships" xmlns:p="http://schemas.openxmlformats.org/presentationml/2006/main">
  <p:tag name="NAME" val="SingleBoatShape"/>
</p:tagLst>
</file>

<file path=ppt/tags/tag59.xml><?xml version="1.0" encoding="utf-8"?>
<p:tagLst xmlns:a="http://schemas.openxmlformats.org/drawingml/2006/main" xmlns:r="http://schemas.openxmlformats.org/officeDocument/2006/relationships" xmlns:p="http://schemas.openxmlformats.org/presentationml/2006/main">
  <p:tag name="NAME" val="SingleBoatText"/>
</p:tagLst>
</file>

<file path=ppt/tags/tag6.xml><?xml version="1.0" encoding="utf-8"?>
<p:tagLst xmlns:a="http://schemas.openxmlformats.org/drawingml/2006/main" xmlns:r="http://schemas.openxmlformats.org/officeDocument/2006/relationships" xmlns:p="http://schemas.openxmlformats.org/presentationml/2006/main">
  <p:tag name="NAME" val="Oval"/>
</p:tagLst>
</file>

<file path=ppt/tags/tag60.xml><?xml version="1.0" encoding="utf-8"?>
<p:tagLst xmlns:a="http://schemas.openxmlformats.org/drawingml/2006/main" xmlns:r="http://schemas.openxmlformats.org/officeDocument/2006/relationships" xmlns:p="http://schemas.openxmlformats.org/presentationml/2006/main">
  <p:tag name="NAME" val="Flow"/>
</p:tagLst>
</file>

<file path=ppt/tags/tag61.xml><?xml version="1.0" encoding="utf-8"?>
<p:tagLst xmlns:a="http://schemas.openxmlformats.org/drawingml/2006/main" xmlns:r="http://schemas.openxmlformats.org/officeDocument/2006/relationships" xmlns:p="http://schemas.openxmlformats.org/presentationml/2006/main">
  <p:tag name="NAME" val="Flow"/>
</p:tagLst>
</file>

<file path=ppt/tags/tag62.xml><?xml version="1.0" encoding="utf-8"?>
<p:tagLst xmlns:a="http://schemas.openxmlformats.org/drawingml/2006/main" xmlns:r="http://schemas.openxmlformats.org/officeDocument/2006/relationships" xmlns:p="http://schemas.openxmlformats.org/presentationml/2006/main">
  <p:tag name="NAME" val="Flow"/>
</p:tagLst>
</file>

<file path=ppt/tags/tag63.xml><?xml version="1.0" encoding="utf-8"?>
<p:tagLst xmlns:a="http://schemas.openxmlformats.org/drawingml/2006/main" xmlns:r="http://schemas.openxmlformats.org/officeDocument/2006/relationships" xmlns:p="http://schemas.openxmlformats.org/presentationml/2006/main">
  <p:tag name="NAME" val="SingleBoatShape"/>
</p:tagLst>
</file>

<file path=ppt/tags/tag64.xml><?xml version="1.0" encoding="utf-8"?>
<p:tagLst xmlns:a="http://schemas.openxmlformats.org/drawingml/2006/main" xmlns:r="http://schemas.openxmlformats.org/officeDocument/2006/relationships" xmlns:p="http://schemas.openxmlformats.org/presentationml/2006/main">
  <p:tag name="NAME" val="SingleBoatText"/>
</p:tagLst>
</file>

<file path=ppt/tags/tag65.xml><?xml version="1.0" encoding="utf-8"?>
<p:tagLst xmlns:a="http://schemas.openxmlformats.org/drawingml/2006/main" xmlns:r="http://schemas.openxmlformats.org/officeDocument/2006/relationships" xmlns:p="http://schemas.openxmlformats.org/presentationml/2006/main">
  <p:tag name="NAME" val="SingleBoatShape"/>
</p:tagLst>
</file>

<file path=ppt/tags/tag66.xml><?xml version="1.0" encoding="utf-8"?>
<p:tagLst xmlns:a="http://schemas.openxmlformats.org/drawingml/2006/main" xmlns:r="http://schemas.openxmlformats.org/officeDocument/2006/relationships" xmlns:p="http://schemas.openxmlformats.org/presentationml/2006/main">
  <p:tag name="NAME" val="SingleBoatText"/>
</p:tagLst>
</file>

<file path=ppt/tags/tag67.xml><?xml version="1.0" encoding="utf-8"?>
<p:tagLst xmlns:a="http://schemas.openxmlformats.org/drawingml/2006/main" xmlns:r="http://schemas.openxmlformats.org/officeDocument/2006/relationships" xmlns:p="http://schemas.openxmlformats.org/presentationml/2006/main">
  <p:tag name="NAME" val="SingleBoatShape"/>
</p:tagLst>
</file>

<file path=ppt/tags/tag68.xml><?xml version="1.0" encoding="utf-8"?>
<p:tagLst xmlns:a="http://schemas.openxmlformats.org/drawingml/2006/main" xmlns:r="http://schemas.openxmlformats.org/officeDocument/2006/relationships" xmlns:p="http://schemas.openxmlformats.org/presentationml/2006/main">
  <p:tag name="NAME" val="SingleBoatText"/>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Rectangl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Ly0oaN.C7nLCrz8YAD6SuQ"/>
</p:tagLst>
</file>

<file path=ppt/tags/tag71.xml><?xml version="1.0" encoding="utf-8"?>
<p:tagLst xmlns:a="http://schemas.openxmlformats.org/drawingml/2006/main" xmlns:r="http://schemas.openxmlformats.org/officeDocument/2006/relationships" xmlns:p="http://schemas.openxmlformats.org/presentationml/2006/main">
  <p:tag name="SHAPENAME" val="Title"/>
</p:tagLst>
</file>

<file path=ppt/tags/tag72.xml><?xml version="1.0" encoding="utf-8"?>
<p:tagLst xmlns:a="http://schemas.openxmlformats.org/drawingml/2006/main" xmlns:r="http://schemas.openxmlformats.org/officeDocument/2006/relationships" xmlns:p="http://schemas.openxmlformats.org/presentationml/2006/main">
  <p:tag name="SHAPENAME" val="Subtitl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9rCd8r0HMRv5WAkHyvTL6g"/>
</p:tagLst>
</file>

<file path=ppt/tags/tag75.xml><?xml version="1.0" encoding="utf-8"?>
<p:tagLst xmlns:a="http://schemas.openxmlformats.org/drawingml/2006/main" xmlns:r="http://schemas.openxmlformats.org/officeDocument/2006/relationships" xmlns:p="http://schemas.openxmlformats.org/presentationml/2006/main">
  <p:tag name="SHAPENAME" val="Title"/>
</p:tagLst>
</file>

<file path=ppt/tags/tag76.xml><?xml version="1.0" encoding="utf-8"?>
<p:tagLst xmlns:a="http://schemas.openxmlformats.org/drawingml/2006/main" xmlns:r="http://schemas.openxmlformats.org/officeDocument/2006/relationships" xmlns:p="http://schemas.openxmlformats.org/presentationml/2006/main">
  <p:tag name="SHAPENAME" val="Subtitl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9rCd8r0HMRv5WAkHyvTL6g"/>
</p:tagLst>
</file>

<file path=ppt/tags/tag79.xml><?xml version="1.0" encoding="utf-8"?>
<p:tagLst xmlns:a="http://schemas.openxmlformats.org/drawingml/2006/main" xmlns:r="http://schemas.openxmlformats.org/officeDocument/2006/relationships" xmlns:p="http://schemas.openxmlformats.org/presentationml/2006/main">
  <p:tag name="SHAPENAME" val="Title"/>
</p:tagLst>
</file>

<file path=ppt/tags/tag8.xml><?xml version="1.0" encoding="utf-8"?>
<p:tagLst xmlns:a="http://schemas.openxmlformats.org/drawingml/2006/main" xmlns:r="http://schemas.openxmlformats.org/officeDocument/2006/relationships" xmlns:p="http://schemas.openxmlformats.org/presentationml/2006/main">
  <p:tag name="NAME" val="RoundedRectangle"/>
</p:tagLst>
</file>

<file path=ppt/tags/tag80.xml><?xml version="1.0" encoding="utf-8"?>
<p:tagLst xmlns:a="http://schemas.openxmlformats.org/drawingml/2006/main" xmlns:r="http://schemas.openxmlformats.org/officeDocument/2006/relationships" xmlns:p="http://schemas.openxmlformats.org/presentationml/2006/main">
  <p:tag name="SHAPENAME" val="Subtitl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2VisSmYiwUMMVA9NqEsT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B10fHs5K8_.4JDzbaedf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B10fHs5K8_.4JDzbaedf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B10fHs5K8_.4JDzbaedf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Arro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8pQ3N7pL25_U1Xe9eSxrhg"/>
</p:tagLst>
</file>

<file path=ppt/tags/tag91.xml><?xml version="1.0" encoding="utf-8"?>
<p:tagLst xmlns:a="http://schemas.openxmlformats.org/drawingml/2006/main" xmlns:r="http://schemas.openxmlformats.org/officeDocument/2006/relationships" xmlns:p="http://schemas.openxmlformats.org/presentationml/2006/main">
  <p:tag name="SHAPENAME" val="5. Source"/>
</p:tagLst>
</file>

<file path=ppt/tags/tag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8pQ3N7pL25_U1Xe9eSxrhg"/>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ags/tag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NL_AM6546_16x9_CF1">
  <a:themeElements>
    <a:clrScheme name="Custom">
      <a:dk1>
        <a:srgbClr val="000000"/>
      </a:dk1>
      <a:lt1>
        <a:srgbClr val="FFFFFF"/>
      </a:lt1>
      <a:dk2>
        <a:srgbClr val="003C54"/>
      </a:dk2>
      <a:lt2>
        <a:srgbClr val="E6F7FA"/>
      </a:lt2>
      <a:accent1>
        <a:srgbClr val="C9F0FF"/>
      </a:accent1>
      <a:accent2>
        <a:srgbClr val="82D7E4"/>
      </a:accent2>
      <a:accent3>
        <a:srgbClr val="0D92B6"/>
      </a:accent3>
      <a:accent4>
        <a:srgbClr val="005777"/>
      </a:accent4>
      <a:accent5>
        <a:srgbClr val="B43FD9"/>
      </a:accent5>
      <a:accent6>
        <a:srgbClr val="D9D9D9"/>
      </a:accent6>
      <a:hlink>
        <a:srgbClr val="0D92B6"/>
      </a:hlink>
      <a:folHlink>
        <a:srgbClr val="005777"/>
      </a:folHlink>
    </a:clrScheme>
    <a:fontScheme name="Custom 2">
      <a:majorFont>
        <a:latin typeface="Andada"/>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dirty="0" smtClean="0"/>
        </a:defPPr>
      </a:lstStyle>
    </a:txDef>
  </a:objectDefaults>
  <a:extraClrSchemeLst>
    <a:extraClrScheme>
      <a:clrScheme name="Custom">
        <a:dk1>
          <a:srgbClr val="000000"/>
        </a:dk1>
        <a:lt1>
          <a:srgbClr val="FFFFFF"/>
        </a:lt1>
        <a:dk2>
          <a:srgbClr val="003C54"/>
        </a:dk2>
        <a:lt2>
          <a:srgbClr val="E6F7FA"/>
        </a:lt2>
        <a:accent1>
          <a:srgbClr val="C9F0FF"/>
        </a:accent1>
        <a:accent2>
          <a:srgbClr val="82D7E4"/>
        </a:accent2>
        <a:accent3>
          <a:srgbClr val="0D92B6"/>
        </a:accent3>
        <a:accent4>
          <a:srgbClr val="005777"/>
        </a:accent4>
        <a:accent5>
          <a:srgbClr val="B43FD9"/>
        </a:accent5>
        <a:accent6>
          <a:srgbClr val="D9D9D9"/>
        </a:accent6>
        <a:hlink>
          <a:srgbClr val="0D92B6"/>
        </a:hlink>
        <a:folHlink>
          <a:srgbClr val="00577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NL_AM6546_16x9_CF1 (002).potx" id="{BC495408-DFD1-4173-BAA9-9FD921CA6A14}" vid="{E49CADEF-14C7-4714-8729-EC21C187EB5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045C4F113AA1941BB51AFAAEC25B540" ma:contentTypeVersion="10" ma:contentTypeDescription="Create a new document." ma:contentTypeScope="" ma:versionID="96e4c7e3c72213d7a3b5df08b176de01">
  <xsd:schema xmlns:xsd="http://www.w3.org/2001/XMLSchema" xmlns:xs="http://www.w3.org/2001/XMLSchema" xmlns:p="http://schemas.microsoft.com/office/2006/metadata/properties" xmlns:ns3="d7e2413e-e084-43d9-a527-6a6dd0316776" xmlns:ns4="5b0c28f9-3aff-4531-87c0-ad0df1167372" targetNamespace="http://schemas.microsoft.com/office/2006/metadata/properties" ma:root="true" ma:fieldsID="a505ebd2a5255ded2398337855cea785" ns3:_="" ns4:_="">
    <xsd:import namespace="d7e2413e-e084-43d9-a527-6a6dd0316776"/>
    <xsd:import namespace="5b0c28f9-3aff-4531-87c0-ad0df1167372"/>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3:MediaServiceDateTake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e2413e-e084-43d9-a527-6a6dd031677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b0c28f9-3aff-4531-87c0-ad0df1167372"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D376190-529E-4A79-B97E-D48132CF8B05}">
  <ds:schemaRefs>
    <ds:schemaRef ds:uri="5b0c28f9-3aff-4531-87c0-ad0df1167372"/>
    <ds:schemaRef ds:uri="d7e2413e-e084-43d9-a527-6a6dd031677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24CA203-B70B-42E3-81AD-7377F2C69368}">
  <ds:schemaRefs>
    <ds:schemaRef ds:uri="http://schemas.microsoft.com/sharepoint/v3/contenttype/forms"/>
  </ds:schemaRefs>
</ds:datastoreItem>
</file>

<file path=customXml/itemProps3.xml><?xml version="1.0" encoding="utf-8"?>
<ds:datastoreItem xmlns:ds="http://schemas.openxmlformats.org/officeDocument/2006/customXml" ds:itemID="{CBC9BEDE-37F4-4EAD-85E3-1654EFC864BE}">
  <ds:schemaRefs>
    <ds:schemaRef ds:uri="5b0c28f9-3aff-4531-87c0-ad0df1167372"/>
    <ds:schemaRef ds:uri="d7e2413e-e084-43d9-a527-6a6dd031677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4583</Words>
  <Application>Microsoft Macintosh PowerPoint</Application>
  <PresentationFormat>Breedbeeld</PresentationFormat>
  <Paragraphs>491</Paragraphs>
  <Slides>28</Slides>
  <Notes>19</Notes>
  <HiddenSlides>0</HiddenSlides>
  <MMClips>0</MMClips>
  <ScaleCrop>false</ScaleCrop>
  <HeadingPairs>
    <vt:vector size="8" baseType="variant">
      <vt:variant>
        <vt:lpstr>Gebruikte lettertypen</vt:lpstr>
      </vt:variant>
      <vt:variant>
        <vt:i4>5</vt:i4>
      </vt:variant>
      <vt:variant>
        <vt:lpstr>Thema</vt:lpstr>
      </vt:variant>
      <vt:variant>
        <vt:i4>1</vt:i4>
      </vt:variant>
      <vt:variant>
        <vt:lpstr>Ingesloten OLE-bronprogramma's</vt:lpstr>
      </vt:variant>
      <vt:variant>
        <vt:i4>1</vt:i4>
      </vt:variant>
      <vt:variant>
        <vt:lpstr>Diatitels</vt:lpstr>
      </vt:variant>
      <vt:variant>
        <vt:i4>28</vt:i4>
      </vt:variant>
    </vt:vector>
  </HeadingPairs>
  <TitlesOfParts>
    <vt:vector size="35" baseType="lpstr">
      <vt:lpstr>Andada</vt:lpstr>
      <vt:lpstr>Arial</vt:lpstr>
      <vt:lpstr>Calibri</vt:lpstr>
      <vt:lpstr>Segoe UI</vt:lpstr>
      <vt:lpstr>Wingdings</vt:lpstr>
      <vt:lpstr>2_NL_AM6546_16x9_CF1</vt:lpstr>
      <vt:lpstr>think-cell Slide</vt:lpstr>
      <vt:lpstr>Einddocument Goed Gesprek</vt:lpstr>
      <vt:lpstr>Doel van dit document</vt:lpstr>
      <vt:lpstr>PowerPoint-presentatie</vt:lpstr>
      <vt:lpstr>Een intensief Het Potentieel Pakken traject binnen een zorginstelling</vt:lpstr>
      <vt:lpstr>Contractvergroting biedt kansen voor medewerkers, cliënten en de instelling als geheel</vt:lpstr>
      <vt:lpstr>67% van de respondenten geeft aan nooit een gesprek te hebben over zijn/haar contractgrootte terwijl een groot deel daar wel behoefte aan heeft</vt:lpstr>
      <vt:lpstr>Het potentieel bij &lt;instelling&gt;: 15% van de medewerkers wil meer werken, 68% geeft aan tevreden te zijn met hun huidige contractgrootte </vt:lpstr>
      <vt:lpstr>Vanuit het HR domein wordt een contractuitbreiding nog niet altijd ondersteund; de inbedding van het Goede Gesprek binnen de instelling kan een deel van de belemmeringen wegnemen</vt:lpstr>
      <vt:lpstr>PowerPoint-presentatie</vt:lpstr>
      <vt:lpstr>Wat bedoelen wij bij Het Potentieel Pakken met het Goede Gesprek? </vt:lpstr>
      <vt:lpstr>Het Goede Gesprek op één pagina </vt:lpstr>
      <vt:lpstr>Het Goede gesprek vormt een belangrijk onderdeel van het HPP traject waar medewerkers doorheen gaan</vt:lpstr>
      <vt:lpstr>Hoe past het Goede Gesprek in het geheel?</vt:lpstr>
      <vt:lpstr>Het Goede Gesprek is meer dan alleen het gesprek voeren: de voorbereiding en opvolging zijn een belangrijk onderdeel</vt:lpstr>
      <vt:lpstr>Plan van aanpak Goed Gesprek: Het proces is opgebouwd in 5 fases</vt:lpstr>
      <vt:lpstr>PowerPoint-presentatie</vt:lpstr>
      <vt:lpstr>Terugblik: Wat heeft ‘Goed Gesprek’ tot nu toe gebracht?</vt:lpstr>
      <vt:lpstr>Inzichten vanuit de eerste testgesprekken voor ‘Goed Gesprek’</vt:lpstr>
      <vt:lpstr>Ervaring met het Goede Gesprek vanuit een medewerker</vt:lpstr>
      <vt:lpstr>PowerPoint-presentatie</vt:lpstr>
      <vt:lpstr>Uitgangspunten ten aanzien van een Goed Gesprek voor de korte en middellange termijn</vt:lpstr>
      <vt:lpstr>PowerPoint-presentatie</vt:lpstr>
      <vt:lpstr>PowerPoint-presentatie</vt:lpstr>
      <vt:lpstr>PowerPoint-presentatie</vt:lpstr>
      <vt:lpstr>Aanbevelingen vervolgstappen algemeen voorbeeld</vt:lpstr>
      <vt:lpstr>Aanbevolen vervolgstappen algemeen (voorbeeld ‘s Heeren Loo)</vt:lpstr>
      <vt:lpstr>PowerPoint-presentatie</vt:lpstr>
      <vt:lpstr>Wat weten we van de groepen die sowieso of misschien meer willen werken? </vt:lpstr>
    </vt:vector>
  </TitlesOfParts>
  <Company>Raboban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loogsessie</dc:title>
  <dc:creator>Hoeve van, SC (Suzanne)</dc:creator>
  <cp:lastModifiedBy>Roxan Stevens</cp:lastModifiedBy>
  <cp:revision>29</cp:revision>
  <dcterms:created xsi:type="dcterms:W3CDTF">2020-02-26T15:29:29Z</dcterms:created>
  <dcterms:modified xsi:type="dcterms:W3CDTF">2021-02-09T16:4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045C4F113AA1941BB51AFAAEC25B540</vt:lpwstr>
  </property>
</Properties>
</file>